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5.xml" ContentType="application/vnd.openxmlformats-officedocument.presentationml.tags+xml"/>
  <Override PartName="/ppt/notesSlides/notesSlide1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2.xml" ContentType="application/vnd.openxmlformats-officedocument.presentationml.notesSlid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3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4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5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6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7.xml" ContentType="application/vnd.openxmlformats-officedocument.presentationml.notesSlide+xml"/>
  <Override PartName="/ppt/tags/tag137.xml" ContentType="application/vnd.openxmlformats-officedocument.presentationml.tags+xml"/>
  <Override PartName="/ppt/notesSlides/notesSlide8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9.xml" ContentType="application/vnd.openxmlformats-officedocument.presentationml.notesSlide+xml"/>
  <Override PartName="/ppt/tags/tag142.xml" ContentType="application/vnd.openxmlformats-officedocument.presentationml.tags+xml"/>
  <Override PartName="/ppt/notesSlides/notesSlide10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1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2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3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4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15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16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17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18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19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20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21.xml" ContentType="application/vnd.openxmlformats-officedocument.presentationml.notesSlide+xml"/>
  <Override PartName="/ppt/tags/tag199.xml" ContentType="application/vnd.openxmlformats-officedocument.presentationml.tags+xml"/>
  <Override PartName="/ppt/notesSlides/notesSlide22.xml" ContentType="application/vnd.openxmlformats-officedocument.presentationml.notesSlide+xml"/>
  <Override PartName="/ppt/tags/tag200.xml" ContentType="application/vnd.openxmlformats-officedocument.presentationml.tags+xml"/>
  <Override PartName="/ppt/notesSlides/notesSlide23.xml" ContentType="application/vnd.openxmlformats-officedocument.presentationml.notesSlide+xml"/>
  <Override PartName="/ppt/tags/tag201.xml" ContentType="application/vnd.openxmlformats-officedocument.presentationml.tags+xml"/>
  <Override PartName="/ppt/notesSlides/notesSlide24.xml" ContentType="application/vnd.openxmlformats-officedocument.presentationml.notesSlide+xml"/>
  <Override PartName="/ppt/tags/tag202.xml" ContentType="application/vnd.openxmlformats-officedocument.presentationml.tags+xml"/>
  <Override PartName="/ppt/notesSlides/notesSlide25.xml" ContentType="application/vnd.openxmlformats-officedocument.presentationml.notesSlide+xml"/>
  <Override PartName="/ppt/tags/tag203.xml" ContentType="application/vnd.openxmlformats-officedocument.presentationml.tags+xml"/>
  <Override PartName="/ppt/notesSlides/notesSlide26.xml" ContentType="application/vnd.openxmlformats-officedocument.presentationml.notesSlide+xml"/>
  <Override PartName="/ppt/tags/tag204.xml" ContentType="application/vnd.openxmlformats-officedocument.presentationml.tags+xml"/>
  <Override PartName="/ppt/notesSlides/notesSlide27.xml" ContentType="application/vnd.openxmlformats-officedocument.presentationml.notesSlide+xml"/>
  <Override PartName="/ppt/tags/tag205.xml" ContentType="application/vnd.openxmlformats-officedocument.presentationml.tags+xml"/>
  <Override PartName="/ppt/notesSlides/notesSlide28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29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30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31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notesSlides/notesSlide32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33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notesSlides/notesSlide34.xml" ContentType="application/vnd.openxmlformats-officedocument.presentationml.notesSlid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35.xml" ContentType="application/vnd.openxmlformats-officedocument.presentationml.notesSlid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notesSlides/notesSlide36.xml" ContentType="application/vnd.openxmlformats-officedocument.presentationml.notesSlide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37.xml" ContentType="application/vnd.openxmlformats-officedocument.presentationml.notesSl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38.xml" ContentType="application/vnd.openxmlformats-officedocument.presentationml.notesSl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notesSlides/notesSlide39.xml" ContentType="application/vnd.openxmlformats-officedocument.presentationml.notesSlide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notesSlides/notesSlide40.xml" ContentType="application/vnd.openxmlformats-officedocument.presentationml.notesSlide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notesSlides/notesSlide41.xml" ContentType="application/vnd.openxmlformats-officedocument.presentationml.notesSl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42.xml" ContentType="application/vnd.openxmlformats-officedocument.presentationml.notesSl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notesSlides/notesSlide43.xml" ContentType="application/vnd.openxmlformats-officedocument.presentationml.notesSlid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notesSlides/notesSlide44.xml" ContentType="application/vnd.openxmlformats-officedocument.presentationml.notesSlid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notesSlides/notesSlide45.xml" ContentType="application/vnd.openxmlformats-officedocument.presentationml.notesSlid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46.xml" ContentType="application/vnd.openxmlformats-officedocument.presentationml.notesSlid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notesSlides/notesSlide47.xml" ContentType="application/vnd.openxmlformats-officedocument.presentationml.notesSlid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notesSlides/notesSlide48.xml" ContentType="application/vnd.openxmlformats-officedocument.presentationml.notesSlid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notesSlides/notesSlide49.xml" ContentType="application/vnd.openxmlformats-officedocument.presentationml.notesSlid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notesSlides/notesSlide50.xml" ContentType="application/vnd.openxmlformats-officedocument.presentationml.notesSlide+xml"/>
  <Override PartName="/ppt/tags/tag276.xml" ContentType="application/vnd.openxmlformats-officedocument.presentationml.tags+xml"/>
  <Override PartName="/ppt/notesSlides/notesSlide51.xml" ContentType="application/vnd.openxmlformats-officedocument.presentationml.notesSlide+xml"/>
  <Override PartName="/ppt/tags/tag277.xml" ContentType="application/vnd.openxmlformats-officedocument.presentationml.tags+xml"/>
  <Override PartName="/ppt/notesSlides/notesSlide52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notesSlides/notesSlide53.xml" ContentType="application/vnd.openxmlformats-officedocument.presentationml.notesSlide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54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notesSlides/notesSlide55.xml" ContentType="application/vnd.openxmlformats-officedocument.presentationml.notesSlide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notesSlides/notesSlide56.xml" ContentType="application/vnd.openxmlformats-officedocument.presentationml.notesSlide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notesSlides/notesSlide57.xml" ContentType="application/vnd.openxmlformats-officedocument.presentationml.notesSlide+xml"/>
  <Override PartName="/ppt/tags/tag314.xml" ContentType="application/vnd.openxmlformats-officedocument.presentationml.tags+xml"/>
  <Override PartName="/ppt/notesSlides/notesSlide58.xml" ContentType="application/vnd.openxmlformats-officedocument.presentationml.notesSlide+xml"/>
  <Override PartName="/ppt/tags/tag315.xml" ContentType="application/vnd.openxmlformats-officedocument.presentationml.tags+xml"/>
  <Override PartName="/ppt/notesSlides/notesSlide59.xml" ContentType="application/vnd.openxmlformats-officedocument.presentationml.notesSlide+xml"/>
  <Override PartName="/ppt/tags/tag316.xml" ContentType="application/vnd.openxmlformats-officedocument.presentationml.tags+xml"/>
  <Override PartName="/ppt/notesSlides/notesSlide60.xml" ContentType="application/vnd.openxmlformats-officedocument.presentationml.notesSlide+xml"/>
  <Override PartName="/ppt/tags/tag317.xml" ContentType="application/vnd.openxmlformats-officedocument.presentationml.tags+xml"/>
  <Override PartName="/ppt/notesSlides/notesSlide61.xml" ContentType="application/vnd.openxmlformats-officedocument.presentationml.notesSlide+xml"/>
  <Override PartName="/ppt/tags/tag318.xml" ContentType="application/vnd.openxmlformats-officedocument.presentationml.tags+xml"/>
  <Override PartName="/ppt/notesSlides/notesSlide62.xml" ContentType="application/vnd.openxmlformats-officedocument.presentationml.notesSlide+xml"/>
  <Override PartName="/ppt/tags/tag319.xml" ContentType="application/vnd.openxmlformats-officedocument.presentationml.tags+xml"/>
  <Override PartName="/ppt/notesSlides/notesSlide63.xml" ContentType="application/vnd.openxmlformats-officedocument.presentationml.notesSlide+xml"/>
  <Override PartName="/ppt/tags/tag320.xml" ContentType="application/vnd.openxmlformats-officedocument.presentationml.tags+xml"/>
  <Override PartName="/ppt/notesSlides/notesSlide64.xml" ContentType="application/vnd.openxmlformats-officedocument.presentationml.notesSlide+xml"/>
  <Override PartName="/ppt/tags/tag321.xml" ContentType="application/vnd.openxmlformats-officedocument.presentationml.tags+xml"/>
  <Override PartName="/ppt/notesSlides/notesSlide65.xml" ContentType="application/vnd.openxmlformats-officedocument.presentationml.notesSlide+xml"/>
  <Override PartName="/ppt/tags/tag322.xml" ContentType="application/vnd.openxmlformats-officedocument.presentationml.tags+xml"/>
  <Override PartName="/ppt/notesSlides/notesSlide66.xml" ContentType="application/vnd.openxmlformats-officedocument.presentationml.notesSlide+xml"/>
  <Override PartName="/ppt/tags/tag323.xml" ContentType="application/vnd.openxmlformats-officedocument.presentationml.tags+xml"/>
  <Override PartName="/ppt/notesSlides/notesSlide67.xml" ContentType="application/vnd.openxmlformats-officedocument.presentationml.notesSlide+xml"/>
  <Override PartName="/ppt/tags/tag324.xml" ContentType="application/vnd.openxmlformats-officedocument.presentationml.tags+xml"/>
  <Override PartName="/ppt/notesSlides/notesSlide68.xml" ContentType="application/vnd.openxmlformats-officedocument.presentationml.notesSlide+xml"/>
  <Override PartName="/ppt/tags/tag325.xml" ContentType="application/vnd.openxmlformats-officedocument.presentationml.tags+xml"/>
  <Override PartName="/ppt/notesSlides/notesSlide69.xml" ContentType="application/vnd.openxmlformats-officedocument.presentationml.notesSlide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70.xml" ContentType="application/vnd.openxmlformats-officedocument.presentationml.notesSlide+xml"/>
  <Override PartName="/ppt/tags/tag328.xml" ContentType="application/vnd.openxmlformats-officedocument.presentationml.tags+xml"/>
  <Override PartName="/ppt/notesSlides/notesSlide71.xml" ContentType="application/vnd.openxmlformats-officedocument.presentationml.notesSlide+xml"/>
  <Override PartName="/ppt/tags/tag329.xml" ContentType="application/vnd.openxmlformats-officedocument.presentationml.tags+xml"/>
  <Override PartName="/ppt/notesSlides/notesSlide72.xml" ContentType="application/vnd.openxmlformats-officedocument.presentationml.notesSlide+xml"/>
  <Override PartName="/ppt/tags/tag330.xml" ContentType="application/vnd.openxmlformats-officedocument.presentationml.tags+xml"/>
  <Override PartName="/ppt/notesSlides/notesSlide73.xml" ContentType="application/vnd.openxmlformats-officedocument.presentationml.notesSlide+xml"/>
  <Override PartName="/ppt/tags/tag331.xml" ContentType="application/vnd.openxmlformats-officedocument.presentationml.tags+xml"/>
  <Override PartName="/ppt/notesSlides/notesSlide74.xml" ContentType="application/vnd.openxmlformats-officedocument.presentationml.notesSlide+xml"/>
  <Override PartName="/ppt/tags/tag332.xml" ContentType="application/vnd.openxmlformats-officedocument.presentationml.tags+xml"/>
  <Override PartName="/ppt/notesSlides/notesSlide75.xml" ContentType="application/vnd.openxmlformats-officedocument.presentationml.notesSlide+xml"/>
  <Override PartName="/ppt/tags/tag333.xml" ContentType="application/vnd.openxmlformats-officedocument.presentationml.tags+xml"/>
  <Override PartName="/ppt/notesSlides/notesSlide76.xml" ContentType="application/vnd.openxmlformats-officedocument.presentationml.notesSlide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77.xml" ContentType="application/vnd.openxmlformats-officedocument.presentationml.notesSlide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notesSlides/notesSlide78.xml" ContentType="application/vnd.openxmlformats-officedocument.presentationml.notesSlide+xml"/>
  <Override PartName="/ppt/tags/tag360.xml" ContentType="application/vnd.openxmlformats-officedocument.presentationml.tags+xml"/>
  <Override PartName="/ppt/notesSlides/notesSlide7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117" r:id="rId4"/>
  </p:sldMasterIdLst>
  <p:notesMasterIdLst>
    <p:notesMasterId r:id="rId129"/>
  </p:notesMasterIdLst>
  <p:handoutMasterIdLst>
    <p:handoutMasterId r:id="rId130"/>
  </p:handoutMasterIdLst>
  <p:sldIdLst>
    <p:sldId id="2147472901" r:id="rId5"/>
    <p:sldId id="2147473459" r:id="rId6"/>
    <p:sldId id="2147473566" r:id="rId7"/>
    <p:sldId id="2147472910" r:id="rId8"/>
    <p:sldId id="2147473559" r:id="rId9"/>
    <p:sldId id="2147473068" r:id="rId10"/>
    <p:sldId id="2147377342" r:id="rId11"/>
    <p:sldId id="2147472928" r:id="rId12"/>
    <p:sldId id="2147377321" r:id="rId13"/>
    <p:sldId id="2147473450" r:id="rId14"/>
    <p:sldId id="2147472911" r:id="rId15"/>
    <p:sldId id="2147472925" r:id="rId16"/>
    <p:sldId id="371" r:id="rId17"/>
    <p:sldId id="2147473462" r:id="rId18"/>
    <p:sldId id="2147473488" r:id="rId19"/>
    <p:sldId id="2147473550" r:id="rId20"/>
    <p:sldId id="2147473532" r:id="rId21"/>
    <p:sldId id="2147473472" r:id="rId22"/>
    <p:sldId id="2147473534" r:id="rId23"/>
    <p:sldId id="2147473567" r:id="rId24"/>
    <p:sldId id="2147473568" r:id="rId25"/>
    <p:sldId id="2147473461" r:id="rId26"/>
    <p:sldId id="275" r:id="rId27"/>
    <p:sldId id="2147473530" r:id="rId28"/>
    <p:sldId id="2147473495" r:id="rId29"/>
    <p:sldId id="2147377295" r:id="rId30"/>
    <p:sldId id="2147472857" r:id="rId31"/>
    <p:sldId id="2147472933" r:id="rId32"/>
    <p:sldId id="2147473503" r:id="rId33"/>
    <p:sldId id="2147473504" r:id="rId34"/>
    <p:sldId id="2147473505" r:id="rId35"/>
    <p:sldId id="2147473506" r:id="rId36"/>
    <p:sldId id="2147473507" r:id="rId37"/>
    <p:sldId id="2147473508" r:id="rId38"/>
    <p:sldId id="2147473509" r:id="rId39"/>
    <p:sldId id="2147473531" r:id="rId40"/>
    <p:sldId id="2147377284" r:id="rId41"/>
    <p:sldId id="2147473526" r:id="rId42"/>
    <p:sldId id="2147473474" r:id="rId43"/>
    <p:sldId id="274" r:id="rId44"/>
    <p:sldId id="2147377351" r:id="rId45"/>
    <p:sldId id="2147473340" r:id="rId46"/>
    <p:sldId id="327" r:id="rId47"/>
    <p:sldId id="284" r:id="rId48"/>
    <p:sldId id="291" r:id="rId49"/>
    <p:sldId id="292" r:id="rId50"/>
    <p:sldId id="325" r:id="rId51"/>
    <p:sldId id="294" r:id="rId52"/>
    <p:sldId id="295" r:id="rId53"/>
    <p:sldId id="286" r:id="rId54"/>
    <p:sldId id="285" r:id="rId55"/>
    <p:sldId id="326" r:id="rId56"/>
    <p:sldId id="2147473451" r:id="rId57"/>
    <p:sldId id="2147377350" r:id="rId58"/>
    <p:sldId id="2147377347" r:id="rId59"/>
    <p:sldId id="2147473569" r:id="rId60"/>
    <p:sldId id="2147377349" r:id="rId61"/>
    <p:sldId id="2147473502" r:id="rId62"/>
    <p:sldId id="2147473501" r:id="rId63"/>
    <p:sldId id="2147473500" r:id="rId64"/>
    <p:sldId id="2147473476" r:id="rId65"/>
    <p:sldId id="2147473477" r:id="rId66"/>
    <p:sldId id="2147473329" r:id="rId67"/>
    <p:sldId id="2147473118" r:id="rId68"/>
    <p:sldId id="2147473478" r:id="rId69"/>
    <p:sldId id="277" r:id="rId70"/>
    <p:sldId id="2147473452" r:id="rId71"/>
    <p:sldId id="279" r:id="rId72"/>
    <p:sldId id="2147473453" r:id="rId73"/>
    <p:sldId id="281" r:id="rId74"/>
    <p:sldId id="2147473454" r:id="rId75"/>
    <p:sldId id="283" r:id="rId76"/>
    <p:sldId id="2147473455" r:id="rId77"/>
    <p:sldId id="2147473456" r:id="rId78"/>
    <p:sldId id="2147473457" r:id="rId79"/>
    <p:sldId id="287" r:id="rId80"/>
    <p:sldId id="288" r:id="rId81"/>
    <p:sldId id="289" r:id="rId82"/>
    <p:sldId id="290" r:id="rId83"/>
    <p:sldId id="2147473479" r:id="rId84"/>
    <p:sldId id="2147473498" r:id="rId85"/>
    <p:sldId id="2147473562" r:id="rId86"/>
    <p:sldId id="2147473563" r:id="rId87"/>
    <p:sldId id="2147473489" r:id="rId88"/>
    <p:sldId id="2147473513" r:id="rId89"/>
    <p:sldId id="2147473552" r:id="rId90"/>
    <p:sldId id="2147473553" r:id="rId91"/>
    <p:sldId id="2147473480" r:id="rId92"/>
    <p:sldId id="259" r:id="rId93"/>
    <p:sldId id="2147473535" r:id="rId94"/>
    <p:sldId id="280" r:id="rId95"/>
    <p:sldId id="2147473536" r:id="rId96"/>
    <p:sldId id="282" r:id="rId97"/>
    <p:sldId id="2147473537" r:id="rId98"/>
    <p:sldId id="2147473538" r:id="rId99"/>
    <p:sldId id="2147473539" r:id="rId100"/>
    <p:sldId id="2147473540" r:id="rId101"/>
    <p:sldId id="2147473541" r:id="rId102"/>
    <p:sldId id="2147473542" r:id="rId103"/>
    <p:sldId id="2147473543" r:id="rId104"/>
    <p:sldId id="2147473544" r:id="rId105"/>
    <p:sldId id="2147473545" r:id="rId106"/>
    <p:sldId id="2147473546" r:id="rId107"/>
    <p:sldId id="2147473547" r:id="rId108"/>
    <p:sldId id="293" r:id="rId109"/>
    <p:sldId id="2147473548" r:id="rId110"/>
    <p:sldId id="2147473549" r:id="rId111"/>
    <p:sldId id="296" r:id="rId112"/>
    <p:sldId id="2147473481" r:id="rId113"/>
    <p:sldId id="2147377371" r:id="rId114"/>
    <p:sldId id="2147473482" r:id="rId115"/>
    <p:sldId id="2147377343" r:id="rId116"/>
    <p:sldId id="2147377302" r:id="rId117"/>
    <p:sldId id="2147376523" r:id="rId118"/>
    <p:sldId id="2147377344" r:id="rId119"/>
    <p:sldId id="2147377345" r:id="rId120"/>
    <p:sldId id="2147377346" r:id="rId121"/>
    <p:sldId id="2147377340" r:id="rId122"/>
    <p:sldId id="2147473525" r:id="rId123"/>
    <p:sldId id="2147473449" r:id="rId124"/>
    <p:sldId id="2147473520" r:id="rId125"/>
    <p:sldId id="2147473554" r:id="rId126"/>
    <p:sldId id="2147472887" r:id="rId127"/>
    <p:sldId id="278" r:id="rId128"/>
  </p:sldIdLst>
  <p:sldSz cx="12192000" cy="6858000"/>
  <p:notesSz cx="7010400" cy="9296400"/>
  <p:custShowLst>
    <p:custShow name="Format Guide Workshop" id="0">
      <p:sldLst/>
    </p:custShow>
  </p:custShowLst>
  <p:custDataLst>
    <p:tags r:id="rId1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E7CA"/>
    <a:srgbClr val="00269E"/>
    <a:srgbClr val="009A44"/>
    <a:srgbClr val="C00000"/>
    <a:srgbClr val="808080"/>
    <a:srgbClr val="2C2C2C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5662A4-9B91-CFA2-ABF9-7A6C3456E094}" v="1" dt="2022-12-01T15:00:19.0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3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63" Type="http://schemas.openxmlformats.org/officeDocument/2006/relationships/slide" Target="slides/slide59.xml"/><Relationship Id="rId84" Type="http://schemas.openxmlformats.org/officeDocument/2006/relationships/slide" Target="slides/slide80.xml"/><Relationship Id="rId16" Type="http://schemas.openxmlformats.org/officeDocument/2006/relationships/slide" Target="slides/slide12.xml"/><Relationship Id="rId107" Type="http://schemas.openxmlformats.org/officeDocument/2006/relationships/slide" Target="slides/slide103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102" Type="http://schemas.openxmlformats.org/officeDocument/2006/relationships/slide" Target="slides/slide98.xml"/><Relationship Id="rId123" Type="http://schemas.openxmlformats.org/officeDocument/2006/relationships/slide" Target="slides/slide119.xml"/><Relationship Id="rId128" Type="http://schemas.openxmlformats.org/officeDocument/2006/relationships/slide" Target="slides/slide124.xml"/><Relationship Id="rId5" Type="http://schemas.openxmlformats.org/officeDocument/2006/relationships/slide" Target="slides/slide1.xml"/><Relationship Id="rId90" Type="http://schemas.openxmlformats.org/officeDocument/2006/relationships/slide" Target="slides/slide86.xml"/><Relationship Id="rId95" Type="http://schemas.openxmlformats.org/officeDocument/2006/relationships/slide" Target="slides/slide9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113" Type="http://schemas.openxmlformats.org/officeDocument/2006/relationships/slide" Target="slides/slide109.xml"/><Relationship Id="rId118" Type="http://schemas.openxmlformats.org/officeDocument/2006/relationships/slide" Target="slides/slide114.xml"/><Relationship Id="rId134" Type="http://schemas.openxmlformats.org/officeDocument/2006/relationships/theme" Target="theme/theme1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59" Type="http://schemas.openxmlformats.org/officeDocument/2006/relationships/slide" Target="slides/slide55.xml"/><Relationship Id="rId103" Type="http://schemas.openxmlformats.org/officeDocument/2006/relationships/slide" Target="slides/slide99.xml"/><Relationship Id="rId108" Type="http://schemas.openxmlformats.org/officeDocument/2006/relationships/slide" Target="slides/slide104.xml"/><Relationship Id="rId124" Type="http://schemas.openxmlformats.org/officeDocument/2006/relationships/slide" Target="slides/slide120.xml"/><Relationship Id="rId129" Type="http://schemas.openxmlformats.org/officeDocument/2006/relationships/notesMaster" Target="notesMasters/notesMaster1.xml"/><Relationship Id="rId54" Type="http://schemas.openxmlformats.org/officeDocument/2006/relationships/slide" Target="slides/slide50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91" Type="http://schemas.openxmlformats.org/officeDocument/2006/relationships/slide" Target="slides/slide87.xml"/><Relationship Id="rId96" Type="http://schemas.openxmlformats.org/officeDocument/2006/relationships/slide" Target="slides/slide9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49" Type="http://schemas.openxmlformats.org/officeDocument/2006/relationships/slide" Target="slides/slide45.xml"/><Relationship Id="rId114" Type="http://schemas.openxmlformats.org/officeDocument/2006/relationships/slide" Target="slides/slide110.xml"/><Relationship Id="rId119" Type="http://schemas.openxmlformats.org/officeDocument/2006/relationships/slide" Target="slides/slide115.xml"/><Relationship Id="rId44" Type="http://schemas.openxmlformats.org/officeDocument/2006/relationships/slide" Target="slides/slide40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130" Type="http://schemas.openxmlformats.org/officeDocument/2006/relationships/handoutMaster" Target="handoutMasters/handoutMaster1.xml"/><Relationship Id="rId135" Type="http://schemas.openxmlformats.org/officeDocument/2006/relationships/tableStyles" Target="tableStyles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109" Type="http://schemas.openxmlformats.org/officeDocument/2006/relationships/slide" Target="slides/slide10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openxmlformats.org/officeDocument/2006/relationships/slide" Target="slides/slide93.xml"/><Relationship Id="rId104" Type="http://schemas.openxmlformats.org/officeDocument/2006/relationships/slide" Target="slides/slide100.xml"/><Relationship Id="rId120" Type="http://schemas.openxmlformats.org/officeDocument/2006/relationships/slide" Target="slides/slide116.xml"/><Relationship Id="rId125" Type="http://schemas.openxmlformats.org/officeDocument/2006/relationships/slide" Target="slides/slide12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slide" Target="slides/slide88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slide" Target="slides/slide83.xml"/><Relationship Id="rId110" Type="http://schemas.openxmlformats.org/officeDocument/2006/relationships/slide" Target="slides/slide106.xml"/><Relationship Id="rId115" Type="http://schemas.openxmlformats.org/officeDocument/2006/relationships/slide" Target="slides/slide111.xml"/><Relationship Id="rId131" Type="http://schemas.openxmlformats.org/officeDocument/2006/relationships/tags" Target="tags/tag1.xml"/><Relationship Id="rId136" Type="http://schemas.microsoft.com/office/2015/10/relationships/revisionInfo" Target="revisionInfo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100" Type="http://schemas.openxmlformats.org/officeDocument/2006/relationships/slide" Target="slides/slide96.xml"/><Relationship Id="rId105" Type="http://schemas.openxmlformats.org/officeDocument/2006/relationships/slide" Target="slides/slide101.xml"/><Relationship Id="rId126" Type="http://schemas.openxmlformats.org/officeDocument/2006/relationships/slide" Target="slides/slide122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slide" Target="slides/slide89.xml"/><Relationship Id="rId98" Type="http://schemas.openxmlformats.org/officeDocument/2006/relationships/slide" Target="slides/slide94.xml"/><Relationship Id="rId121" Type="http://schemas.openxmlformats.org/officeDocument/2006/relationships/slide" Target="slides/slide117.xml"/><Relationship Id="rId3" Type="http://schemas.openxmlformats.org/officeDocument/2006/relationships/customXml" Target="../customXml/item3.xml"/><Relationship Id="rId25" Type="http://schemas.openxmlformats.org/officeDocument/2006/relationships/slide" Target="slides/slide21.xml"/><Relationship Id="rId46" Type="http://schemas.openxmlformats.org/officeDocument/2006/relationships/slide" Target="slides/slide42.xml"/><Relationship Id="rId67" Type="http://schemas.openxmlformats.org/officeDocument/2006/relationships/slide" Target="slides/slide63.xml"/><Relationship Id="rId116" Type="http://schemas.openxmlformats.org/officeDocument/2006/relationships/slide" Target="slides/slide11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62" Type="http://schemas.openxmlformats.org/officeDocument/2006/relationships/slide" Target="slides/slide58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111" Type="http://schemas.openxmlformats.org/officeDocument/2006/relationships/slide" Target="slides/slide107.xml"/><Relationship Id="rId132" Type="http://schemas.openxmlformats.org/officeDocument/2006/relationships/presProps" Target="presProps.xml"/><Relationship Id="rId15" Type="http://schemas.openxmlformats.org/officeDocument/2006/relationships/slide" Target="slides/slide11.xml"/><Relationship Id="rId36" Type="http://schemas.openxmlformats.org/officeDocument/2006/relationships/slide" Target="slides/slide32.xml"/><Relationship Id="rId57" Type="http://schemas.openxmlformats.org/officeDocument/2006/relationships/slide" Target="slides/slide53.xml"/><Relationship Id="rId106" Type="http://schemas.openxmlformats.org/officeDocument/2006/relationships/slide" Target="slides/slide102.xml"/><Relationship Id="rId127" Type="http://schemas.openxmlformats.org/officeDocument/2006/relationships/slide" Target="slides/slide12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52" Type="http://schemas.openxmlformats.org/officeDocument/2006/relationships/slide" Target="slides/slide48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94" Type="http://schemas.openxmlformats.org/officeDocument/2006/relationships/slide" Target="slides/slide90.xml"/><Relationship Id="rId99" Type="http://schemas.openxmlformats.org/officeDocument/2006/relationships/slide" Target="slides/slide95.xml"/><Relationship Id="rId101" Type="http://schemas.openxmlformats.org/officeDocument/2006/relationships/slide" Target="slides/slide97.xml"/><Relationship Id="rId122" Type="http://schemas.openxmlformats.org/officeDocument/2006/relationships/slide" Target="slides/slide118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26" Type="http://schemas.openxmlformats.org/officeDocument/2006/relationships/slide" Target="slides/slide22.xml"/><Relationship Id="rId47" Type="http://schemas.openxmlformats.org/officeDocument/2006/relationships/slide" Target="slides/slide43.xml"/><Relationship Id="rId68" Type="http://schemas.openxmlformats.org/officeDocument/2006/relationships/slide" Target="slides/slide64.xml"/><Relationship Id="rId89" Type="http://schemas.openxmlformats.org/officeDocument/2006/relationships/slide" Target="slides/slide85.xml"/><Relationship Id="rId112" Type="http://schemas.openxmlformats.org/officeDocument/2006/relationships/slide" Target="slides/slide108.xml"/><Relationship Id="rId133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1" y="3"/>
            <a:ext cx="3037840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/30/2023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97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1" y="8829970"/>
            <a:ext cx="3037840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439529"/>
            <a:ext cx="7008778" cy="48568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176" tIns="46588" rIns="93176" bIns="46588" rtlCol="0" anchor="ctr"/>
          <a:lstStyle/>
          <a:p>
            <a:pPr algn="ctr"/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3143" y="3"/>
            <a:ext cx="2954699" cy="466435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5100" y="579438"/>
            <a:ext cx="6662738" cy="374808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3143" y="8801208"/>
            <a:ext cx="2954699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01208"/>
            <a:ext cx="2945302" cy="466434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61772" y="4745447"/>
            <a:ext cx="6469091" cy="3793564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71172" y="0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1/30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29" userDrawn="1">
          <p15:clr>
            <a:srgbClr val="F26B43"/>
          </p15:clr>
        </p15:guide>
        <p15:guide id="2" pos="22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0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2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3.xml"/><Relationship Id="rId1" Type="http://schemas.openxmlformats.org/officeDocument/2006/relationships/notesMaster" Target="../notesMasters/notesMaster1.xml"/></Relationships>
</file>

<file path=ppt/notesSlides/_rels/notesSlide7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4.xml"/><Relationship Id="rId1" Type="http://schemas.openxmlformats.org/officeDocument/2006/relationships/notesMaster" Target="../notesMasters/notesMaster1.xml"/></Relationships>
</file>

<file path=ppt/notesSlides/_rels/notesSlide7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5.xml"/><Relationship Id="rId1" Type="http://schemas.openxmlformats.org/officeDocument/2006/relationships/notesMaster" Target="../notesMasters/notesMaster1.xml"/></Relationships>
</file>

<file path=ppt/notesSlides/_rels/notesSlide7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7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7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7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7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7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8676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5552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4886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89387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0349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7671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7671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1539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6469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3529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276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8204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8741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4133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9665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8768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7147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26647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27700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66146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83376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5397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72883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5413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982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8716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150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41079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2931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2191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57656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07716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996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53419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58683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10733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017022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76635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211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24062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875213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11852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469721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0099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36846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99962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167">
              <a:spcAft>
                <a:spcPts val="604"/>
              </a:spcAft>
              <a:defRPr/>
            </a:pPr>
            <a:endParaRPr lang="en-US">
              <a:solidFill>
                <a:srgbClr val="7F7F7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34432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230309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618320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279713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14054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t>8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7756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59013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735870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5941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513240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67456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711301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528348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809734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785484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82510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25991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576699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942661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074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598757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502952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4656378"/>
      </p:ext>
    </p:extLst>
  </p:cSld>
  <p:clrMapOvr>
    <a:masterClrMapping/>
  </p:clrMapOvr>
</p:notes>
</file>

<file path=ppt/notesSlides/notesSlide7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0569973"/>
      </p:ext>
    </p:extLst>
  </p:cSld>
  <p:clrMapOvr>
    <a:masterClrMapping/>
  </p:clrMapOvr>
</p:notes>
</file>

<file path=ppt/notesSlides/notesSlide7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497508"/>
      </p:ext>
    </p:extLst>
  </p:cSld>
  <p:clrMapOvr>
    <a:masterClrMapping/>
  </p:clrMapOvr>
</p:notes>
</file>

<file path=ppt/notesSlides/notesSlide7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90624"/>
      </p:ext>
    </p:extLst>
  </p:cSld>
  <p:clrMapOvr>
    <a:masterClrMapping/>
  </p:clrMapOvr>
</p:notes>
</file>

<file path=ppt/notesSlides/notesSlide7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32217"/>
      </p:ext>
    </p:extLst>
  </p:cSld>
  <p:clrMapOvr>
    <a:masterClrMapping/>
  </p:clrMapOvr>
</p:notes>
</file>

<file path=ppt/notesSlides/notesSlide7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079914"/>
      </p:ext>
    </p:extLst>
  </p:cSld>
  <p:clrMapOvr>
    <a:masterClrMapping/>
  </p:clrMapOvr>
</p:notes>
</file>

<file path=ppt/notesSlides/notesSlide7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397849"/>
      </p:ext>
    </p:extLst>
  </p:cSld>
  <p:clrMapOvr>
    <a:masterClrMapping/>
  </p:clrMapOvr>
</p:notes>
</file>

<file path=ppt/notesSlides/notesSlide7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43569"/>
      </p:ext>
    </p:extLst>
  </p:cSld>
  <p:clrMapOvr>
    <a:masterClrMapping/>
  </p:clrMapOvr>
</p:notes>
</file>

<file path=ppt/notesSlides/notesSlide7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8318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Arial" panose="020B0604020202020204" pitchFamily="34" charset="0"/>
              </a:rPr>
              <a:pPr/>
              <a:t>10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480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3513" y="577850"/>
            <a:ext cx="6665912" cy="37496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476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5.png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2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4.xml"/><Relationship Id="rId6" Type="http://schemas.openxmlformats.org/officeDocument/2006/relationships/image" Target="../media/image5.png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7.xml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9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4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1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2.xml"/><Relationship Id="rId6" Type="http://schemas.openxmlformats.org/officeDocument/2006/relationships/image" Target="../media/image5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1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23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 userDrawn="1"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5233839"/>
            <a:ext cx="2471737" cy="281103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date</a:t>
            </a:r>
          </a:p>
        </p:txBody>
      </p:sp>
      <p:sp>
        <p:nvSpPr>
          <p:cNvPr id="26" name="Title 6"/>
          <p:cNvSpPr>
            <a:spLocks noGrp="1"/>
          </p:cNvSpPr>
          <p:nvPr>
            <p:ph type="title" hasCustomPrompt="1"/>
          </p:nvPr>
        </p:nvSpPr>
        <p:spPr>
          <a:xfrm>
            <a:off x="469900" y="3610009"/>
            <a:ext cx="7612216" cy="886397"/>
          </a:xfrm>
        </p:spPr>
        <p:txBody>
          <a:bodyPr vert="horz">
            <a:no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22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685" y="1219200"/>
            <a:ext cx="11100664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685" y="535714"/>
            <a:ext cx="9839216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684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2311" y="1219200"/>
            <a:ext cx="5461037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108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 userDrawn="1"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9900" y="5233839"/>
            <a:ext cx="2471737" cy="281103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date</a:t>
            </a:r>
          </a:p>
        </p:txBody>
      </p:sp>
      <p:sp>
        <p:nvSpPr>
          <p:cNvPr id="8" name="Title 6"/>
          <p:cNvSpPr>
            <a:spLocks noGrp="1"/>
          </p:cNvSpPr>
          <p:nvPr>
            <p:ph type="title" hasCustomPrompt="1"/>
          </p:nvPr>
        </p:nvSpPr>
        <p:spPr>
          <a:xfrm>
            <a:off x="469900" y="3610009"/>
            <a:ext cx="7612216" cy="886397"/>
          </a:xfrm>
        </p:spPr>
        <p:txBody>
          <a:bodyPr vert="horz">
            <a:noAutofit/>
          </a:bodyPr>
          <a:lstStyle>
            <a:lvl1pPr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5" y="672001"/>
            <a:ext cx="1002154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685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685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685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675" y="533400"/>
            <a:ext cx="1002154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675" y="533400"/>
            <a:ext cx="74993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685" y="622800"/>
            <a:ext cx="9966776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48118"/>
            <a:ext cx="30673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600" y="533400"/>
            <a:ext cx="7942686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/>
              <a:t>Thank you</a:t>
            </a: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685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226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062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147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1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48502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2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5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4" imgW="270" imgH="270" progId="TCLayout.ActiveDocument.1">
                  <p:embed/>
                </p:oleObj>
              </mc:Choice>
              <mc:Fallback>
                <p:oleObj name="think-cell Slide" r:id="rId7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jendroesch@masshirefhwb.org" TargetMode="External"/><Relationship Id="rId13" Type="http://schemas.openxmlformats.org/officeDocument/2006/relationships/hyperlink" Target="mailto:nneary@masshire-capeandislands.com" TargetMode="External"/><Relationship Id="rId3" Type="http://schemas.openxmlformats.org/officeDocument/2006/relationships/notesSlide" Target="../notesSlides/notesSlide8.xml"/><Relationship Id="rId7" Type="http://schemas.openxmlformats.org/officeDocument/2006/relationships/hyperlink" Target="mailto:paul@masshireberkshire.com" TargetMode="External"/><Relationship Id="rId12" Type="http://schemas.openxmlformats.org/officeDocument/2006/relationships/hyperlink" Target="mailto:jmateus@masshirebristol.org" TargetMode="Externa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7.xml"/><Relationship Id="rId6" Type="http://schemas.openxmlformats.org/officeDocument/2006/relationships/hyperlink" Target="mailto:heather@masshireberkshire.com" TargetMode="External"/><Relationship Id="rId11" Type="http://schemas.openxmlformats.org/officeDocument/2006/relationships/hyperlink" Target="mailto:Mark.Wigfall@bostonpic.org" TargetMode="External"/><Relationship Id="rId5" Type="http://schemas.openxmlformats.org/officeDocument/2006/relationships/image" Target="../media/image4.emf"/><Relationship Id="rId10" Type="http://schemas.openxmlformats.org/officeDocument/2006/relationships/hyperlink" Target="mailto:william.ren@masshirelowellcc.com" TargetMode="External"/><Relationship Id="rId4" Type="http://schemas.openxmlformats.org/officeDocument/2006/relationships/oleObject" Target="../embeddings/oleObject80.bin"/><Relationship Id="rId9" Type="http://schemas.openxmlformats.org/officeDocument/2006/relationships/hyperlink" Target="mailto:pdoolittle@masshirenorthcentralwb.com" TargetMode="Externa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8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4.xml"/><Relationship Id="rId6" Type="http://schemas.openxmlformats.org/officeDocument/2006/relationships/image" Target="../media/image88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0.bin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9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5.xml"/><Relationship Id="rId6" Type="http://schemas.openxmlformats.org/officeDocument/2006/relationships/image" Target="../media/image89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1.bin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90.png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2.bin"/><Relationship Id="rId4" Type="http://schemas.openxmlformats.org/officeDocument/2006/relationships/notesSlide" Target="../notesSlides/notesSlide70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8.xml"/><Relationship Id="rId6" Type="http://schemas.openxmlformats.org/officeDocument/2006/relationships/image" Target="../media/image9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3.bin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9.xml"/><Relationship Id="rId6" Type="http://schemas.openxmlformats.org/officeDocument/2006/relationships/image" Target="../media/image92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4.bin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3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0.xml"/><Relationship Id="rId6" Type="http://schemas.openxmlformats.org/officeDocument/2006/relationships/image" Target="../media/image93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5.bin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4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1.xml"/><Relationship Id="rId6" Type="http://schemas.openxmlformats.org/officeDocument/2006/relationships/image" Target="../media/image94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6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5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2.xml"/><Relationship Id="rId6" Type="http://schemas.openxmlformats.org/officeDocument/2006/relationships/image" Target="../media/image9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7.bin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6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33.xml"/><Relationship Id="rId6" Type="http://schemas.openxmlformats.org/officeDocument/2006/relationships/image" Target="../media/image9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8.bin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4.xml"/><Relationship Id="rId4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4" Type="http://schemas.openxmlformats.org/officeDocument/2006/relationships/slideLayout" Target="../slideLayouts/slideLayout27.xml"/></Relationships>
</file>

<file path=ppt/slides/_rels/slide1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doc/northeast-regional-final-report/download" TargetMode="External"/><Relationship Id="rId3" Type="http://schemas.openxmlformats.org/officeDocument/2006/relationships/oleObject" Target="../embeddings/oleObject180.bin"/><Relationship Id="rId7" Type="http://schemas.openxmlformats.org/officeDocument/2006/relationships/hyperlink" Target="https://www.mass.gov/doc/greater-boston-2020-regional-planning-report/download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335.xml"/><Relationship Id="rId6" Type="http://schemas.openxmlformats.org/officeDocument/2006/relationships/hyperlink" Target="https://www.mass.gov/doc/central-region-blueprint-update-5-29-20/download" TargetMode="External"/><Relationship Id="rId11" Type="http://schemas.openxmlformats.org/officeDocument/2006/relationships/hyperlink" Target="https://www.mass.gov/doc/berkshire-labor-market-blueprint-2020-update/download" TargetMode="External"/><Relationship Id="rId5" Type="http://schemas.openxmlformats.org/officeDocument/2006/relationships/hyperlink" Target="https://www.mass.gov/doc/blueprint-update-ciwbannualfinal/download" TargetMode="External"/><Relationship Id="rId10" Type="http://schemas.openxmlformats.org/officeDocument/2006/relationships/hyperlink" Target="https://www.mass.gov/doc/2019-2020-blueprint-update-final/download" TargetMode="External"/><Relationship Id="rId4" Type="http://schemas.openxmlformats.org/officeDocument/2006/relationships/image" Target="../media/image15.emf"/><Relationship Id="rId9" Type="http://schemas.openxmlformats.org/officeDocument/2006/relationships/hyperlink" Target="https://www.mass.gov/doc/pioneer-valley-blueprint-update-08-10-20-corrected/download" TargetMode="Externa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36.xml"/><Relationship Id="rId4" Type="http://schemas.openxmlformats.org/officeDocument/2006/relationships/image" Target="../media/image15.emf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2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37.xml"/><Relationship Id="rId4" Type="http://schemas.openxmlformats.org/officeDocument/2006/relationships/image" Target="../media/image15.emf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3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38.xml"/><Relationship Id="rId4" Type="http://schemas.openxmlformats.org/officeDocument/2006/relationships/image" Target="../media/image15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4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39.xml"/><Relationship Id="rId4" Type="http://schemas.openxmlformats.org/officeDocument/2006/relationships/image" Target="../media/image15.emf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5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40.xml"/><Relationship Id="rId4" Type="http://schemas.openxmlformats.org/officeDocument/2006/relationships/image" Target="../media/image15.emf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6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41.xml"/><Relationship Id="rId4" Type="http://schemas.openxmlformats.org/officeDocument/2006/relationships/image" Target="../media/image15.emf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7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42.xml"/><Relationship Id="rId4" Type="http://schemas.openxmlformats.org/officeDocument/2006/relationships/image" Target="../media/image15.emf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8.bin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343.xml"/><Relationship Id="rId4" Type="http://schemas.openxmlformats.org/officeDocument/2006/relationships/image" Target="../media/image15.emf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2" Type="http://schemas.openxmlformats.org/officeDocument/2006/relationships/tags" Target="../tags/tag345.xml"/><Relationship Id="rId1" Type="http://schemas.openxmlformats.org/officeDocument/2006/relationships/tags" Target="../tags/tag344.xml"/><Relationship Id="rId4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1.bin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14.emf"/><Relationship Id="rId5" Type="http://schemas.openxmlformats.org/officeDocument/2006/relationships/tags" Target="../tags/tag351.xml"/><Relationship Id="rId10" Type="http://schemas.openxmlformats.org/officeDocument/2006/relationships/oleObject" Target="../embeddings/oleObject189.bin"/><Relationship Id="rId4" Type="http://schemas.openxmlformats.org/officeDocument/2006/relationships/tags" Target="../tags/tag350.xml"/><Relationship Id="rId9" Type="http://schemas.openxmlformats.org/officeDocument/2006/relationships/notesSlide" Target="../notesSlides/notesSlide77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0.bin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91.bin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92.bin"/><Relationship Id="rId4" Type="http://schemas.openxmlformats.org/officeDocument/2006/relationships/notesSlide" Target="../notesSlides/notesSlide78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9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6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4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image" Target="../media/image21.emf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oleObject" Target="../embeddings/oleObject83.bin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150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149.xml"/><Relationship Id="rId9" Type="http://schemas.openxmlformats.org/officeDocument/2006/relationships/tags" Target="../tags/tag15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oleObject" Target="../embeddings/oleObject84.bin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slideLayout" Target="../slideLayouts/slideLayout4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1" Type="http://schemas.openxmlformats.org/officeDocument/2006/relationships/tags" Target="../tags/tag155.x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image" Target="../media/image15.emf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5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mailto:tjacques@masscec.com" TargetMode="External"/><Relationship Id="rId3" Type="http://schemas.openxmlformats.org/officeDocument/2006/relationships/tags" Target="../tags/tag175.xml"/><Relationship Id="rId7" Type="http://schemas.openxmlformats.org/officeDocument/2006/relationships/image" Target="../media/image4.emf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oleObject" Target="../embeddings/oleObject86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mailto:RMudawar@masslifesciences.com" TargetMode="External"/><Relationship Id="rId3" Type="http://schemas.openxmlformats.org/officeDocument/2006/relationships/tags" Target="../tags/tag178.xml"/><Relationship Id="rId7" Type="http://schemas.openxmlformats.org/officeDocument/2006/relationships/image" Target="../media/image4.emf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oleObject" Target="../embeddings/oleObject87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mailto:brian@massmedic.com" TargetMode="External"/><Relationship Id="rId3" Type="http://schemas.openxmlformats.org/officeDocument/2006/relationships/tags" Target="../tags/tag181.xml"/><Relationship Id="rId7" Type="http://schemas.openxmlformats.org/officeDocument/2006/relationships/image" Target="../media/image4.emf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oleObject" Target="../embeddings/oleObject88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Larkin@Masstech.org" TargetMode="External"/><Relationship Id="rId3" Type="http://schemas.openxmlformats.org/officeDocument/2006/relationships/tags" Target="../tags/tag184.xml"/><Relationship Id="rId7" Type="http://schemas.openxmlformats.org/officeDocument/2006/relationships/image" Target="../media/image4.emf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oleObject" Target="../embeddings/oleObject89.bin"/><Relationship Id="rId5" Type="http://schemas.openxmlformats.org/officeDocument/2006/relationships/notesSlide" Target="../notesSlides/notesSlide15.xml"/><Relationship Id="rId10" Type="http://schemas.openxmlformats.org/officeDocument/2006/relationships/hyperlink" Target="mailto:Helm@Masstech.org" TargetMode="External"/><Relationship Id="rId4" Type="http://schemas.openxmlformats.org/officeDocument/2006/relationships/slideLayout" Target="../slideLayouts/slideLayout11.xml"/><Relationship Id="rId9" Type="http://schemas.openxmlformats.org/officeDocument/2006/relationships/hyperlink" Target="mailto:Nolan@Masstech.org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mailto:Margaret.laforest@mass.gov" TargetMode="External"/><Relationship Id="rId3" Type="http://schemas.openxmlformats.org/officeDocument/2006/relationships/tags" Target="../tags/tag187.xml"/><Relationship Id="rId7" Type="http://schemas.openxmlformats.org/officeDocument/2006/relationships/image" Target="../media/image4.emf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oleObject" Target="../embeddings/oleObject90.bin"/><Relationship Id="rId5" Type="http://schemas.openxmlformats.org/officeDocument/2006/relationships/notesSlide" Target="../notesSlides/notesSlide16.xml"/><Relationship Id="rId10" Type="http://schemas.openxmlformats.org/officeDocument/2006/relationships/hyperlink" Target="mailto:William.I.crocker@mass.gov" TargetMode="External"/><Relationship Id="rId4" Type="http://schemas.openxmlformats.org/officeDocument/2006/relationships/slideLayout" Target="../slideLayouts/slideLayout11.xml"/><Relationship Id="rId9" Type="http://schemas.openxmlformats.org/officeDocument/2006/relationships/hyperlink" Target="mailto:whitaker@mass.gov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charles.bennett@detma.org" TargetMode="External"/><Relationship Id="rId3" Type="http://schemas.openxmlformats.org/officeDocument/2006/relationships/tags" Target="../tags/tag190.xml"/><Relationship Id="rId7" Type="http://schemas.openxmlformats.org/officeDocument/2006/relationships/image" Target="../media/image4.emf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oleObject" Target="../embeddings/oleObject91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2.bin"/><Relationship Id="rId4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93.xml"/><Relationship Id="rId5" Type="http://schemas.openxmlformats.org/officeDocument/2006/relationships/image" Target="../media/image24.wmf"/><Relationship Id="rId4" Type="http://schemas.openxmlformats.org/officeDocument/2006/relationships/image" Target="../media/image23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4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96.bin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95.bin"/><Relationship Id="rId4" Type="http://schemas.openxmlformats.org/officeDocument/2006/relationships/notesSlide" Target="../notesSlides/notesSlide2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2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hyperlink" Target="mailto:erolison@masshireberkshirecc.com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99.xml"/><Relationship Id="rId6" Type="http://schemas.openxmlformats.org/officeDocument/2006/relationships/hyperlink" Target="mailto:mherzig@masshireberkshirecc.com" TargetMode="Externa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9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7.jpe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4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mailto:lchakalos-ryan@mhmncc.com" TargetMode="External"/><Relationship Id="rId13" Type="http://schemas.openxmlformats.org/officeDocument/2006/relationships/hyperlink" Target="mailto:jlandis@masshiredowntownboston.org" TargetMode="External"/><Relationship Id="rId3" Type="http://schemas.openxmlformats.org/officeDocument/2006/relationships/notesSlide" Target="../notesSlides/notesSlide23.xml"/><Relationship Id="rId7" Type="http://schemas.openxmlformats.org/officeDocument/2006/relationships/hyperlink" Target="mailto:mbeatrice@mhmncc.com" TargetMode="External"/><Relationship Id="rId12" Type="http://schemas.openxmlformats.org/officeDocument/2006/relationships/hyperlink" Target="mailto:sbuckey@masshiredowntownboston.org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0.xml"/><Relationship Id="rId6" Type="http://schemas.openxmlformats.org/officeDocument/2006/relationships/hyperlink" Target="mailto:cdesmarais@mhmncc.com" TargetMode="External"/><Relationship Id="rId11" Type="http://schemas.openxmlformats.org/officeDocument/2006/relationships/hyperlink" Target="mailto:sremy-marquez@MassHireBostonCareerCtr.org" TargetMode="External"/><Relationship Id="rId5" Type="http://schemas.openxmlformats.org/officeDocument/2006/relationships/image" Target="../media/image21.emf"/><Relationship Id="rId10" Type="http://schemas.openxmlformats.org/officeDocument/2006/relationships/hyperlink" Target="mailto:eddiemalloy@MassHireBostonCareerCtr.org" TargetMode="External"/><Relationship Id="rId4" Type="http://schemas.openxmlformats.org/officeDocument/2006/relationships/oleObject" Target="../embeddings/oleObject99.bin"/><Relationship Id="rId9" Type="http://schemas.openxmlformats.org/officeDocument/2006/relationships/hyperlink" Target="mailto:antoniothomas@MassHireBostonCareerCtr.org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mailto:efernandez@masshiremsw.com" TargetMode="External"/><Relationship Id="rId13" Type="http://schemas.openxmlformats.org/officeDocument/2006/relationships/hyperlink" Target="mailto:apontey@masshirecentralcc.com" TargetMode="External"/><Relationship Id="rId3" Type="http://schemas.openxmlformats.org/officeDocument/2006/relationships/notesSlide" Target="../notesSlides/notesSlide24.xml"/><Relationship Id="rId7" Type="http://schemas.openxmlformats.org/officeDocument/2006/relationships/hyperlink" Target="mailto:jmckenna@masshiremsw.com" TargetMode="External"/><Relationship Id="rId12" Type="http://schemas.openxmlformats.org/officeDocument/2006/relationships/hyperlink" Target="mailto:joyced@masshirecentralcc.com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1.xml"/><Relationship Id="rId6" Type="http://schemas.openxmlformats.org/officeDocument/2006/relationships/hyperlink" Target="mailto:smarshall@masshiremsw.com" TargetMode="External"/><Relationship Id="rId11" Type="http://schemas.openxmlformats.org/officeDocument/2006/relationships/hyperlink" Target="mailto:younisj@masshirecentralcc.com" TargetMode="External"/><Relationship Id="rId5" Type="http://schemas.openxmlformats.org/officeDocument/2006/relationships/image" Target="../media/image21.emf"/><Relationship Id="rId10" Type="http://schemas.openxmlformats.org/officeDocument/2006/relationships/hyperlink" Target="mailto:spercifull@masshirenorthcentralcc.com" TargetMode="External"/><Relationship Id="rId4" Type="http://schemas.openxmlformats.org/officeDocument/2006/relationships/oleObject" Target="../embeddings/oleObject100.bin"/><Relationship Id="rId9" Type="http://schemas.openxmlformats.org/officeDocument/2006/relationships/hyperlink" Target="mailto:ktorrez@masshiremsw.com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hyperlink" Target="mailto:slusty@masshiremvcc.com" TargetMode="External"/><Relationship Id="rId13" Type="http://schemas.openxmlformats.org/officeDocument/2006/relationships/hyperlink" Target="mailto:csnow@masshire-nscareers.org" TargetMode="External"/><Relationship Id="rId3" Type="http://schemas.openxmlformats.org/officeDocument/2006/relationships/notesSlide" Target="../notesSlides/notesSlide25.xml"/><Relationship Id="rId7" Type="http://schemas.openxmlformats.org/officeDocument/2006/relationships/hyperlink" Target="mailto:leta.mcdonald@detma.org" TargetMode="External"/><Relationship Id="rId12" Type="http://schemas.openxmlformats.org/officeDocument/2006/relationships/hyperlink" Target="mailto:ealcala@masshire-nscareers.org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2.xml"/><Relationship Id="rId6" Type="http://schemas.openxmlformats.org/officeDocument/2006/relationships/hyperlink" Target="mailto:eric.nelson@detma.org" TargetMode="External"/><Relationship Id="rId11" Type="http://schemas.openxmlformats.org/officeDocument/2006/relationships/hyperlink" Target="mailto:Thavrith.Thao@masshirelowellcc.com" TargetMode="External"/><Relationship Id="rId5" Type="http://schemas.openxmlformats.org/officeDocument/2006/relationships/image" Target="../media/image21.emf"/><Relationship Id="rId10" Type="http://schemas.openxmlformats.org/officeDocument/2006/relationships/hyperlink" Target="mailto:Timothy.Hovey@masshirelowellcc.com" TargetMode="External"/><Relationship Id="rId4" Type="http://schemas.openxmlformats.org/officeDocument/2006/relationships/oleObject" Target="../embeddings/oleObject101.bin"/><Relationship Id="rId9" Type="http://schemas.openxmlformats.org/officeDocument/2006/relationships/hyperlink" Target="mailto:marianne.segool@masshirelowellcc.com" TargetMode="External"/><Relationship Id="rId14" Type="http://schemas.openxmlformats.org/officeDocument/2006/relationships/hyperlink" Target="mailto:lsmythe@masshire-nscareers.org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7" Type="http://schemas.openxmlformats.org/officeDocument/2006/relationships/hyperlink" Target="mailto:cleblanc@masshire-capeandislands.com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3.xml"/><Relationship Id="rId6" Type="http://schemas.openxmlformats.org/officeDocument/2006/relationships/hyperlink" Target="mailto:nneary@masshire-capeandislands.com" TargetMode="Externa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02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mailto:akingman@masshiregbcc.org" TargetMode="External"/><Relationship Id="rId13" Type="http://schemas.openxmlformats.org/officeDocument/2006/relationships/hyperlink" Target="mailto:klazaro@masshiregnbcc.com" TargetMode="External"/><Relationship Id="rId3" Type="http://schemas.openxmlformats.org/officeDocument/2006/relationships/notesSlide" Target="../notesSlides/notesSlide27.xml"/><Relationship Id="rId7" Type="http://schemas.openxmlformats.org/officeDocument/2006/relationships/hyperlink" Target="mailto:kfrank@masshirebristol.org" TargetMode="External"/><Relationship Id="rId12" Type="http://schemas.openxmlformats.org/officeDocument/2006/relationships/hyperlink" Target="mailto:sharon.martin@detma.org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4.xml"/><Relationship Id="rId6" Type="http://schemas.openxmlformats.org/officeDocument/2006/relationships/hyperlink" Target="mailto:aferreira@masshirebristol.org" TargetMode="External"/><Relationship Id="rId11" Type="http://schemas.openxmlformats.org/officeDocument/2006/relationships/hyperlink" Target="mailto:aterrill@masshiresouthshorecc.com" TargetMode="External"/><Relationship Id="rId5" Type="http://schemas.openxmlformats.org/officeDocument/2006/relationships/image" Target="../media/image21.emf"/><Relationship Id="rId10" Type="http://schemas.openxmlformats.org/officeDocument/2006/relationships/hyperlink" Target="mailto:calexis@masshiresouthshorecc.com" TargetMode="External"/><Relationship Id="rId4" Type="http://schemas.openxmlformats.org/officeDocument/2006/relationships/oleObject" Target="../embeddings/oleObject103.bin"/><Relationship Id="rId9" Type="http://schemas.openxmlformats.org/officeDocument/2006/relationships/hyperlink" Target="mailto:jcahill@masshiregbcc.org" TargetMode="External"/><Relationship Id="rId14" Type="http://schemas.openxmlformats.org/officeDocument/2006/relationships/hyperlink" Target="mailto:plevesque@masshiregnbcc.com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mailto:icruz@masshireholyoke.org" TargetMode="External"/><Relationship Id="rId3" Type="http://schemas.openxmlformats.org/officeDocument/2006/relationships/notesSlide" Target="../notesSlides/notesSlide28.xml"/><Relationship Id="rId7" Type="http://schemas.openxmlformats.org/officeDocument/2006/relationships/hyperlink" Target="mailto:mboily@masshirefhcareers.org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5.xml"/><Relationship Id="rId6" Type="http://schemas.openxmlformats.org/officeDocument/2006/relationships/hyperlink" Target="mailto:pennimenard@masshirefhcareers.org" TargetMode="External"/><Relationship Id="rId11" Type="http://schemas.openxmlformats.org/officeDocument/2006/relationships/hyperlink" Target="mailto:qmurray@masshirespringfield.org" TargetMode="External"/><Relationship Id="rId5" Type="http://schemas.openxmlformats.org/officeDocument/2006/relationships/image" Target="../media/image21.emf"/><Relationship Id="rId10" Type="http://schemas.openxmlformats.org/officeDocument/2006/relationships/hyperlink" Target="mailto:yrodriguez@masshirespringfield.org" TargetMode="External"/><Relationship Id="rId4" Type="http://schemas.openxmlformats.org/officeDocument/2006/relationships/oleObject" Target="../embeddings/oleObject104.bin"/><Relationship Id="rId9" Type="http://schemas.openxmlformats.org/officeDocument/2006/relationships/hyperlink" Target="mailto:mcorales@masshireholyoke.org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5.bin"/><Relationship Id="rId4" Type="http://schemas.openxmlformats.org/officeDocument/2006/relationships/notesSlide" Target="../notesSlides/notesSlide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6.bin"/><Relationship Id="rId4" Type="http://schemas.openxmlformats.org/officeDocument/2006/relationships/notesSlide" Target="../notesSlides/notesSlide3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7.bin"/><Relationship Id="rId4" Type="http://schemas.openxmlformats.org/officeDocument/2006/relationships/notesSlide" Target="../notesSlides/notesSlide3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4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4" Type="http://schemas.openxmlformats.org/officeDocument/2006/relationships/slideLayout" Target="../slideLayouts/slideLayout2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8.bin"/><Relationship Id="rId4" Type="http://schemas.openxmlformats.org/officeDocument/2006/relationships/notesSlide" Target="../notesSlides/notesSlide3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9.bin"/><Relationship Id="rId4" Type="http://schemas.openxmlformats.org/officeDocument/2006/relationships/notesSlide" Target="../notesSlides/notesSlide3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image" Target="../media/image26.jpe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0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1.bin"/><Relationship Id="rId4" Type="http://schemas.openxmlformats.org/officeDocument/2006/relationships/notesSlide" Target="../notesSlides/notesSlide3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225.xml"/><Relationship Id="rId7" Type="http://schemas.openxmlformats.org/officeDocument/2006/relationships/image" Target="../media/image4.emf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oleObject" Target="../embeddings/oleObject112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35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8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tags" Target="../tags/tag228.xml"/><Relationship Id="rId7" Type="http://schemas.openxmlformats.org/officeDocument/2006/relationships/image" Target="../media/image4.emf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oleObject" Target="../embeddings/oleObject113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36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8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231.xml"/><Relationship Id="rId7" Type="http://schemas.openxmlformats.org/officeDocument/2006/relationships/image" Target="../media/image4.emf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oleObject" Target="../embeddings/oleObject114.bin"/><Relationship Id="rId11" Type="http://schemas.openxmlformats.org/officeDocument/2006/relationships/image" Target="../media/image30.svg"/><Relationship Id="rId5" Type="http://schemas.openxmlformats.org/officeDocument/2006/relationships/notesSlide" Target="../notesSlides/notesSlide37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5.bin"/><Relationship Id="rId4" Type="http://schemas.openxmlformats.org/officeDocument/2006/relationships/notesSlide" Target="../notesSlides/notesSlide38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image" Target="../media/image4.emf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oleObject" Target="../embeddings/oleObject116.bin"/><Relationship Id="rId5" Type="http://schemas.openxmlformats.org/officeDocument/2006/relationships/tags" Target="../tags/tag238.xml"/><Relationship Id="rId10" Type="http://schemas.openxmlformats.org/officeDocument/2006/relationships/notesSlide" Target="../notesSlides/notesSlide39.xml"/><Relationship Id="rId4" Type="http://schemas.openxmlformats.org/officeDocument/2006/relationships/tags" Target="../tags/tag237.xml"/><Relationship Id="rId9" Type="http://schemas.openxmlformats.org/officeDocument/2006/relationships/slideLayout" Target="../slideLayouts/slideLayout70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13" Type="http://schemas.openxmlformats.org/officeDocument/2006/relationships/oleObject" Target="../embeddings/oleObject118.bin"/><Relationship Id="rId3" Type="http://schemas.openxmlformats.org/officeDocument/2006/relationships/tags" Target="../tags/tag244.xml"/><Relationship Id="rId7" Type="http://schemas.openxmlformats.org/officeDocument/2006/relationships/notesSlide" Target="../notesSlides/notesSlide40.xml"/><Relationship Id="rId12" Type="http://schemas.openxmlformats.org/officeDocument/2006/relationships/hyperlink" Target="https://commcorp.org/available-funding/" TargetMode="External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slideLayout" Target="../slideLayouts/slideLayout11.xml"/><Relationship Id="rId11" Type="http://schemas.openxmlformats.org/officeDocument/2006/relationships/hyperlink" Target="https://www.mass.gov/doc/blueprint-update-summary-matrix/download" TargetMode="External"/><Relationship Id="rId5" Type="http://schemas.openxmlformats.org/officeDocument/2006/relationships/tags" Target="../tags/tag246.xml"/><Relationship Id="rId15" Type="http://schemas.openxmlformats.org/officeDocument/2006/relationships/oleObject" Target="../embeddings/oleObject119.bin"/><Relationship Id="rId10" Type="http://schemas.openxmlformats.org/officeDocument/2006/relationships/image" Target="../media/image33.jpeg"/><Relationship Id="rId4" Type="http://schemas.openxmlformats.org/officeDocument/2006/relationships/tags" Target="../tags/tag245.xml"/><Relationship Id="rId9" Type="http://schemas.openxmlformats.org/officeDocument/2006/relationships/image" Target="../media/image4.emf"/><Relationship Id="rId14" Type="http://schemas.openxmlformats.org/officeDocument/2006/relationships/image" Target="../media/image1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25.xml"/><Relationship Id="rId7" Type="http://schemas.openxmlformats.org/officeDocument/2006/relationships/oleObject" Target="../embeddings/oleObject75.bin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slideLayout" Target="../slideLayouts/slideLayout40.xml"/><Relationship Id="rId5" Type="http://schemas.openxmlformats.org/officeDocument/2006/relationships/tags" Target="../tags/tag127.xml"/><Relationship Id="rId4" Type="http://schemas.openxmlformats.org/officeDocument/2006/relationships/tags" Target="../tags/tag126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tags" Target="../tags/tag249.xml"/><Relationship Id="rId7" Type="http://schemas.openxmlformats.org/officeDocument/2006/relationships/image" Target="../media/image4.emf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oleObject" Target="../embeddings/oleObject120.bin"/><Relationship Id="rId5" Type="http://schemas.openxmlformats.org/officeDocument/2006/relationships/notesSlide" Target="../notesSlides/notesSlide41.xml"/><Relationship Id="rId4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tags" Target="../tags/tag252.xml"/><Relationship Id="rId7" Type="http://schemas.openxmlformats.org/officeDocument/2006/relationships/image" Target="../media/image4.emf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oleObject" Target="../embeddings/oleObject121.bin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2.bin"/><Relationship Id="rId4" Type="http://schemas.openxmlformats.org/officeDocument/2006/relationships/notesSlide" Target="../notesSlides/notesSlide4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3.bin"/><Relationship Id="rId4" Type="http://schemas.openxmlformats.org/officeDocument/2006/relationships/notesSlide" Target="../notesSlides/notesSlide44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tags" Target="../tags/tag259.xml"/><Relationship Id="rId7" Type="http://schemas.openxmlformats.org/officeDocument/2006/relationships/oleObject" Target="../embeddings/oleObject124.bin"/><Relationship Id="rId2" Type="http://schemas.openxmlformats.org/officeDocument/2006/relationships/tags" Target="../tags/tag258.xml"/><Relationship Id="rId1" Type="http://schemas.openxmlformats.org/officeDocument/2006/relationships/tags" Target="../tags/tag257.xml"/><Relationship Id="rId6" Type="http://schemas.openxmlformats.org/officeDocument/2006/relationships/notesSlide" Target="../notesSlides/notesSlide45.xml"/><Relationship Id="rId11" Type="http://schemas.openxmlformats.org/officeDocument/2006/relationships/image" Target="../media/image35.jpe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34.jpeg"/><Relationship Id="rId4" Type="http://schemas.openxmlformats.org/officeDocument/2006/relationships/tags" Target="../tags/tag260.xml"/><Relationship Id="rId9" Type="http://schemas.openxmlformats.org/officeDocument/2006/relationships/image" Target="../media/image33.jpe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doc/blueprint-update-summary-matrix/download" TargetMode="External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38.jpeg"/><Relationship Id="rId12" Type="http://schemas.openxmlformats.org/officeDocument/2006/relationships/image" Target="../media/image42.svg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37.emf"/><Relationship Id="rId11" Type="http://schemas.openxmlformats.org/officeDocument/2006/relationships/image" Target="../media/image41.png"/><Relationship Id="rId5" Type="http://schemas.openxmlformats.org/officeDocument/2006/relationships/oleObject" Target="../embeddings/oleObject125.bin"/><Relationship Id="rId10" Type="http://schemas.openxmlformats.org/officeDocument/2006/relationships/image" Target="../media/image40.svg"/><Relationship Id="rId4" Type="http://schemas.openxmlformats.org/officeDocument/2006/relationships/notesSlide" Target="../notesSlides/notesSlide46.xml"/><Relationship Id="rId9" Type="http://schemas.openxmlformats.org/officeDocument/2006/relationships/image" Target="../media/image39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43.jpe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37.emf"/><Relationship Id="rId11" Type="http://schemas.openxmlformats.org/officeDocument/2006/relationships/image" Target="../media/image47.svg"/><Relationship Id="rId5" Type="http://schemas.openxmlformats.org/officeDocument/2006/relationships/oleObject" Target="../embeddings/oleObject126.bin"/><Relationship Id="rId10" Type="http://schemas.openxmlformats.org/officeDocument/2006/relationships/image" Target="../media/image46.png"/><Relationship Id="rId4" Type="http://schemas.openxmlformats.org/officeDocument/2006/relationships/notesSlide" Target="../notesSlides/notesSlide47.xml"/><Relationship Id="rId9" Type="http://schemas.openxmlformats.org/officeDocument/2006/relationships/image" Target="../media/image45.sv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hyperlink" Target="https://commcorp.org/available-funding/" TargetMode="External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48.jpeg"/><Relationship Id="rId12" Type="http://schemas.openxmlformats.org/officeDocument/2006/relationships/image" Target="../media/image52.svg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37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127.bin"/><Relationship Id="rId10" Type="http://schemas.openxmlformats.org/officeDocument/2006/relationships/image" Target="../media/image50.svg"/><Relationship Id="rId4" Type="http://schemas.openxmlformats.org/officeDocument/2006/relationships/notesSlide" Target="../notesSlides/notesSlide48.xml"/><Relationship Id="rId9" Type="http://schemas.openxmlformats.org/officeDocument/2006/relationships/image" Target="../media/image49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8.bin"/><Relationship Id="rId4" Type="http://schemas.openxmlformats.org/officeDocument/2006/relationships/notesSlide" Target="../notesSlides/notesSlide4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69.xml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8.x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6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30.bin"/><Relationship Id="rId4" Type="http://schemas.openxmlformats.org/officeDocument/2006/relationships/slideLayout" Target="../slideLayouts/slideLayout3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73.xml"/><Relationship Id="rId4" Type="http://schemas.openxmlformats.org/officeDocument/2006/relationships/image" Target="../media/image15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2.bin"/><Relationship Id="rId4" Type="http://schemas.openxmlformats.org/officeDocument/2006/relationships/notesSlide" Target="../notesSlides/notesSlide50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6.xml"/><Relationship Id="rId6" Type="http://schemas.openxmlformats.org/officeDocument/2006/relationships/image" Target="../media/image5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3.bin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77.xml"/><Relationship Id="rId6" Type="http://schemas.openxmlformats.org/officeDocument/2006/relationships/image" Target="../media/image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4.bin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279.xml"/><Relationship Id="rId1" Type="http://schemas.openxmlformats.org/officeDocument/2006/relationships/tags" Target="../tags/tag27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5.bin"/><Relationship Id="rId4" Type="http://schemas.openxmlformats.org/officeDocument/2006/relationships/notesSlide" Target="../notesSlides/notesSlide53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6.bin"/><Relationship Id="rId4" Type="http://schemas.openxmlformats.org/officeDocument/2006/relationships/notesSlide" Target="../notesSlides/notesSlide5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2.xml"/><Relationship Id="rId4" Type="http://schemas.openxmlformats.org/officeDocument/2006/relationships/image" Target="../media/image14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3.xml"/><Relationship Id="rId4" Type="http://schemas.openxmlformats.org/officeDocument/2006/relationships/image" Target="../media/image14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4.xml"/><Relationship Id="rId4" Type="http://schemas.openxmlformats.org/officeDocument/2006/relationships/image" Target="../media/image1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15.emf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5.xml"/><Relationship Id="rId4" Type="http://schemas.openxmlformats.org/officeDocument/2006/relationships/image" Target="../media/image14.emf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6.xml"/><Relationship Id="rId4" Type="http://schemas.openxmlformats.org/officeDocument/2006/relationships/image" Target="../media/image14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7.xml"/><Relationship Id="rId4" Type="http://schemas.openxmlformats.org/officeDocument/2006/relationships/image" Target="../media/image14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8.xml"/><Relationship Id="rId4" Type="http://schemas.openxmlformats.org/officeDocument/2006/relationships/image" Target="../media/image14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89.xml"/><Relationship Id="rId4" Type="http://schemas.openxmlformats.org/officeDocument/2006/relationships/image" Target="../media/image14.emf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90.xml"/><Relationship Id="rId4" Type="http://schemas.openxmlformats.org/officeDocument/2006/relationships/image" Target="../media/image14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91.xml"/><Relationship Id="rId4" Type="http://schemas.openxmlformats.org/officeDocument/2006/relationships/image" Target="../media/image14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92.xml"/><Relationship Id="rId4" Type="http://schemas.openxmlformats.org/officeDocument/2006/relationships/image" Target="../media/image14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93.xml"/><Relationship Id="rId4" Type="http://schemas.openxmlformats.org/officeDocument/2006/relationships/image" Target="../media/image14.emf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294.x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15.emf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5.xml"/><Relationship Id="rId4" Type="http://schemas.openxmlformats.org/officeDocument/2006/relationships/image" Target="../media/image15.emf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2.bin"/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5.png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1.bin"/><Relationship Id="rId4" Type="http://schemas.openxmlformats.org/officeDocument/2006/relationships/notesSlide" Target="../notesSlides/notesSlide55.xml"/><Relationship Id="rId9" Type="http://schemas.openxmlformats.org/officeDocument/2006/relationships/image" Target="../media/image4.emf"/></Relationships>
</file>

<file path=ppt/slides/_rels/slide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oleObject" Target="../embeddings/oleObject153.bin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67.png"/><Relationship Id="rId1" Type="http://schemas.openxmlformats.org/officeDocument/2006/relationships/tags" Target="../tags/tag298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4" Type="http://schemas.openxmlformats.org/officeDocument/2006/relationships/image" Target="../media/image15.emf"/><Relationship Id="rId9" Type="http://schemas.openxmlformats.org/officeDocument/2006/relationships/image" Target="../media/image60.png"/><Relationship Id="rId14" Type="http://schemas.openxmlformats.org/officeDocument/2006/relationships/image" Target="../media/image65.png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emf"/><Relationship Id="rId13" Type="http://schemas.openxmlformats.org/officeDocument/2006/relationships/image" Target="../media/image73.png"/><Relationship Id="rId3" Type="http://schemas.openxmlformats.org/officeDocument/2006/relationships/tags" Target="../tags/tag301.xml"/><Relationship Id="rId7" Type="http://schemas.openxmlformats.org/officeDocument/2006/relationships/oleObject" Target="../embeddings/oleObject154.bin"/><Relationship Id="rId12" Type="http://schemas.openxmlformats.org/officeDocument/2006/relationships/image" Target="../media/image72.png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notesSlide" Target="../notesSlides/notesSlide56.xml"/><Relationship Id="rId11" Type="http://schemas.openxmlformats.org/officeDocument/2006/relationships/image" Target="../media/image71.png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70.png"/><Relationship Id="rId4" Type="http://schemas.openxmlformats.org/officeDocument/2006/relationships/tags" Target="../tags/tag302.xml"/><Relationship Id="rId9" Type="http://schemas.openxmlformats.org/officeDocument/2006/relationships/image" Target="../media/image69.pn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4" Type="http://schemas.openxmlformats.org/officeDocument/2006/relationships/slideLayout" Target="../slideLayouts/slideLayout2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74.jpe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5.bin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56.bin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57.bin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12.xml"/><Relationship Id="rId4" Type="http://schemas.openxmlformats.org/officeDocument/2006/relationships/image" Target="../media/image15.emf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7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3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9.bin"/><Relationship Id="rId4" Type="http://schemas.openxmlformats.org/officeDocument/2006/relationships/notesSlide" Target="../notesSlides/notesSlide7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8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4.xml"/><Relationship Id="rId6" Type="http://schemas.openxmlformats.org/officeDocument/2006/relationships/image" Target="../media/image7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0.bin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9.xml"/><Relationship Id="rId7" Type="http://schemas.openxmlformats.org/officeDocument/2006/relationships/image" Target="../media/image77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5.xml"/><Relationship Id="rId6" Type="http://schemas.openxmlformats.org/officeDocument/2006/relationships/image" Target="../media/image7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1.bin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6.xml"/><Relationship Id="rId6" Type="http://schemas.openxmlformats.org/officeDocument/2006/relationships/image" Target="../media/image78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2.bin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7.xml"/><Relationship Id="rId6" Type="http://schemas.openxmlformats.org/officeDocument/2006/relationships/image" Target="../media/image80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3.bin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2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8.xml"/><Relationship Id="rId6" Type="http://schemas.openxmlformats.org/officeDocument/2006/relationships/image" Target="../media/image81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4.bin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3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19.xml"/><Relationship Id="rId6" Type="http://schemas.openxmlformats.org/officeDocument/2006/relationships/image" Target="../media/image83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5.bin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4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0.xml"/><Relationship Id="rId6" Type="http://schemas.openxmlformats.org/officeDocument/2006/relationships/image" Target="../media/image84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6.bin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5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1.xml"/><Relationship Id="rId6" Type="http://schemas.openxmlformats.org/officeDocument/2006/relationships/image" Target="../media/image85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7.bin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6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2.xml"/><Relationship Id="rId6" Type="http://schemas.openxmlformats.org/officeDocument/2006/relationships/image" Target="../media/image86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8.bin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7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23.xml"/><Relationship Id="rId6" Type="http://schemas.openxmlformats.org/officeDocument/2006/relationships/image" Target="../media/image87.pn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782DAE-2B8F-40CD-AA03-1A2829969C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782DAE-2B8F-40CD-AA03-1A2829969C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9900" y="3302000"/>
            <a:ext cx="8846820" cy="443198"/>
          </a:xfrm>
        </p:spPr>
        <p:txBody>
          <a:bodyPr vert="horz"/>
          <a:lstStyle/>
          <a:p>
            <a:r>
              <a:rPr lang="en-US"/>
              <a:t>Market Maker Onboarding Materials</a:t>
            </a:r>
          </a:p>
        </p:txBody>
      </p:sp>
    </p:spTree>
    <p:extLst>
      <p:ext uri="{BB962C8B-B14F-4D97-AF65-F5344CB8AC3E}">
        <p14:creationId xmlns:p14="http://schemas.microsoft.com/office/powerpoint/2010/main" val="4111727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755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2685" y="1093726"/>
            <a:ext cx="5058439" cy="886397"/>
          </a:xfrm>
        </p:spPr>
        <p:txBody>
          <a:bodyPr vert="horz" wrap="square">
            <a:noAutofit/>
          </a:bodyPr>
          <a:lstStyle/>
          <a:p>
            <a:r>
              <a:rPr lang="en-US" sz="3200" dirty="0"/>
              <a:t>Market Maker hiring as of 4/30/22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3DDFE1D-F3ED-471B-BA1B-82AF30006D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059848"/>
              </p:ext>
            </p:extLst>
          </p:nvPr>
        </p:nvGraphicFramePr>
        <p:xfrm>
          <a:off x="6271757" y="1600002"/>
          <a:ext cx="5575684" cy="4294445"/>
        </p:xfrm>
        <a:graphic>
          <a:graphicData uri="http://schemas.openxmlformats.org/drawingml/2006/table">
            <a:tbl>
              <a:tblPr/>
              <a:tblGrid>
                <a:gridCol w="415130">
                  <a:extLst>
                    <a:ext uri="{9D8B030D-6E8A-4147-A177-3AD203B41FA5}">
                      <a16:colId xmlns:a16="http://schemas.microsoft.com/office/drawing/2014/main" val="480900686"/>
                    </a:ext>
                  </a:extLst>
                </a:gridCol>
                <a:gridCol w="1118869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2270779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1770906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418670">
                <a:tc>
                  <a:txBody>
                    <a:bodyPr/>
                    <a:lstStyle/>
                    <a:p>
                      <a:pPr marL="0" lvl="0" indent="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40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ership for standing up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et Maker staffing 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51770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rkshires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Heather Boulger</a:t>
                      </a:r>
                      <a:endParaRPr lang="en-US" sz="1200">
                        <a:solidFill>
                          <a:srgbClr val="00269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aul Mattingly</a:t>
                      </a:r>
                      <a:r>
                        <a:rPr lang="en-US" sz="1200" dirty="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589889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oneer Valley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becca Bialecki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en Droesch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51770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al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f Roberge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enny Doolittle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1599486"/>
                  </a:ext>
                </a:extLst>
              </a:tr>
              <a:tr h="51770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theast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elynn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ong</a:t>
                      </a:r>
                    </a:p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un McCarthy 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Will Ren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393904"/>
                  </a:ext>
                </a:extLst>
              </a:tr>
              <a:tr h="51770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ater Boston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gela McCabe</a:t>
                      </a:r>
                    </a:p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ley Hazleton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marR="0" lvl="1" indent="-1296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20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Mark Wigfall</a:t>
                      </a: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9E7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4855943"/>
                  </a:ext>
                </a:extLst>
              </a:tr>
              <a:tr h="51770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utheast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m </a:t>
                      </a:r>
                      <a:r>
                        <a:rPr lang="en-US" sz="120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reira</a:t>
                      </a:r>
                      <a:endParaRPr lang="en-US" sz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Joana Mateus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s temporary Market Maker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EE89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202658"/>
                  </a:ext>
                </a:extLst>
              </a:tr>
              <a:tr h="51770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endParaRPr lang="en-US" sz="12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marT="18288" marB="18288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e &amp; Islands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a O'Donnell-Galvin</a:t>
                      </a:r>
                    </a:p>
                    <a:p>
                      <a:pPr marL="194400" lvl="1" indent="-129600" algn="l" rtl="0" fontAlgn="ctr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Neila Neary</a:t>
                      </a:r>
                      <a:endParaRPr lang="en-US" sz="1200">
                        <a:solidFill>
                          <a:srgbClr val="00269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marR="0" lvl="1" indent="-1296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SzTx/>
                        <a:buFont typeface="Trebuchet MS" panose="020B0603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ila is temporary Market Maker. Hoping to hire new MM soon</a:t>
                      </a:r>
                    </a:p>
                  </a:txBody>
                  <a:tcPr marL="45720" marR="18288" marT="18288" marB="18288" anchor="ctr">
                    <a:lnL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C5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208313"/>
                  </a:ext>
                </a:extLst>
              </a:tr>
            </a:tbl>
          </a:graphicData>
        </a:graphic>
      </p:graphicFrame>
      <p:grpSp>
        <p:nvGrpSpPr>
          <p:cNvPr id="54" name="Group 53">
            <a:extLst>
              <a:ext uri="{FF2B5EF4-FFF2-40B4-BE49-F238E27FC236}">
                <a16:creationId xmlns:a16="http://schemas.microsoft.com/office/drawing/2014/main" id="{784C3C77-CD2F-4942-9F64-DEB5AD6FE47F}"/>
              </a:ext>
            </a:extLst>
          </p:cNvPr>
          <p:cNvGrpSpPr/>
          <p:nvPr/>
        </p:nvGrpSpPr>
        <p:grpSpPr>
          <a:xfrm>
            <a:off x="742825" y="2303025"/>
            <a:ext cx="4613734" cy="3139832"/>
            <a:chOff x="742825" y="2687704"/>
            <a:chExt cx="4041064" cy="275010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80717F9-02F8-4108-997F-2B3BBF6E5C40}"/>
                </a:ext>
              </a:extLst>
            </p:cNvPr>
            <p:cNvGrpSpPr/>
            <p:nvPr/>
          </p:nvGrpSpPr>
          <p:grpSpPr>
            <a:xfrm>
              <a:off x="742825" y="2921083"/>
              <a:ext cx="4041064" cy="2516728"/>
              <a:chOff x="7383037" y="2496602"/>
              <a:chExt cx="4041064" cy="2516728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A6F54EC-5EBA-4A79-A313-86EC878A8492}"/>
                  </a:ext>
                </a:extLst>
              </p:cNvPr>
              <p:cNvGrpSpPr/>
              <p:nvPr/>
            </p:nvGrpSpPr>
            <p:grpSpPr>
              <a:xfrm>
                <a:off x="7383037" y="2497408"/>
                <a:ext cx="4041064" cy="2515922"/>
                <a:chOff x="7409753" y="2410713"/>
                <a:chExt cx="4319562" cy="2689312"/>
              </a:xfrm>
            </p:grpSpPr>
            <p:sp>
              <p:nvSpPr>
                <p:cNvPr id="23" name="Freeform 5">
                  <a:extLst>
                    <a:ext uri="{FF2B5EF4-FFF2-40B4-BE49-F238E27FC236}">
                      <a16:creationId xmlns:a16="http://schemas.microsoft.com/office/drawing/2014/main" id="{2AD043F7-7395-499F-A236-3A7D00830BA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348291" y="3359363"/>
                  <a:ext cx="660362" cy="1119260"/>
                </a:xfrm>
                <a:custGeom>
                  <a:avLst/>
                  <a:gdLst>
                    <a:gd name="T0" fmla="*/ 2141 w 2694"/>
                    <a:gd name="T1" fmla="*/ 2053 h 4564"/>
                    <a:gd name="T2" fmla="*/ 867 w 2694"/>
                    <a:gd name="T3" fmla="*/ 208 h 4564"/>
                    <a:gd name="T4" fmla="*/ 670 w 2694"/>
                    <a:gd name="T5" fmla="*/ 124 h 4564"/>
                    <a:gd name="T6" fmla="*/ 675 w 2694"/>
                    <a:gd name="T7" fmla="*/ 123 h 4564"/>
                    <a:gd name="T8" fmla="*/ 1190 w 2694"/>
                    <a:gd name="T9" fmla="*/ 4562 h 4564"/>
                    <a:gd name="T10" fmla="*/ 1270 w 2694"/>
                    <a:gd name="T11" fmla="*/ 4537 h 4564"/>
                    <a:gd name="T12" fmla="*/ 1277 w 2694"/>
                    <a:gd name="T13" fmla="*/ 4424 h 4564"/>
                    <a:gd name="T14" fmla="*/ 1361 w 2694"/>
                    <a:gd name="T15" fmla="*/ 4375 h 4564"/>
                    <a:gd name="T16" fmla="*/ 1491 w 2694"/>
                    <a:gd name="T17" fmla="*/ 4446 h 4564"/>
                    <a:gd name="T18" fmla="*/ 1548 w 2694"/>
                    <a:gd name="T19" fmla="*/ 4367 h 4564"/>
                    <a:gd name="T20" fmla="*/ 1547 w 2694"/>
                    <a:gd name="T21" fmla="*/ 4181 h 4564"/>
                    <a:gd name="T22" fmla="*/ 1521 w 2694"/>
                    <a:gd name="T23" fmla="*/ 3977 h 4564"/>
                    <a:gd name="T24" fmla="*/ 1609 w 2694"/>
                    <a:gd name="T25" fmla="*/ 4056 h 4564"/>
                    <a:gd name="T26" fmla="*/ 1634 w 2694"/>
                    <a:gd name="T27" fmla="*/ 4114 h 4564"/>
                    <a:gd name="T28" fmla="*/ 1745 w 2694"/>
                    <a:gd name="T29" fmla="*/ 4107 h 4564"/>
                    <a:gd name="T30" fmla="*/ 1768 w 2694"/>
                    <a:gd name="T31" fmla="*/ 3998 h 4564"/>
                    <a:gd name="T32" fmla="*/ 1610 w 2694"/>
                    <a:gd name="T33" fmla="*/ 3825 h 4564"/>
                    <a:gd name="T34" fmla="*/ 1706 w 2694"/>
                    <a:gd name="T35" fmla="*/ 3890 h 4564"/>
                    <a:gd name="T36" fmla="*/ 1771 w 2694"/>
                    <a:gd name="T37" fmla="*/ 3795 h 4564"/>
                    <a:gd name="T38" fmla="*/ 1807 w 2694"/>
                    <a:gd name="T39" fmla="*/ 3777 h 4564"/>
                    <a:gd name="T40" fmla="*/ 1934 w 2694"/>
                    <a:gd name="T41" fmla="*/ 3887 h 4564"/>
                    <a:gd name="T42" fmla="*/ 1985 w 2694"/>
                    <a:gd name="T43" fmla="*/ 4065 h 4564"/>
                    <a:gd name="T44" fmla="*/ 2095 w 2694"/>
                    <a:gd name="T45" fmla="*/ 3898 h 4564"/>
                    <a:gd name="T46" fmla="*/ 2007 w 2694"/>
                    <a:gd name="T47" fmla="*/ 3831 h 4564"/>
                    <a:gd name="T48" fmla="*/ 2079 w 2694"/>
                    <a:gd name="T49" fmla="*/ 3797 h 4564"/>
                    <a:gd name="T50" fmla="*/ 2185 w 2694"/>
                    <a:gd name="T51" fmla="*/ 3758 h 4564"/>
                    <a:gd name="T52" fmla="*/ 2214 w 2694"/>
                    <a:gd name="T53" fmla="*/ 3640 h 4564"/>
                    <a:gd name="T54" fmla="*/ 2528 w 2694"/>
                    <a:gd name="T55" fmla="*/ 3484 h 4564"/>
                    <a:gd name="T56" fmla="*/ 2687 w 2694"/>
                    <a:gd name="T57" fmla="*/ 3029 h 4564"/>
                    <a:gd name="T58" fmla="*/ 2629 w 2694"/>
                    <a:gd name="T59" fmla="*/ 2749 h 4564"/>
                    <a:gd name="T60" fmla="*/ 2609 w 2694"/>
                    <a:gd name="T61" fmla="*/ 2554 h 4564"/>
                    <a:gd name="T62" fmla="*/ 2312 w 2694"/>
                    <a:gd name="T63" fmla="*/ 2447 h 4564"/>
                    <a:gd name="T64" fmla="*/ 2104 w 2694"/>
                    <a:gd name="T65" fmla="*/ 2269 h 4564"/>
                    <a:gd name="T66" fmla="*/ 2067 w 2694"/>
                    <a:gd name="T67" fmla="*/ 2383 h 4564"/>
                    <a:gd name="T68" fmla="*/ 1844 w 2694"/>
                    <a:gd name="T69" fmla="*/ 2086 h 4564"/>
                    <a:gd name="T70" fmla="*/ 1901 w 2694"/>
                    <a:gd name="T71" fmla="*/ 1984 h 4564"/>
                    <a:gd name="T72" fmla="*/ 1957 w 2694"/>
                    <a:gd name="T73" fmla="*/ 1939 h 4564"/>
                    <a:gd name="T74" fmla="*/ 2081 w 2694"/>
                    <a:gd name="T75" fmla="*/ 1765 h 4564"/>
                    <a:gd name="T76" fmla="*/ 2110 w 2694"/>
                    <a:gd name="T77" fmla="*/ 1754 h 4564"/>
                    <a:gd name="T78" fmla="*/ 2138 w 2694"/>
                    <a:gd name="T79" fmla="*/ 2102 h 4564"/>
                    <a:gd name="T80" fmla="*/ 2326 w 2694"/>
                    <a:gd name="T81" fmla="*/ 2052 h 4564"/>
                    <a:gd name="T82" fmla="*/ 2111 w 2694"/>
                    <a:gd name="T83" fmla="*/ 1550 h 4564"/>
                    <a:gd name="T84" fmla="*/ 1891 w 2694"/>
                    <a:gd name="T85" fmla="*/ 1164 h 4564"/>
                    <a:gd name="T86" fmla="*/ 1799 w 2694"/>
                    <a:gd name="T87" fmla="*/ 1028 h 4564"/>
                    <a:gd name="T88" fmla="*/ 1710 w 2694"/>
                    <a:gd name="T89" fmla="*/ 1040 h 4564"/>
                    <a:gd name="T90" fmla="*/ 1504 w 2694"/>
                    <a:gd name="T91" fmla="*/ 1044 h 4564"/>
                    <a:gd name="T92" fmla="*/ 1626 w 2694"/>
                    <a:gd name="T93" fmla="*/ 912 h 4564"/>
                    <a:gd name="T94" fmla="*/ 1764 w 2694"/>
                    <a:gd name="T95" fmla="*/ 940 h 4564"/>
                    <a:gd name="T96" fmla="*/ 1724 w 2694"/>
                    <a:gd name="T97" fmla="*/ 803 h 4564"/>
                    <a:gd name="T98" fmla="*/ 1737 w 2694"/>
                    <a:gd name="T99" fmla="*/ 689 h 4564"/>
                    <a:gd name="T100" fmla="*/ 1483 w 2694"/>
                    <a:gd name="T101" fmla="*/ 404 h 4564"/>
                    <a:gd name="T102" fmla="*/ 1307 w 2694"/>
                    <a:gd name="T103" fmla="*/ 693 h 4564"/>
                    <a:gd name="T104" fmla="*/ 1127 w 2694"/>
                    <a:gd name="T105" fmla="*/ 483 h 4564"/>
                    <a:gd name="T106" fmla="*/ 1092 w 2694"/>
                    <a:gd name="T107" fmla="*/ 282 h 4564"/>
                    <a:gd name="T108" fmla="*/ 864 w 2694"/>
                    <a:gd name="T109" fmla="*/ 28 h 4564"/>
                    <a:gd name="T110" fmla="*/ 824 w 2694"/>
                    <a:gd name="T111" fmla="*/ 72 h 4564"/>
                    <a:gd name="T112" fmla="*/ 953 w 2694"/>
                    <a:gd name="T113" fmla="*/ 198 h 4564"/>
                    <a:gd name="T114" fmla="*/ 1024 w 2694"/>
                    <a:gd name="T115" fmla="*/ 278 h 4564"/>
                    <a:gd name="T116" fmla="*/ 940 w 2694"/>
                    <a:gd name="T117" fmla="*/ 271 h 4564"/>
                    <a:gd name="T118" fmla="*/ 891 w 2694"/>
                    <a:gd name="T119" fmla="*/ 399 h 4564"/>
                    <a:gd name="T120" fmla="*/ 778 w 2694"/>
                    <a:gd name="T121" fmla="*/ 362 h 45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694" h="4564">
                      <a:moveTo>
                        <a:pt x="2158" y="2025"/>
                      </a:moveTo>
                      <a:lnTo>
                        <a:pt x="2158" y="2011"/>
                      </a:lnTo>
                      <a:lnTo>
                        <a:pt x="2158" y="2002"/>
                      </a:lnTo>
                      <a:lnTo>
                        <a:pt x="2158" y="1997"/>
                      </a:lnTo>
                      <a:lnTo>
                        <a:pt x="2157" y="1992"/>
                      </a:lnTo>
                      <a:lnTo>
                        <a:pt x="2157" y="1990"/>
                      </a:lnTo>
                      <a:lnTo>
                        <a:pt x="2154" y="1987"/>
                      </a:lnTo>
                      <a:lnTo>
                        <a:pt x="2151" y="1986"/>
                      </a:lnTo>
                      <a:lnTo>
                        <a:pt x="2148" y="1986"/>
                      </a:lnTo>
                      <a:lnTo>
                        <a:pt x="2145" y="1987"/>
                      </a:lnTo>
                      <a:lnTo>
                        <a:pt x="2140" y="1990"/>
                      </a:lnTo>
                      <a:lnTo>
                        <a:pt x="2137" y="1993"/>
                      </a:lnTo>
                      <a:lnTo>
                        <a:pt x="2134" y="1998"/>
                      </a:lnTo>
                      <a:lnTo>
                        <a:pt x="2133" y="2003"/>
                      </a:lnTo>
                      <a:lnTo>
                        <a:pt x="2131" y="2012"/>
                      </a:lnTo>
                      <a:lnTo>
                        <a:pt x="2127" y="2022"/>
                      </a:lnTo>
                      <a:lnTo>
                        <a:pt x="2125" y="2026"/>
                      </a:lnTo>
                      <a:lnTo>
                        <a:pt x="2124" y="2033"/>
                      </a:lnTo>
                      <a:lnTo>
                        <a:pt x="2121" y="2039"/>
                      </a:lnTo>
                      <a:lnTo>
                        <a:pt x="2121" y="2045"/>
                      </a:lnTo>
                      <a:lnTo>
                        <a:pt x="2122" y="2049"/>
                      </a:lnTo>
                      <a:lnTo>
                        <a:pt x="2125" y="2051"/>
                      </a:lnTo>
                      <a:lnTo>
                        <a:pt x="2129" y="2053"/>
                      </a:lnTo>
                      <a:lnTo>
                        <a:pt x="2133" y="2055"/>
                      </a:lnTo>
                      <a:lnTo>
                        <a:pt x="2138" y="2055"/>
                      </a:lnTo>
                      <a:lnTo>
                        <a:pt x="2141" y="2053"/>
                      </a:lnTo>
                      <a:lnTo>
                        <a:pt x="2149" y="2043"/>
                      </a:lnTo>
                      <a:lnTo>
                        <a:pt x="2155" y="2030"/>
                      </a:lnTo>
                      <a:lnTo>
                        <a:pt x="2158" y="2025"/>
                      </a:lnTo>
                      <a:close/>
                      <a:moveTo>
                        <a:pt x="864" y="198"/>
                      </a:moveTo>
                      <a:lnTo>
                        <a:pt x="864" y="198"/>
                      </a:lnTo>
                      <a:lnTo>
                        <a:pt x="863" y="198"/>
                      </a:lnTo>
                      <a:lnTo>
                        <a:pt x="860" y="196"/>
                      </a:lnTo>
                      <a:lnTo>
                        <a:pt x="857" y="195"/>
                      </a:lnTo>
                      <a:lnTo>
                        <a:pt x="851" y="192"/>
                      </a:lnTo>
                      <a:lnTo>
                        <a:pt x="844" y="190"/>
                      </a:lnTo>
                      <a:lnTo>
                        <a:pt x="840" y="190"/>
                      </a:lnTo>
                      <a:lnTo>
                        <a:pt x="836" y="190"/>
                      </a:lnTo>
                      <a:lnTo>
                        <a:pt x="833" y="191"/>
                      </a:lnTo>
                      <a:lnTo>
                        <a:pt x="830" y="195"/>
                      </a:lnTo>
                      <a:lnTo>
                        <a:pt x="830" y="196"/>
                      </a:lnTo>
                      <a:lnTo>
                        <a:pt x="833" y="201"/>
                      </a:lnTo>
                      <a:lnTo>
                        <a:pt x="838" y="203"/>
                      </a:lnTo>
                      <a:lnTo>
                        <a:pt x="841" y="205"/>
                      </a:lnTo>
                      <a:lnTo>
                        <a:pt x="845" y="208"/>
                      </a:lnTo>
                      <a:lnTo>
                        <a:pt x="847" y="209"/>
                      </a:lnTo>
                      <a:lnTo>
                        <a:pt x="851" y="210"/>
                      </a:lnTo>
                      <a:lnTo>
                        <a:pt x="856" y="211"/>
                      </a:lnTo>
                      <a:lnTo>
                        <a:pt x="860" y="212"/>
                      </a:lnTo>
                      <a:lnTo>
                        <a:pt x="863" y="212"/>
                      </a:lnTo>
                      <a:lnTo>
                        <a:pt x="865" y="210"/>
                      </a:lnTo>
                      <a:lnTo>
                        <a:pt x="867" y="208"/>
                      </a:lnTo>
                      <a:lnTo>
                        <a:pt x="867" y="205"/>
                      </a:lnTo>
                      <a:lnTo>
                        <a:pt x="864" y="198"/>
                      </a:lnTo>
                      <a:close/>
                      <a:moveTo>
                        <a:pt x="692" y="100"/>
                      </a:moveTo>
                      <a:lnTo>
                        <a:pt x="696" y="97"/>
                      </a:lnTo>
                      <a:lnTo>
                        <a:pt x="700" y="94"/>
                      </a:lnTo>
                      <a:lnTo>
                        <a:pt x="711" y="86"/>
                      </a:lnTo>
                      <a:lnTo>
                        <a:pt x="722" y="76"/>
                      </a:lnTo>
                      <a:lnTo>
                        <a:pt x="720" y="76"/>
                      </a:lnTo>
                      <a:lnTo>
                        <a:pt x="719" y="74"/>
                      </a:lnTo>
                      <a:lnTo>
                        <a:pt x="712" y="70"/>
                      </a:lnTo>
                      <a:lnTo>
                        <a:pt x="703" y="65"/>
                      </a:lnTo>
                      <a:lnTo>
                        <a:pt x="697" y="61"/>
                      </a:lnTo>
                      <a:lnTo>
                        <a:pt x="693" y="60"/>
                      </a:lnTo>
                      <a:lnTo>
                        <a:pt x="690" y="59"/>
                      </a:lnTo>
                      <a:lnTo>
                        <a:pt x="684" y="60"/>
                      </a:lnTo>
                      <a:lnTo>
                        <a:pt x="682" y="61"/>
                      </a:lnTo>
                      <a:lnTo>
                        <a:pt x="682" y="64"/>
                      </a:lnTo>
                      <a:lnTo>
                        <a:pt x="680" y="78"/>
                      </a:lnTo>
                      <a:lnTo>
                        <a:pt x="680" y="92"/>
                      </a:lnTo>
                      <a:lnTo>
                        <a:pt x="678" y="105"/>
                      </a:lnTo>
                      <a:lnTo>
                        <a:pt x="676" y="118"/>
                      </a:lnTo>
                      <a:lnTo>
                        <a:pt x="675" y="119"/>
                      </a:lnTo>
                      <a:lnTo>
                        <a:pt x="675" y="120"/>
                      </a:lnTo>
                      <a:lnTo>
                        <a:pt x="673" y="122"/>
                      </a:lnTo>
                      <a:lnTo>
                        <a:pt x="672" y="123"/>
                      </a:lnTo>
                      <a:lnTo>
                        <a:pt x="670" y="124"/>
                      </a:lnTo>
                      <a:lnTo>
                        <a:pt x="669" y="126"/>
                      </a:lnTo>
                      <a:lnTo>
                        <a:pt x="665" y="129"/>
                      </a:lnTo>
                      <a:lnTo>
                        <a:pt x="660" y="130"/>
                      </a:lnTo>
                      <a:lnTo>
                        <a:pt x="656" y="130"/>
                      </a:lnTo>
                      <a:lnTo>
                        <a:pt x="644" y="131"/>
                      </a:lnTo>
                      <a:lnTo>
                        <a:pt x="636" y="131"/>
                      </a:lnTo>
                      <a:lnTo>
                        <a:pt x="629" y="131"/>
                      </a:lnTo>
                      <a:lnTo>
                        <a:pt x="619" y="130"/>
                      </a:lnTo>
                      <a:lnTo>
                        <a:pt x="615" y="130"/>
                      </a:lnTo>
                      <a:lnTo>
                        <a:pt x="610" y="131"/>
                      </a:lnTo>
                      <a:lnTo>
                        <a:pt x="608" y="132"/>
                      </a:lnTo>
                      <a:lnTo>
                        <a:pt x="605" y="135"/>
                      </a:lnTo>
                      <a:lnTo>
                        <a:pt x="604" y="137"/>
                      </a:lnTo>
                      <a:lnTo>
                        <a:pt x="604" y="139"/>
                      </a:lnTo>
                      <a:lnTo>
                        <a:pt x="605" y="142"/>
                      </a:lnTo>
                      <a:lnTo>
                        <a:pt x="606" y="143"/>
                      </a:lnTo>
                      <a:lnTo>
                        <a:pt x="612" y="146"/>
                      </a:lnTo>
                      <a:lnTo>
                        <a:pt x="618" y="149"/>
                      </a:lnTo>
                      <a:lnTo>
                        <a:pt x="631" y="150"/>
                      </a:lnTo>
                      <a:lnTo>
                        <a:pt x="642" y="150"/>
                      </a:lnTo>
                      <a:lnTo>
                        <a:pt x="647" y="149"/>
                      </a:lnTo>
                      <a:lnTo>
                        <a:pt x="653" y="146"/>
                      </a:lnTo>
                      <a:lnTo>
                        <a:pt x="659" y="144"/>
                      </a:lnTo>
                      <a:lnTo>
                        <a:pt x="663" y="139"/>
                      </a:lnTo>
                      <a:lnTo>
                        <a:pt x="669" y="131"/>
                      </a:lnTo>
                      <a:lnTo>
                        <a:pt x="675" y="123"/>
                      </a:lnTo>
                      <a:lnTo>
                        <a:pt x="678" y="117"/>
                      </a:lnTo>
                      <a:lnTo>
                        <a:pt x="680" y="111"/>
                      </a:lnTo>
                      <a:lnTo>
                        <a:pt x="682" y="111"/>
                      </a:lnTo>
                      <a:lnTo>
                        <a:pt x="682" y="110"/>
                      </a:lnTo>
                      <a:lnTo>
                        <a:pt x="692" y="100"/>
                      </a:lnTo>
                      <a:close/>
                      <a:moveTo>
                        <a:pt x="729" y="556"/>
                      </a:moveTo>
                      <a:lnTo>
                        <a:pt x="786" y="612"/>
                      </a:lnTo>
                      <a:lnTo>
                        <a:pt x="760" y="1020"/>
                      </a:lnTo>
                      <a:lnTo>
                        <a:pt x="0" y="1429"/>
                      </a:lnTo>
                      <a:lnTo>
                        <a:pt x="0" y="1429"/>
                      </a:lnTo>
                      <a:lnTo>
                        <a:pt x="135" y="2290"/>
                      </a:lnTo>
                      <a:lnTo>
                        <a:pt x="387" y="2518"/>
                      </a:lnTo>
                      <a:lnTo>
                        <a:pt x="495" y="2843"/>
                      </a:lnTo>
                      <a:lnTo>
                        <a:pt x="519" y="2993"/>
                      </a:lnTo>
                      <a:lnTo>
                        <a:pt x="214" y="3289"/>
                      </a:lnTo>
                      <a:lnTo>
                        <a:pt x="314" y="3404"/>
                      </a:lnTo>
                      <a:lnTo>
                        <a:pt x="256" y="3533"/>
                      </a:lnTo>
                      <a:lnTo>
                        <a:pt x="773" y="3458"/>
                      </a:lnTo>
                      <a:lnTo>
                        <a:pt x="845" y="3663"/>
                      </a:lnTo>
                      <a:lnTo>
                        <a:pt x="962" y="3666"/>
                      </a:lnTo>
                      <a:lnTo>
                        <a:pt x="1163" y="4452"/>
                      </a:lnTo>
                      <a:lnTo>
                        <a:pt x="1166" y="4556"/>
                      </a:lnTo>
                      <a:lnTo>
                        <a:pt x="1166" y="4556"/>
                      </a:lnTo>
                      <a:lnTo>
                        <a:pt x="1174" y="4559"/>
                      </a:lnTo>
                      <a:lnTo>
                        <a:pt x="1182" y="4560"/>
                      </a:lnTo>
                      <a:lnTo>
                        <a:pt x="1190" y="4562"/>
                      </a:lnTo>
                      <a:lnTo>
                        <a:pt x="1198" y="4560"/>
                      </a:lnTo>
                      <a:lnTo>
                        <a:pt x="1205" y="4557"/>
                      </a:lnTo>
                      <a:lnTo>
                        <a:pt x="1210" y="4552"/>
                      </a:lnTo>
                      <a:lnTo>
                        <a:pt x="1215" y="4544"/>
                      </a:lnTo>
                      <a:lnTo>
                        <a:pt x="1219" y="4533"/>
                      </a:lnTo>
                      <a:lnTo>
                        <a:pt x="1236" y="4549"/>
                      </a:lnTo>
                      <a:lnTo>
                        <a:pt x="1252" y="4564"/>
                      </a:lnTo>
                      <a:lnTo>
                        <a:pt x="1252" y="4559"/>
                      </a:lnTo>
                      <a:lnTo>
                        <a:pt x="1252" y="4554"/>
                      </a:lnTo>
                      <a:lnTo>
                        <a:pt x="1252" y="4550"/>
                      </a:lnTo>
                      <a:lnTo>
                        <a:pt x="1250" y="4545"/>
                      </a:lnTo>
                      <a:lnTo>
                        <a:pt x="1247" y="4537"/>
                      </a:lnTo>
                      <a:lnTo>
                        <a:pt x="1242" y="4529"/>
                      </a:lnTo>
                      <a:lnTo>
                        <a:pt x="1236" y="4521"/>
                      </a:lnTo>
                      <a:lnTo>
                        <a:pt x="1233" y="4513"/>
                      </a:lnTo>
                      <a:lnTo>
                        <a:pt x="1229" y="4505"/>
                      </a:lnTo>
                      <a:lnTo>
                        <a:pt x="1228" y="4497"/>
                      </a:lnTo>
                      <a:lnTo>
                        <a:pt x="1243" y="4500"/>
                      </a:lnTo>
                      <a:lnTo>
                        <a:pt x="1247" y="4500"/>
                      </a:lnTo>
                      <a:lnTo>
                        <a:pt x="1247" y="4499"/>
                      </a:lnTo>
                      <a:lnTo>
                        <a:pt x="1248" y="4497"/>
                      </a:lnTo>
                      <a:lnTo>
                        <a:pt x="1252" y="4494"/>
                      </a:lnTo>
                      <a:lnTo>
                        <a:pt x="1259" y="4492"/>
                      </a:lnTo>
                      <a:lnTo>
                        <a:pt x="1259" y="4509"/>
                      </a:lnTo>
                      <a:lnTo>
                        <a:pt x="1260" y="4524"/>
                      </a:lnTo>
                      <a:lnTo>
                        <a:pt x="1270" y="4537"/>
                      </a:lnTo>
                      <a:lnTo>
                        <a:pt x="1282" y="4549"/>
                      </a:lnTo>
                      <a:lnTo>
                        <a:pt x="1284" y="4551"/>
                      </a:lnTo>
                      <a:lnTo>
                        <a:pt x="1288" y="4553"/>
                      </a:lnTo>
                      <a:lnTo>
                        <a:pt x="1290" y="4554"/>
                      </a:lnTo>
                      <a:lnTo>
                        <a:pt x="1294" y="4556"/>
                      </a:lnTo>
                      <a:lnTo>
                        <a:pt x="1302" y="4556"/>
                      </a:lnTo>
                      <a:lnTo>
                        <a:pt x="1312" y="4554"/>
                      </a:lnTo>
                      <a:lnTo>
                        <a:pt x="1320" y="4551"/>
                      </a:lnTo>
                      <a:lnTo>
                        <a:pt x="1327" y="4547"/>
                      </a:lnTo>
                      <a:lnTo>
                        <a:pt x="1333" y="4542"/>
                      </a:lnTo>
                      <a:lnTo>
                        <a:pt x="1337" y="4536"/>
                      </a:lnTo>
                      <a:lnTo>
                        <a:pt x="1340" y="4525"/>
                      </a:lnTo>
                      <a:lnTo>
                        <a:pt x="1342" y="4516"/>
                      </a:lnTo>
                      <a:lnTo>
                        <a:pt x="1342" y="4505"/>
                      </a:lnTo>
                      <a:lnTo>
                        <a:pt x="1342" y="4496"/>
                      </a:lnTo>
                      <a:lnTo>
                        <a:pt x="1340" y="4486"/>
                      </a:lnTo>
                      <a:lnTo>
                        <a:pt x="1337" y="4478"/>
                      </a:lnTo>
                      <a:lnTo>
                        <a:pt x="1334" y="4470"/>
                      </a:lnTo>
                      <a:lnTo>
                        <a:pt x="1329" y="4461"/>
                      </a:lnTo>
                      <a:lnTo>
                        <a:pt x="1324" y="4454"/>
                      </a:lnTo>
                      <a:lnTo>
                        <a:pt x="1317" y="4447"/>
                      </a:lnTo>
                      <a:lnTo>
                        <a:pt x="1312" y="4441"/>
                      </a:lnTo>
                      <a:lnTo>
                        <a:pt x="1303" y="4435"/>
                      </a:lnTo>
                      <a:lnTo>
                        <a:pt x="1295" y="4431"/>
                      </a:lnTo>
                      <a:lnTo>
                        <a:pt x="1287" y="4427"/>
                      </a:lnTo>
                      <a:lnTo>
                        <a:pt x="1277" y="4424"/>
                      </a:lnTo>
                      <a:lnTo>
                        <a:pt x="1268" y="4420"/>
                      </a:lnTo>
                      <a:lnTo>
                        <a:pt x="1263" y="4419"/>
                      </a:lnTo>
                      <a:lnTo>
                        <a:pt x="1259" y="4415"/>
                      </a:lnTo>
                      <a:lnTo>
                        <a:pt x="1254" y="4412"/>
                      </a:lnTo>
                      <a:lnTo>
                        <a:pt x="1250" y="4407"/>
                      </a:lnTo>
                      <a:lnTo>
                        <a:pt x="1243" y="4395"/>
                      </a:lnTo>
                      <a:lnTo>
                        <a:pt x="1240" y="4384"/>
                      </a:lnTo>
                      <a:lnTo>
                        <a:pt x="1237" y="4378"/>
                      </a:lnTo>
                      <a:lnTo>
                        <a:pt x="1237" y="4372"/>
                      </a:lnTo>
                      <a:lnTo>
                        <a:pt x="1236" y="4366"/>
                      </a:lnTo>
                      <a:lnTo>
                        <a:pt x="1237" y="4361"/>
                      </a:lnTo>
                      <a:lnTo>
                        <a:pt x="1239" y="4358"/>
                      </a:lnTo>
                      <a:lnTo>
                        <a:pt x="1240" y="4354"/>
                      </a:lnTo>
                      <a:lnTo>
                        <a:pt x="1243" y="4353"/>
                      </a:lnTo>
                      <a:lnTo>
                        <a:pt x="1247" y="4352"/>
                      </a:lnTo>
                      <a:lnTo>
                        <a:pt x="1279" y="4348"/>
                      </a:lnTo>
                      <a:lnTo>
                        <a:pt x="1303" y="4345"/>
                      </a:lnTo>
                      <a:lnTo>
                        <a:pt x="1309" y="4345"/>
                      </a:lnTo>
                      <a:lnTo>
                        <a:pt x="1315" y="4345"/>
                      </a:lnTo>
                      <a:lnTo>
                        <a:pt x="1321" y="4346"/>
                      </a:lnTo>
                      <a:lnTo>
                        <a:pt x="1327" y="4348"/>
                      </a:lnTo>
                      <a:lnTo>
                        <a:pt x="1333" y="4352"/>
                      </a:lnTo>
                      <a:lnTo>
                        <a:pt x="1340" y="4356"/>
                      </a:lnTo>
                      <a:lnTo>
                        <a:pt x="1348" y="4362"/>
                      </a:lnTo>
                      <a:lnTo>
                        <a:pt x="1356" y="4371"/>
                      </a:lnTo>
                      <a:lnTo>
                        <a:pt x="1361" y="4375"/>
                      </a:lnTo>
                      <a:lnTo>
                        <a:pt x="1366" y="4379"/>
                      </a:lnTo>
                      <a:lnTo>
                        <a:pt x="1369" y="4381"/>
                      </a:lnTo>
                      <a:lnTo>
                        <a:pt x="1374" y="4382"/>
                      </a:lnTo>
                      <a:lnTo>
                        <a:pt x="1381" y="4382"/>
                      </a:lnTo>
                      <a:lnTo>
                        <a:pt x="1388" y="4380"/>
                      </a:lnTo>
                      <a:lnTo>
                        <a:pt x="1395" y="4378"/>
                      </a:lnTo>
                      <a:lnTo>
                        <a:pt x="1403" y="4375"/>
                      </a:lnTo>
                      <a:lnTo>
                        <a:pt x="1407" y="4374"/>
                      </a:lnTo>
                      <a:lnTo>
                        <a:pt x="1411" y="4374"/>
                      </a:lnTo>
                      <a:lnTo>
                        <a:pt x="1417" y="4374"/>
                      </a:lnTo>
                      <a:lnTo>
                        <a:pt x="1423" y="4374"/>
                      </a:lnTo>
                      <a:lnTo>
                        <a:pt x="1449" y="4375"/>
                      </a:lnTo>
                      <a:lnTo>
                        <a:pt x="1470" y="4375"/>
                      </a:lnTo>
                      <a:lnTo>
                        <a:pt x="1475" y="4375"/>
                      </a:lnTo>
                      <a:lnTo>
                        <a:pt x="1478" y="4377"/>
                      </a:lnTo>
                      <a:lnTo>
                        <a:pt x="1482" y="4379"/>
                      </a:lnTo>
                      <a:lnTo>
                        <a:pt x="1484" y="4381"/>
                      </a:lnTo>
                      <a:lnTo>
                        <a:pt x="1487" y="4385"/>
                      </a:lnTo>
                      <a:lnTo>
                        <a:pt x="1488" y="4391"/>
                      </a:lnTo>
                      <a:lnTo>
                        <a:pt x="1489" y="4397"/>
                      </a:lnTo>
                      <a:lnTo>
                        <a:pt x="1489" y="4405"/>
                      </a:lnTo>
                      <a:lnTo>
                        <a:pt x="1488" y="4413"/>
                      </a:lnTo>
                      <a:lnTo>
                        <a:pt x="1487" y="4431"/>
                      </a:lnTo>
                      <a:lnTo>
                        <a:pt x="1488" y="4439"/>
                      </a:lnTo>
                      <a:lnTo>
                        <a:pt x="1490" y="4445"/>
                      </a:lnTo>
                      <a:lnTo>
                        <a:pt x="1491" y="4446"/>
                      </a:lnTo>
                      <a:lnTo>
                        <a:pt x="1494" y="4447"/>
                      </a:lnTo>
                      <a:lnTo>
                        <a:pt x="1497" y="4447"/>
                      </a:lnTo>
                      <a:lnTo>
                        <a:pt x="1501" y="4446"/>
                      </a:lnTo>
                      <a:lnTo>
                        <a:pt x="1503" y="4444"/>
                      </a:lnTo>
                      <a:lnTo>
                        <a:pt x="1505" y="4441"/>
                      </a:lnTo>
                      <a:lnTo>
                        <a:pt x="1508" y="4439"/>
                      </a:lnTo>
                      <a:lnTo>
                        <a:pt x="1509" y="4437"/>
                      </a:lnTo>
                      <a:lnTo>
                        <a:pt x="1509" y="4431"/>
                      </a:lnTo>
                      <a:lnTo>
                        <a:pt x="1508" y="4425"/>
                      </a:lnTo>
                      <a:lnTo>
                        <a:pt x="1504" y="4414"/>
                      </a:lnTo>
                      <a:lnTo>
                        <a:pt x="1502" y="4406"/>
                      </a:lnTo>
                      <a:lnTo>
                        <a:pt x="1509" y="4404"/>
                      </a:lnTo>
                      <a:lnTo>
                        <a:pt x="1518" y="4401"/>
                      </a:lnTo>
                      <a:lnTo>
                        <a:pt x="1523" y="4399"/>
                      </a:lnTo>
                      <a:lnTo>
                        <a:pt x="1527" y="4398"/>
                      </a:lnTo>
                      <a:lnTo>
                        <a:pt x="1529" y="4394"/>
                      </a:lnTo>
                      <a:lnTo>
                        <a:pt x="1530" y="4391"/>
                      </a:lnTo>
                      <a:lnTo>
                        <a:pt x="1530" y="4385"/>
                      </a:lnTo>
                      <a:lnTo>
                        <a:pt x="1530" y="4379"/>
                      </a:lnTo>
                      <a:lnTo>
                        <a:pt x="1531" y="4377"/>
                      </a:lnTo>
                      <a:lnTo>
                        <a:pt x="1534" y="4375"/>
                      </a:lnTo>
                      <a:lnTo>
                        <a:pt x="1536" y="4374"/>
                      </a:lnTo>
                      <a:lnTo>
                        <a:pt x="1540" y="4373"/>
                      </a:lnTo>
                      <a:lnTo>
                        <a:pt x="1543" y="4372"/>
                      </a:lnTo>
                      <a:lnTo>
                        <a:pt x="1545" y="4371"/>
                      </a:lnTo>
                      <a:lnTo>
                        <a:pt x="1548" y="4367"/>
                      </a:lnTo>
                      <a:lnTo>
                        <a:pt x="1549" y="4364"/>
                      </a:lnTo>
                      <a:lnTo>
                        <a:pt x="1550" y="4354"/>
                      </a:lnTo>
                      <a:lnTo>
                        <a:pt x="1550" y="4344"/>
                      </a:lnTo>
                      <a:lnTo>
                        <a:pt x="1548" y="4322"/>
                      </a:lnTo>
                      <a:lnTo>
                        <a:pt x="1544" y="4308"/>
                      </a:lnTo>
                      <a:lnTo>
                        <a:pt x="1538" y="4296"/>
                      </a:lnTo>
                      <a:lnTo>
                        <a:pt x="1534" y="4287"/>
                      </a:lnTo>
                      <a:lnTo>
                        <a:pt x="1532" y="4282"/>
                      </a:lnTo>
                      <a:lnTo>
                        <a:pt x="1534" y="4279"/>
                      </a:lnTo>
                      <a:lnTo>
                        <a:pt x="1536" y="4276"/>
                      </a:lnTo>
                      <a:lnTo>
                        <a:pt x="1542" y="4274"/>
                      </a:lnTo>
                      <a:lnTo>
                        <a:pt x="1540" y="4266"/>
                      </a:lnTo>
                      <a:lnTo>
                        <a:pt x="1536" y="4256"/>
                      </a:lnTo>
                      <a:lnTo>
                        <a:pt x="1531" y="4246"/>
                      </a:lnTo>
                      <a:lnTo>
                        <a:pt x="1525" y="4234"/>
                      </a:lnTo>
                      <a:lnTo>
                        <a:pt x="1521" y="4222"/>
                      </a:lnTo>
                      <a:lnTo>
                        <a:pt x="1516" y="4210"/>
                      </a:lnTo>
                      <a:lnTo>
                        <a:pt x="1512" y="4201"/>
                      </a:lnTo>
                      <a:lnTo>
                        <a:pt x="1510" y="4191"/>
                      </a:lnTo>
                      <a:lnTo>
                        <a:pt x="1522" y="4190"/>
                      </a:lnTo>
                      <a:lnTo>
                        <a:pt x="1529" y="4187"/>
                      </a:lnTo>
                      <a:lnTo>
                        <a:pt x="1535" y="4184"/>
                      </a:lnTo>
                      <a:lnTo>
                        <a:pt x="1540" y="4181"/>
                      </a:lnTo>
                      <a:lnTo>
                        <a:pt x="1542" y="4181"/>
                      </a:lnTo>
                      <a:lnTo>
                        <a:pt x="1544" y="4181"/>
                      </a:lnTo>
                      <a:lnTo>
                        <a:pt x="1547" y="4181"/>
                      </a:lnTo>
                      <a:lnTo>
                        <a:pt x="1550" y="4182"/>
                      </a:lnTo>
                      <a:lnTo>
                        <a:pt x="1557" y="4188"/>
                      </a:lnTo>
                      <a:lnTo>
                        <a:pt x="1568" y="4200"/>
                      </a:lnTo>
                      <a:lnTo>
                        <a:pt x="1617" y="4253"/>
                      </a:lnTo>
                      <a:lnTo>
                        <a:pt x="1616" y="4243"/>
                      </a:lnTo>
                      <a:lnTo>
                        <a:pt x="1615" y="4235"/>
                      </a:lnTo>
                      <a:lnTo>
                        <a:pt x="1611" y="4226"/>
                      </a:lnTo>
                      <a:lnTo>
                        <a:pt x="1609" y="4217"/>
                      </a:lnTo>
                      <a:lnTo>
                        <a:pt x="1601" y="4201"/>
                      </a:lnTo>
                      <a:lnTo>
                        <a:pt x="1594" y="4183"/>
                      </a:lnTo>
                      <a:lnTo>
                        <a:pt x="1569" y="4123"/>
                      </a:lnTo>
                      <a:lnTo>
                        <a:pt x="1567" y="4117"/>
                      </a:lnTo>
                      <a:lnTo>
                        <a:pt x="1565" y="4110"/>
                      </a:lnTo>
                      <a:lnTo>
                        <a:pt x="1565" y="4104"/>
                      </a:lnTo>
                      <a:lnTo>
                        <a:pt x="1565" y="4097"/>
                      </a:lnTo>
                      <a:lnTo>
                        <a:pt x="1567" y="4091"/>
                      </a:lnTo>
                      <a:lnTo>
                        <a:pt x="1565" y="4084"/>
                      </a:lnTo>
                      <a:lnTo>
                        <a:pt x="1564" y="4078"/>
                      </a:lnTo>
                      <a:lnTo>
                        <a:pt x="1562" y="4071"/>
                      </a:lnTo>
                      <a:lnTo>
                        <a:pt x="1557" y="4062"/>
                      </a:lnTo>
                      <a:lnTo>
                        <a:pt x="1549" y="4045"/>
                      </a:lnTo>
                      <a:lnTo>
                        <a:pt x="1538" y="4025"/>
                      </a:lnTo>
                      <a:lnTo>
                        <a:pt x="1529" y="4003"/>
                      </a:lnTo>
                      <a:lnTo>
                        <a:pt x="1525" y="3993"/>
                      </a:lnTo>
                      <a:lnTo>
                        <a:pt x="1522" y="3984"/>
                      </a:lnTo>
                      <a:lnTo>
                        <a:pt x="1521" y="3977"/>
                      </a:lnTo>
                      <a:lnTo>
                        <a:pt x="1521" y="3971"/>
                      </a:lnTo>
                      <a:lnTo>
                        <a:pt x="1522" y="3970"/>
                      </a:lnTo>
                      <a:lnTo>
                        <a:pt x="1523" y="3968"/>
                      </a:lnTo>
                      <a:lnTo>
                        <a:pt x="1525" y="3968"/>
                      </a:lnTo>
                      <a:lnTo>
                        <a:pt x="1528" y="3968"/>
                      </a:lnTo>
                      <a:lnTo>
                        <a:pt x="1535" y="3970"/>
                      </a:lnTo>
                      <a:lnTo>
                        <a:pt x="1544" y="3976"/>
                      </a:lnTo>
                      <a:lnTo>
                        <a:pt x="1550" y="3980"/>
                      </a:lnTo>
                      <a:lnTo>
                        <a:pt x="1554" y="3982"/>
                      </a:lnTo>
                      <a:lnTo>
                        <a:pt x="1557" y="3982"/>
                      </a:lnTo>
                      <a:lnTo>
                        <a:pt x="1558" y="3980"/>
                      </a:lnTo>
                      <a:lnTo>
                        <a:pt x="1559" y="3978"/>
                      </a:lnTo>
                      <a:lnTo>
                        <a:pt x="1561" y="3976"/>
                      </a:lnTo>
                      <a:lnTo>
                        <a:pt x="1562" y="3973"/>
                      </a:lnTo>
                      <a:lnTo>
                        <a:pt x="1565" y="3973"/>
                      </a:lnTo>
                      <a:lnTo>
                        <a:pt x="1564" y="3989"/>
                      </a:lnTo>
                      <a:lnTo>
                        <a:pt x="1564" y="4002"/>
                      </a:lnTo>
                      <a:lnTo>
                        <a:pt x="1565" y="4009"/>
                      </a:lnTo>
                      <a:lnTo>
                        <a:pt x="1569" y="4015"/>
                      </a:lnTo>
                      <a:lnTo>
                        <a:pt x="1575" y="4021"/>
                      </a:lnTo>
                      <a:lnTo>
                        <a:pt x="1582" y="4026"/>
                      </a:lnTo>
                      <a:lnTo>
                        <a:pt x="1590" y="4032"/>
                      </a:lnTo>
                      <a:lnTo>
                        <a:pt x="1597" y="4041"/>
                      </a:lnTo>
                      <a:lnTo>
                        <a:pt x="1602" y="4048"/>
                      </a:lnTo>
                      <a:lnTo>
                        <a:pt x="1606" y="4054"/>
                      </a:lnTo>
                      <a:lnTo>
                        <a:pt x="1609" y="4056"/>
                      </a:lnTo>
                      <a:lnTo>
                        <a:pt x="1610" y="4057"/>
                      </a:lnTo>
                      <a:lnTo>
                        <a:pt x="1612" y="4057"/>
                      </a:lnTo>
                      <a:lnTo>
                        <a:pt x="1614" y="4056"/>
                      </a:lnTo>
                      <a:lnTo>
                        <a:pt x="1617" y="4050"/>
                      </a:lnTo>
                      <a:lnTo>
                        <a:pt x="1621" y="4038"/>
                      </a:lnTo>
                      <a:lnTo>
                        <a:pt x="1625" y="4038"/>
                      </a:lnTo>
                      <a:lnTo>
                        <a:pt x="1630" y="4042"/>
                      </a:lnTo>
                      <a:lnTo>
                        <a:pt x="1634" y="4045"/>
                      </a:lnTo>
                      <a:lnTo>
                        <a:pt x="1638" y="4050"/>
                      </a:lnTo>
                      <a:lnTo>
                        <a:pt x="1646" y="4062"/>
                      </a:lnTo>
                      <a:lnTo>
                        <a:pt x="1656" y="4076"/>
                      </a:lnTo>
                      <a:lnTo>
                        <a:pt x="1665" y="4091"/>
                      </a:lnTo>
                      <a:lnTo>
                        <a:pt x="1675" y="4104"/>
                      </a:lnTo>
                      <a:lnTo>
                        <a:pt x="1679" y="4110"/>
                      </a:lnTo>
                      <a:lnTo>
                        <a:pt x="1684" y="4115"/>
                      </a:lnTo>
                      <a:lnTo>
                        <a:pt x="1689" y="4118"/>
                      </a:lnTo>
                      <a:lnTo>
                        <a:pt x="1693" y="4120"/>
                      </a:lnTo>
                      <a:lnTo>
                        <a:pt x="1693" y="4122"/>
                      </a:lnTo>
                      <a:lnTo>
                        <a:pt x="1691" y="4123"/>
                      </a:lnTo>
                      <a:lnTo>
                        <a:pt x="1689" y="4124"/>
                      </a:lnTo>
                      <a:lnTo>
                        <a:pt x="1685" y="4124"/>
                      </a:lnTo>
                      <a:lnTo>
                        <a:pt x="1676" y="4123"/>
                      </a:lnTo>
                      <a:lnTo>
                        <a:pt x="1665" y="4121"/>
                      </a:lnTo>
                      <a:lnTo>
                        <a:pt x="1645" y="4114"/>
                      </a:lnTo>
                      <a:lnTo>
                        <a:pt x="1634" y="4110"/>
                      </a:lnTo>
                      <a:lnTo>
                        <a:pt x="1634" y="4114"/>
                      </a:lnTo>
                      <a:lnTo>
                        <a:pt x="1636" y="4117"/>
                      </a:lnTo>
                      <a:lnTo>
                        <a:pt x="1638" y="4120"/>
                      </a:lnTo>
                      <a:lnTo>
                        <a:pt x="1642" y="4123"/>
                      </a:lnTo>
                      <a:lnTo>
                        <a:pt x="1651" y="4128"/>
                      </a:lnTo>
                      <a:lnTo>
                        <a:pt x="1662" y="4133"/>
                      </a:lnTo>
                      <a:lnTo>
                        <a:pt x="1672" y="4137"/>
                      </a:lnTo>
                      <a:lnTo>
                        <a:pt x="1682" y="4142"/>
                      </a:lnTo>
                      <a:lnTo>
                        <a:pt x="1686" y="4144"/>
                      </a:lnTo>
                      <a:lnTo>
                        <a:pt x="1690" y="4148"/>
                      </a:lnTo>
                      <a:lnTo>
                        <a:pt x="1692" y="4150"/>
                      </a:lnTo>
                      <a:lnTo>
                        <a:pt x="1693" y="4153"/>
                      </a:lnTo>
                      <a:lnTo>
                        <a:pt x="1704" y="4168"/>
                      </a:lnTo>
                      <a:lnTo>
                        <a:pt x="1724" y="4190"/>
                      </a:lnTo>
                      <a:lnTo>
                        <a:pt x="1735" y="4201"/>
                      </a:lnTo>
                      <a:lnTo>
                        <a:pt x="1744" y="4209"/>
                      </a:lnTo>
                      <a:lnTo>
                        <a:pt x="1748" y="4212"/>
                      </a:lnTo>
                      <a:lnTo>
                        <a:pt x="1750" y="4213"/>
                      </a:lnTo>
                      <a:lnTo>
                        <a:pt x="1752" y="4213"/>
                      </a:lnTo>
                      <a:lnTo>
                        <a:pt x="1753" y="4212"/>
                      </a:lnTo>
                      <a:lnTo>
                        <a:pt x="1753" y="4200"/>
                      </a:lnTo>
                      <a:lnTo>
                        <a:pt x="1753" y="4183"/>
                      </a:lnTo>
                      <a:lnTo>
                        <a:pt x="1753" y="4166"/>
                      </a:lnTo>
                      <a:lnTo>
                        <a:pt x="1752" y="4147"/>
                      </a:lnTo>
                      <a:lnTo>
                        <a:pt x="1750" y="4129"/>
                      </a:lnTo>
                      <a:lnTo>
                        <a:pt x="1748" y="4113"/>
                      </a:lnTo>
                      <a:lnTo>
                        <a:pt x="1745" y="4107"/>
                      </a:lnTo>
                      <a:lnTo>
                        <a:pt x="1744" y="4102"/>
                      </a:lnTo>
                      <a:lnTo>
                        <a:pt x="1742" y="4098"/>
                      </a:lnTo>
                      <a:lnTo>
                        <a:pt x="1739" y="4096"/>
                      </a:lnTo>
                      <a:lnTo>
                        <a:pt x="1736" y="4092"/>
                      </a:lnTo>
                      <a:lnTo>
                        <a:pt x="1731" y="4089"/>
                      </a:lnTo>
                      <a:lnTo>
                        <a:pt x="1726" y="4084"/>
                      </a:lnTo>
                      <a:lnTo>
                        <a:pt x="1722" y="4078"/>
                      </a:lnTo>
                      <a:lnTo>
                        <a:pt x="1713" y="4065"/>
                      </a:lnTo>
                      <a:lnTo>
                        <a:pt x="1706" y="4052"/>
                      </a:lnTo>
                      <a:lnTo>
                        <a:pt x="1701" y="4039"/>
                      </a:lnTo>
                      <a:lnTo>
                        <a:pt x="1696" y="4029"/>
                      </a:lnTo>
                      <a:lnTo>
                        <a:pt x="1696" y="4025"/>
                      </a:lnTo>
                      <a:lnTo>
                        <a:pt x="1695" y="4022"/>
                      </a:lnTo>
                      <a:lnTo>
                        <a:pt x="1696" y="4021"/>
                      </a:lnTo>
                      <a:lnTo>
                        <a:pt x="1697" y="4021"/>
                      </a:lnTo>
                      <a:lnTo>
                        <a:pt x="1711" y="4028"/>
                      </a:lnTo>
                      <a:lnTo>
                        <a:pt x="1733" y="4037"/>
                      </a:lnTo>
                      <a:lnTo>
                        <a:pt x="1744" y="4041"/>
                      </a:lnTo>
                      <a:lnTo>
                        <a:pt x="1753" y="4043"/>
                      </a:lnTo>
                      <a:lnTo>
                        <a:pt x="1758" y="4042"/>
                      </a:lnTo>
                      <a:lnTo>
                        <a:pt x="1760" y="4041"/>
                      </a:lnTo>
                      <a:lnTo>
                        <a:pt x="1763" y="4038"/>
                      </a:lnTo>
                      <a:lnTo>
                        <a:pt x="1765" y="4035"/>
                      </a:lnTo>
                      <a:lnTo>
                        <a:pt x="1769" y="4017"/>
                      </a:lnTo>
                      <a:lnTo>
                        <a:pt x="1769" y="4004"/>
                      </a:lnTo>
                      <a:lnTo>
                        <a:pt x="1768" y="3998"/>
                      </a:lnTo>
                      <a:lnTo>
                        <a:pt x="1764" y="3992"/>
                      </a:lnTo>
                      <a:lnTo>
                        <a:pt x="1759" y="3988"/>
                      </a:lnTo>
                      <a:lnTo>
                        <a:pt x="1751" y="3982"/>
                      </a:lnTo>
                      <a:lnTo>
                        <a:pt x="1744" y="3977"/>
                      </a:lnTo>
                      <a:lnTo>
                        <a:pt x="1736" y="3970"/>
                      </a:lnTo>
                      <a:lnTo>
                        <a:pt x="1728" y="3962"/>
                      </a:lnTo>
                      <a:lnTo>
                        <a:pt x="1719" y="3953"/>
                      </a:lnTo>
                      <a:lnTo>
                        <a:pt x="1712" y="3945"/>
                      </a:lnTo>
                      <a:lnTo>
                        <a:pt x="1706" y="3936"/>
                      </a:lnTo>
                      <a:lnTo>
                        <a:pt x="1701" y="3926"/>
                      </a:lnTo>
                      <a:lnTo>
                        <a:pt x="1697" y="3919"/>
                      </a:lnTo>
                      <a:lnTo>
                        <a:pt x="1695" y="3913"/>
                      </a:lnTo>
                      <a:lnTo>
                        <a:pt x="1691" y="3909"/>
                      </a:lnTo>
                      <a:lnTo>
                        <a:pt x="1686" y="3905"/>
                      </a:lnTo>
                      <a:lnTo>
                        <a:pt x="1683" y="3902"/>
                      </a:lnTo>
                      <a:lnTo>
                        <a:pt x="1672" y="3896"/>
                      </a:lnTo>
                      <a:lnTo>
                        <a:pt x="1662" y="3892"/>
                      </a:lnTo>
                      <a:lnTo>
                        <a:pt x="1650" y="3887"/>
                      </a:lnTo>
                      <a:lnTo>
                        <a:pt x="1639" y="3883"/>
                      </a:lnTo>
                      <a:lnTo>
                        <a:pt x="1634" y="3879"/>
                      </a:lnTo>
                      <a:lnTo>
                        <a:pt x="1629" y="3876"/>
                      </a:lnTo>
                      <a:lnTo>
                        <a:pt x="1624" y="3871"/>
                      </a:lnTo>
                      <a:lnTo>
                        <a:pt x="1619" y="3866"/>
                      </a:lnTo>
                      <a:lnTo>
                        <a:pt x="1616" y="3858"/>
                      </a:lnTo>
                      <a:lnTo>
                        <a:pt x="1614" y="3844"/>
                      </a:lnTo>
                      <a:lnTo>
                        <a:pt x="1610" y="3825"/>
                      </a:lnTo>
                      <a:lnTo>
                        <a:pt x="1609" y="3805"/>
                      </a:lnTo>
                      <a:lnTo>
                        <a:pt x="1608" y="3786"/>
                      </a:lnTo>
                      <a:lnTo>
                        <a:pt x="1609" y="3770"/>
                      </a:lnTo>
                      <a:lnTo>
                        <a:pt x="1610" y="3762"/>
                      </a:lnTo>
                      <a:lnTo>
                        <a:pt x="1611" y="3757"/>
                      </a:lnTo>
                      <a:lnTo>
                        <a:pt x="1614" y="3753"/>
                      </a:lnTo>
                      <a:lnTo>
                        <a:pt x="1616" y="3751"/>
                      </a:lnTo>
                      <a:lnTo>
                        <a:pt x="1617" y="3773"/>
                      </a:lnTo>
                      <a:lnTo>
                        <a:pt x="1618" y="3808"/>
                      </a:lnTo>
                      <a:lnTo>
                        <a:pt x="1619" y="3818"/>
                      </a:lnTo>
                      <a:lnTo>
                        <a:pt x="1621" y="3826"/>
                      </a:lnTo>
                      <a:lnTo>
                        <a:pt x="1623" y="3834"/>
                      </a:lnTo>
                      <a:lnTo>
                        <a:pt x="1625" y="3840"/>
                      </a:lnTo>
                      <a:lnTo>
                        <a:pt x="1628" y="3846"/>
                      </a:lnTo>
                      <a:lnTo>
                        <a:pt x="1632" y="3848"/>
                      </a:lnTo>
                      <a:lnTo>
                        <a:pt x="1634" y="3850"/>
                      </a:lnTo>
                      <a:lnTo>
                        <a:pt x="1636" y="3850"/>
                      </a:lnTo>
                      <a:lnTo>
                        <a:pt x="1638" y="3850"/>
                      </a:lnTo>
                      <a:lnTo>
                        <a:pt x="1642" y="3848"/>
                      </a:lnTo>
                      <a:lnTo>
                        <a:pt x="1644" y="3848"/>
                      </a:lnTo>
                      <a:lnTo>
                        <a:pt x="1649" y="3850"/>
                      </a:lnTo>
                      <a:lnTo>
                        <a:pt x="1655" y="3852"/>
                      </a:lnTo>
                      <a:lnTo>
                        <a:pt x="1661" y="3857"/>
                      </a:lnTo>
                      <a:lnTo>
                        <a:pt x="1675" y="3866"/>
                      </a:lnTo>
                      <a:lnTo>
                        <a:pt x="1691" y="3878"/>
                      </a:lnTo>
                      <a:lnTo>
                        <a:pt x="1706" y="3890"/>
                      </a:lnTo>
                      <a:lnTo>
                        <a:pt x="1719" y="3897"/>
                      </a:lnTo>
                      <a:lnTo>
                        <a:pt x="1725" y="3899"/>
                      </a:lnTo>
                      <a:lnTo>
                        <a:pt x="1730" y="3899"/>
                      </a:lnTo>
                      <a:lnTo>
                        <a:pt x="1732" y="3898"/>
                      </a:lnTo>
                      <a:lnTo>
                        <a:pt x="1733" y="3897"/>
                      </a:lnTo>
                      <a:lnTo>
                        <a:pt x="1736" y="3896"/>
                      </a:lnTo>
                      <a:lnTo>
                        <a:pt x="1736" y="3893"/>
                      </a:lnTo>
                      <a:lnTo>
                        <a:pt x="1737" y="3887"/>
                      </a:lnTo>
                      <a:lnTo>
                        <a:pt x="1737" y="3881"/>
                      </a:lnTo>
                      <a:lnTo>
                        <a:pt x="1736" y="3877"/>
                      </a:lnTo>
                      <a:lnTo>
                        <a:pt x="1733" y="3871"/>
                      </a:lnTo>
                      <a:lnTo>
                        <a:pt x="1728" y="3861"/>
                      </a:lnTo>
                      <a:lnTo>
                        <a:pt x="1718" y="3852"/>
                      </a:lnTo>
                      <a:lnTo>
                        <a:pt x="1710" y="3844"/>
                      </a:lnTo>
                      <a:lnTo>
                        <a:pt x="1702" y="3836"/>
                      </a:lnTo>
                      <a:lnTo>
                        <a:pt x="1698" y="3832"/>
                      </a:lnTo>
                      <a:lnTo>
                        <a:pt x="1696" y="3827"/>
                      </a:lnTo>
                      <a:lnTo>
                        <a:pt x="1693" y="3824"/>
                      </a:lnTo>
                      <a:lnTo>
                        <a:pt x="1693" y="3819"/>
                      </a:lnTo>
                      <a:lnTo>
                        <a:pt x="1716" y="3815"/>
                      </a:lnTo>
                      <a:lnTo>
                        <a:pt x="1737" y="3812"/>
                      </a:lnTo>
                      <a:lnTo>
                        <a:pt x="1748" y="3810"/>
                      </a:lnTo>
                      <a:lnTo>
                        <a:pt x="1757" y="3806"/>
                      </a:lnTo>
                      <a:lnTo>
                        <a:pt x="1762" y="3803"/>
                      </a:lnTo>
                      <a:lnTo>
                        <a:pt x="1766" y="3799"/>
                      </a:lnTo>
                      <a:lnTo>
                        <a:pt x="1771" y="3795"/>
                      </a:lnTo>
                      <a:lnTo>
                        <a:pt x="1776" y="3790"/>
                      </a:lnTo>
                      <a:lnTo>
                        <a:pt x="1784" y="3779"/>
                      </a:lnTo>
                      <a:lnTo>
                        <a:pt x="1790" y="3767"/>
                      </a:lnTo>
                      <a:lnTo>
                        <a:pt x="1795" y="3755"/>
                      </a:lnTo>
                      <a:lnTo>
                        <a:pt x="1798" y="3744"/>
                      </a:lnTo>
                      <a:lnTo>
                        <a:pt x="1800" y="3731"/>
                      </a:lnTo>
                      <a:lnTo>
                        <a:pt x="1802" y="3718"/>
                      </a:lnTo>
                      <a:lnTo>
                        <a:pt x="1803" y="3705"/>
                      </a:lnTo>
                      <a:lnTo>
                        <a:pt x="1803" y="3691"/>
                      </a:lnTo>
                      <a:lnTo>
                        <a:pt x="1805" y="3693"/>
                      </a:lnTo>
                      <a:lnTo>
                        <a:pt x="1810" y="3698"/>
                      </a:lnTo>
                      <a:lnTo>
                        <a:pt x="1816" y="3706"/>
                      </a:lnTo>
                      <a:lnTo>
                        <a:pt x="1822" y="3715"/>
                      </a:lnTo>
                      <a:lnTo>
                        <a:pt x="1826" y="3726"/>
                      </a:lnTo>
                      <a:lnTo>
                        <a:pt x="1829" y="3735"/>
                      </a:lnTo>
                      <a:lnTo>
                        <a:pt x="1830" y="3739"/>
                      </a:lnTo>
                      <a:lnTo>
                        <a:pt x="1829" y="3742"/>
                      </a:lnTo>
                      <a:lnTo>
                        <a:pt x="1827" y="3745"/>
                      </a:lnTo>
                      <a:lnTo>
                        <a:pt x="1825" y="3747"/>
                      </a:lnTo>
                      <a:lnTo>
                        <a:pt x="1815" y="3754"/>
                      </a:lnTo>
                      <a:lnTo>
                        <a:pt x="1807" y="3759"/>
                      </a:lnTo>
                      <a:lnTo>
                        <a:pt x="1806" y="3762"/>
                      </a:lnTo>
                      <a:lnTo>
                        <a:pt x="1805" y="3765"/>
                      </a:lnTo>
                      <a:lnTo>
                        <a:pt x="1805" y="3767"/>
                      </a:lnTo>
                      <a:lnTo>
                        <a:pt x="1806" y="3771"/>
                      </a:lnTo>
                      <a:lnTo>
                        <a:pt x="1807" y="3777"/>
                      </a:lnTo>
                      <a:lnTo>
                        <a:pt x="1809" y="3782"/>
                      </a:lnTo>
                      <a:lnTo>
                        <a:pt x="1809" y="3786"/>
                      </a:lnTo>
                      <a:lnTo>
                        <a:pt x="1809" y="3790"/>
                      </a:lnTo>
                      <a:lnTo>
                        <a:pt x="1807" y="3794"/>
                      </a:lnTo>
                      <a:lnTo>
                        <a:pt x="1806" y="3799"/>
                      </a:lnTo>
                      <a:lnTo>
                        <a:pt x="1802" y="3808"/>
                      </a:lnTo>
                      <a:lnTo>
                        <a:pt x="1797" y="3819"/>
                      </a:lnTo>
                      <a:lnTo>
                        <a:pt x="1795" y="3824"/>
                      </a:lnTo>
                      <a:lnTo>
                        <a:pt x="1793" y="3830"/>
                      </a:lnTo>
                      <a:lnTo>
                        <a:pt x="1793" y="3834"/>
                      </a:lnTo>
                      <a:lnTo>
                        <a:pt x="1795" y="3841"/>
                      </a:lnTo>
                      <a:lnTo>
                        <a:pt x="1798" y="3848"/>
                      </a:lnTo>
                      <a:lnTo>
                        <a:pt x="1803" y="3856"/>
                      </a:lnTo>
                      <a:lnTo>
                        <a:pt x="1810" y="3863"/>
                      </a:lnTo>
                      <a:lnTo>
                        <a:pt x="1819" y="3869"/>
                      </a:lnTo>
                      <a:lnTo>
                        <a:pt x="1830" y="3876"/>
                      </a:lnTo>
                      <a:lnTo>
                        <a:pt x="1842" y="3880"/>
                      </a:lnTo>
                      <a:lnTo>
                        <a:pt x="1853" y="3886"/>
                      </a:lnTo>
                      <a:lnTo>
                        <a:pt x="1866" y="3890"/>
                      </a:lnTo>
                      <a:lnTo>
                        <a:pt x="1879" y="3893"/>
                      </a:lnTo>
                      <a:lnTo>
                        <a:pt x="1892" y="3896"/>
                      </a:lnTo>
                      <a:lnTo>
                        <a:pt x="1903" y="3896"/>
                      </a:lnTo>
                      <a:lnTo>
                        <a:pt x="1914" y="3896"/>
                      </a:lnTo>
                      <a:lnTo>
                        <a:pt x="1924" y="3893"/>
                      </a:lnTo>
                      <a:lnTo>
                        <a:pt x="1931" y="3890"/>
                      </a:lnTo>
                      <a:lnTo>
                        <a:pt x="1934" y="3887"/>
                      </a:lnTo>
                      <a:lnTo>
                        <a:pt x="1937" y="3885"/>
                      </a:lnTo>
                      <a:lnTo>
                        <a:pt x="1939" y="3881"/>
                      </a:lnTo>
                      <a:lnTo>
                        <a:pt x="1940" y="3878"/>
                      </a:lnTo>
                      <a:lnTo>
                        <a:pt x="1943" y="3878"/>
                      </a:lnTo>
                      <a:lnTo>
                        <a:pt x="1946" y="3879"/>
                      </a:lnTo>
                      <a:lnTo>
                        <a:pt x="1950" y="3881"/>
                      </a:lnTo>
                      <a:lnTo>
                        <a:pt x="1953" y="3885"/>
                      </a:lnTo>
                      <a:lnTo>
                        <a:pt x="1960" y="3892"/>
                      </a:lnTo>
                      <a:lnTo>
                        <a:pt x="1967" y="3900"/>
                      </a:lnTo>
                      <a:lnTo>
                        <a:pt x="1980" y="3919"/>
                      </a:lnTo>
                      <a:lnTo>
                        <a:pt x="1988" y="3933"/>
                      </a:lnTo>
                      <a:lnTo>
                        <a:pt x="1996" y="3944"/>
                      </a:lnTo>
                      <a:lnTo>
                        <a:pt x="2003" y="3952"/>
                      </a:lnTo>
                      <a:lnTo>
                        <a:pt x="2010" y="3957"/>
                      </a:lnTo>
                      <a:lnTo>
                        <a:pt x="2018" y="3960"/>
                      </a:lnTo>
                      <a:lnTo>
                        <a:pt x="2025" y="3962"/>
                      </a:lnTo>
                      <a:lnTo>
                        <a:pt x="2033" y="3963"/>
                      </a:lnTo>
                      <a:lnTo>
                        <a:pt x="2043" y="3963"/>
                      </a:lnTo>
                      <a:lnTo>
                        <a:pt x="2052" y="3963"/>
                      </a:lnTo>
                      <a:lnTo>
                        <a:pt x="2051" y="3972"/>
                      </a:lnTo>
                      <a:lnTo>
                        <a:pt x="2048" y="3980"/>
                      </a:lnTo>
                      <a:lnTo>
                        <a:pt x="2044" y="3991"/>
                      </a:lnTo>
                      <a:lnTo>
                        <a:pt x="2037" y="4001"/>
                      </a:lnTo>
                      <a:lnTo>
                        <a:pt x="2021" y="4022"/>
                      </a:lnTo>
                      <a:lnTo>
                        <a:pt x="2004" y="4044"/>
                      </a:lnTo>
                      <a:lnTo>
                        <a:pt x="1985" y="4065"/>
                      </a:lnTo>
                      <a:lnTo>
                        <a:pt x="1970" y="4087"/>
                      </a:lnTo>
                      <a:lnTo>
                        <a:pt x="1963" y="4096"/>
                      </a:lnTo>
                      <a:lnTo>
                        <a:pt x="1958" y="4107"/>
                      </a:lnTo>
                      <a:lnTo>
                        <a:pt x="1956" y="4115"/>
                      </a:lnTo>
                      <a:lnTo>
                        <a:pt x="1954" y="4124"/>
                      </a:lnTo>
                      <a:lnTo>
                        <a:pt x="1959" y="4122"/>
                      </a:lnTo>
                      <a:lnTo>
                        <a:pt x="1966" y="4116"/>
                      </a:lnTo>
                      <a:lnTo>
                        <a:pt x="1974" y="4108"/>
                      </a:lnTo>
                      <a:lnTo>
                        <a:pt x="1984" y="4098"/>
                      </a:lnTo>
                      <a:lnTo>
                        <a:pt x="2004" y="4074"/>
                      </a:lnTo>
                      <a:lnTo>
                        <a:pt x="2025" y="4044"/>
                      </a:lnTo>
                      <a:lnTo>
                        <a:pt x="2046" y="4015"/>
                      </a:lnTo>
                      <a:lnTo>
                        <a:pt x="2064" y="3988"/>
                      </a:lnTo>
                      <a:lnTo>
                        <a:pt x="2077" y="3965"/>
                      </a:lnTo>
                      <a:lnTo>
                        <a:pt x="2084" y="3951"/>
                      </a:lnTo>
                      <a:lnTo>
                        <a:pt x="2079" y="3935"/>
                      </a:lnTo>
                      <a:lnTo>
                        <a:pt x="2068" y="3913"/>
                      </a:lnTo>
                      <a:lnTo>
                        <a:pt x="2065" y="3903"/>
                      </a:lnTo>
                      <a:lnTo>
                        <a:pt x="2062" y="3894"/>
                      </a:lnTo>
                      <a:lnTo>
                        <a:pt x="2062" y="3892"/>
                      </a:lnTo>
                      <a:lnTo>
                        <a:pt x="2064" y="3890"/>
                      </a:lnTo>
                      <a:lnTo>
                        <a:pt x="2066" y="3889"/>
                      </a:lnTo>
                      <a:lnTo>
                        <a:pt x="2068" y="3890"/>
                      </a:lnTo>
                      <a:lnTo>
                        <a:pt x="2078" y="3892"/>
                      </a:lnTo>
                      <a:lnTo>
                        <a:pt x="2086" y="3894"/>
                      </a:lnTo>
                      <a:lnTo>
                        <a:pt x="2095" y="3898"/>
                      </a:lnTo>
                      <a:lnTo>
                        <a:pt x="2105" y="3902"/>
                      </a:lnTo>
                      <a:lnTo>
                        <a:pt x="2110" y="3903"/>
                      </a:lnTo>
                      <a:lnTo>
                        <a:pt x="2113" y="3904"/>
                      </a:lnTo>
                      <a:lnTo>
                        <a:pt x="2114" y="3904"/>
                      </a:lnTo>
                      <a:lnTo>
                        <a:pt x="2114" y="3903"/>
                      </a:lnTo>
                      <a:lnTo>
                        <a:pt x="2113" y="3898"/>
                      </a:lnTo>
                      <a:lnTo>
                        <a:pt x="2112" y="3891"/>
                      </a:lnTo>
                      <a:lnTo>
                        <a:pt x="2111" y="3885"/>
                      </a:lnTo>
                      <a:lnTo>
                        <a:pt x="2111" y="3880"/>
                      </a:lnTo>
                      <a:lnTo>
                        <a:pt x="2108" y="3876"/>
                      </a:lnTo>
                      <a:lnTo>
                        <a:pt x="2106" y="3872"/>
                      </a:lnTo>
                      <a:lnTo>
                        <a:pt x="2104" y="3869"/>
                      </a:lnTo>
                      <a:lnTo>
                        <a:pt x="2099" y="3866"/>
                      </a:lnTo>
                      <a:lnTo>
                        <a:pt x="2095" y="3864"/>
                      </a:lnTo>
                      <a:lnTo>
                        <a:pt x="2090" y="3861"/>
                      </a:lnTo>
                      <a:lnTo>
                        <a:pt x="2082" y="3858"/>
                      </a:lnTo>
                      <a:lnTo>
                        <a:pt x="2075" y="3853"/>
                      </a:lnTo>
                      <a:lnTo>
                        <a:pt x="2070" y="3847"/>
                      </a:lnTo>
                      <a:lnTo>
                        <a:pt x="2064" y="3841"/>
                      </a:lnTo>
                      <a:lnTo>
                        <a:pt x="2058" y="3836"/>
                      </a:lnTo>
                      <a:lnTo>
                        <a:pt x="2052" y="3831"/>
                      </a:lnTo>
                      <a:lnTo>
                        <a:pt x="2046" y="3828"/>
                      </a:lnTo>
                      <a:lnTo>
                        <a:pt x="2040" y="3827"/>
                      </a:lnTo>
                      <a:lnTo>
                        <a:pt x="2028" y="3828"/>
                      </a:lnTo>
                      <a:lnTo>
                        <a:pt x="2014" y="3831"/>
                      </a:lnTo>
                      <a:lnTo>
                        <a:pt x="2007" y="3831"/>
                      </a:lnTo>
                      <a:lnTo>
                        <a:pt x="2001" y="3831"/>
                      </a:lnTo>
                      <a:lnTo>
                        <a:pt x="1996" y="3828"/>
                      </a:lnTo>
                      <a:lnTo>
                        <a:pt x="1993" y="3825"/>
                      </a:lnTo>
                      <a:lnTo>
                        <a:pt x="1988" y="3817"/>
                      </a:lnTo>
                      <a:lnTo>
                        <a:pt x="1984" y="3803"/>
                      </a:lnTo>
                      <a:lnTo>
                        <a:pt x="1981" y="3795"/>
                      </a:lnTo>
                      <a:lnTo>
                        <a:pt x="1981" y="3791"/>
                      </a:lnTo>
                      <a:lnTo>
                        <a:pt x="1981" y="3788"/>
                      </a:lnTo>
                      <a:lnTo>
                        <a:pt x="1981" y="3787"/>
                      </a:lnTo>
                      <a:lnTo>
                        <a:pt x="1983" y="3787"/>
                      </a:lnTo>
                      <a:lnTo>
                        <a:pt x="1984" y="3787"/>
                      </a:lnTo>
                      <a:lnTo>
                        <a:pt x="1993" y="3794"/>
                      </a:lnTo>
                      <a:lnTo>
                        <a:pt x="1999" y="3801"/>
                      </a:lnTo>
                      <a:lnTo>
                        <a:pt x="2001" y="3804"/>
                      </a:lnTo>
                      <a:lnTo>
                        <a:pt x="2005" y="3806"/>
                      </a:lnTo>
                      <a:lnTo>
                        <a:pt x="2011" y="3808"/>
                      </a:lnTo>
                      <a:lnTo>
                        <a:pt x="2017" y="3808"/>
                      </a:lnTo>
                      <a:lnTo>
                        <a:pt x="2023" y="3807"/>
                      </a:lnTo>
                      <a:lnTo>
                        <a:pt x="2028" y="3803"/>
                      </a:lnTo>
                      <a:lnTo>
                        <a:pt x="2032" y="3800"/>
                      </a:lnTo>
                      <a:lnTo>
                        <a:pt x="2037" y="3798"/>
                      </a:lnTo>
                      <a:lnTo>
                        <a:pt x="2041" y="3795"/>
                      </a:lnTo>
                      <a:lnTo>
                        <a:pt x="2047" y="3795"/>
                      </a:lnTo>
                      <a:lnTo>
                        <a:pt x="2062" y="3795"/>
                      </a:lnTo>
                      <a:lnTo>
                        <a:pt x="2073" y="3795"/>
                      </a:lnTo>
                      <a:lnTo>
                        <a:pt x="2079" y="3797"/>
                      </a:lnTo>
                      <a:lnTo>
                        <a:pt x="2084" y="3799"/>
                      </a:lnTo>
                      <a:lnTo>
                        <a:pt x="2090" y="3804"/>
                      </a:lnTo>
                      <a:lnTo>
                        <a:pt x="2095" y="3808"/>
                      </a:lnTo>
                      <a:lnTo>
                        <a:pt x="2106" y="3821"/>
                      </a:lnTo>
                      <a:lnTo>
                        <a:pt x="2119" y="3837"/>
                      </a:lnTo>
                      <a:lnTo>
                        <a:pt x="2122" y="3839"/>
                      </a:lnTo>
                      <a:lnTo>
                        <a:pt x="2126" y="3841"/>
                      </a:lnTo>
                      <a:lnTo>
                        <a:pt x="2128" y="3843"/>
                      </a:lnTo>
                      <a:lnTo>
                        <a:pt x="2132" y="3843"/>
                      </a:lnTo>
                      <a:lnTo>
                        <a:pt x="2134" y="3843"/>
                      </a:lnTo>
                      <a:lnTo>
                        <a:pt x="2138" y="3840"/>
                      </a:lnTo>
                      <a:lnTo>
                        <a:pt x="2140" y="3837"/>
                      </a:lnTo>
                      <a:lnTo>
                        <a:pt x="2142" y="3831"/>
                      </a:lnTo>
                      <a:lnTo>
                        <a:pt x="2146" y="3817"/>
                      </a:lnTo>
                      <a:lnTo>
                        <a:pt x="2147" y="3805"/>
                      </a:lnTo>
                      <a:lnTo>
                        <a:pt x="2147" y="3797"/>
                      </a:lnTo>
                      <a:lnTo>
                        <a:pt x="2147" y="3790"/>
                      </a:lnTo>
                      <a:lnTo>
                        <a:pt x="2148" y="3786"/>
                      </a:lnTo>
                      <a:lnTo>
                        <a:pt x="2149" y="3784"/>
                      </a:lnTo>
                      <a:lnTo>
                        <a:pt x="2152" y="3781"/>
                      </a:lnTo>
                      <a:lnTo>
                        <a:pt x="2154" y="3779"/>
                      </a:lnTo>
                      <a:lnTo>
                        <a:pt x="2162" y="3773"/>
                      </a:lnTo>
                      <a:lnTo>
                        <a:pt x="2176" y="3767"/>
                      </a:lnTo>
                      <a:lnTo>
                        <a:pt x="2182" y="3765"/>
                      </a:lnTo>
                      <a:lnTo>
                        <a:pt x="2185" y="3761"/>
                      </a:lnTo>
                      <a:lnTo>
                        <a:pt x="2185" y="3758"/>
                      </a:lnTo>
                      <a:lnTo>
                        <a:pt x="2184" y="3755"/>
                      </a:lnTo>
                      <a:lnTo>
                        <a:pt x="2182" y="3752"/>
                      </a:lnTo>
                      <a:lnTo>
                        <a:pt x="2182" y="3751"/>
                      </a:lnTo>
                      <a:lnTo>
                        <a:pt x="2184" y="3749"/>
                      </a:lnTo>
                      <a:lnTo>
                        <a:pt x="2187" y="3748"/>
                      </a:lnTo>
                      <a:lnTo>
                        <a:pt x="2191" y="3749"/>
                      </a:lnTo>
                      <a:lnTo>
                        <a:pt x="2196" y="3749"/>
                      </a:lnTo>
                      <a:lnTo>
                        <a:pt x="2198" y="3749"/>
                      </a:lnTo>
                      <a:lnTo>
                        <a:pt x="2200" y="3749"/>
                      </a:lnTo>
                      <a:lnTo>
                        <a:pt x="2201" y="3749"/>
                      </a:lnTo>
                      <a:lnTo>
                        <a:pt x="2202" y="3748"/>
                      </a:lnTo>
                      <a:lnTo>
                        <a:pt x="2201" y="3738"/>
                      </a:lnTo>
                      <a:lnTo>
                        <a:pt x="2199" y="3728"/>
                      </a:lnTo>
                      <a:lnTo>
                        <a:pt x="2195" y="3720"/>
                      </a:lnTo>
                      <a:lnTo>
                        <a:pt x="2191" y="3711"/>
                      </a:lnTo>
                      <a:lnTo>
                        <a:pt x="2186" y="3700"/>
                      </a:lnTo>
                      <a:lnTo>
                        <a:pt x="2184" y="3687"/>
                      </a:lnTo>
                      <a:lnTo>
                        <a:pt x="2182" y="3674"/>
                      </a:lnTo>
                      <a:lnTo>
                        <a:pt x="2180" y="3661"/>
                      </a:lnTo>
                      <a:lnTo>
                        <a:pt x="2181" y="3658"/>
                      </a:lnTo>
                      <a:lnTo>
                        <a:pt x="2184" y="3654"/>
                      </a:lnTo>
                      <a:lnTo>
                        <a:pt x="2187" y="3650"/>
                      </a:lnTo>
                      <a:lnTo>
                        <a:pt x="2193" y="3647"/>
                      </a:lnTo>
                      <a:lnTo>
                        <a:pt x="2199" y="3645"/>
                      </a:lnTo>
                      <a:lnTo>
                        <a:pt x="2206" y="3642"/>
                      </a:lnTo>
                      <a:lnTo>
                        <a:pt x="2214" y="3640"/>
                      </a:lnTo>
                      <a:lnTo>
                        <a:pt x="2222" y="3639"/>
                      </a:lnTo>
                      <a:lnTo>
                        <a:pt x="2231" y="3639"/>
                      </a:lnTo>
                      <a:lnTo>
                        <a:pt x="2239" y="3640"/>
                      </a:lnTo>
                      <a:lnTo>
                        <a:pt x="2246" y="3641"/>
                      </a:lnTo>
                      <a:lnTo>
                        <a:pt x="2253" y="3645"/>
                      </a:lnTo>
                      <a:lnTo>
                        <a:pt x="2258" y="3649"/>
                      </a:lnTo>
                      <a:lnTo>
                        <a:pt x="2262" y="3654"/>
                      </a:lnTo>
                      <a:lnTo>
                        <a:pt x="2266" y="3662"/>
                      </a:lnTo>
                      <a:lnTo>
                        <a:pt x="2266" y="3671"/>
                      </a:lnTo>
                      <a:lnTo>
                        <a:pt x="2272" y="3667"/>
                      </a:lnTo>
                      <a:lnTo>
                        <a:pt x="2276" y="3661"/>
                      </a:lnTo>
                      <a:lnTo>
                        <a:pt x="2281" y="3653"/>
                      </a:lnTo>
                      <a:lnTo>
                        <a:pt x="2285" y="3645"/>
                      </a:lnTo>
                      <a:lnTo>
                        <a:pt x="2292" y="3629"/>
                      </a:lnTo>
                      <a:lnTo>
                        <a:pt x="2294" y="3622"/>
                      </a:lnTo>
                      <a:lnTo>
                        <a:pt x="2294" y="3622"/>
                      </a:lnTo>
                      <a:lnTo>
                        <a:pt x="2435" y="3544"/>
                      </a:lnTo>
                      <a:lnTo>
                        <a:pt x="2439" y="3543"/>
                      </a:lnTo>
                      <a:lnTo>
                        <a:pt x="2442" y="3541"/>
                      </a:lnTo>
                      <a:lnTo>
                        <a:pt x="2455" y="3535"/>
                      </a:lnTo>
                      <a:lnTo>
                        <a:pt x="2468" y="3528"/>
                      </a:lnTo>
                      <a:lnTo>
                        <a:pt x="2481" y="3521"/>
                      </a:lnTo>
                      <a:lnTo>
                        <a:pt x="2493" y="3513"/>
                      </a:lnTo>
                      <a:lnTo>
                        <a:pt x="2506" y="3503"/>
                      </a:lnTo>
                      <a:lnTo>
                        <a:pt x="2516" y="3494"/>
                      </a:lnTo>
                      <a:lnTo>
                        <a:pt x="2528" y="3484"/>
                      </a:lnTo>
                      <a:lnTo>
                        <a:pt x="2537" y="3474"/>
                      </a:lnTo>
                      <a:lnTo>
                        <a:pt x="2585" y="3424"/>
                      </a:lnTo>
                      <a:lnTo>
                        <a:pt x="2651" y="3344"/>
                      </a:lnTo>
                      <a:lnTo>
                        <a:pt x="2651" y="3344"/>
                      </a:lnTo>
                      <a:lnTo>
                        <a:pt x="2638" y="3319"/>
                      </a:lnTo>
                      <a:lnTo>
                        <a:pt x="2628" y="3296"/>
                      </a:lnTo>
                      <a:lnTo>
                        <a:pt x="2623" y="3286"/>
                      </a:lnTo>
                      <a:lnTo>
                        <a:pt x="2621" y="3276"/>
                      </a:lnTo>
                      <a:lnTo>
                        <a:pt x="2618" y="3267"/>
                      </a:lnTo>
                      <a:lnTo>
                        <a:pt x="2617" y="3259"/>
                      </a:lnTo>
                      <a:lnTo>
                        <a:pt x="2617" y="3241"/>
                      </a:lnTo>
                      <a:lnTo>
                        <a:pt x="2616" y="3227"/>
                      </a:lnTo>
                      <a:lnTo>
                        <a:pt x="2617" y="3216"/>
                      </a:lnTo>
                      <a:lnTo>
                        <a:pt x="2618" y="3206"/>
                      </a:lnTo>
                      <a:lnTo>
                        <a:pt x="2621" y="3198"/>
                      </a:lnTo>
                      <a:lnTo>
                        <a:pt x="2625" y="3187"/>
                      </a:lnTo>
                      <a:lnTo>
                        <a:pt x="2631" y="3175"/>
                      </a:lnTo>
                      <a:lnTo>
                        <a:pt x="2640" y="3160"/>
                      </a:lnTo>
                      <a:lnTo>
                        <a:pt x="2650" y="3141"/>
                      </a:lnTo>
                      <a:lnTo>
                        <a:pt x="2657" y="3126"/>
                      </a:lnTo>
                      <a:lnTo>
                        <a:pt x="2662" y="3109"/>
                      </a:lnTo>
                      <a:lnTo>
                        <a:pt x="2667" y="3089"/>
                      </a:lnTo>
                      <a:lnTo>
                        <a:pt x="2671" y="3074"/>
                      </a:lnTo>
                      <a:lnTo>
                        <a:pt x="2678" y="3051"/>
                      </a:lnTo>
                      <a:lnTo>
                        <a:pt x="2683" y="3039"/>
                      </a:lnTo>
                      <a:lnTo>
                        <a:pt x="2687" y="3029"/>
                      </a:lnTo>
                      <a:lnTo>
                        <a:pt x="2691" y="3022"/>
                      </a:lnTo>
                      <a:lnTo>
                        <a:pt x="2694" y="3019"/>
                      </a:lnTo>
                      <a:lnTo>
                        <a:pt x="2694" y="3006"/>
                      </a:lnTo>
                      <a:lnTo>
                        <a:pt x="2691" y="2992"/>
                      </a:lnTo>
                      <a:lnTo>
                        <a:pt x="2689" y="2985"/>
                      </a:lnTo>
                      <a:lnTo>
                        <a:pt x="2685" y="2979"/>
                      </a:lnTo>
                      <a:lnTo>
                        <a:pt x="2683" y="2976"/>
                      </a:lnTo>
                      <a:lnTo>
                        <a:pt x="2679" y="2974"/>
                      </a:lnTo>
                      <a:lnTo>
                        <a:pt x="2677" y="2972"/>
                      </a:lnTo>
                      <a:lnTo>
                        <a:pt x="2672" y="2970"/>
                      </a:lnTo>
                      <a:lnTo>
                        <a:pt x="2670" y="2947"/>
                      </a:lnTo>
                      <a:lnTo>
                        <a:pt x="2669" y="2922"/>
                      </a:lnTo>
                      <a:lnTo>
                        <a:pt x="2669" y="2897"/>
                      </a:lnTo>
                      <a:lnTo>
                        <a:pt x="2667" y="2873"/>
                      </a:lnTo>
                      <a:lnTo>
                        <a:pt x="2665" y="2854"/>
                      </a:lnTo>
                      <a:lnTo>
                        <a:pt x="2667" y="2828"/>
                      </a:lnTo>
                      <a:lnTo>
                        <a:pt x="2667" y="2816"/>
                      </a:lnTo>
                      <a:lnTo>
                        <a:pt x="2667" y="2804"/>
                      </a:lnTo>
                      <a:lnTo>
                        <a:pt x="2667" y="2795"/>
                      </a:lnTo>
                      <a:lnTo>
                        <a:pt x="2665" y="2789"/>
                      </a:lnTo>
                      <a:lnTo>
                        <a:pt x="2662" y="2783"/>
                      </a:lnTo>
                      <a:lnTo>
                        <a:pt x="2658" y="2778"/>
                      </a:lnTo>
                      <a:lnTo>
                        <a:pt x="2655" y="2772"/>
                      </a:lnTo>
                      <a:lnTo>
                        <a:pt x="2650" y="2768"/>
                      </a:lnTo>
                      <a:lnTo>
                        <a:pt x="2640" y="2757"/>
                      </a:lnTo>
                      <a:lnTo>
                        <a:pt x="2629" y="2749"/>
                      </a:lnTo>
                      <a:lnTo>
                        <a:pt x="2622" y="2739"/>
                      </a:lnTo>
                      <a:lnTo>
                        <a:pt x="2615" y="2731"/>
                      </a:lnTo>
                      <a:lnTo>
                        <a:pt x="2610" y="2723"/>
                      </a:lnTo>
                      <a:lnTo>
                        <a:pt x="2605" y="2715"/>
                      </a:lnTo>
                      <a:lnTo>
                        <a:pt x="2597" y="2697"/>
                      </a:lnTo>
                      <a:lnTo>
                        <a:pt x="2590" y="2677"/>
                      </a:lnTo>
                      <a:lnTo>
                        <a:pt x="2588" y="2665"/>
                      </a:lnTo>
                      <a:lnTo>
                        <a:pt x="2587" y="2653"/>
                      </a:lnTo>
                      <a:lnTo>
                        <a:pt x="2588" y="2640"/>
                      </a:lnTo>
                      <a:lnTo>
                        <a:pt x="2593" y="2629"/>
                      </a:lnTo>
                      <a:lnTo>
                        <a:pt x="2595" y="2623"/>
                      </a:lnTo>
                      <a:lnTo>
                        <a:pt x="2598" y="2617"/>
                      </a:lnTo>
                      <a:lnTo>
                        <a:pt x="2602" y="2612"/>
                      </a:lnTo>
                      <a:lnTo>
                        <a:pt x="2607" y="2609"/>
                      </a:lnTo>
                      <a:lnTo>
                        <a:pt x="2611" y="2605"/>
                      </a:lnTo>
                      <a:lnTo>
                        <a:pt x="2617" y="2603"/>
                      </a:lnTo>
                      <a:lnTo>
                        <a:pt x="2623" y="2601"/>
                      </a:lnTo>
                      <a:lnTo>
                        <a:pt x="2629" y="2600"/>
                      </a:lnTo>
                      <a:lnTo>
                        <a:pt x="2630" y="2591"/>
                      </a:lnTo>
                      <a:lnTo>
                        <a:pt x="2629" y="2576"/>
                      </a:lnTo>
                      <a:lnTo>
                        <a:pt x="2629" y="2568"/>
                      </a:lnTo>
                      <a:lnTo>
                        <a:pt x="2629" y="2563"/>
                      </a:lnTo>
                      <a:lnTo>
                        <a:pt x="2630" y="2558"/>
                      </a:lnTo>
                      <a:lnTo>
                        <a:pt x="2631" y="2555"/>
                      </a:lnTo>
                      <a:lnTo>
                        <a:pt x="2631" y="2553"/>
                      </a:lnTo>
                      <a:lnTo>
                        <a:pt x="2609" y="2554"/>
                      </a:lnTo>
                      <a:lnTo>
                        <a:pt x="2590" y="2553"/>
                      </a:lnTo>
                      <a:lnTo>
                        <a:pt x="2581" y="2551"/>
                      </a:lnTo>
                      <a:lnTo>
                        <a:pt x="2573" y="2546"/>
                      </a:lnTo>
                      <a:lnTo>
                        <a:pt x="2564" y="2539"/>
                      </a:lnTo>
                      <a:lnTo>
                        <a:pt x="2555" y="2528"/>
                      </a:lnTo>
                      <a:lnTo>
                        <a:pt x="2482" y="2468"/>
                      </a:lnTo>
                      <a:lnTo>
                        <a:pt x="2467" y="2456"/>
                      </a:lnTo>
                      <a:lnTo>
                        <a:pt x="2454" y="2447"/>
                      </a:lnTo>
                      <a:lnTo>
                        <a:pt x="2447" y="2442"/>
                      </a:lnTo>
                      <a:lnTo>
                        <a:pt x="2441" y="2436"/>
                      </a:lnTo>
                      <a:lnTo>
                        <a:pt x="2435" y="2429"/>
                      </a:lnTo>
                      <a:lnTo>
                        <a:pt x="2429" y="2422"/>
                      </a:lnTo>
                      <a:lnTo>
                        <a:pt x="2423" y="2414"/>
                      </a:lnTo>
                      <a:lnTo>
                        <a:pt x="2417" y="2407"/>
                      </a:lnTo>
                      <a:lnTo>
                        <a:pt x="2410" y="2402"/>
                      </a:lnTo>
                      <a:lnTo>
                        <a:pt x="2404" y="2400"/>
                      </a:lnTo>
                      <a:lnTo>
                        <a:pt x="2399" y="2398"/>
                      </a:lnTo>
                      <a:lnTo>
                        <a:pt x="2393" y="2398"/>
                      </a:lnTo>
                      <a:lnTo>
                        <a:pt x="2387" y="2398"/>
                      </a:lnTo>
                      <a:lnTo>
                        <a:pt x="2380" y="2400"/>
                      </a:lnTo>
                      <a:lnTo>
                        <a:pt x="2368" y="2406"/>
                      </a:lnTo>
                      <a:lnTo>
                        <a:pt x="2355" y="2414"/>
                      </a:lnTo>
                      <a:lnTo>
                        <a:pt x="2342" y="2425"/>
                      </a:lnTo>
                      <a:lnTo>
                        <a:pt x="2328" y="2435"/>
                      </a:lnTo>
                      <a:lnTo>
                        <a:pt x="2320" y="2441"/>
                      </a:lnTo>
                      <a:lnTo>
                        <a:pt x="2312" y="2447"/>
                      </a:lnTo>
                      <a:lnTo>
                        <a:pt x="2303" y="2452"/>
                      </a:lnTo>
                      <a:lnTo>
                        <a:pt x="2295" y="2455"/>
                      </a:lnTo>
                      <a:lnTo>
                        <a:pt x="2288" y="2458"/>
                      </a:lnTo>
                      <a:lnTo>
                        <a:pt x="2280" y="2460"/>
                      </a:lnTo>
                      <a:lnTo>
                        <a:pt x="2272" y="2461"/>
                      </a:lnTo>
                      <a:lnTo>
                        <a:pt x="2265" y="2461"/>
                      </a:lnTo>
                      <a:lnTo>
                        <a:pt x="2256" y="2461"/>
                      </a:lnTo>
                      <a:lnTo>
                        <a:pt x="2249" y="2461"/>
                      </a:lnTo>
                      <a:lnTo>
                        <a:pt x="2242" y="2459"/>
                      </a:lnTo>
                      <a:lnTo>
                        <a:pt x="2235" y="2458"/>
                      </a:lnTo>
                      <a:lnTo>
                        <a:pt x="2221" y="2452"/>
                      </a:lnTo>
                      <a:lnTo>
                        <a:pt x="2208" y="2444"/>
                      </a:lnTo>
                      <a:lnTo>
                        <a:pt x="2196" y="2434"/>
                      </a:lnTo>
                      <a:lnTo>
                        <a:pt x="2185" y="2422"/>
                      </a:lnTo>
                      <a:lnTo>
                        <a:pt x="2174" y="2409"/>
                      </a:lnTo>
                      <a:lnTo>
                        <a:pt x="2165" y="2395"/>
                      </a:lnTo>
                      <a:lnTo>
                        <a:pt x="2157" y="2380"/>
                      </a:lnTo>
                      <a:lnTo>
                        <a:pt x="2149" y="2363"/>
                      </a:lnTo>
                      <a:lnTo>
                        <a:pt x="2142" y="2347"/>
                      </a:lnTo>
                      <a:lnTo>
                        <a:pt x="2138" y="2330"/>
                      </a:lnTo>
                      <a:lnTo>
                        <a:pt x="2135" y="2322"/>
                      </a:lnTo>
                      <a:lnTo>
                        <a:pt x="2133" y="2314"/>
                      </a:lnTo>
                      <a:lnTo>
                        <a:pt x="2128" y="2307"/>
                      </a:lnTo>
                      <a:lnTo>
                        <a:pt x="2124" y="2299"/>
                      </a:lnTo>
                      <a:lnTo>
                        <a:pt x="2114" y="2283"/>
                      </a:lnTo>
                      <a:lnTo>
                        <a:pt x="2104" y="2269"/>
                      </a:lnTo>
                      <a:lnTo>
                        <a:pt x="2093" y="2254"/>
                      </a:lnTo>
                      <a:lnTo>
                        <a:pt x="2082" y="2240"/>
                      </a:lnTo>
                      <a:lnTo>
                        <a:pt x="2079" y="2233"/>
                      </a:lnTo>
                      <a:lnTo>
                        <a:pt x="2075" y="2224"/>
                      </a:lnTo>
                      <a:lnTo>
                        <a:pt x="2072" y="2217"/>
                      </a:lnTo>
                      <a:lnTo>
                        <a:pt x="2071" y="2210"/>
                      </a:lnTo>
                      <a:lnTo>
                        <a:pt x="2066" y="2207"/>
                      </a:lnTo>
                      <a:lnTo>
                        <a:pt x="2062" y="2202"/>
                      </a:lnTo>
                      <a:lnTo>
                        <a:pt x="2061" y="2202"/>
                      </a:lnTo>
                      <a:lnTo>
                        <a:pt x="2062" y="2214"/>
                      </a:lnTo>
                      <a:lnTo>
                        <a:pt x="2068" y="2229"/>
                      </a:lnTo>
                      <a:lnTo>
                        <a:pt x="2077" y="2247"/>
                      </a:lnTo>
                      <a:lnTo>
                        <a:pt x="2086" y="2266"/>
                      </a:lnTo>
                      <a:lnTo>
                        <a:pt x="2106" y="2301"/>
                      </a:lnTo>
                      <a:lnTo>
                        <a:pt x="2120" y="2327"/>
                      </a:lnTo>
                      <a:lnTo>
                        <a:pt x="2182" y="2434"/>
                      </a:lnTo>
                      <a:lnTo>
                        <a:pt x="2180" y="2433"/>
                      </a:lnTo>
                      <a:lnTo>
                        <a:pt x="2178" y="2432"/>
                      </a:lnTo>
                      <a:lnTo>
                        <a:pt x="2166" y="2431"/>
                      </a:lnTo>
                      <a:lnTo>
                        <a:pt x="2154" y="2428"/>
                      </a:lnTo>
                      <a:lnTo>
                        <a:pt x="2141" y="2423"/>
                      </a:lnTo>
                      <a:lnTo>
                        <a:pt x="2127" y="2418"/>
                      </a:lnTo>
                      <a:lnTo>
                        <a:pt x="2112" y="2411"/>
                      </a:lnTo>
                      <a:lnTo>
                        <a:pt x="2098" y="2402"/>
                      </a:lnTo>
                      <a:lnTo>
                        <a:pt x="2082" y="2394"/>
                      </a:lnTo>
                      <a:lnTo>
                        <a:pt x="2067" y="2383"/>
                      </a:lnTo>
                      <a:lnTo>
                        <a:pt x="2053" y="2374"/>
                      </a:lnTo>
                      <a:lnTo>
                        <a:pt x="2039" y="2363"/>
                      </a:lnTo>
                      <a:lnTo>
                        <a:pt x="2026" y="2352"/>
                      </a:lnTo>
                      <a:lnTo>
                        <a:pt x="2013" y="2341"/>
                      </a:lnTo>
                      <a:lnTo>
                        <a:pt x="2003" y="2330"/>
                      </a:lnTo>
                      <a:lnTo>
                        <a:pt x="1993" y="2320"/>
                      </a:lnTo>
                      <a:lnTo>
                        <a:pt x="1986" y="2309"/>
                      </a:lnTo>
                      <a:lnTo>
                        <a:pt x="1980" y="2300"/>
                      </a:lnTo>
                      <a:lnTo>
                        <a:pt x="1971" y="2279"/>
                      </a:lnTo>
                      <a:lnTo>
                        <a:pt x="1960" y="2254"/>
                      </a:lnTo>
                      <a:lnTo>
                        <a:pt x="1953" y="2241"/>
                      </a:lnTo>
                      <a:lnTo>
                        <a:pt x="1947" y="2229"/>
                      </a:lnTo>
                      <a:lnTo>
                        <a:pt x="1940" y="2220"/>
                      </a:lnTo>
                      <a:lnTo>
                        <a:pt x="1933" y="2213"/>
                      </a:lnTo>
                      <a:lnTo>
                        <a:pt x="1911" y="2202"/>
                      </a:lnTo>
                      <a:lnTo>
                        <a:pt x="1886" y="2192"/>
                      </a:lnTo>
                      <a:lnTo>
                        <a:pt x="1874" y="2187"/>
                      </a:lnTo>
                      <a:lnTo>
                        <a:pt x="1864" y="2180"/>
                      </a:lnTo>
                      <a:lnTo>
                        <a:pt x="1860" y="2175"/>
                      </a:lnTo>
                      <a:lnTo>
                        <a:pt x="1856" y="2170"/>
                      </a:lnTo>
                      <a:lnTo>
                        <a:pt x="1853" y="2165"/>
                      </a:lnTo>
                      <a:lnTo>
                        <a:pt x="1851" y="2158"/>
                      </a:lnTo>
                      <a:lnTo>
                        <a:pt x="1850" y="2138"/>
                      </a:lnTo>
                      <a:lnTo>
                        <a:pt x="1849" y="2111"/>
                      </a:lnTo>
                      <a:lnTo>
                        <a:pt x="1847" y="2098"/>
                      </a:lnTo>
                      <a:lnTo>
                        <a:pt x="1844" y="2086"/>
                      </a:lnTo>
                      <a:lnTo>
                        <a:pt x="1842" y="2083"/>
                      </a:lnTo>
                      <a:lnTo>
                        <a:pt x="1839" y="2079"/>
                      </a:lnTo>
                      <a:lnTo>
                        <a:pt x="1836" y="2077"/>
                      </a:lnTo>
                      <a:lnTo>
                        <a:pt x="1831" y="2076"/>
                      </a:lnTo>
                      <a:lnTo>
                        <a:pt x="1822" y="2076"/>
                      </a:lnTo>
                      <a:lnTo>
                        <a:pt x="1815" y="2078"/>
                      </a:lnTo>
                      <a:lnTo>
                        <a:pt x="1809" y="2080"/>
                      </a:lnTo>
                      <a:lnTo>
                        <a:pt x="1804" y="2084"/>
                      </a:lnTo>
                      <a:lnTo>
                        <a:pt x="1799" y="2089"/>
                      </a:lnTo>
                      <a:lnTo>
                        <a:pt x="1795" y="2092"/>
                      </a:lnTo>
                      <a:lnTo>
                        <a:pt x="1789" y="2096"/>
                      </a:lnTo>
                      <a:lnTo>
                        <a:pt x="1783" y="2098"/>
                      </a:lnTo>
                      <a:lnTo>
                        <a:pt x="1786" y="2035"/>
                      </a:lnTo>
                      <a:lnTo>
                        <a:pt x="1787" y="2031"/>
                      </a:lnTo>
                      <a:lnTo>
                        <a:pt x="1790" y="2027"/>
                      </a:lnTo>
                      <a:lnTo>
                        <a:pt x="1792" y="2024"/>
                      </a:lnTo>
                      <a:lnTo>
                        <a:pt x="1796" y="2020"/>
                      </a:lnTo>
                      <a:lnTo>
                        <a:pt x="1805" y="2014"/>
                      </a:lnTo>
                      <a:lnTo>
                        <a:pt x="1816" y="2010"/>
                      </a:lnTo>
                      <a:lnTo>
                        <a:pt x="1826" y="2005"/>
                      </a:lnTo>
                      <a:lnTo>
                        <a:pt x="1838" y="2000"/>
                      </a:lnTo>
                      <a:lnTo>
                        <a:pt x="1847" y="1996"/>
                      </a:lnTo>
                      <a:lnTo>
                        <a:pt x="1854" y="1990"/>
                      </a:lnTo>
                      <a:lnTo>
                        <a:pt x="1893" y="1951"/>
                      </a:lnTo>
                      <a:lnTo>
                        <a:pt x="1897" y="1967"/>
                      </a:lnTo>
                      <a:lnTo>
                        <a:pt x="1901" y="1984"/>
                      </a:lnTo>
                      <a:lnTo>
                        <a:pt x="1906" y="2000"/>
                      </a:lnTo>
                      <a:lnTo>
                        <a:pt x="1913" y="2013"/>
                      </a:lnTo>
                      <a:lnTo>
                        <a:pt x="1917" y="2019"/>
                      </a:lnTo>
                      <a:lnTo>
                        <a:pt x="1921" y="2025"/>
                      </a:lnTo>
                      <a:lnTo>
                        <a:pt x="1926" y="2029"/>
                      </a:lnTo>
                      <a:lnTo>
                        <a:pt x="1932" y="2032"/>
                      </a:lnTo>
                      <a:lnTo>
                        <a:pt x="1938" y="2035"/>
                      </a:lnTo>
                      <a:lnTo>
                        <a:pt x="1945" y="2036"/>
                      </a:lnTo>
                      <a:lnTo>
                        <a:pt x="1953" y="2036"/>
                      </a:lnTo>
                      <a:lnTo>
                        <a:pt x="1961" y="2033"/>
                      </a:lnTo>
                      <a:lnTo>
                        <a:pt x="1970" y="2031"/>
                      </a:lnTo>
                      <a:lnTo>
                        <a:pt x="1977" y="2027"/>
                      </a:lnTo>
                      <a:lnTo>
                        <a:pt x="1983" y="2023"/>
                      </a:lnTo>
                      <a:lnTo>
                        <a:pt x="1986" y="2018"/>
                      </a:lnTo>
                      <a:lnTo>
                        <a:pt x="1990" y="2012"/>
                      </a:lnTo>
                      <a:lnTo>
                        <a:pt x="1992" y="2005"/>
                      </a:lnTo>
                      <a:lnTo>
                        <a:pt x="1993" y="1999"/>
                      </a:lnTo>
                      <a:lnTo>
                        <a:pt x="1993" y="1991"/>
                      </a:lnTo>
                      <a:lnTo>
                        <a:pt x="1993" y="1977"/>
                      </a:lnTo>
                      <a:lnTo>
                        <a:pt x="1990" y="1961"/>
                      </a:lnTo>
                      <a:lnTo>
                        <a:pt x="1986" y="1946"/>
                      </a:lnTo>
                      <a:lnTo>
                        <a:pt x="1984" y="1933"/>
                      </a:lnTo>
                      <a:lnTo>
                        <a:pt x="1972" y="1946"/>
                      </a:lnTo>
                      <a:lnTo>
                        <a:pt x="1958" y="1959"/>
                      </a:lnTo>
                      <a:lnTo>
                        <a:pt x="1957" y="1950"/>
                      </a:lnTo>
                      <a:lnTo>
                        <a:pt x="1957" y="1939"/>
                      </a:lnTo>
                      <a:lnTo>
                        <a:pt x="1958" y="1930"/>
                      </a:lnTo>
                      <a:lnTo>
                        <a:pt x="1961" y="1919"/>
                      </a:lnTo>
                      <a:lnTo>
                        <a:pt x="1968" y="1900"/>
                      </a:lnTo>
                      <a:lnTo>
                        <a:pt x="1978" y="1882"/>
                      </a:lnTo>
                      <a:lnTo>
                        <a:pt x="1983" y="1872"/>
                      </a:lnTo>
                      <a:lnTo>
                        <a:pt x="1985" y="1859"/>
                      </a:lnTo>
                      <a:lnTo>
                        <a:pt x="1987" y="1844"/>
                      </a:lnTo>
                      <a:lnTo>
                        <a:pt x="1987" y="1829"/>
                      </a:lnTo>
                      <a:lnTo>
                        <a:pt x="1986" y="1799"/>
                      </a:lnTo>
                      <a:lnTo>
                        <a:pt x="1986" y="1772"/>
                      </a:lnTo>
                      <a:lnTo>
                        <a:pt x="1986" y="1769"/>
                      </a:lnTo>
                      <a:lnTo>
                        <a:pt x="1987" y="1767"/>
                      </a:lnTo>
                      <a:lnTo>
                        <a:pt x="1988" y="1766"/>
                      </a:lnTo>
                      <a:lnTo>
                        <a:pt x="1991" y="1766"/>
                      </a:lnTo>
                      <a:lnTo>
                        <a:pt x="1997" y="1768"/>
                      </a:lnTo>
                      <a:lnTo>
                        <a:pt x="2005" y="1772"/>
                      </a:lnTo>
                      <a:lnTo>
                        <a:pt x="2020" y="1781"/>
                      </a:lnTo>
                      <a:lnTo>
                        <a:pt x="2032" y="1787"/>
                      </a:lnTo>
                      <a:lnTo>
                        <a:pt x="2040" y="1787"/>
                      </a:lnTo>
                      <a:lnTo>
                        <a:pt x="2048" y="1787"/>
                      </a:lnTo>
                      <a:lnTo>
                        <a:pt x="2057" y="1785"/>
                      </a:lnTo>
                      <a:lnTo>
                        <a:pt x="2065" y="1781"/>
                      </a:lnTo>
                      <a:lnTo>
                        <a:pt x="2072" y="1778"/>
                      </a:lnTo>
                      <a:lnTo>
                        <a:pt x="2078" y="1772"/>
                      </a:lnTo>
                      <a:lnTo>
                        <a:pt x="2080" y="1768"/>
                      </a:lnTo>
                      <a:lnTo>
                        <a:pt x="2081" y="1765"/>
                      </a:lnTo>
                      <a:lnTo>
                        <a:pt x="2082" y="1761"/>
                      </a:lnTo>
                      <a:lnTo>
                        <a:pt x="2084" y="1756"/>
                      </a:lnTo>
                      <a:lnTo>
                        <a:pt x="2060" y="1752"/>
                      </a:lnTo>
                      <a:lnTo>
                        <a:pt x="2027" y="1742"/>
                      </a:lnTo>
                      <a:lnTo>
                        <a:pt x="2011" y="1736"/>
                      </a:lnTo>
                      <a:lnTo>
                        <a:pt x="1997" y="1730"/>
                      </a:lnTo>
                      <a:lnTo>
                        <a:pt x="1992" y="1727"/>
                      </a:lnTo>
                      <a:lnTo>
                        <a:pt x="1987" y="1723"/>
                      </a:lnTo>
                      <a:lnTo>
                        <a:pt x="1985" y="1719"/>
                      </a:lnTo>
                      <a:lnTo>
                        <a:pt x="1984" y="1715"/>
                      </a:lnTo>
                      <a:lnTo>
                        <a:pt x="1999" y="1710"/>
                      </a:lnTo>
                      <a:lnTo>
                        <a:pt x="2012" y="1705"/>
                      </a:lnTo>
                      <a:lnTo>
                        <a:pt x="2024" y="1697"/>
                      </a:lnTo>
                      <a:lnTo>
                        <a:pt x="2035" y="1693"/>
                      </a:lnTo>
                      <a:lnTo>
                        <a:pt x="2041" y="1690"/>
                      </a:lnTo>
                      <a:lnTo>
                        <a:pt x="2046" y="1690"/>
                      </a:lnTo>
                      <a:lnTo>
                        <a:pt x="2052" y="1689"/>
                      </a:lnTo>
                      <a:lnTo>
                        <a:pt x="2058" y="1690"/>
                      </a:lnTo>
                      <a:lnTo>
                        <a:pt x="2064" y="1693"/>
                      </a:lnTo>
                      <a:lnTo>
                        <a:pt x="2071" y="1696"/>
                      </a:lnTo>
                      <a:lnTo>
                        <a:pt x="2078" y="1701"/>
                      </a:lnTo>
                      <a:lnTo>
                        <a:pt x="2085" y="1708"/>
                      </a:lnTo>
                      <a:lnTo>
                        <a:pt x="2092" y="1716"/>
                      </a:lnTo>
                      <a:lnTo>
                        <a:pt x="2098" y="1727"/>
                      </a:lnTo>
                      <a:lnTo>
                        <a:pt x="2104" y="1740"/>
                      </a:lnTo>
                      <a:lnTo>
                        <a:pt x="2110" y="1754"/>
                      </a:lnTo>
                      <a:lnTo>
                        <a:pt x="2115" y="1769"/>
                      </a:lnTo>
                      <a:lnTo>
                        <a:pt x="2121" y="1783"/>
                      </a:lnTo>
                      <a:lnTo>
                        <a:pt x="2128" y="1796"/>
                      </a:lnTo>
                      <a:lnTo>
                        <a:pt x="2135" y="1808"/>
                      </a:lnTo>
                      <a:lnTo>
                        <a:pt x="2164" y="1849"/>
                      </a:lnTo>
                      <a:lnTo>
                        <a:pt x="2192" y="1892"/>
                      </a:lnTo>
                      <a:lnTo>
                        <a:pt x="2207" y="1913"/>
                      </a:lnTo>
                      <a:lnTo>
                        <a:pt x="2222" y="1933"/>
                      </a:lnTo>
                      <a:lnTo>
                        <a:pt x="2239" y="1953"/>
                      </a:lnTo>
                      <a:lnTo>
                        <a:pt x="2255" y="1972"/>
                      </a:lnTo>
                      <a:lnTo>
                        <a:pt x="2262" y="1980"/>
                      </a:lnTo>
                      <a:lnTo>
                        <a:pt x="2267" y="1987"/>
                      </a:lnTo>
                      <a:lnTo>
                        <a:pt x="2269" y="1994"/>
                      </a:lnTo>
                      <a:lnTo>
                        <a:pt x="2271" y="2000"/>
                      </a:lnTo>
                      <a:lnTo>
                        <a:pt x="2268" y="2005"/>
                      </a:lnTo>
                      <a:lnTo>
                        <a:pt x="2265" y="2010"/>
                      </a:lnTo>
                      <a:lnTo>
                        <a:pt x="2260" y="2014"/>
                      </a:lnTo>
                      <a:lnTo>
                        <a:pt x="2255" y="2018"/>
                      </a:lnTo>
                      <a:lnTo>
                        <a:pt x="2225" y="2032"/>
                      </a:lnTo>
                      <a:lnTo>
                        <a:pt x="2194" y="2045"/>
                      </a:lnTo>
                      <a:lnTo>
                        <a:pt x="2181" y="2056"/>
                      </a:lnTo>
                      <a:lnTo>
                        <a:pt x="2161" y="2073"/>
                      </a:lnTo>
                      <a:lnTo>
                        <a:pt x="2152" y="2083"/>
                      </a:lnTo>
                      <a:lnTo>
                        <a:pt x="2145" y="2091"/>
                      </a:lnTo>
                      <a:lnTo>
                        <a:pt x="2139" y="2098"/>
                      </a:lnTo>
                      <a:lnTo>
                        <a:pt x="2138" y="2102"/>
                      </a:lnTo>
                      <a:lnTo>
                        <a:pt x="2141" y="2108"/>
                      </a:lnTo>
                      <a:lnTo>
                        <a:pt x="2145" y="2112"/>
                      </a:lnTo>
                      <a:lnTo>
                        <a:pt x="2148" y="2115"/>
                      </a:lnTo>
                      <a:lnTo>
                        <a:pt x="2152" y="2116"/>
                      </a:lnTo>
                      <a:lnTo>
                        <a:pt x="2157" y="2116"/>
                      </a:lnTo>
                      <a:lnTo>
                        <a:pt x="2161" y="2115"/>
                      </a:lnTo>
                      <a:lnTo>
                        <a:pt x="2166" y="2114"/>
                      </a:lnTo>
                      <a:lnTo>
                        <a:pt x="2172" y="2110"/>
                      </a:lnTo>
                      <a:lnTo>
                        <a:pt x="2181" y="2103"/>
                      </a:lnTo>
                      <a:lnTo>
                        <a:pt x="2189" y="2095"/>
                      </a:lnTo>
                      <a:lnTo>
                        <a:pt x="2198" y="2088"/>
                      </a:lnTo>
                      <a:lnTo>
                        <a:pt x="2202" y="2082"/>
                      </a:lnTo>
                      <a:lnTo>
                        <a:pt x="2215" y="2063"/>
                      </a:lnTo>
                      <a:lnTo>
                        <a:pt x="2229" y="2042"/>
                      </a:lnTo>
                      <a:lnTo>
                        <a:pt x="2233" y="2038"/>
                      </a:lnTo>
                      <a:lnTo>
                        <a:pt x="2238" y="2033"/>
                      </a:lnTo>
                      <a:lnTo>
                        <a:pt x="2242" y="2030"/>
                      </a:lnTo>
                      <a:lnTo>
                        <a:pt x="2247" y="2027"/>
                      </a:lnTo>
                      <a:lnTo>
                        <a:pt x="2253" y="2026"/>
                      </a:lnTo>
                      <a:lnTo>
                        <a:pt x="2259" y="2025"/>
                      </a:lnTo>
                      <a:lnTo>
                        <a:pt x="2265" y="2026"/>
                      </a:lnTo>
                      <a:lnTo>
                        <a:pt x="2272" y="2029"/>
                      </a:lnTo>
                      <a:lnTo>
                        <a:pt x="2300" y="2042"/>
                      </a:lnTo>
                      <a:lnTo>
                        <a:pt x="2321" y="2052"/>
                      </a:lnTo>
                      <a:lnTo>
                        <a:pt x="2325" y="2052"/>
                      </a:lnTo>
                      <a:lnTo>
                        <a:pt x="2326" y="2052"/>
                      </a:lnTo>
                      <a:lnTo>
                        <a:pt x="2327" y="2051"/>
                      </a:lnTo>
                      <a:lnTo>
                        <a:pt x="2327" y="2047"/>
                      </a:lnTo>
                      <a:lnTo>
                        <a:pt x="2321" y="2037"/>
                      </a:lnTo>
                      <a:lnTo>
                        <a:pt x="2309" y="2018"/>
                      </a:lnTo>
                      <a:lnTo>
                        <a:pt x="2269" y="1959"/>
                      </a:lnTo>
                      <a:lnTo>
                        <a:pt x="2253" y="1937"/>
                      </a:lnTo>
                      <a:lnTo>
                        <a:pt x="2238" y="1912"/>
                      </a:lnTo>
                      <a:lnTo>
                        <a:pt x="2221" y="1888"/>
                      </a:lnTo>
                      <a:lnTo>
                        <a:pt x="2205" y="1865"/>
                      </a:lnTo>
                      <a:lnTo>
                        <a:pt x="2137" y="1779"/>
                      </a:lnTo>
                      <a:lnTo>
                        <a:pt x="2131" y="1771"/>
                      </a:lnTo>
                      <a:lnTo>
                        <a:pt x="2126" y="1761"/>
                      </a:lnTo>
                      <a:lnTo>
                        <a:pt x="2120" y="1750"/>
                      </a:lnTo>
                      <a:lnTo>
                        <a:pt x="2115" y="1738"/>
                      </a:lnTo>
                      <a:lnTo>
                        <a:pt x="2106" y="1709"/>
                      </a:lnTo>
                      <a:lnTo>
                        <a:pt x="2098" y="1679"/>
                      </a:lnTo>
                      <a:lnTo>
                        <a:pt x="2094" y="1663"/>
                      </a:lnTo>
                      <a:lnTo>
                        <a:pt x="2092" y="1648"/>
                      </a:lnTo>
                      <a:lnTo>
                        <a:pt x="2091" y="1634"/>
                      </a:lnTo>
                      <a:lnTo>
                        <a:pt x="2090" y="1618"/>
                      </a:lnTo>
                      <a:lnTo>
                        <a:pt x="2090" y="1606"/>
                      </a:lnTo>
                      <a:lnTo>
                        <a:pt x="2090" y="1594"/>
                      </a:lnTo>
                      <a:lnTo>
                        <a:pt x="2092" y="1582"/>
                      </a:lnTo>
                      <a:lnTo>
                        <a:pt x="2095" y="1574"/>
                      </a:lnTo>
                      <a:lnTo>
                        <a:pt x="2101" y="1563"/>
                      </a:lnTo>
                      <a:lnTo>
                        <a:pt x="2111" y="1550"/>
                      </a:lnTo>
                      <a:lnTo>
                        <a:pt x="2120" y="1538"/>
                      </a:lnTo>
                      <a:lnTo>
                        <a:pt x="2125" y="1530"/>
                      </a:lnTo>
                      <a:lnTo>
                        <a:pt x="2129" y="1528"/>
                      </a:lnTo>
                      <a:lnTo>
                        <a:pt x="2134" y="1525"/>
                      </a:lnTo>
                      <a:lnTo>
                        <a:pt x="2137" y="1522"/>
                      </a:lnTo>
                      <a:lnTo>
                        <a:pt x="2139" y="1518"/>
                      </a:lnTo>
                      <a:lnTo>
                        <a:pt x="2140" y="1515"/>
                      </a:lnTo>
                      <a:lnTo>
                        <a:pt x="2140" y="1510"/>
                      </a:lnTo>
                      <a:lnTo>
                        <a:pt x="2139" y="1505"/>
                      </a:lnTo>
                      <a:lnTo>
                        <a:pt x="2138" y="1499"/>
                      </a:lnTo>
                      <a:lnTo>
                        <a:pt x="2132" y="1488"/>
                      </a:lnTo>
                      <a:lnTo>
                        <a:pt x="2124" y="1475"/>
                      </a:lnTo>
                      <a:lnTo>
                        <a:pt x="2114" y="1461"/>
                      </a:lnTo>
                      <a:lnTo>
                        <a:pt x="2102" y="1446"/>
                      </a:lnTo>
                      <a:lnTo>
                        <a:pt x="2078" y="1419"/>
                      </a:lnTo>
                      <a:lnTo>
                        <a:pt x="2053" y="1395"/>
                      </a:lnTo>
                      <a:lnTo>
                        <a:pt x="2034" y="1376"/>
                      </a:lnTo>
                      <a:lnTo>
                        <a:pt x="2024" y="1366"/>
                      </a:lnTo>
                      <a:lnTo>
                        <a:pt x="1954" y="1263"/>
                      </a:lnTo>
                      <a:lnTo>
                        <a:pt x="1940" y="1240"/>
                      </a:lnTo>
                      <a:lnTo>
                        <a:pt x="1927" y="1217"/>
                      </a:lnTo>
                      <a:lnTo>
                        <a:pt x="1920" y="1205"/>
                      </a:lnTo>
                      <a:lnTo>
                        <a:pt x="1913" y="1193"/>
                      </a:lnTo>
                      <a:lnTo>
                        <a:pt x="1906" y="1182"/>
                      </a:lnTo>
                      <a:lnTo>
                        <a:pt x="1898" y="1172"/>
                      </a:lnTo>
                      <a:lnTo>
                        <a:pt x="1891" y="1164"/>
                      </a:lnTo>
                      <a:lnTo>
                        <a:pt x="1885" y="1155"/>
                      </a:lnTo>
                      <a:lnTo>
                        <a:pt x="1879" y="1146"/>
                      </a:lnTo>
                      <a:lnTo>
                        <a:pt x="1874" y="1136"/>
                      </a:lnTo>
                      <a:lnTo>
                        <a:pt x="1864" y="1115"/>
                      </a:lnTo>
                      <a:lnTo>
                        <a:pt x="1854" y="1093"/>
                      </a:lnTo>
                      <a:lnTo>
                        <a:pt x="1845" y="1070"/>
                      </a:lnTo>
                      <a:lnTo>
                        <a:pt x="1836" y="1049"/>
                      </a:lnTo>
                      <a:lnTo>
                        <a:pt x="1827" y="1028"/>
                      </a:lnTo>
                      <a:lnTo>
                        <a:pt x="1817" y="1009"/>
                      </a:lnTo>
                      <a:lnTo>
                        <a:pt x="1813" y="1002"/>
                      </a:lnTo>
                      <a:lnTo>
                        <a:pt x="1809" y="998"/>
                      </a:lnTo>
                      <a:lnTo>
                        <a:pt x="1804" y="996"/>
                      </a:lnTo>
                      <a:lnTo>
                        <a:pt x="1798" y="995"/>
                      </a:lnTo>
                      <a:lnTo>
                        <a:pt x="1793" y="996"/>
                      </a:lnTo>
                      <a:lnTo>
                        <a:pt x="1789" y="998"/>
                      </a:lnTo>
                      <a:lnTo>
                        <a:pt x="1784" y="1002"/>
                      </a:lnTo>
                      <a:lnTo>
                        <a:pt x="1780" y="1006"/>
                      </a:lnTo>
                      <a:lnTo>
                        <a:pt x="1772" y="1015"/>
                      </a:lnTo>
                      <a:lnTo>
                        <a:pt x="1766" y="1023"/>
                      </a:lnTo>
                      <a:lnTo>
                        <a:pt x="1763" y="1030"/>
                      </a:lnTo>
                      <a:lnTo>
                        <a:pt x="1763" y="1033"/>
                      </a:lnTo>
                      <a:lnTo>
                        <a:pt x="1771" y="1031"/>
                      </a:lnTo>
                      <a:lnTo>
                        <a:pt x="1784" y="1029"/>
                      </a:lnTo>
                      <a:lnTo>
                        <a:pt x="1790" y="1028"/>
                      </a:lnTo>
                      <a:lnTo>
                        <a:pt x="1795" y="1028"/>
                      </a:lnTo>
                      <a:lnTo>
                        <a:pt x="1799" y="1028"/>
                      </a:lnTo>
                      <a:lnTo>
                        <a:pt x="1802" y="1029"/>
                      </a:lnTo>
                      <a:lnTo>
                        <a:pt x="1812" y="1041"/>
                      </a:lnTo>
                      <a:lnTo>
                        <a:pt x="1819" y="1053"/>
                      </a:lnTo>
                      <a:lnTo>
                        <a:pt x="1826" y="1064"/>
                      </a:lnTo>
                      <a:lnTo>
                        <a:pt x="1833" y="1080"/>
                      </a:lnTo>
                      <a:lnTo>
                        <a:pt x="1842" y="1095"/>
                      </a:lnTo>
                      <a:lnTo>
                        <a:pt x="1850" y="1113"/>
                      </a:lnTo>
                      <a:lnTo>
                        <a:pt x="1852" y="1121"/>
                      </a:lnTo>
                      <a:lnTo>
                        <a:pt x="1852" y="1128"/>
                      </a:lnTo>
                      <a:lnTo>
                        <a:pt x="1851" y="1131"/>
                      </a:lnTo>
                      <a:lnTo>
                        <a:pt x="1850" y="1132"/>
                      </a:lnTo>
                      <a:lnTo>
                        <a:pt x="1846" y="1132"/>
                      </a:lnTo>
                      <a:lnTo>
                        <a:pt x="1843" y="1132"/>
                      </a:lnTo>
                      <a:lnTo>
                        <a:pt x="1800" y="1122"/>
                      </a:lnTo>
                      <a:lnTo>
                        <a:pt x="1791" y="1120"/>
                      </a:lnTo>
                      <a:lnTo>
                        <a:pt x="1780" y="1115"/>
                      </a:lnTo>
                      <a:lnTo>
                        <a:pt x="1769" y="1109"/>
                      </a:lnTo>
                      <a:lnTo>
                        <a:pt x="1756" y="1103"/>
                      </a:lnTo>
                      <a:lnTo>
                        <a:pt x="1731" y="1090"/>
                      </a:lnTo>
                      <a:lnTo>
                        <a:pt x="1710" y="1080"/>
                      </a:lnTo>
                      <a:lnTo>
                        <a:pt x="1704" y="1075"/>
                      </a:lnTo>
                      <a:lnTo>
                        <a:pt x="1701" y="1070"/>
                      </a:lnTo>
                      <a:lnTo>
                        <a:pt x="1698" y="1066"/>
                      </a:lnTo>
                      <a:lnTo>
                        <a:pt x="1699" y="1061"/>
                      </a:lnTo>
                      <a:lnTo>
                        <a:pt x="1704" y="1050"/>
                      </a:lnTo>
                      <a:lnTo>
                        <a:pt x="1710" y="1040"/>
                      </a:lnTo>
                      <a:lnTo>
                        <a:pt x="1713" y="1034"/>
                      </a:lnTo>
                      <a:lnTo>
                        <a:pt x="1716" y="1029"/>
                      </a:lnTo>
                      <a:lnTo>
                        <a:pt x="1717" y="1024"/>
                      </a:lnTo>
                      <a:lnTo>
                        <a:pt x="1717" y="1021"/>
                      </a:lnTo>
                      <a:lnTo>
                        <a:pt x="1715" y="1017"/>
                      </a:lnTo>
                      <a:lnTo>
                        <a:pt x="1710" y="1014"/>
                      </a:lnTo>
                      <a:lnTo>
                        <a:pt x="1702" y="1011"/>
                      </a:lnTo>
                      <a:lnTo>
                        <a:pt x="1690" y="1010"/>
                      </a:lnTo>
                      <a:lnTo>
                        <a:pt x="1683" y="1008"/>
                      </a:lnTo>
                      <a:lnTo>
                        <a:pt x="1676" y="1006"/>
                      </a:lnTo>
                      <a:lnTo>
                        <a:pt x="1670" y="1002"/>
                      </a:lnTo>
                      <a:lnTo>
                        <a:pt x="1664" y="998"/>
                      </a:lnTo>
                      <a:lnTo>
                        <a:pt x="1658" y="996"/>
                      </a:lnTo>
                      <a:lnTo>
                        <a:pt x="1651" y="994"/>
                      </a:lnTo>
                      <a:lnTo>
                        <a:pt x="1645" y="993"/>
                      </a:lnTo>
                      <a:lnTo>
                        <a:pt x="1637" y="994"/>
                      </a:lnTo>
                      <a:lnTo>
                        <a:pt x="1623" y="996"/>
                      </a:lnTo>
                      <a:lnTo>
                        <a:pt x="1605" y="1000"/>
                      </a:lnTo>
                      <a:lnTo>
                        <a:pt x="1588" y="1003"/>
                      </a:lnTo>
                      <a:lnTo>
                        <a:pt x="1576" y="1008"/>
                      </a:lnTo>
                      <a:lnTo>
                        <a:pt x="1559" y="1020"/>
                      </a:lnTo>
                      <a:lnTo>
                        <a:pt x="1543" y="1031"/>
                      </a:lnTo>
                      <a:lnTo>
                        <a:pt x="1535" y="1037"/>
                      </a:lnTo>
                      <a:lnTo>
                        <a:pt x="1525" y="1041"/>
                      </a:lnTo>
                      <a:lnTo>
                        <a:pt x="1516" y="1043"/>
                      </a:lnTo>
                      <a:lnTo>
                        <a:pt x="1504" y="1044"/>
                      </a:lnTo>
                      <a:lnTo>
                        <a:pt x="1498" y="1044"/>
                      </a:lnTo>
                      <a:lnTo>
                        <a:pt x="1495" y="1043"/>
                      </a:lnTo>
                      <a:lnTo>
                        <a:pt x="1498" y="1036"/>
                      </a:lnTo>
                      <a:lnTo>
                        <a:pt x="1503" y="1030"/>
                      </a:lnTo>
                      <a:lnTo>
                        <a:pt x="1508" y="1026"/>
                      </a:lnTo>
                      <a:lnTo>
                        <a:pt x="1512" y="1022"/>
                      </a:lnTo>
                      <a:lnTo>
                        <a:pt x="1524" y="1016"/>
                      </a:lnTo>
                      <a:lnTo>
                        <a:pt x="1537" y="1009"/>
                      </a:lnTo>
                      <a:lnTo>
                        <a:pt x="1592" y="977"/>
                      </a:lnTo>
                      <a:lnTo>
                        <a:pt x="1605" y="974"/>
                      </a:lnTo>
                      <a:lnTo>
                        <a:pt x="1623" y="967"/>
                      </a:lnTo>
                      <a:lnTo>
                        <a:pt x="1628" y="965"/>
                      </a:lnTo>
                      <a:lnTo>
                        <a:pt x="1631" y="963"/>
                      </a:lnTo>
                      <a:lnTo>
                        <a:pt x="1635" y="960"/>
                      </a:lnTo>
                      <a:lnTo>
                        <a:pt x="1636" y="957"/>
                      </a:lnTo>
                      <a:lnTo>
                        <a:pt x="1637" y="954"/>
                      </a:lnTo>
                      <a:lnTo>
                        <a:pt x="1637" y="950"/>
                      </a:lnTo>
                      <a:lnTo>
                        <a:pt x="1635" y="947"/>
                      </a:lnTo>
                      <a:lnTo>
                        <a:pt x="1631" y="943"/>
                      </a:lnTo>
                      <a:lnTo>
                        <a:pt x="1617" y="930"/>
                      </a:lnTo>
                      <a:lnTo>
                        <a:pt x="1609" y="924"/>
                      </a:lnTo>
                      <a:lnTo>
                        <a:pt x="1609" y="923"/>
                      </a:lnTo>
                      <a:lnTo>
                        <a:pt x="1610" y="922"/>
                      </a:lnTo>
                      <a:lnTo>
                        <a:pt x="1612" y="920"/>
                      </a:lnTo>
                      <a:lnTo>
                        <a:pt x="1616" y="918"/>
                      </a:lnTo>
                      <a:lnTo>
                        <a:pt x="1626" y="912"/>
                      </a:lnTo>
                      <a:lnTo>
                        <a:pt x="1643" y="904"/>
                      </a:lnTo>
                      <a:lnTo>
                        <a:pt x="1646" y="904"/>
                      </a:lnTo>
                      <a:lnTo>
                        <a:pt x="1654" y="907"/>
                      </a:lnTo>
                      <a:lnTo>
                        <a:pt x="1663" y="910"/>
                      </a:lnTo>
                      <a:lnTo>
                        <a:pt x="1673" y="915"/>
                      </a:lnTo>
                      <a:lnTo>
                        <a:pt x="1684" y="920"/>
                      </a:lnTo>
                      <a:lnTo>
                        <a:pt x="1696" y="923"/>
                      </a:lnTo>
                      <a:lnTo>
                        <a:pt x="1702" y="923"/>
                      </a:lnTo>
                      <a:lnTo>
                        <a:pt x="1706" y="924"/>
                      </a:lnTo>
                      <a:lnTo>
                        <a:pt x="1712" y="924"/>
                      </a:lnTo>
                      <a:lnTo>
                        <a:pt x="1717" y="923"/>
                      </a:lnTo>
                      <a:lnTo>
                        <a:pt x="1722" y="922"/>
                      </a:lnTo>
                      <a:lnTo>
                        <a:pt x="1726" y="921"/>
                      </a:lnTo>
                      <a:lnTo>
                        <a:pt x="1731" y="922"/>
                      </a:lnTo>
                      <a:lnTo>
                        <a:pt x="1735" y="923"/>
                      </a:lnTo>
                      <a:lnTo>
                        <a:pt x="1738" y="924"/>
                      </a:lnTo>
                      <a:lnTo>
                        <a:pt x="1742" y="928"/>
                      </a:lnTo>
                      <a:lnTo>
                        <a:pt x="1745" y="930"/>
                      </a:lnTo>
                      <a:lnTo>
                        <a:pt x="1748" y="934"/>
                      </a:lnTo>
                      <a:lnTo>
                        <a:pt x="1752" y="943"/>
                      </a:lnTo>
                      <a:lnTo>
                        <a:pt x="1755" y="954"/>
                      </a:lnTo>
                      <a:lnTo>
                        <a:pt x="1756" y="965"/>
                      </a:lnTo>
                      <a:lnTo>
                        <a:pt x="1757" y="977"/>
                      </a:lnTo>
                      <a:lnTo>
                        <a:pt x="1759" y="965"/>
                      </a:lnTo>
                      <a:lnTo>
                        <a:pt x="1762" y="953"/>
                      </a:lnTo>
                      <a:lnTo>
                        <a:pt x="1764" y="940"/>
                      </a:lnTo>
                      <a:lnTo>
                        <a:pt x="1764" y="927"/>
                      </a:lnTo>
                      <a:lnTo>
                        <a:pt x="1764" y="912"/>
                      </a:lnTo>
                      <a:lnTo>
                        <a:pt x="1763" y="899"/>
                      </a:lnTo>
                      <a:lnTo>
                        <a:pt x="1759" y="887"/>
                      </a:lnTo>
                      <a:lnTo>
                        <a:pt x="1755" y="875"/>
                      </a:lnTo>
                      <a:lnTo>
                        <a:pt x="1748" y="861"/>
                      </a:lnTo>
                      <a:lnTo>
                        <a:pt x="1743" y="850"/>
                      </a:lnTo>
                      <a:lnTo>
                        <a:pt x="1740" y="842"/>
                      </a:lnTo>
                      <a:lnTo>
                        <a:pt x="1740" y="835"/>
                      </a:lnTo>
                      <a:lnTo>
                        <a:pt x="1743" y="821"/>
                      </a:lnTo>
                      <a:lnTo>
                        <a:pt x="1750" y="799"/>
                      </a:lnTo>
                      <a:lnTo>
                        <a:pt x="1755" y="782"/>
                      </a:lnTo>
                      <a:lnTo>
                        <a:pt x="1758" y="756"/>
                      </a:lnTo>
                      <a:lnTo>
                        <a:pt x="1758" y="744"/>
                      </a:lnTo>
                      <a:lnTo>
                        <a:pt x="1757" y="738"/>
                      </a:lnTo>
                      <a:lnTo>
                        <a:pt x="1755" y="737"/>
                      </a:lnTo>
                      <a:lnTo>
                        <a:pt x="1752" y="738"/>
                      </a:lnTo>
                      <a:lnTo>
                        <a:pt x="1750" y="740"/>
                      </a:lnTo>
                      <a:lnTo>
                        <a:pt x="1745" y="746"/>
                      </a:lnTo>
                      <a:lnTo>
                        <a:pt x="1739" y="758"/>
                      </a:lnTo>
                      <a:lnTo>
                        <a:pt x="1733" y="775"/>
                      </a:lnTo>
                      <a:lnTo>
                        <a:pt x="1728" y="791"/>
                      </a:lnTo>
                      <a:lnTo>
                        <a:pt x="1725" y="805"/>
                      </a:lnTo>
                      <a:lnTo>
                        <a:pt x="1724" y="811"/>
                      </a:lnTo>
                      <a:lnTo>
                        <a:pt x="1724" y="810"/>
                      </a:lnTo>
                      <a:lnTo>
                        <a:pt x="1724" y="803"/>
                      </a:lnTo>
                      <a:lnTo>
                        <a:pt x="1723" y="793"/>
                      </a:lnTo>
                      <a:lnTo>
                        <a:pt x="1724" y="771"/>
                      </a:lnTo>
                      <a:lnTo>
                        <a:pt x="1724" y="757"/>
                      </a:lnTo>
                      <a:lnTo>
                        <a:pt x="1720" y="756"/>
                      </a:lnTo>
                      <a:lnTo>
                        <a:pt x="1718" y="755"/>
                      </a:lnTo>
                      <a:lnTo>
                        <a:pt x="1717" y="752"/>
                      </a:lnTo>
                      <a:lnTo>
                        <a:pt x="1716" y="750"/>
                      </a:lnTo>
                      <a:lnTo>
                        <a:pt x="1716" y="744"/>
                      </a:lnTo>
                      <a:lnTo>
                        <a:pt x="1717" y="738"/>
                      </a:lnTo>
                      <a:lnTo>
                        <a:pt x="1720" y="725"/>
                      </a:lnTo>
                      <a:lnTo>
                        <a:pt x="1723" y="714"/>
                      </a:lnTo>
                      <a:lnTo>
                        <a:pt x="1723" y="710"/>
                      </a:lnTo>
                      <a:lnTo>
                        <a:pt x="1724" y="706"/>
                      </a:lnTo>
                      <a:lnTo>
                        <a:pt x="1726" y="704"/>
                      </a:lnTo>
                      <a:lnTo>
                        <a:pt x="1728" y="703"/>
                      </a:lnTo>
                      <a:lnTo>
                        <a:pt x="1733" y="701"/>
                      </a:lnTo>
                      <a:lnTo>
                        <a:pt x="1740" y="704"/>
                      </a:lnTo>
                      <a:lnTo>
                        <a:pt x="1755" y="710"/>
                      </a:lnTo>
                      <a:lnTo>
                        <a:pt x="1765" y="713"/>
                      </a:lnTo>
                      <a:lnTo>
                        <a:pt x="1759" y="700"/>
                      </a:lnTo>
                      <a:lnTo>
                        <a:pt x="1755" y="693"/>
                      </a:lnTo>
                      <a:lnTo>
                        <a:pt x="1752" y="691"/>
                      </a:lnTo>
                      <a:lnTo>
                        <a:pt x="1750" y="689"/>
                      </a:lnTo>
                      <a:lnTo>
                        <a:pt x="1748" y="689"/>
                      </a:lnTo>
                      <a:lnTo>
                        <a:pt x="1744" y="689"/>
                      </a:lnTo>
                      <a:lnTo>
                        <a:pt x="1737" y="689"/>
                      </a:lnTo>
                      <a:lnTo>
                        <a:pt x="1730" y="689"/>
                      </a:lnTo>
                      <a:lnTo>
                        <a:pt x="1725" y="687"/>
                      </a:lnTo>
                      <a:lnTo>
                        <a:pt x="1719" y="686"/>
                      </a:lnTo>
                      <a:lnTo>
                        <a:pt x="1713" y="684"/>
                      </a:lnTo>
                      <a:lnTo>
                        <a:pt x="1708" y="680"/>
                      </a:lnTo>
                      <a:lnTo>
                        <a:pt x="1684" y="666"/>
                      </a:lnTo>
                      <a:lnTo>
                        <a:pt x="1659" y="648"/>
                      </a:lnTo>
                      <a:lnTo>
                        <a:pt x="1635" y="631"/>
                      </a:lnTo>
                      <a:lnTo>
                        <a:pt x="1615" y="614"/>
                      </a:lnTo>
                      <a:lnTo>
                        <a:pt x="1604" y="604"/>
                      </a:lnTo>
                      <a:lnTo>
                        <a:pt x="1594" y="592"/>
                      </a:lnTo>
                      <a:lnTo>
                        <a:pt x="1584" y="580"/>
                      </a:lnTo>
                      <a:lnTo>
                        <a:pt x="1576" y="568"/>
                      </a:lnTo>
                      <a:lnTo>
                        <a:pt x="1568" y="556"/>
                      </a:lnTo>
                      <a:lnTo>
                        <a:pt x="1559" y="545"/>
                      </a:lnTo>
                      <a:lnTo>
                        <a:pt x="1552" y="532"/>
                      </a:lnTo>
                      <a:lnTo>
                        <a:pt x="1547" y="519"/>
                      </a:lnTo>
                      <a:lnTo>
                        <a:pt x="1536" y="493"/>
                      </a:lnTo>
                      <a:lnTo>
                        <a:pt x="1527" y="466"/>
                      </a:lnTo>
                      <a:lnTo>
                        <a:pt x="1520" y="437"/>
                      </a:lnTo>
                      <a:lnTo>
                        <a:pt x="1514" y="408"/>
                      </a:lnTo>
                      <a:lnTo>
                        <a:pt x="1500" y="393"/>
                      </a:lnTo>
                      <a:lnTo>
                        <a:pt x="1484" y="380"/>
                      </a:lnTo>
                      <a:lnTo>
                        <a:pt x="1483" y="388"/>
                      </a:lnTo>
                      <a:lnTo>
                        <a:pt x="1483" y="396"/>
                      </a:lnTo>
                      <a:lnTo>
                        <a:pt x="1483" y="404"/>
                      </a:lnTo>
                      <a:lnTo>
                        <a:pt x="1485" y="413"/>
                      </a:lnTo>
                      <a:lnTo>
                        <a:pt x="1489" y="432"/>
                      </a:lnTo>
                      <a:lnTo>
                        <a:pt x="1491" y="449"/>
                      </a:lnTo>
                      <a:lnTo>
                        <a:pt x="1492" y="457"/>
                      </a:lnTo>
                      <a:lnTo>
                        <a:pt x="1492" y="466"/>
                      </a:lnTo>
                      <a:lnTo>
                        <a:pt x="1491" y="473"/>
                      </a:lnTo>
                      <a:lnTo>
                        <a:pt x="1488" y="479"/>
                      </a:lnTo>
                      <a:lnTo>
                        <a:pt x="1484" y="483"/>
                      </a:lnTo>
                      <a:lnTo>
                        <a:pt x="1477" y="487"/>
                      </a:lnTo>
                      <a:lnTo>
                        <a:pt x="1469" y="489"/>
                      </a:lnTo>
                      <a:lnTo>
                        <a:pt x="1458" y="490"/>
                      </a:lnTo>
                      <a:lnTo>
                        <a:pt x="1458" y="490"/>
                      </a:lnTo>
                      <a:lnTo>
                        <a:pt x="1448" y="519"/>
                      </a:lnTo>
                      <a:lnTo>
                        <a:pt x="1437" y="549"/>
                      </a:lnTo>
                      <a:lnTo>
                        <a:pt x="1431" y="564"/>
                      </a:lnTo>
                      <a:lnTo>
                        <a:pt x="1426" y="578"/>
                      </a:lnTo>
                      <a:lnTo>
                        <a:pt x="1417" y="592"/>
                      </a:lnTo>
                      <a:lnTo>
                        <a:pt x="1408" y="605"/>
                      </a:lnTo>
                      <a:lnTo>
                        <a:pt x="1397" y="617"/>
                      </a:lnTo>
                      <a:lnTo>
                        <a:pt x="1384" y="627"/>
                      </a:lnTo>
                      <a:lnTo>
                        <a:pt x="1371" y="638"/>
                      </a:lnTo>
                      <a:lnTo>
                        <a:pt x="1359" y="647"/>
                      </a:lnTo>
                      <a:lnTo>
                        <a:pt x="1344" y="658"/>
                      </a:lnTo>
                      <a:lnTo>
                        <a:pt x="1331" y="668"/>
                      </a:lnTo>
                      <a:lnTo>
                        <a:pt x="1319" y="680"/>
                      </a:lnTo>
                      <a:lnTo>
                        <a:pt x="1307" y="693"/>
                      </a:lnTo>
                      <a:lnTo>
                        <a:pt x="1300" y="701"/>
                      </a:lnTo>
                      <a:lnTo>
                        <a:pt x="1293" y="709"/>
                      </a:lnTo>
                      <a:lnTo>
                        <a:pt x="1286" y="714"/>
                      </a:lnTo>
                      <a:lnTo>
                        <a:pt x="1279" y="719"/>
                      </a:lnTo>
                      <a:lnTo>
                        <a:pt x="1273" y="722"/>
                      </a:lnTo>
                      <a:lnTo>
                        <a:pt x="1266" y="724"/>
                      </a:lnTo>
                      <a:lnTo>
                        <a:pt x="1260" y="725"/>
                      </a:lnTo>
                      <a:lnTo>
                        <a:pt x="1254" y="725"/>
                      </a:lnTo>
                      <a:lnTo>
                        <a:pt x="1248" y="724"/>
                      </a:lnTo>
                      <a:lnTo>
                        <a:pt x="1242" y="723"/>
                      </a:lnTo>
                      <a:lnTo>
                        <a:pt x="1237" y="720"/>
                      </a:lnTo>
                      <a:lnTo>
                        <a:pt x="1232" y="717"/>
                      </a:lnTo>
                      <a:lnTo>
                        <a:pt x="1222" y="707"/>
                      </a:lnTo>
                      <a:lnTo>
                        <a:pt x="1213" y="697"/>
                      </a:lnTo>
                      <a:lnTo>
                        <a:pt x="1203" y="684"/>
                      </a:lnTo>
                      <a:lnTo>
                        <a:pt x="1195" y="670"/>
                      </a:lnTo>
                      <a:lnTo>
                        <a:pt x="1188" y="654"/>
                      </a:lnTo>
                      <a:lnTo>
                        <a:pt x="1181" y="639"/>
                      </a:lnTo>
                      <a:lnTo>
                        <a:pt x="1168" y="610"/>
                      </a:lnTo>
                      <a:lnTo>
                        <a:pt x="1159" y="586"/>
                      </a:lnTo>
                      <a:lnTo>
                        <a:pt x="1152" y="569"/>
                      </a:lnTo>
                      <a:lnTo>
                        <a:pt x="1143" y="551"/>
                      </a:lnTo>
                      <a:lnTo>
                        <a:pt x="1136" y="528"/>
                      </a:lnTo>
                      <a:lnTo>
                        <a:pt x="1131" y="506"/>
                      </a:lnTo>
                      <a:lnTo>
                        <a:pt x="1128" y="494"/>
                      </a:lnTo>
                      <a:lnTo>
                        <a:pt x="1127" y="483"/>
                      </a:lnTo>
                      <a:lnTo>
                        <a:pt x="1128" y="473"/>
                      </a:lnTo>
                      <a:lnTo>
                        <a:pt x="1129" y="463"/>
                      </a:lnTo>
                      <a:lnTo>
                        <a:pt x="1133" y="454"/>
                      </a:lnTo>
                      <a:lnTo>
                        <a:pt x="1138" y="446"/>
                      </a:lnTo>
                      <a:lnTo>
                        <a:pt x="1143" y="440"/>
                      </a:lnTo>
                      <a:lnTo>
                        <a:pt x="1152" y="434"/>
                      </a:lnTo>
                      <a:lnTo>
                        <a:pt x="1155" y="424"/>
                      </a:lnTo>
                      <a:lnTo>
                        <a:pt x="1156" y="415"/>
                      </a:lnTo>
                      <a:lnTo>
                        <a:pt x="1155" y="407"/>
                      </a:lnTo>
                      <a:lnTo>
                        <a:pt x="1154" y="400"/>
                      </a:lnTo>
                      <a:lnTo>
                        <a:pt x="1152" y="391"/>
                      </a:lnTo>
                      <a:lnTo>
                        <a:pt x="1149" y="383"/>
                      </a:lnTo>
                      <a:lnTo>
                        <a:pt x="1148" y="375"/>
                      </a:lnTo>
                      <a:lnTo>
                        <a:pt x="1149" y="367"/>
                      </a:lnTo>
                      <a:lnTo>
                        <a:pt x="1152" y="357"/>
                      </a:lnTo>
                      <a:lnTo>
                        <a:pt x="1153" y="356"/>
                      </a:lnTo>
                      <a:lnTo>
                        <a:pt x="1196" y="292"/>
                      </a:lnTo>
                      <a:lnTo>
                        <a:pt x="1196" y="292"/>
                      </a:lnTo>
                      <a:lnTo>
                        <a:pt x="1180" y="290"/>
                      </a:lnTo>
                      <a:lnTo>
                        <a:pt x="1165" y="289"/>
                      </a:lnTo>
                      <a:lnTo>
                        <a:pt x="1150" y="289"/>
                      </a:lnTo>
                      <a:lnTo>
                        <a:pt x="1136" y="290"/>
                      </a:lnTo>
                      <a:lnTo>
                        <a:pt x="1122" y="289"/>
                      </a:lnTo>
                      <a:lnTo>
                        <a:pt x="1107" y="287"/>
                      </a:lnTo>
                      <a:lnTo>
                        <a:pt x="1099" y="284"/>
                      </a:lnTo>
                      <a:lnTo>
                        <a:pt x="1092" y="282"/>
                      </a:lnTo>
                      <a:lnTo>
                        <a:pt x="1084" y="277"/>
                      </a:lnTo>
                      <a:lnTo>
                        <a:pt x="1075" y="272"/>
                      </a:lnTo>
                      <a:lnTo>
                        <a:pt x="1062" y="263"/>
                      </a:lnTo>
                      <a:lnTo>
                        <a:pt x="1049" y="251"/>
                      </a:lnTo>
                      <a:lnTo>
                        <a:pt x="1036" y="237"/>
                      </a:lnTo>
                      <a:lnTo>
                        <a:pt x="1025" y="222"/>
                      </a:lnTo>
                      <a:lnTo>
                        <a:pt x="1013" y="205"/>
                      </a:lnTo>
                      <a:lnTo>
                        <a:pt x="1002" y="188"/>
                      </a:lnTo>
                      <a:lnTo>
                        <a:pt x="992" y="170"/>
                      </a:lnTo>
                      <a:lnTo>
                        <a:pt x="982" y="150"/>
                      </a:lnTo>
                      <a:lnTo>
                        <a:pt x="974" y="131"/>
                      </a:lnTo>
                      <a:lnTo>
                        <a:pt x="966" y="111"/>
                      </a:lnTo>
                      <a:lnTo>
                        <a:pt x="959" y="91"/>
                      </a:lnTo>
                      <a:lnTo>
                        <a:pt x="953" y="72"/>
                      </a:lnTo>
                      <a:lnTo>
                        <a:pt x="948" y="53"/>
                      </a:lnTo>
                      <a:lnTo>
                        <a:pt x="945" y="34"/>
                      </a:lnTo>
                      <a:lnTo>
                        <a:pt x="942" y="18"/>
                      </a:lnTo>
                      <a:lnTo>
                        <a:pt x="942" y="1"/>
                      </a:lnTo>
                      <a:lnTo>
                        <a:pt x="941" y="0"/>
                      </a:lnTo>
                      <a:lnTo>
                        <a:pt x="932" y="1"/>
                      </a:lnTo>
                      <a:lnTo>
                        <a:pt x="924" y="4"/>
                      </a:lnTo>
                      <a:lnTo>
                        <a:pt x="915" y="7"/>
                      </a:lnTo>
                      <a:lnTo>
                        <a:pt x="907" y="11"/>
                      </a:lnTo>
                      <a:lnTo>
                        <a:pt x="891" y="19"/>
                      </a:lnTo>
                      <a:lnTo>
                        <a:pt x="874" y="26"/>
                      </a:lnTo>
                      <a:lnTo>
                        <a:pt x="864" y="28"/>
                      </a:lnTo>
                      <a:lnTo>
                        <a:pt x="853" y="30"/>
                      </a:lnTo>
                      <a:lnTo>
                        <a:pt x="841" y="30"/>
                      </a:lnTo>
                      <a:lnTo>
                        <a:pt x="831" y="28"/>
                      </a:lnTo>
                      <a:lnTo>
                        <a:pt x="820" y="28"/>
                      </a:lnTo>
                      <a:lnTo>
                        <a:pt x="808" y="28"/>
                      </a:lnTo>
                      <a:lnTo>
                        <a:pt x="798" y="30"/>
                      </a:lnTo>
                      <a:lnTo>
                        <a:pt x="787" y="32"/>
                      </a:lnTo>
                      <a:lnTo>
                        <a:pt x="774" y="37"/>
                      </a:lnTo>
                      <a:lnTo>
                        <a:pt x="760" y="40"/>
                      </a:lnTo>
                      <a:lnTo>
                        <a:pt x="746" y="43"/>
                      </a:lnTo>
                      <a:lnTo>
                        <a:pt x="733" y="44"/>
                      </a:lnTo>
                      <a:lnTo>
                        <a:pt x="733" y="46"/>
                      </a:lnTo>
                      <a:lnTo>
                        <a:pt x="746" y="51"/>
                      </a:lnTo>
                      <a:lnTo>
                        <a:pt x="753" y="52"/>
                      </a:lnTo>
                      <a:lnTo>
                        <a:pt x="761" y="52"/>
                      </a:lnTo>
                      <a:lnTo>
                        <a:pt x="776" y="52"/>
                      </a:lnTo>
                      <a:lnTo>
                        <a:pt x="781" y="53"/>
                      </a:lnTo>
                      <a:lnTo>
                        <a:pt x="786" y="56"/>
                      </a:lnTo>
                      <a:lnTo>
                        <a:pt x="791" y="59"/>
                      </a:lnTo>
                      <a:lnTo>
                        <a:pt x="794" y="63"/>
                      </a:lnTo>
                      <a:lnTo>
                        <a:pt x="798" y="66"/>
                      </a:lnTo>
                      <a:lnTo>
                        <a:pt x="803" y="70"/>
                      </a:lnTo>
                      <a:lnTo>
                        <a:pt x="807" y="72"/>
                      </a:lnTo>
                      <a:lnTo>
                        <a:pt x="812" y="73"/>
                      </a:lnTo>
                      <a:lnTo>
                        <a:pt x="818" y="73"/>
                      </a:lnTo>
                      <a:lnTo>
                        <a:pt x="824" y="72"/>
                      </a:lnTo>
                      <a:lnTo>
                        <a:pt x="830" y="70"/>
                      </a:lnTo>
                      <a:lnTo>
                        <a:pt x="836" y="67"/>
                      </a:lnTo>
                      <a:lnTo>
                        <a:pt x="846" y="61"/>
                      </a:lnTo>
                      <a:lnTo>
                        <a:pt x="858" y="56"/>
                      </a:lnTo>
                      <a:lnTo>
                        <a:pt x="870" y="48"/>
                      </a:lnTo>
                      <a:lnTo>
                        <a:pt x="881" y="43"/>
                      </a:lnTo>
                      <a:lnTo>
                        <a:pt x="887" y="40"/>
                      </a:lnTo>
                      <a:lnTo>
                        <a:pt x="893" y="39"/>
                      </a:lnTo>
                      <a:lnTo>
                        <a:pt x="899" y="38"/>
                      </a:lnTo>
                      <a:lnTo>
                        <a:pt x="905" y="37"/>
                      </a:lnTo>
                      <a:lnTo>
                        <a:pt x="906" y="44"/>
                      </a:lnTo>
                      <a:lnTo>
                        <a:pt x="907" y="50"/>
                      </a:lnTo>
                      <a:lnTo>
                        <a:pt x="910" y="56"/>
                      </a:lnTo>
                      <a:lnTo>
                        <a:pt x="912" y="60"/>
                      </a:lnTo>
                      <a:lnTo>
                        <a:pt x="915" y="66"/>
                      </a:lnTo>
                      <a:lnTo>
                        <a:pt x="917" y="72"/>
                      </a:lnTo>
                      <a:lnTo>
                        <a:pt x="919" y="78"/>
                      </a:lnTo>
                      <a:lnTo>
                        <a:pt x="919" y="85"/>
                      </a:lnTo>
                      <a:lnTo>
                        <a:pt x="920" y="102"/>
                      </a:lnTo>
                      <a:lnTo>
                        <a:pt x="922" y="119"/>
                      </a:lnTo>
                      <a:lnTo>
                        <a:pt x="925" y="137"/>
                      </a:lnTo>
                      <a:lnTo>
                        <a:pt x="925" y="152"/>
                      </a:lnTo>
                      <a:lnTo>
                        <a:pt x="932" y="163"/>
                      </a:lnTo>
                      <a:lnTo>
                        <a:pt x="944" y="182"/>
                      </a:lnTo>
                      <a:lnTo>
                        <a:pt x="948" y="190"/>
                      </a:lnTo>
                      <a:lnTo>
                        <a:pt x="953" y="198"/>
                      </a:lnTo>
                      <a:lnTo>
                        <a:pt x="955" y="205"/>
                      </a:lnTo>
                      <a:lnTo>
                        <a:pt x="955" y="209"/>
                      </a:lnTo>
                      <a:lnTo>
                        <a:pt x="952" y="212"/>
                      </a:lnTo>
                      <a:lnTo>
                        <a:pt x="946" y="217"/>
                      </a:lnTo>
                      <a:lnTo>
                        <a:pt x="939" y="223"/>
                      </a:lnTo>
                      <a:lnTo>
                        <a:pt x="932" y="226"/>
                      </a:lnTo>
                      <a:lnTo>
                        <a:pt x="919" y="235"/>
                      </a:lnTo>
                      <a:lnTo>
                        <a:pt x="914" y="238"/>
                      </a:lnTo>
                      <a:lnTo>
                        <a:pt x="934" y="239"/>
                      </a:lnTo>
                      <a:lnTo>
                        <a:pt x="957" y="239"/>
                      </a:lnTo>
                      <a:lnTo>
                        <a:pt x="967" y="238"/>
                      </a:lnTo>
                      <a:lnTo>
                        <a:pt x="978" y="237"/>
                      </a:lnTo>
                      <a:lnTo>
                        <a:pt x="988" y="235"/>
                      </a:lnTo>
                      <a:lnTo>
                        <a:pt x="998" y="231"/>
                      </a:lnTo>
                      <a:lnTo>
                        <a:pt x="1000" y="230"/>
                      </a:lnTo>
                      <a:lnTo>
                        <a:pt x="1001" y="231"/>
                      </a:lnTo>
                      <a:lnTo>
                        <a:pt x="1002" y="235"/>
                      </a:lnTo>
                      <a:lnTo>
                        <a:pt x="1004" y="238"/>
                      </a:lnTo>
                      <a:lnTo>
                        <a:pt x="1006" y="249"/>
                      </a:lnTo>
                      <a:lnTo>
                        <a:pt x="1008" y="261"/>
                      </a:lnTo>
                      <a:lnTo>
                        <a:pt x="1009" y="267"/>
                      </a:lnTo>
                      <a:lnTo>
                        <a:pt x="1011" y="271"/>
                      </a:lnTo>
                      <a:lnTo>
                        <a:pt x="1013" y="275"/>
                      </a:lnTo>
                      <a:lnTo>
                        <a:pt x="1017" y="277"/>
                      </a:lnTo>
                      <a:lnTo>
                        <a:pt x="1020" y="278"/>
                      </a:lnTo>
                      <a:lnTo>
                        <a:pt x="1024" y="278"/>
                      </a:lnTo>
                      <a:lnTo>
                        <a:pt x="1029" y="276"/>
                      </a:lnTo>
                      <a:lnTo>
                        <a:pt x="1035" y="271"/>
                      </a:lnTo>
                      <a:lnTo>
                        <a:pt x="1038" y="269"/>
                      </a:lnTo>
                      <a:lnTo>
                        <a:pt x="1040" y="269"/>
                      </a:lnTo>
                      <a:lnTo>
                        <a:pt x="1042" y="269"/>
                      </a:lnTo>
                      <a:lnTo>
                        <a:pt x="1044" y="269"/>
                      </a:lnTo>
                      <a:lnTo>
                        <a:pt x="1047" y="272"/>
                      </a:lnTo>
                      <a:lnTo>
                        <a:pt x="1049" y="278"/>
                      </a:lnTo>
                      <a:lnTo>
                        <a:pt x="1053" y="292"/>
                      </a:lnTo>
                      <a:lnTo>
                        <a:pt x="1054" y="305"/>
                      </a:lnTo>
                      <a:lnTo>
                        <a:pt x="1041" y="308"/>
                      </a:lnTo>
                      <a:lnTo>
                        <a:pt x="1027" y="310"/>
                      </a:lnTo>
                      <a:lnTo>
                        <a:pt x="1021" y="314"/>
                      </a:lnTo>
                      <a:lnTo>
                        <a:pt x="1015" y="317"/>
                      </a:lnTo>
                      <a:lnTo>
                        <a:pt x="1011" y="322"/>
                      </a:lnTo>
                      <a:lnTo>
                        <a:pt x="1008" y="328"/>
                      </a:lnTo>
                      <a:lnTo>
                        <a:pt x="1006" y="327"/>
                      </a:lnTo>
                      <a:lnTo>
                        <a:pt x="1004" y="324"/>
                      </a:lnTo>
                      <a:lnTo>
                        <a:pt x="1001" y="322"/>
                      </a:lnTo>
                      <a:lnTo>
                        <a:pt x="1000" y="317"/>
                      </a:lnTo>
                      <a:lnTo>
                        <a:pt x="997" y="310"/>
                      </a:lnTo>
                      <a:lnTo>
                        <a:pt x="993" y="305"/>
                      </a:lnTo>
                      <a:lnTo>
                        <a:pt x="977" y="303"/>
                      </a:lnTo>
                      <a:lnTo>
                        <a:pt x="959" y="301"/>
                      </a:lnTo>
                      <a:lnTo>
                        <a:pt x="952" y="290"/>
                      </a:lnTo>
                      <a:lnTo>
                        <a:pt x="940" y="271"/>
                      </a:lnTo>
                      <a:lnTo>
                        <a:pt x="934" y="263"/>
                      </a:lnTo>
                      <a:lnTo>
                        <a:pt x="930" y="259"/>
                      </a:lnTo>
                      <a:lnTo>
                        <a:pt x="928" y="259"/>
                      </a:lnTo>
                      <a:lnTo>
                        <a:pt x="927" y="262"/>
                      </a:lnTo>
                      <a:lnTo>
                        <a:pt x="927" y="265"/>
                      </a:lnTo>
                      <a:lnTo>
                        <a:pt x="928" y="271"/>
                      </a:lnTo>
                      <a:lnTo>
                        <a:pt x="941" y="304"/>
                      </a:lnTo>
                      <a:lnTo>
                        <a:pt x="958" y="343"/>
                      </a:lnTo>
                      <a:lnTo>
                        <a:pt x="961" y="353"/>
                      </a:lnTo>
                      <a:lnTo>
                        <a:pt x="964" y="362"/>
                      </a:lnTo>
                      <a:lnTo>
                        <a:pt x="966" y="371"/>
                      </a:lnTo>
                      <a:lnTo>
                        <a:pt x="966" y="381"/>
                      </a:lnTo>
                      <a:lnTo>
                        <a:pt x="966" y="390"/>
                      </a:lnTo>
                      <a:lnTo>
                        <a:pt x="964" y="399"/>
                      </a:lnTo>
                      <a:lnTo>
                        <a:pt x="959" y="407"/>
                      </a:lnTo>
                      <a:lnTo>
                        <a:pt x="953" y="414"/>
                      </a:lnTo>
                      <a:lnTo>
                        <a:pt x="946" y="420"/>
                      </a:lnTo>
                      <a:lnTo>
                        <a:pt x="940" y="424"/>
                      </a:lnTo>
                      <a:lnTo>
                        <a:pt x="933" y="427"/>
                      </a:lnTo>
                      <a:lnTo>
                        <a:pt x="927" y="428"/>
                      </a:lnTo>
                      <a:lnTo>
                        <a:pt x="922" y="428"/>
                      </a:lnTo>
                      <a:lnTo>
                        <a:pt x="917" y="426"/>
                      </a:lnTo>
                      <a:lnTo>
                        <a:pt x="912" y="423"/>
                      </a:lnTo>
                      <a:lnTo>
                        <a:pt x="907" y="420"/>
                      </a:lnTo>
                      <a:lnTo>
                        <a:pt x="898" y="410"/>
                      </a:lnTo>
                      <a:lnTo>
                        <a:pt x="891" y="399"/>
                      </a:lnTo>
                      <a:lnTo>
                        <a:pt x="883" y="388"/>
                      </a:lnTo>
                      <a:lnTo>
                        <a:pt x="875" y="377"/>
                      </a:lnTo>
                      <a:lnTo>
                        <a:pt x="872" y="373"/>
                      </a:lnTo>
                      <a:lnTo>
                        <a:pt x="871" y="368"/>
                      </a:lnTo>
                      <a:lnTo>
                        <a:pt x="870" y="364"/>
                      </a:lnTo>
                      <a:lnTo>
                        <a:pt x="868" y="361"/>
                      </a:lnTo>
                      <a:lnTo>
                        <a:pt x="870" y="355"/>
                      </a:lnTo>
                      <a:lnTo>
                        <a:pt x="872" y="349"/>
                      </a:lnTo>
                      <a:lnTo>
                        <a:pt x="875" y="343"/>
                      </a:lnTo>
                      <a:lnTo>
                        <a:pt x="879" y="337"/>
                      </a:lnTo>
                      <a:lnTo>
                        <a:pt x="881" y="330"/>
                      </a:lnTo>
                      <a:lnTo>
                        <a:pt x="883" y="322"/>
                      </a:lnTo>
                      <a:lnTo>
                        <a:pt x="861" y="322"/>
                      </a:lnTo>
                      <a:lnTo>
                        <a:pt x="838" y="324"/>
                      </a:lnTo>
                      <a:lnTo>
                        <a:pt x="816" y="328"/>
                      </a:lnTo>
                      <a:lnTo>
                        <a:pt x="794" y="331"/>
                      </a:lnTo>
                      <a:lnTo>
                        <a:pt x="787" y="334"/>
                      </a:lnTo>
                      <a:lnTo>
                        <a:pt x="781" y="335"/>
                      </a:lnTo>
                      <a:lnTo>
                        <a:pt x="778" y="337"/>
                      </a:lnTo>
                      <a:lnTo>
                        <a:pt x="774" y="340"/>
                      </a:lnTo>
                      <a:lnTo>
                        <a:pt x="773" y="342"/>
                      </a:lnTo>
                      <a:lnTo>
                        <a:pt x="773" y="346"/>
                      </a:lnTo>
                      <a:lnTo>
                        <a:pt x="773" y="348"/>
                      </a:lnTo>
                      <a:lnTo>
                        <a:pt x="773" y="350"/>
                      </a:lnTo>
                      <a:lnTo>
                        <a:pt x="777" y="356"/>
                      </a:lnTo>
                      <a:lnTo>
                        <a:pt x="778" y="362"/>
                      </a:lnTo>
                      <a:lnTo>
                        <a:pt x="779" y="364"/>
                      </a:lnTo>
                      <a:lnTo>
                        <a:pt x="779" y="368"/>
                      </a:lnTo>
                      <a:lnTo>
                        <a:pt x="778" y="370"/>
                      </a:lnTo>
                      <a:lnTo>
                        <a:pt x="777" y="373"/>
                      </a:lnTo>
                      <a:lnTo>
                        <a:pt x="773" y="375"/>
                      </a:lnTo>
                      <a:lnTo>
                        <a:pt x="769" y="376"/>
                      </a:lnTo>
                      <a:lnTo>
                        <a:pt x="764" y="377"/>
                      </a:lnTo>
                      <a:lnTo>
                        <a:pt x="759" y="379"/>
                      </a:lnTo>
                      <a:lnTo>
                        <a:pt x="750" y="380"/>
                      </a:lnTo>
                      <a:lnTo>
                        <a:pt x="740" y="382"/>
                      </a:lnTo>
                      <a:lnTo>
                        <a:pt x="734" y="383"/>
                      </a:lnTo>
                      <a:lnTo>
                        <a:pt x="729" y="386"/>
                      </a:lnTo>
                      <a:lnTo>
                        <a:pt x="725" y="388"/>
                      </a:lnTo>
                      <a:lnTo>
                        <a:pt x="720" y="391"/>
                      </a:lnTo>
                      <a:lnTo>
                        <a:pt x="717" y="395"/>
                      </a:lnTo>
                      <a:lnTo>
                        <a:pt x="714" y="400"/>
                      </a:lnTo>
                      <a:lnTo>
                        <a:pt x="712" y="403"/>
                      </a:lnTo>
                      <a:lnTo>
                        <a:pt x="710" y="409"/>
                      </a:lnTo>
                      <a:lnTo>
                        <a:pt x="707" y="420"/>
                      </a:lnTo>
                      <a:lnTo>
                        <a:pt x="707" y="432"/>
                      </a:lnTo>
                      <a:lnTo>
                        <a:pt x="707" y="443"/>
                      </a:lnTo>
                      <a:lnTo>
                        <a:pt x="710" y="456"/>
                      </a:lnTo>
                      <a:lnTo>
                        <a:pt x="720" y="512"/>
                      </a:lnTo>
                      <a:lnTo>
                        <a:pt x="729" y="556"/>
                      </a:lnTo>
                      <a:lnTo>
                        <a:pt x="729" y="556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4" name="Freeform 10">
                  <a:extLst>
                    <a:ext uri="{FF2B5EF4-FFF2-40B4-BE49-F238E27FC236}">
                      <a16:creationId xmlns:a16="http://schemas.microsoft.com/office/drawing/2014/main" id="{72EAC364-D02B-4113-A29D-F5E0A01C11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976194" y="3710143"/>
                  <a:ext cx="681688" cy="997186"/>
                </a:xfrm>
                <a:custGeom>
                  <a:avLst/>
                  <a:gdLst>
                    <a:gd name="T0" fmla="*/ 2626 w 2780"/>
                    <a:gd name="T1" fmla="*/ 3105 h 4070"/>
                    <a:gd name="T2" fmla="*/ 2541 w 2780"/>
                    <a:gd name="T3" fmla="*/ 3122 h 4070"/>
                    <a:gd name="T4" fmla="*/ 2630 w 2780"/>
                    <a:gd name="T5" fmla="*/ 3312 h 4070"/>
                    <a:gd name="T6" fmla="*/ 2715 w 2780"/>
                    <a:gd name="T7" fmla="*/ 3269 h 4070"/>
                    <a:gd name="T8" fmla="*/ 2737 w 2780"/>
                    <a:gd name="T9" fmla="*/ 3414 h 4070"/>
                    <a:gd name="T10" fmla="*/ 2618 w 2780"/>
                    <a:gd name="T11" fmla="*/ 3328 h 4070"/>
                    <a:gd name="T12" fmla="*/ 2539 w 2780"/>
                    <a:gd name="T13" fmla="*/ 3283 h 4070"/>
                    <a:gd name="T14" fmla="*/ 2428 w 2780"/>
                    <a:gd name="T15" fmla="*/ 3098 h 4070"/>
                    <a:gd name="T16" fmla="*/ 2330 w 2780"/>
                    <a:gd name="T17" fmla="*/ 3043 h 4070"/>
                    <a:gd name="T18" fmla="*/ 2296 w 2780"/>
                    <a:gd name="T19" fmla="*/ 2925 h 4070"/>
                    <a:gd name="T20" fmla="*/ 2282 w 2780"/>
                    <a:gd name="T21" fmla="*/ 2837 h 4070"/>
                    <a:gd name="T22" fmla="*/ 2283 w 2780"/>
                    <a:gd name="T23" fmla="*/ 3036 h 4070"/>
                    <a:gd name="T24" fmla="*/ 2353 w 2780"/>
                    <a:gd name="T25" fmla="*/ 3266 h 4070"/>
                    <a:gd name="T26" fmla="*/ 2271 w 2780"/>
                    <a:gd name="T27" fmla="*/ 3227 h 4070"/>
                    <a:gd name="T28" fmla="*/ 2209 w 2780"/>
                    <a:gd name="T29" fmla="*/ 3402 h 4070"/>
                    <a:gd name="T30" fmla="*/ 2072 w 2780"/>
                    <a:gd name="T31" fmla="*/ 3314 h 4070"/>
                    <a:gd name="T32" fmla="*/ 2081 w 2780"/>
                    <a:gd name="T33" fmla="*/ 3445 h 4070"/>
                    <a:gd name="T34" fmla="*/ 2101 w 2780"/>
                    <a:gd name="T35" fmla="*/ 3388 h 4070"/>
                    <a:gd name="T36" fmla="*/ 2186 w 2780"/>
                    <a:gd name="T37" fmla="*/ 3573 h 4070"/>
                    <a:gd name="T38" fmla="*/ 2141 w 2780"/>
                    <a:gd name="T39" fmla="*/ 3702 h 4070"/>
                    <a:gd name="T40" fmla="*/ 2105 w 2780"/>
                    <a:gd name="T41" fmla="*/ 3796 h 4070"/>
                    <a:gd name="T42" fmla="*/ 2023 w 2780"/>
                    <a:gd name="T43" fmla="*/ 3724 h 4070"/>
                    <a:gd name="T44" fmla="*/ 1958 w 2780"/>
                    <a:gd name="T45" fmla="*/ 3685 h 4070"/>
                    <a:gd name="T46" fmla="*/ 1979 w 2780"/>
                    <a:gd name="T47" fmla="*/ 3741 h 4070"/>
                    <a:gd name="T48" fmla="*/ 1902 w 2780"/>
                    <a:gd name="T49" fmla="*/ 3869 h 4070"/>
                    <a:gd name="T50" fmla="*/ 1875 w 2780"/>
                    <a:gd name="T51" fmla="*/ 3861 h 4070"/>
                    <a:gd name="T52" fmla="*/ 1790 w 2780"/>
                    <a:gd name="T53" fmla="*/ 3833 h 4070"/>
                    <a:gd name="T54" fmla="*/ 1728 w 2780"/>
                    <a:gd name="T55" fmla="*/ 3943 h 4070"/>
                    <a:gd name="T56" fmla="*/ 1660 w 2780"/>
                    <a:gd name="T57" fmla="*/ 3976 h 4070"/>
                    <a:gd name="T58" fmla="*/ 1519 w 2780"/>
                    <a:gd name="T59" fmla="*/ 3866 h 4070"/>
                    <a:gd name="T60" fmla="*/ 1631 w 2780"/>
                    <a:gd name="T61" fmla="*/ 3885 h 4070"/>
                    <a:gd name="T62" fmla="*/ 1719 w 2780"/>
                    <a:gd name="T63" fmla="*/ 3893 h 4070"/>
                    <a:gd name="T64" fmla="*/ 1618 w 2780"/>
                    <a:gd name="T65" fmla="*/ 3633 h 4070"/>
                    <a:gd name="T66" fmla="*/ 1516 w 2780"/>
                    <a:gd name="T67" fmla="*/ 3532 h 4070"/>
                    <a:gd name="T68" fmla="*/ 1537 w 2780"/>
                    <a:gd name="T69" fmla="*/ 3840 h 4070"/>
                    <a:gd name="T70" fmla="*/ 1391 w 2780"/>
                    <a:gd name="T71" fmla="*/ 3728 h 4070"/>
                    <a:gd name="T72" fmla="*/ 1321 w 2780"/>
                    <a:gd name="T73" fmla="*/ 3715 h 4070"/>
                    <a:gd name="T74" fmla="*/ 1404 w 2780"/>
                    <a:gd name="T75" fmla="*/ 3882 h 4070"/>
                    <a:gd name="T76" fmla="*/ 1324 w 2780"/>
                    <a:gd name="T77" fmla="*/ 3952 h 4070"/>
                    <a:gd name="T78" fmla="*/ 1211 w 2780"/>
                    <a:gd name="T79" fmla="*/ 3307 h 4070"/>
                    <a:gd name="T80" fmla="*/ 1197 w 2780"/>
                    <a:gd name="T81" fmla="*/ 3110 h 4070"/>
                    <a:gd name="T82" fmla="*/ 1005 w 2780"/>
                    <a:gd name="T83" fmla="*/ 2833 h 4070"/>
                    <a:gd name="T84" fmla="*/ 1019 w 2780"/>
                    <a:gd name="T85" fmla="*/ 2634 h 4070"/>
                    <a:gd name="T86" fmla="*/ 1104 w 2780"/>
                    <a:gd name="T87" fmla="*/ 2498 h 4070"/>
                    <a:gd name="T88" fmla="*/ 1256 w 2780"/>
                    <a:gd name="T89" fmla="*/ 2245 h 4070"/>
                    <a:gd name="T90" fmla="*/ 1315 w 2780"/>
                    <a:gd name="T91" fmla="*/ 2065 h 4070"/>
                    <a:gd name="T92" fmla="*/ 1335 w 2780"/>
                    <a:gd name="T93" fmla="*/ 1845 h 4070"/>
                    <a:gd name="T94" fmla="*/ 1267 w 2780"/>
                    <a:gd name="T95" fmla="*/ 2019 h 4070"/>
                    <a:gd name="T96" fmla="*/ 1288 w 2780"/>
                    <a:gd name="T97" fmla="*/ 2126 h 4070"/>
                    <a:gd name="T98" fmla="*/ 1215 w 2780"/>
                    <a:gd name="T99" fmla="*/ 2238 h 4070"/>
                    <a:gd name="T100" fmla="*/ 1069 w 2780"/>
                    <a:gd name="T101" fmla="*/ 2510 h 4070"/>
                    <a:gd name="T102" fmla="*/ 916 w 2780"/>
                    <a:gd name="T103" fmla="*/ 2564 h 4070"/>
                    <a:gd name="T104" fmla="*/ 881 w 2780"/>
                    <a:gd name="T105" fmla="*/ 2553 h 4070"/>
                    <a:gd name="T106" fmla="*/ 840 w 2780"/>
                    <a:gd name="T107" fmla="*/ 2485 h 4070"/>
                    <a:gd name="T108" fmla="*/ 812 w 2780"/>
                    <a:gd name="T109" fmla="*/ 2428 h 4070"/>
                    <a:gd name="T110" fmla="*/ 496 w 2780"/>
                    <a:gd name="T111" fmla="*/ 2196 h 4070"/>
                    <a:gd name="T112" fmla="*/ 283 w 2780"/>
                    <a:gd name="T113" fmla="*/ 2115 h 4070"/>
                    <a:gd name="T114" fmla="*/ 199 w 2780"/>
                    <a:gd name="T115" fmla="*/ 1904 h 4070"/>
                    <a:gd name="T116" fmla="*/ 205 w 2780"/>
                    <a:gd name="T117" fmla="*/ 1761 h 4070"/>
                    <a:gd name="T118" fmla="*/ 225 w 2780"/>
                    <a:gd name="T119" fmla="*/ 1556 h 4070"/>
                    <a:gd name="T120" fmla="*/ 209 w 2780"/>
                    <a:gd name="T121" fmla="*/ 1328 h 4070"/>
                    <a:gd name="T122" fmla="*/ 1 w 2780"/>
                    <a:gd name="T123" fmla="*/ 1345 h 40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780" h="4070">
                      <a:moveTo>
                        <a:pt x="1517" y="0"/>
                      </a:moveTo>
                      <a:lnTo>
                        <a:pt x="1652" y="861"/>
                      </a:lnTo>
                      <a:lnTo>
                        <a:pt x="1904" y="1089"/>
                      </a:lnTo>
                      <a:lnTo>
                        <a:pt x="2012" y="1414"/>
                      </a:lnTo>
                      <a:lnTo>
                        <a:pt x="2036" y="1564"/>
                      </a:lnTo>
                      <a:lnTo>
                        <a:pt x="1731" y="1860"/>
                      </a:lnTo>
                      <a:lnTo>
                        <a:pt x="1831" y="1975"/>
                      </a:lnTo>
                      <a:lnTo>
                        <a:pt x="1773" y="2104"/>
                      </a:lnTo>
                      <a:lnTo>
                        <a:pt x="2290" y="2029"/>
                      </a:lnTo>
                      <a:lnTo>
                        <a:pt x="2362" y="2234"/>
                      </a:lnTo>
                      <a:lnTo>
                        <a:pt x="2479" y="2237"/>
                      </a:lnTo>
                      <a:lnTo>
                        <a:pt x="2680" y="3023"/>
                      </a:lnTo>
                      <a:lnTo>
                        <a:pt x="2683" y="3127"/>
                      </a:lnTo>
                      <a:lnTo>
                        <a:pt x="2683" y="3127"/>
                      </a:lnTo>
                      <a:lnTo>
                        <a:pt x="2666" y="3118"/>
                      </a:lnTo>
                      <a:lnTo>
                        <a:pt x="2653" y="3108"/>
                      </a:lnTo>
                      <a:lnTo>
                        <a:pt x="2648" y="3105"/>
                      </a:lnTo>
                      <a:lnTo>
                        <a:pt x="2643" y="3104"/>
                      </a:lnTo>
                      <a:lnTo>
                        <a:pt x="2638" y="3104"/>
                      </a:lnTo>
                      <a:lnTo>
                        <a:pt x="2633" y="3104"/>
                      </a:lnTo>
                      <a:lnTo>
                        <a:pt x="2626" y="3105"/>
                      </a:lnTo>
                      <a:lnTo>
                        <a:pt x="2619" y="3107"/>
                      </a:lnTo>
                      <a:lnTo>
                        <a:pt x="2616" y="3108"/>
                      </a:lnTo>
                      <a:lnTo>
                        <a:pt x="2612" y="3107"/>
                      </a:lnTo>
                      <a:lnTo>
                        <a:pt x="2610" y="3105"/>
                      </a:lnTo>
                      <a:lnTo>
                        <a:pt x="2606" y="3103"/>
                      </a:lnTo>
                      <a:lnTo>
                        <a:pt x="2603" y="3101"/>
                      </a:lnTo>
                      <a:lnTo>
                        <a:pt x="2599" y="3095"/>
                      </a:lnTo>
                      <a:lnTo>
                        <a:pt x="2596" y="3089"/>
                      </a:lnTo>
                      <a:lnTo>
                        <a:pt x="2592" y="3081"/>
                      </a:lnTo>
                      <a:lnTo>
                        <a:pt x="2582" y="3074"/>
                      </a:lnTo>
                      <a:lnTo>
                        <a:pt x="2559" y="3061"/>
                      </a:lnTo>
                      <a:lnTo>
                        <a:pt x="2548" y="3055"/>
                      </a:lnTo>
                      <a:lnTo>
                        <a:pt x="2538" y="3051"/>
                      </a:lnTo>
                      <a:lnTo>
                        <a:pt x="2534" y="3050"/>
                      </a:lnTo>
                      <a:lnTo>
                        <a:pt x="2531" y="3051"/>
                      </a:lnTo>
                      <a:lnTo>
                        <a:pt x="2529" y="3052"/>
                      </a:lnTo>
                      <a:lnTo>
                        <a:pt x="2529" y="3055"/>
                      </a:lnTo>
                      <a:lnTo>
                        <a:pt x="2530" y="3081"/>
                      </a:lnTo>
                      <a:lnTo>
                        <a:pt x="2534" y="3103"/>
                      </a:lnTo>
                      <a:lnTo>
                        <a:pt x="2536" y="3113"/>
                      </a:lnTo>
                      <a:lnTo>
                        <a:pt x="2541" y="3122"/>
                      </a:lnTo>
                      <a:lnTo>
                        <a:pt x="2548" y="3131"/>
                      </a:lnTo>
                      <a:lnTo>
                        <a:pt x="2557" y="3141"/>
                      </a:lnTo>
                      <a:lnTo>
                        <a:pt x="2565" y="3151"/>
                      </a:lnTo>
                      <a:lnTo>
                        <a:pt x="2575" y="3164"/>
                      </a:lnTo>
                      <a:lnTo>
                        <a:pt x="2583" y="3179"/>
                      </a:lnTo>
                      <a:lnTo>
                        <a:pt x="2589" y="3195"/>
                      </a:lnTo>
                      <a:lnTo>
                        <a:pt x="2595" y="3212"/>
                      </a:lnTo>
                      <a:lnTo>
                        <a:pt x="2599" y="3228"/>
                      </a:lnTo>
                      <a:lnTo>
                        <a:pt x="2602" y="3245"/>
                      </a:lnTo>
                      <a:lnTo>
                        <a:pt x="2603" y="3258"/>
                      </a:lnTo>
                      <a:lnTo>
                        <a:pt x="2603" y="3307"/>
                      </a:lnTo>
                      <a:lnTo>
                        <a:pt x="2603" y="3316"/>
                      </a:lnTo>
                      <a:lnTo>
                        <a:pt x="2603" y="3322"/>
                      </a:lnTo>
                      <a:lnTo>
                        <a:pt x="2604" y="3325"/>
                      </a:lnTo>
                      <a:lnTo>
                        <a:pt x="2605" y="3325"/>
                      </a:lnTo>
                      <a:lnTo>
                        <a:pt x="2610" y="3321"/>
                      </a:lnTo>
                      <a:lnTo>
                        <a:pt x="2617" y="3314"/>
                      </a:lnTo>
                      <a:lnTo>
                        <a:pt x="2619" y="3312"/>
                      </a:lnTo>
                      <a:lnTo>
                        <a:pt x="2623" y="3312"/>
                      </a:lnTo>
                      <a:lnTo>
                        <a:pt x="2626" y="3312"/>
                      </a:lnTo>
                      <a:lnTo>
                        <a:pt x="2630" y="3312"/>
                      </a:lnTo>
                      <a:lnTo>
                        <a:pt x="2637" y="3314"/>
                      </a:lnTo>
                      <a:lnTo>
                        <a:pt x="2645" y="3316"/>
                      </a:lnTo>
                      <a:lnTo>
                        <a:pt x="2652" y="3318"/>
                      </a:lnTo>
                      <a:lnTo>
                        <a:pt x="2658" y="3318"/>
                      </a:lnTo>
                      <a:lnTo>
                        <a:pt x="2660" y="3316"/>
                      </a:lnTo>
                      <a:lnTo>
                        <a:pt x="2662" y="3314"/>
                      </a:lnTo>
                      <a:lnTo>
                        <a:pt x="2663" y="3312"/>
                      </a:lnTo>
                      <a:lnTo>
                        <a:pt x="2664" y="3307"/>
                      </a:lnTo>
                      <a:lnTo>
                        <a:pt x="2664" y="3302"/>
                      </a:lnTo>
                      <a:lnTo>
                        <a:pt x="2666" y="3296"/>
                      </a:lnTo>
                      <a:lnTo>
                        <a:pt x="2670" y="3291"/>
                      </a:lnTo>
                      <a:lnTo>
                        <a:pt x="2673" y="3285"/>
                      </a:lnTo>
                      <a:lnTo>
                        <a:pt x="2677" y="3280"/>
                      </a:lnTo>
                      <a:lnTo>
                        <a:pt x="2682" y="3275"/>
                      </a:lnTo>
                      <a:lnTo>
                        <a:pt x="2687" y="3270"/>
                      </a:lnTo>
                      <a:lnTo>
                        <a:pt x="2692" y="3267"/>
                      </a:lnTo>
                      <a:lnTo>
                        <a:pt x="2697" y="3266"/>
                      </a:lnTo>
                      <a:lnTo>
                        <a:pt x="2703" y="3265"/>
                      </a:lnTo>
                      <a:lnTo>
                        <a:pt x="2706" y="3265"/>
                      </a:lnTo>
                      <a:lnTo>
                        <a:pt x="2711" y="3266"/>
                      </a:lnTo>
                      <a:lnTo>
                        <a:pt x="2715" y="3269"/>
                      </a:lnTo>
                      <a:lnTo>
                        <a:pt x="2717" y="3275"/>
                      </a:lnTo>
                      <a:lnTo>
                        <a:pt x="2719" y="3282"/>
                      </a:lnTo>
                      <a:lnTo>
                        <a:pt x="2719" y="3291"/>
                      </a:lnTo>
                      <a:lnTo>
                        <a:pt x="2720" y="3309"/>
                      </a:lnTo>
                      <a:lnTo>
                        <a:pt x="2723" y="3324"/>
                      </a:lnTo>
                      <a:lnTo>
                        <a:pt x="2725" y="3328"/>
                      </a:lnTo>
                      <a:lnTo>
                        <a:pt x="2727" y="3332"/>
                      </a:lnTo>
                      <a:lnTo>
                        <a:pt x="2730" y="3334"/>
                      </a:lnTo>
                      <a:lnTo>
                        <a:pt x="2733" y="3336"/>
                      </a:lnTo>
                      <a:lnTo>
                        <a:pt x="2752" y="3341"/>
                      </a:lnTo>
                      <a:lnTo>
                        <a:pt x="2780" y="3345"/>
                      </a:lnTo>
                      <a:lnTo>
                        <a:pt x="2772" y="3357"/>
                      </a:lnTo>
                      <a:lnTo>
                        <a:pt x="2760" y="3374"/>
                      </a:lnTo>
                      <a:lnTo>
                        <a:pt x="2757" y="3388"/>
                      </a:lnTo>
                      <a:lnTo>
                        <a:pt x="2752" y="3400"/>
                      </a:lnTo>
                      <a:lnTo>
                        <a:pt x="2750" y="3405"/>
                      </a:lnTo>
                      <a:lnTo>
                        <a:pt x="2749" y="3408"/>
                      </a:lnTo>
                      <a:lnTo>
                        <a:pt x="2745" y="3411"/>
                      </a:lnTo>
                      <a:lnTo>
                        <a:pt x="2743" y="3413"/>
                      </a:lnTo>
                      <a:lnTo>
                        <a:pt x="2740" y="3414"/>
                      </a:lnTo>
                      <a:lnTo>
                        <a:pt x="2737" y="3414"/>
                      </a:lnTo>
                      <a:lnTo>
                        <a:pt x="2733" y="3414"/>
                      </a:lnTo>
                      <a:lnTo>
                        <a:pt x="2730" y="3412"/>
                      </a:lnTo>
                      <a:lnTo>
                        <a:pt x="2722" y="3405"/>
                      </a:lnTo>
                      <a:lnTo>
                        <a:pt x="2711" y="3392"/>
                      </a:lnTo>
                      <a:lnTo>
                        <a:pt x="2704" y="3377"/>
                      </a:lnTo>
                      <a:lnTo>
                        <a:pt x="2697" y="3355"/>
                      </a:lnTo>
                      <a:lnTo>
                        <a:pt x="2692" y="3345"/>
                      </a:lnTo>
                      <a:lnTo>
                        <a:pt x="2689" y="3336"/>
                      </a:lnTo>
                      <a:lnTo>
                        <a:pt x="2686" y="3333"/>
                      </a:lnTo>
                      <a:lnTo>
                        <a:pt x="2684" y="3331"/>
                      </a:lnTo>
                      <a:lnTo>
                        <a:pt x="2682" y="3329"/>
                      </a:lnTo>
                      <a:lnTo>
                        <a:pt x="2679" y="3329"/>
                      </a:lnTo>
                      <a:lnTo>
                        <a:pt x="2678" y="3332"/>
                      </a:lnTo>
                      <a:lnTo>
                        <a:pt x="2676" y="3334"/>
                      </a:lnTo>
                      <a:lnTo>
                        <a:pt x="2672" y="3334"/>
                      </a:lnTo>
                      <a:lnTo>
                        <a:pt x="2667" y="3335"/>
                      </a:lnTo>
                      <a:lnTo>
                        <a:pt x="2657" y="3333"/>
                      </a:lnTo>
                      <a:lnTo>
                        <a:pt x="2645" y="3331"/>
                      </a:lnTo>
                      <a:lnTo>
                        <a:pt x="2633" y="3329"/>
                      </a:lnTo>
                      <a:lnTo>
                        <a:pt x="2623" y="3328"/>
                      </a:lnTo>
                      <a:lnTo>
                        <a:pt x="2618" y="3328"/>
                      </a:lnTo>
                      <a:lnTo>
                        <a:pt x="2615" y="3331"/>
                      </a:lnTo>
                      <a:lnTo>
                        <a:pt x="2612" y="3333"/>
                      </a:lnTo>
                      <a:lnTo>
                        <a:pt x="2610" y="3336"/>
                      </a:lnTo>
                      <a:lnTo>
                        <a:pt x="2606" y="3353"/>
                      </a:lnTo>
                      <a:lnTo>
                        <a:pt x="2602" y="3378"/>
                      </a:lnTo>
                      <a:lnTo>
                        <a:pt x="2599" y="3390"/>
                      </a:lnTo>
                      <a:lnTo>
                        <a:pt x="2596" y="3401"/>
                      </a:lnTo>
                      <a:lnTo>
                        <a:pt x="2593" y="3408"/>
                      </a:lnTo>
                      <a:lnTo>
                        <a:pt x="2590" y="3413"/>
                      </a:lnTo>
                      <a:lnTo>
                        <a:pt x="2589" y="3405"/>
                      </a:lnTo>
                      <a:lnTo>
                        <a:pt x="2586" y="3392"/>
                      </a:lnTo>
                      <a:lnTo>
                        <a:pt x="2582" y="3375"/>
                      </a:lnTo>
                      <a:lnTo>
                        <a:pt x="2577" y="3359"/>
                      </a:lnTo>
                      <a:lnTo>
                        <a:pt x="2572" y="3341"/>
                      </a:lnTo>
                      <a:lnTo>
                        <a:pt x="2566" y="3327"/>
                      </a:lnTo>
                      <a:lnTo>
                        <a:pt x="2562" y="3315"/>
                      </a:lnTo>
                      <a:lnTo>
                        <a:pt x="2557" y="3309"/>
                      </a:lnTo>
                      <a:lnTo>
                        <a:pt x="2552" y="3305"/>
                      </a:lnTo>
                      <a:lnTo>
                        <a:pt x="2548" y="3299"/>
                      </a:lnTo>
                      <a:lnTo>
                        <a:pt x="2543" y="3292"/>
                      </a:lnTo>
                      <a:lnTo>
                        <a:pt x="2539" y="3283"/>
                      </a:lnTo>
                      <a:lnTo>
                        <a:pt x="2534" y="3266"/>
                      </a:lnTo>
                      <a:lnTo>
                        <a:pt x="2530" y="3246"/>
                      </a:lnTo>
                      <a:lnTo>
                        <a:pt x="2526" y="3225"/>
                      </a:lnTo>
                      <a:lnTo>
                        <a:pt x="2524" y="3204"/>
                      </a:lnTo>
                      <a:lnTo>
                        <a:pt x="2523" y="3186"/>
                      </a:lnTo>
                      <a:lnTo>
                        <a:pt x="2523" y="3170"/>
                      </a:lnTo>
                      <a:lnTo>
                        <a:pt x="2522" y="3166"/>
                      </a:lnTo>
                      <a:lnTo>
                        <a:pt x="2521" y="3160"/>
                      </a:lnTo>
                      <a:lnTo>
                        <a:pt x="2517" y="3153"/>
                      </a:lnTo>
                      <a:lnTo>
                        <a:pt x="2512" y="3146"/>
                      </a:lnTo>
                      <a:lnTo>
                        <a:pt x="2502" y="3130"/>
                      </a:lnTo>
                      <a:lnTo>
                        <a:pt x="2489" y="3115"/>
                      </a:lnTo>
                      <a:lnTo>
                        <a:pt x="2475" y="3101"/>
                      </a:lnTo>
                      <a:lnTo>
                        <a:pt x="2461" y="3089"/>
                      </a:lnTo>
                      <a:lnTo>
                        <a:pt x="2454" y="3084"/>
                      </a:lnTo>
                      <a:lnTo>
                        <a:pt x="2448" y="3081"/>
                      </a:lnTo>
                      <a:lnTo>
                        <a:pt x="2442" y="3080"/>
                      </a:lnTo>
                      <a:lnTo>
                        <a:pt x="2437" y="3078"/>
                      </a:lnTo>
                      <a:lnTo>
                        <a:pt x="2435" y="3085"/>
                      </a:lnTo>
                      <a:lnTo>
                        <a:pt x="2431" y="3092"/>
                      </a:lnTo>
                      <a:lnTo>
                        <a:pt x="2428" y="3098"/>
                      </a:lnTo>
                      <a:lnTo>
                        <a:pt x="2423" y="3104"/>
                      </a:lnTo>
                      <a:lnTo>
                        <a:pt x="2417" y="3110"/>
                      </a:lnTo>
                      <a:lnTo>
                        <a:pt x="2411" y="3115"/>
                      </a:lnTo>
                      <a:lnTo>
                        <a:pt x="2405" y="3120"/>
                      </a:lnTo>
                      <a:lnTo>
                        <a:pt x="2398" y="3123"/>
                      </a:lnTo>
                      <a:lnTo>
                        <a:pt x="2384" y="3130"/>
                      </a:lnTo>
                      <a:lnTo>
                        <a:pt x="2369" y="3135"/>
                      </a:lnTo>
                      <a:lnTo>
                        <a:pt x="2354" y="3137"/>
                      </a:lnTo>
                      <a:lnTo>
                        <a:pt x="2338" y="3138"/>
                      </a:lnTo>
                      <a:lnTo>
                        <a:pt x="2341" y="3131"/>
                      </a:lnTo>
                      <a:lnTo>
                        <a:pt x="2347" y="3123"/>
                      </a:lnTo>
                      <a:lnTo>
                        <a:pt x="2349" y="3120"/>
                      </a:lnTo>
                      <a:lnTo>
                        <a:pt x="2350" y="3115"/>
                      </a:lnTo>
                      <a:lnTo>
                        <a:pt x="2351" y="3110"/>
                      </a:lnTo>
                      <a:lnTo>
                        <a:pt x="2350" y="3105"/>
                      </a:lnTo>
                      <a:lnTo>
                        <a:pt x="2345" y="3094"/>
                      </a:lnTo>
                      <a:lnTo>
                        <a:pt x="2341" y="3083"/>
                      </a:lnTo>
                      <a:lnTo>
                        <a:pt x="2337" y="3071"/>
                      </a:lnTo>
                      <a:lnTo>
                        <a:pt x="2334" y="3056"/>
                      </a:lnTo>
                      <a:lnTo>
                        <a:pt x="2333" y="3049"/>
                      </a:lnTo>
                      <a:lnTo>
                        <a:pt x="2330" y="3043"/>
                      </a:lnTo>
                      <a:lnTo>
                        <a:pt x="2329" y="3041"/>
                      </a:lnTo>
                      <a:lnTo>
                        <a:pt x="2325" y="3041"/>
                      </a:lnTo>
                      <a:lnTo>
                        <a:pt x="2318" y="3042"/>
                      </a:lnTo>
                      <a:lnTo>
                        <a:pt x="2306" y="3043"/>
                      </a:lnTo>
                      <a:lnTo>
                        <a:pt x="2306" y="3039"/>
                      </a:lnTo>
                      <a:lnTo>
                        <a:pt x="2307" y="3035"/>
                      </a:lnTo>
                      <a:lnTo>
                        <a:pt x="2309" y="3031"/>
                      </a:lnTo>
                      <a:lnTo>
                        <a:pt x="2311" y="3028"/>
                      </a:lnTo>
                      <a:lnTo>
                        <a:pt x="2314" y="3023"/>
                      </a:lnTo>
                      <a:lnTo>
                        <a:pt x="2315" y="3019"/>
                      </a:lnTo>
                      <a:lnTo>
                        <a:pt x="2315" y="3015"/>
                      </a:lnTo>
                      <a:lnTo>
                        <a:pt x="2313" y="3010"/>
                      </a:lnTo>
                      <a:lnTo>
                        <a:pt x="2304" y="2997"/>
                      </a:lnTo>
                      <a:lnTo>
                        <a:pt x="2297" y="2982"/>
                      </a:lnTo>
                      <a:lnTo>
                        <a:pt x="2294" y="2972"/>
                      </a:lnTo>
                      <a:lnTo>
                        <a:pt x="2291" y="2964"/>
                      </a:lnTo>
                      <a:lnTo>
                        <a:pt x="2291" y="2957"/>
                      </a:lnTo>
                      <a:lnTo>
                        <a:pt x="2293" y="2950"/>
                      </a:lnTo>
                      <a:lnTo>
                        <a:pt x="2295" y="2939"/>
                      </a:lnTo>
                      <a:lnTo>
                        <a:pt x="2296" y="2931"/>
                      </a:lnTo>
                      <a:lnTo>
                        <a:pt x="2296" y="2925"/>
                      </a:lnTo>
                      <a:lnTo>
                        <a:pt x="2295" y="2920"/>
                      </a:lnTo>
                      <a:lnTo>
                        <a:pt x="2293" y="2917"/>
                      </a:lnTo>
                      <a:lnTo>
                        <a:pt x="2290" y="2912"/>
                      </a:lnTo>
                      <a:lnTo>
                        <a:pt x="2289" y="2907"/>
                      </a:lnTo>
                      <a:lnTo>
                        <a:pt x="2289" y="2899"/>
                      </a:lnTo>
                      <a:lnTo>
                        <a:pt x="2289" y="2893"/>
                      </a:lnTo>
                      <a:lnTo>
                        <a:pt x="2290" y="2887"/>
                      </a:lnTo>
                      <a:lnTo>
                        <a:pt x="2289" y="2882"/>
                      </a:lnTo>
                      <a:lnTo>
                        <a:pt x="2289" y="2876"/>
                      </a:lnTo>
                      <a:lnTo>
                        <a:pt x="2287" y="2863"/>
                      </a:lnTo>
                      <a:lnTo>
                        <a:pt x="2287" y="2850"/>
                      </a:lnTo>
                      <a:lnTo>
                        <a:pt x="2288" y="2839"/>
                      </a:lnTo>
                      <a:lnTo>
                        <a:pt x="2288" y="2827"/>
                      </a:lnTo>
                      <a:lnTo>
                        <a:pt x="2288" y="2817"/>
                      </a:lnTo>
                      <a:lnTo>
                        <a:pt x="2288" y="2805"/>
                      </a:lnTo>
                      <a:lnTo>
                        <a:pt x="2286" y="2806"/>
                      </a:lnTo>
                      <a:lnTo>
                        <a:pt x="2284" y="2810"/>
                      </a:lnTo>
                      <a:lnTo>
                        <a:pt x="2284" y="2814"/>
                      </a:lnTo>
                      <a:lnTo>
                        <a:pt x="2283" y="2819"/>
                      </a:lnTo>
                      <a:lnTo>
                        <a:pt x="2282" y="2830"/>
                      </a:lnTo>
                      <a:lnTo>
                        <a:pt x="2282" y="2837"/>
                      </a:lnTo>
                      <a:lnTo>
                        <a:pt x="2277" y="2850"/>
                      </a:lnTo>
                      <a:lnTo>
                        <a:pt x="2274" y="2865"/>
                      </a:lnTo>
                      <a:lnTo>
                        <a:pt x="2270" y="2880"/>
                      </a:lnTo>
                      <a:lnTo>
                        <a:pt x="2268" y="2892"/>
                      </a:lnTo>
                      <a:lnTo>
                        <a:pt x="2268" y="2912"/>
                      </a:lnTo>
                      <a:lnTo>
                        <a:pt x="2267" y="2931"/>
                      </a:lnTo>
                      <a:lnTo>
                        <a:pt x="2266" y="2949"/>
                      </a:lnTo>
                      <a:lnTo>
                        <a:pt x="2264" y="2969"/>
                      </a:lnTo>
                      <a:lnTo>
                        <a:pt x="2263" y="3012"/>
                      </a:lnTo>
                      <a:lnTo>
                        <a:pt x="2264" y="3018"/>
                      </a:lnTo>
                      <a:lnTo>
                        <a:pt x="2266" y="3021"/>
                      </a:lnTo>
                      <a:lnTo>
                        <a:pt x="2268" y="3022"/>
                      </a:lnTo>
                      <a:lnTo>
                        <a:pt x="2271" y="3022"/>
                      </a:lnTo>
                      <a:lnTo>
                        <a:pt x="2281" y="3018"/>
                      </a:lnTo>
                      <a:lnTo>
                        <a:pt x="2289" y="3017"/>
                      </a:lnTo>
                      <a:lnTo>
                        <a:pt x="2290" y="3017"/>
                      </a:lnTo>
                      <a:lnTo>
                        <a:pt x="2291" y="3017"/>
                      </a:lnTo>
                      <a:lnTo>
                        <a:pt x="2291" y="3018"/>
                      </a:lnTo>
                      <a:lnTo>
                        <a:pt x="2291" y="3029"/>
                      </a:lnTo>
                      <a:lnTo>
                        <a:pt x="2287" y="3031"/>
                      </a:lnTo>
                      <a:lnTo>
                        <a:pt x="2283" y="3036"/>
                      </a:lnTo>
                      <a:lnTo>
                        <a:pt x="2281" y="3042"/>
                      </a:lnTo>
                      <a:lnTo>
                        <a:pt x="2280" y="3050"/>
                      </a:lnTo>
                      <a:lnTo>
                        <a:pt x="2278" y="3058"/>
                      </a:lnTo>
                      <a:lnTo>
                        <a:pt x="2278" y="3068"/>
                      </a:lnTo>
                      <a:lnTo>
                        <a:pt x="2280" y="3078"/>
                      </a:lnTo>
                      <a:lnTo>
                        <a:pt x="2281" y="3088"/>
                      </a:lnTo>
                      <a:lnTo>
                        <a:pt x="2289" y="3129"/>
                      </a:lnTo>
                      <a:lnTo>
                        <a:pt x="2294" y="3158"/>
                      </a:lnTo>
                      <a:lnTo>
                        <a:pt x="2304" y="3147"/>
                      </a:lnTo>
                      <a:lnTo>
                        <a:pt x="2315" y="3135"/>
                      </a:lnTo>
                      <a:lnTo>
                        <a:pt x="2315" y="3149"/>
                      </a:lnTo>
                      <a:lnTo>
                        <a:pt x="2314" y="3160"/>
                      </a:lnTo>
                      <a:lnTo>
                        <a:pt x="2314" y="3166"/>
                      </a:lnTo>
                      <a:lnTo>
                        <a:pt x="2314" y="3171"/>
                      </a:lnTo>
                      <a:lnTo>
                        <a:pt x="2315" y="3177"/>
                      </a:lnTo>
                      <a:lnTo>
                        <a:pt x="2318" y="3186"/>
                      </a:lnTo>
                      <a:lnTo>
                        <a:pt x="2324" y="3200"/>
                      </a:lnTo>
                      <a:lnTo>
                        <a:pt x="2331" y="3214"/>
                      </a:lnTo>
                      <a:lnTo>
                        <a:pt x="2340" y="3229"/>
                      </a:lnTo>
                      <a:lnTo>
                        <a:pt x="2348" y="3241"/>
                      </a:lnTo>
                      <a:lnTo>
                        <a:pt x="2353" y="3266"/>
                      </a:lnTo>
                      <a:lnTo>
                        <a:pt x="2355" y="3287"/>
                      </a:lnTo>
                      <a:lnTo>
                        <a:pt x="2357" y="3299"/>
                      </a:lnTo>
                      <a:lnTo>
                        <a:pt x="2360" y="3309"/>
                      </a:lnTo>
                      <a:lnTo>
                        <a:pt x="2362" y="3320"/>
                      </a:lnTo>
                      <a:lnTo>
                        <a:pt x="2365" y="3332"/>
                      </a:lnTo>
                      <a:lnTo>
                        <a:pt x="2369" y="3341"/>
                      </a:lnTo>
                      <a:lnTo>
                        <a:pt x="2371" y="3348"/>
                      </a:lnTo>
                      <a:lnTo>
                        <a:pt x="2371" y="3349"/>
                      </a:lnTo>
                      <a:lnTo>
                        <a:pt x="2370" y="3351"/>
                      </a:lnTo>
                      <a:lnTo>
                        <a:pt x="2367" y="3349"/>
                      </a:lnTo>
                      <a:lnTo>
                        <a:pt x="2362" y="3348"/>
                      </a:lnTo>
                      <a:lnTo>
                        <a:pt x="2340" y="3339"/>
                      </a:lnTo>
                      <a:lnTo>
                        <a:pt x="2325" y="3334"/>
                      </a:lnTo>
                      <a:lnTo>
                        <a:pt x="2320" y="3329"/>
                      </a:lnTo>
                      <a:lnTo>
                        <a:pt x="2314" y="3324"/>
                      </a:lnTo>
                      <a:lnTo>
                        <a:pt x="2308" y="3315"/>
                      </a:lnTo>
                      <a:lnTo>
                        <a:pt x="2303" y="3301"/>
                      </a:lnTo>
                      <a:lnTo>
                        <a:pt x="2295" y="3283"/>
                      </a:lnTo>
                      <a:lnTo>
                        <a:pt x="2286" y="3265"/>
                      </a:lnTo>
                      <a:lnTo>
                        <a:pt x="2277" y="3246"/>
                      </a:lnTo>
                      <a:lnTo>
                        <a:pt x="2271" y="3227"/>
                      </a:lnTo>
                      <a:lnTo>
                        <a:pt x="2268" y="3217"/>
                      </a:lnTo>
                      <a:lnTo>
                        <a:pt x="2264" y="3212"/>
                      </a:lnTo>
                      <a:lnTo>
                        <a:pt x="2260" y="3207"/>
                      </a:lnTo>
                      <a:lnTo>
                        <a:pt x="2254" y="3204"/>
                      </a:lnTo>
                      <a:lnTo>
                        <a:pt x="2240" y="3202"/>
                      </a:lnTo>
                      <a:lnTo>
                        <a:pt x="2221" y="3202"/>
                      </a:lnTo>
                      <a:lnTo>
                        <a:pt x="2220" y="3203"/>
                      </a:lnTo>
                      <a:lnTo>
                        <a:pt x="2219" y="3207"/>
                      </a:lnTo>
                      <a:lnTo>
                        <a:pt x="2219" y="3212"/>
                      </a:lnTo>
                      <a:lnTo>
                        <a:pt x="2220" y="3217"/>
                      </a:lnTo>
                      <a:lnTo>
                        <a:pt x="2221" y="3229"/>
                      </a:lnTo>
                      <a:lnTo>
                        <a:pt x="2222" y="3237"/>
                      </a:lnTo>
                      <a:lnTo>
                        <a:pt x="2226" y="3258"/>
                      </a:lnTo>
                      <a:lnTo>
                        <a:pt x="2230" y="3278"/>
                      </a:lnTo>
                      <a:lnTo>
                        <a:pt x="2234" y="3298"/>
                      </a:lnTo>
                      <a:lnTo>
                        <a:pt x="2235" y="3316"/>
                      </a:lnTo>
                      <a:lnTo>
                        <a:pt x="2234" y="3328"/>
                      </a:lnTo>
                      <a:lnTo>
                        <a:pt x="2231" y="3341"/>
                      </a:lnTo>
                      <a:lnTo>
                        <a:pt x="2227" y="3357"/>
                      </a:lnTo>
                      <a:lnTo>
                        <a:pt x="2221" y="3372"/>
                      </a:lnTo>
                      <a:lnTo>
                        <a:pt x="2209" y="3402"/>
                      </a:lnTo>
                      <a:lnTo>
                        <a:pt x="2199" y="3426"/>
                      </a:lnTo>
                      <a:lnTo>
                        <a:pt x="2194" y="3437"/>
                      </a:lnTo>
                      <a:lnTo>
                        <a:pt x="2192" y="3444"/>
                      </a:lnTo>
                      <a:lnTo>
                        <a:pt x="2189" y="3444"/>
                      </a:lnTo>
                      <a:lnTo>
                        <a:pt x="2187" y="3443"/>
                      </a:lnTo>
                      <a:lnTo>
                        <a:pt x="2183" y="3439"/>
                      </a:lnTo>
                      <a:lnTo>
                        <a:pt x="2179" y="3434"/>
                      </a:lnTo>
                      <a:lnTo>
                        <a:pt x="2162" y="3412"/>
                      </a:lnTo>
                      <a:lnTo>
                        <a:pt x="2146" y="3388"/>
                      </a:lnTo>
                      <a:lnTo>
                        <a:pt x="2137" y="3378"/>
                      </a:lnTo>
                      <a:lnTo>
                        <a:pt x="2129" y="3367"/>
                      </a:lnTo>
                      <a:lnTo>
                        <a:pt x="2120" y="3357"/>
                      </a:lnTo>
                      <a:lnTo>
                        <a:pt x="2110" y="3347"/>
                      </a:lnTo>
                      <a:lnTo>
                        <a:pt x="2101" y="3339"/>
                      </a:lnTo>
                      <a:lnTo>
                        <a:pt x="2092" y="3329"/>
                      </a:lnTo>
                      <a:lnTo>
                        <a:pt x="2083" y="3320"/>
                      </a:lnTo>
                      <a:lnTo>
                        <a:pt x="2075" y="3309"/>
                      </a:lnTo>
                      <a:lnTo>
                        <a:pt x="2073" y="3306"/>
                      </a:lnTo>
                      <a:lnTo>
                        <a:pt x="2072" y="3306"/>
                      </a:lnTo>
                      <a:lnTo>
                        <a:pt x="2070" y="3309"/>
                      </a:lnTo>
                      <a:lnTo>
                        <a:pt x="2072" y="3314"/>
                      </a:lnTo>
                      <a:lnTo>
                        <a:pt x="2074" y="3326"/>
                      </a:lnTo>
                      <a:lnTo>
                        <a:pt x="2075" y="3336"/>
                      </a:lnTo>
                      <a:lnTo>
                        <a:pt x="2075" y="3344"/>
                      </a:lnTo>
                      <a:lnTo>
                        <a:pt x="2073" y="3348"/>
                      </a:lnTo>
                      <a:lnTo>
                        <a:pt x="2069" y="3352"/>
                      </a:lnTo>
                      <a:lnTo>
                        <a:pt x="2066" y="3354"/>
                      </a:lnTo>
                      <a:lnTo>
                        <a:pt x="2061" y="3355"/>
                      </a:lnTo>
                      <a:lnTo>
                        <a:pt x="2058" y="3358"/>
                      </a:lnTo>
                      <a:lnTo>
                        <a:pt x="2055" y="3360"/>
                      </a:lnTo>
                      <a:lnTo>
                        <a:pt x="2054" y="3362"/>
                      </a:lnTo>
                      <a:lnTo>
                        <a:pt x="2055" y="3367"/>
                      </a:lnTo>
                      <a:lnTo>
                        <a:pt x="2058" y="3373"/>
                      </a:lnTo>
                      <a:lnTo>
                        <a:pt x="2062" y="3381"/>
                      </a:lnTo>
                      <a:lnTo>
                        <a:pt x="2067" y="3388"/>
                      </a:lnTo>
                      <a:lnTo>
                        <a:pt x="2078" y="3405"/>
                      </a:lnTo>
                      <a:lnTo>
                        <a:pt x="2085" y="3415"/>
                      </a:lnTo>
                      <a:lnTo>
                        <a:pt x="2089" y="3426"/>
                      </a:lnTo>
                      <a:lnTo>
                        <a:pt x="2092" y="3433"/>
                      </a:lnTo>
                      <a:lnTo>
                        <a:pt x="2090" y="3438"/>
                      </a:lnTo>
                      <a:lnTo>
                        <a:pt x="2089" y="3440"/>
                      </a:lnTo>
                      <a:lnTo>
                        <a:pt x="2081" y="3445"/>
                      </a:lnTo>
                      <a:lnTo>
                        <a:pt x="2070" y="3453"/>
                      </a:lnTo>
                      <a:lnTo>
                        <a:pt x="2066" y="3459"/>
                      </a:lnTo>
                      <a:lnTo>
                        <a:pt x="2063" y="3464"/>
                      </a:lnTo>
                      <a:lnTo>
                        <a:pt x="2061" y="3468"/>
                      </a:lnTo>
                      <a:lnTo>
                        <a:pt x="2061" y="3471"/>
                      </a:lnTo>
                      <a:lnTo>
                        <a:pt x="2062" y="3472"/>
                      </a:lnTo>
                      <a:lnTo>
                        <a:pt x="2063" y="3473"/>
                      </a:lnTo>
                      <a:lnTo>
                        <a:pt x="2066" y="3473"/>
                      </a:lnTo>
                      <a:lnTo>
                        <a:pt x="2069" y="3472"/>
                      </a:lnTo>
                      <a:lnTo>
                        <a:pt x="2078" y="3468"/>
                      </a:lnTo>
                      <a:lnTo>
                        <a:pt x="2086" y="3463"/>
                      </a:lnTo>
                      <a:lnTo>
                        <a:pt x="2094" y="3456"/>
                      </a:lnTo>
                      <a:lnTo>
                        <a:pt x="2100" y="3448"/>
                      </a:lnTo>
                      <a:lnTo>
                        <a:pt x="2102" y="3441"/>
                      </a:lnTo>
                      <a:lnTo>
                        <a:pt x="2102" y="3434"/>
                      </a:lnTo>
                      <a:lnTo>
                        <a:pt x="2101" y="3425"/>
                      </a:lnTo>
                      <a:lnTo>
                        <a:pt x="2099" y="3415"/>
                      </a:lnTo>
                      <a:lnTo>
                        <a:pt x="2094" y="3400"/>
                      </a:lnTo>
                      <a:lnTo>
                        <a:pt x="2092" y="3394"/>
                      </a:lnTo>
                      <a:lnTo>
                        <a:pt x="2096" y="3391"/>
                      </a:lnTo>
                      <a:lnTo>
                        <a:pt x="2101" y="3388"/>
                      </a:lnTo>
                      <a:lnTo>
                        <a:pt x="2105" y="3388"/>
                      </a:lnTo>
                      <a:lnTo>
                        <a:pt x="2108" y="3391"/>
                      </a:lnTo>
                      <a:lnTo>
                        <a:pt x="2112" y="3393"/>
                      </a:lnTo>
                      <a:lnTo>
                        <a:pt x="2115" y="3398"/>
                      </a:lnTo>
                      <a:lnTo>
                        <a:pt x="2119" y="3402"/>
                      </a:lnTo>
                      <a:lnTo>
                        <a:pt x="2122" y="3408"/>
                      </a:lnTo>
                      <a:lnTo>
                        <a:pt x="2132" y="3435"/>
                      </a:lnTo>
                      <a:lnTo>
                        <a:pt x="2137" y="3457"/>
                      </a:lnTo>
                      <a:lnTo>
                        <a:pt x="2141" y="3466"/>
                      </a:lnTo>
                      <a:lnTo>
                        <a:pt x="2145" y="3473"/>
                      </a:lnTo>
                      <a:lnTo>
                        <a:pt x="2148" y="3480"/>
                      </a:lnTo>
                      <a:lnTo>
                        <a:pt x="2153" y="3487"/>
                      </a:lnTo>
                      <a:lnTo>
                        <a:pt x="2162" y="3499"/>
                      </a:lnTo>
                      <a:lnTo>
                        <a:pt x="2175" y="3511"/>
                      </a:lnTo>
                      <a:lnTo>
                        <a:pt x="2179" y="3516"/>
                      </a:lnTo>
                      <a:lnTo>
                        <a:pt x="2181" y="3519"/>
                      </a:lnTo>
                      <a:lnTo>
                        <a:pt x="2183" y="3525"/>
                      </a:lnTo>
                      <a:lnTo>
                        <a:pt x="2184" y="3531"/>
                      </a:lnTo>
                      <a:lnTo>
                        <a:pt x="2186" y="3544"/>
                      </a:lnTo>
                      <a:lnTo>
                        <a:pt x="2186" y="3558"/>
                      </a:lnTo>
                      <a:lnTo>
                        <a:pt x="2186" y="3573"/>
                      </a:lnTo>
                      <a:lnTo>
                        <a:pt x="2186" y="3588"/>
                      </a:lnTo>
                      <a:lnTo>
                        <a:pt x="2186" y="3600"/>
                      </a:lnTo>
                      <a:lnTo>
                        <a:pt x="2188" y="3612"/>
                      </a:lnTo>
                      <a:lnTo>
                        <a:pt x="2197" y="3633"/>
                      </a:lnTo>
                      <a:lnTo>
                        <a:pt x="2209" y="3658"/>
                      </a:lnTo>
                      <a:lnTo>
                        <a:pt x="2215" y="3670"/>
                      </a:lnTo>
                      <a:lnTo>
                        <a:pt x="2220" y="3682"/>
                      </a:lnTo>
                      <a:lnTo>
                        <a:pt x="2223" y="3694"/>
                      </a:lnTo>
                      <a:lnTo>
                        <a:pt x="2224" y="3704"/>
                      </a:lnTo>
                      <a:lnTo>
                        <a:pt x="2223" y="3701"/>
                      </a:lnTo>
                      <a:lnTo>
                        <a:pt x="2221" y="3698"/>
                      </a:lnTo>
                      <a:lnTo>
                        <a:pt x="2219" y="3696"/>
                      </a:lnTo>
                      <a:lnTo>
                        <a:pt x="2215" y="3694"/>
                      </a:lnTo>
                      <a:lnTo>
                        <a:pt x="2207" y="3691"/>
                      </a:lnTo>
                      <a:lnTo>
                        <a:pt x="2196" y="3690"/>
                      </a:lnTo>
                      <a:lnTo>
                        <a:pt x="2176" y="3689"/>
                      </a:lnTo>
                      <a:lnTo>
                        <a:pt x="2162" y="3691"/>
                      </a:lnTo>
                      <a:lnTo>
                        <a:pt x="2154" y="3692"/>
                      </a:lnTo>
                      <a:lnTo>
                        <a:pt x="2148" y="3696"/>
                      </a:lnTo>
                      <a:lnTo>
                        <a:pt x="2143" y="3698"/>
                      </a:lnTo>
                      <a:lnTo>
                        <a:pt x="2141" y="3702"/>
                      </a:lnTo>
                      <a:lnTo>
                        <a:pt x="2136" y="3712"/>
                      </a:lnTo>
                      <a:lnTo>
                        <a:pt x="2132" y="3727"/>
                      </a:lnTo>
                      <a:lnTo>
                        <a:pt x="2133" y="3733"/>
                      </a:lnTo>
                      <a:lnTo>
                        <a:pt x="2134" y="3741"/>
                      </a:lnTo>
                      <a:lnTo>
                        <a:pt x="2134" y="3750"/>
                      </a:lnTo>
                      <a:lnTo>
                        <a:pt x="2133" y="3757"/>
                      </a:lnTo>
                      <a:lnTo>
                        <a:pt x="2132" y="3761"/>
                      </a:lnTo>
                      <a:lnTo>
                        <a:pt x="2130" y="3763"/>
                      </a:lnTo>
                      <a:lnTo>
                        <a:pt x="2128" y="3764"/>
                      </a:lnTo>
                      <a:lnTo>
                        <a:pt x="2127" y="3766"/>
                      </a:lnTo>
                      <a:lnTo>
                        <a:pt x="2125" y="3764"/>
                      </a:lnTo>
                      <a:lnTo>
                        <a:pt x="2121" y="3763"/>
                      </a:lnTo>
                      <a:lnTo>
                        <a:pt x="2119" y="3760"/>
                      </a:lnTo>
                      <a:lnTo>
                        <a:pt x="2115" y="3755"/>
                      </a:lnTo>
                      <a:lnTo>
                        <a:pt x="2110" y="3749"/>
                      </a:lnTo>
                      <a:lnTo>
                        <a:pt x="2107" y="3748"/>
                      </a:lnTo>
                      <a:lnTo>
                        <a:pt x="2105" y="3749"/>
                      </a:lnTo>
                      <a:lnTo>
                        <a:pt x="2105" y="3754"/>
                      </a:lnTo>
                      <a:lnTo>
                        <a:pt x="2105" y="3768"/>
                      </a:lnTo>
                      <a:lnTo>
                        <a:pt x="2105" y="3782"/>
                      </a:lnTo>
                      <a:lnTo>
                        <a:pt x="2105" y="3796"/>
                      </a:lnTo>
                      <a:lnTo>
                        <a:pt x="2106" y="3810"/>
                      </a:lnTo>
                      <a:lnTo>
                        <a:pt x="2107" y="3824"/>
                      </a:lnTo>
                      <a:lnTo>
                        <a:pt x="2108" y="3840"/>
                      </a:lnTo>
                      <a:lnTo>
                        <a:pt x="2107" y="3854"/>
                      </a:lnTo>
                      <a:lnTo>
                        <a:pt x="2105" y="3862"/>
                      </a:lnTo>
                      <a:lnTo>
                        <a:pt x="2105" y="3863"/>
                      </a:lnTo>
                      <a:lnTo>
                        <a:pt x="2103" y="3863"/>
                      </a:lnTo>
                      <a:lnTo>
                        <a:pt x="2102" y="3863"/>
                      </a:lnTo>
                      <a:lnTo>
                        <a:pt x="2102" y="3861"/>
                      </a:lnTo>
                      <a:lnTo>
                        <a:pt x="2100" y="3856"/>
                      </a:lnTo>
                      <a:lnTo>
                        <a:pt x="2096" y="3846"/>
                      </a:lnTo>
                      <a:lnTo>
                        <a:pt x="2093" y="3830"/>
                      </a:lnTo>
                      <a:lnTo>
                        <a:pt x="2086" y="3813"/>
                      </a:lnTo>
                      <a:lnTo>
                        <a:pt x="2080" y="3796"/>
                      </a:lnTo>
                      <a:lnTo>
                        <a:pt x="2073" y="3781"/>
                      </a:lnTo>
                      <a:lnTo>
                        <a:pt x="2065" y="3768"/>
                      </a:lnTo>
                      <a:lnTo>
                        <a:pt x="2049" y="3749"/>
                      </a:lnTo>
                      <a:lnTo>
                        <a:pt x="2041" y="3740"/>
                      </a:lnTo>
                      <a:lnTo>
                        <a:pt x="2034" y="3731"/>
                      </a:lnTo>
                      <a:lnTo>
                        <a:pt x="2028" y="3727"/>
                      </a:lnTo>
                      <a:lnTo>
                        <a:pt x="2023" y="3724"/>
                      </a:lnTo>
                      <a:lnTo>
                        <a:pt x="2018" y="3736"/>
                      </a:lnTo>
                      <a:lnTo>
                        <a:pt x="2007" y="3751"/>
                      </a:lnTo>
                      <a:lnTo>
                        <a:pt x="2003" y="3753"/>
                      </a:lnTo>
                      <a:lnTo>
                        <a:pt x="2001" y="3751"/>
                      </a:lnTo>
                      <a:lnTo>
                        <a:pt x="1999" y="3750"/>
                      </a:lnTo>
                      <a:lnTo>
                        <a:pt x="1998" y="3748"/>
                      </a:lnTo>
                      <a:lnTo>
                        <a:pt x="1995" y="3740"/>
                      </a:lnTo>
                      <a:lnTo>
                        <a:pt x="1994" y="3730"/>
                      </a:lnTo>
                      <a:lnTo>
                        <a:pt x="1993" y="3720"/>
                      </a:lnTo>
                      <a:lnTo>
                        <a:pt x="1991" y="3711"/>
                      </a:lnTo>
                      <a:lnTo>
                        <a:pt x="1989" y="3707"/>
                      </a:lnTo>
                      <a:lnTo>
                        <a:pt x="1987" y="3704"/>
                      </a:lnTo>
                      <a:lnTo>
                        <a:pt x="1985" y="3702"/>
                      </a:lnTo>
                      <a:lnTo>
                        <a:pt x="1981" y="3701"/>
                      </a:lnTo>
                      <a:lnTo>
                        <a:pt x="1975" y="3700"/>
                      </a:lnTo>
                      <a:lnTo>
                        <a:pt x="1971" y="3696"/>
                      </a:lnTo>
                      <a:lnTo>
                        <a:pt x="1966" y="3691"/>
                      </a:lnTo>
                      <a:lnTo>
                        <a:pt x="1962" y="3687"/>
                      </a:lnTo>
                      <a:lnTo>
                        <a:pt x="1960" y="3683"/>
                      </a:lnTo>
                      <a:lnTo>
                        <a:pt x="1959" y="3683"/>
                      </a:lnTo>
                      <a:lnTo>
                        <a:pt x="1958" y="3685"/>
                      </a:lnTo>
                      <a:lnTo>
                        <a:pt x="1959" y="3692"/>
                      </a:lnTo>
                      <a:lnTo>
                        <a:pt x="1959" y="3696"/>
                      </a:lnTo>
                      <a:lnTo>
                        <a:pt x="1958" y="3698"/>
                      </a:lnTo>
                      <a:lnTo>
                        <a:pt x="1956" y="3702"/>
                      </a:lnTo>
                      <a:lnTo>
                        <a:pt x="1953" y="3705"/>
                      </a:lnTo>
                      <a:lnTo>
                        <a:pt x="1947" y="3712"/>
                      </a:lnTo>
                      <a:lnTo>
                        <a:pt x="1941" y="3720"/>
                      </a:lnTo>
                      <a:lnTo>
                        <a:pt x="1936" y="3724"/>
                      </a:lnTo>
                      <a:lnTo>
                        <a:pt x="1935" y="3729"/>
                      </a:lnTo>
                      <a:lnTo>
                        <a:pt x="1935" y="3730"/>
                      </a:lnTo>
                      <a:lnTo>
                        <a:pt x="1938" y="3730"/>
                      </a:lnTo>
                      <a:lnTo>
                        <a:pt x="1941" y="3730"/>
                      </a:lnTo>
                      <a:lnTo>
                        <a:pt x="1947" y="3729"/>
                      </a:lnTo>
                      <a:lnTo>
                        <a:pt x="1956" y="3727"/>
                      </a:lnTo>
                      <a:lnTo>
                        <a:pt x="1964" y="3727"/>
                      </a:lnTo>
                      <a:lnTo>
                        <a:pt x="1969" y="3727"/>
                      </a:lnTo>
                      <a:lnTo>
                        <a:pt x="1974" y="3728"/>
                      </a:lnTo>
                      <a:lnTo>
                        <a:pt x="1976" y="3730"/>
                      </a:lnTo>
                      <a:lnTo>
                        <a:pt x="1979" y="3734"/>
                      </a:lnTo>
                      <a:lnTo>
                        <a:pt x="1979" y="3737"/>
                      </a:lnTo>
                      <a:lnTo>
                        <a:pt x="1979" y="3741"/>
                      </a:lnTo>
                      <a:lnTo>
                        <a:pt x="1971" y="3761"/>
                      </a:lnTo>
                      <a:lnTo>
                        <a:pt x="1961" y="3781"/>
                      </a:lnTo>
                      <a:lnTo>
                        <a:pt x="1959" y="3791"/>
                      </a:lnTo>
                      <a:lnTo>
                        <a:pt x="1956" y="3802"/>
                      </a:lnTo>
                      <a:lnTo>
                        <a:pt x="1956" y="3813"/>
                      </a:lnTo>
                      <a:lnTo>
                        <a:pt x="1958" y="3823"/>
                      </a:lnTo>
                      <a:lnTo>
                        <a:pt x="1961" y="3844"/>
                      </a:lnTo>
                      <a:lnTo>
                        <a:pt x="1965" y="3866"/>
                      </a:lnTo>
                      <a:lnTo>
                        <a:pt x="1967" y="3881"/>
                      </a:lnTo>
                      <a:lnTo>
                        <a:pt x="1969" y="3895"/>
                      </a:lnTo>
                      <a:lnTo>
                        <a:pt x="1969" y="3899"/>
                      </a:lnTo>
                      <a:lnTo>
                        <a:pt x="1969" y="3901"/>
                      </a:lnTo>
                      <a:lnTo>
                        <a:pt x="1968" y="3902"/>
                      </a:lnTo>
                      <a:lnTo>
                        <a:pt x="1967" y="3903"/>
                      </a:lnTo>
                      <a:lnTo>
                        <a:pt x="1965" y="3905"/>
                      </a:lnTo>
                      <a:lnTo>
                        <a:pt x="1961" y="3903"/>
                      </a:lnTo>
                      <a:lnTo>
                        <a:pt x="1958" y="3902"/>
                      </a:lnTo>
                      <a:lnTo>
                        <a:pt x="1953" y="3900"/>
                      </a:lnTo>
                      <a:lnTo>
                        <a:pt x="1932" y="3887"/>
                      </a:lnTo>
                      <a:lnTo>
                        <a:pt x="1912" y="3874"/>
                      </a:lnTo>
                      <a:lnTo>
                        <a:pt x="1902" y="3869"/>
                      </a:lnTo>
                      <a:lnTo>
                        <a:pt x="1891" y="3866"/>
                      </a:lnTo>
                      <a:lnTo>
                        <a:pt x="1886" y="3865"/>
                      </a:lnTo>
                      <a:lnTo>
                        <a:pt x="1880" y="3865"/>
                      </a:lnTo>
                      <a:lnTo>
                        <a:pt x="1873" y="3866"/>
                      </a:lnTo>
                      <a:lnTo>
                        <a:pt x="1867" y="3867"/>
                      </a:lnTo>
                      <a:lnTo>
                        <a:pt x="1847" y="3874"/>
                      </a:lnTo>
                      <a:lnTo>
                        <a:pt x="1827" y="3881"/>
                      </a:lnTo>
                      <a:lnTo>
                        <a:pt x="1817" y="3885"/>
                      </a:lnTo>
                      <a:lnTo>
                        <a:pt x="1806" y="3887"/>
                      </a:lnTo>
                      <a:lnTo>
                        <a:pt x="1795" y="3889"/>
                      </a:lnTo>
                      <a:lnTo>
                        <a:pt x="1785" y="3890"/>
                      </a:lnTo>
                      <a:lnTo>
                        <a:pt x="1793" y="3888"/>
                      </a:lnTo>
                      <a:lnTo>
                        <a:pt x="1800" y="3885"/>
                      </a:lnTo>
                      <a:lnTo>
                        <a:pt x="1808" y="3881"/>
                      </a:lnTo>
                      <a:lnTo>
                        <a:pt x="1815" y="3876"/>
                      </a:lnTo>
                      <a:lnTo>
                        <a:pt x="1824" y="3873"/>
                      </a:lnTo>
                      <a:lnTo>
                        <a:pt x="1831" y="3868"/>
                      </a:lnTo>
                      <a:lnTo>
                        <a:pt x="1839" y="3866"/>
                      </a:lnTo>
                      <a:lnTo>
                        <a:pt x="1848" y="3863"/>
                      </a:lnTo>
                      <a:lnTo>
                        <a:pt x="1861" y="3862"/>
                      </a:lnTo>
                      <a:lnTo>
                        <a:pt x="1875" y="3861"/>
                      </a:lnTo>
                      <a:lnTo>
                        <a:pt x="1889" y="3860"/>
                      </a:lnTo>
                      <a:lnTo>
                        <a:pt x="1901" y="3857"/>
                      </a:lnTo>
                      <a:lnTo>
                        <a:pt x="1902" y="3856"/>
                      </a:lnTo>
                      <a:lnTo>
                        <a:pt x="1904" y="3855"/>
                      </a:lnTo>
                      <a:lnTo>
                        <a:pt x="1904" y="3854"/>
                      </a:lnTo>
                      <a:lnTo>
                        <a:pt x="1902" y="3852"/>
                      </a:lnTo>
                      <a:lnTo>
                        <a:pt x="1899" y="3846"/>
                      </a:lnTo>
                      <a:lnTo>
                        <a:pt x="1894" y="3840"/>
                      </a:lnTo>
                      <a:lnTo>
                        <a:pt x="1882" y="3829"/>
                      </a:lnTo>
                      <a:lnTo>
                        <a:pt x="1875" y="3822"/>
                      </a:lnTo>
                      <a:lnTo>
                        <a:pt x="1871" y="3820"/>
                      </a:lnTo>
                      <a:lnTo>
                        <a:pt x="1866" y="3820"/>
                      </a:lnTo>
                      <a:lnTo>
                        <a:pt x="1861" y="3821"/>
                      </a:lnTo>
                      <a:lnTo>
                        <a:pt x="1857" y="3822"/>
                      </a:lnTo>
                      <a:lnTo>
                        <a:pt x="1848" y="3826"/>
                      </a:lnTo>
                      <a:lnTo>
                        <a:pt x="1839" y="3828"/>
                      </a:lnTo>
                      <a:lnTo>
                        <a:pt x="1821" y="3827"/>
                      </a:lnTo>
                      <a:lnTo>
                        <a:pt x="1805" y="3826"/>
                      </a:lnTo>
                      <a:lnTo>
                        <a:pt x="1799" y="3827"/>
                      </a:lnTo>
                      <a:lnTo>
                        <a:pt x="1792" y="3830"/>
                      </a:lnTo>
                      <a:lnTo>
                        <a:pt x="1790" y="3833"/>
                      </a:lnTo>
                      <a:lnTo>
                        <a:pt x="1786" y="3836"/>
                      </a:lnTo>
                      <a:lnTo>
                        <a:pt x="1784" y="3840"/>
                      </a:lnTo>
                      <a:lnTo>
                        <a:pt x="1781" y="3846"/>
                      </a:lnTo>
                      <a:lnTo>
                        <a:pt x="1775" y="3854"/>
                      </a:lnTo>
                      <a:lnTo>
                        <a:pt x="1768" y="3860"/>
                      </a:lnTo>
                      <a:lnTo>
                        <a:pt x="1766" y="3862"/>
                      </a:lnTo>
                      <a:lnTo>
                        <a:pt x="1765" y="3866"/>
                      </a:lnTo>
                      <a:lnTo>
                        <a:pt x="1766" y="3870"/>
                      </a:lnTo>
                      <a:lnTo>
                        <a:pt x="1771" y="3875"/>
                      </a:lnTo>
                      <a:lnTo>
                        <a:pt x="1777" y="3882"/>
                      </a:lnTo>
                      <a:lnTo>
                        <a:pt x="1780" y="3889"/>
                      </a:lnTo>
                      <a:lnTo>
                        <a:pt x="1781" y="3895"/>
                      </a:lnTo>
                      <a:lnTo>
                        <a:pt x="1781" y="3901"/>
                      </a:lnTo>
                      <a:lnTo>
                        <a:pt x="1779" y="3906"/>
                      </a:lnTo>
                      <a:lnTo>
                        <a:pt x="1775" y="3912"/>
                      </a:lnTo>
                      <a:lnTo>
                        <a:pt x="1771" y="3915"/>
                      </a:lnTo>
                      <a:lnTo>
                        <a:pt x="1766" y="3920"/>
                      </a:lnTo>
                      <a:lnTo>
                        <a:pt x="1754" y="3927"/>
                      </a:lnTo>
                      <a:lnTo>
                        <a:pt x="1743" y="3933"/>
                      </a:lnTo>
                      <a:lnTo>
                        <a:pt x="1733" y="3939"/>
                      </a:lnTo>
                      <a:lnTo>
                        <a:pt x="1728" y="3943"/>
                      </a:lnTo>
                      <a:lnTo>
                        <a:pt x="1718" y="3947"/>
                      </a:lnTo>
                      <a:lnTo>
                        <a:pt x="1710" y="3952"/>
                      </a:lnTo>
                      <a:lnTo>
                        <a:pt x="1703" y="3955"/>
                      </a:lnTo>
                      <a:lnTo>
                        <a:pt x="1698" y="3960"/>
                      </a:lnTo>
                      <a:lnTo>
                        <a:pt x="1694" y="3965"/>
                      </a:lnTo>
                      <a:lnTo>
                        <a:pt x="1692" y="3969"/>
                      </a:lnTo>
                      <a:lnTo>
                        <a:pt x="1691" y="3974"/>
                      </a:lnTo>
                      <a:lnTo>
                        <a:pt x="1690" y="3979"/>
                      </a:lnTo>
                      <a:lnTo>
                        <a:pt x="1694" y="4004"/>
                      </a:lnTo>
                      <a:lnTo>
                        <a:pt x="1699" y="4035"/>
                      </a:lnTo>
                      <a:lnTo>
                        <a:pt x="1699" y="4048"/>
                      </a:lnTo>
                      <a:lnTo>
                        <a:pt x="1698" y="4063"/>
                      </a:lnTo>
                      <a:lnTo>
                        <a:pt x="1698" y="4068"/>
                      </a:lnTo>
                      <a:lnTo>
                        <a:pt x="1696" y="4070"/>
                      </a:lnTo>
                      <a:lnTo>
                        <a:pt x="1694" y="4066"/>
                      </a:lnTo>
                      <a:lnTo>
                        <a:pt x="1691" y="4055"/>
                      </a:lnTo>
                      <a:lnTo>
                        <a:pt x="1685" y="4033"/>
                      </a:lnTo>
                      <a:lnTo>
                        <a:pt x="1680" y="4015"/>
                      </a:lnTo>
                      <a:lnTo>
                        <a:pt x="1674" y="4000"/>
                      </a:lnTo>
                      <a:lnTo>
                        <a:pt x="1669" y="3988"/>
                      </a:lnTo>
                      <a:lnTo>
                        <a:pt x="1660" y="3976"/>
                      </a:lnTo>
                      <a:lnTo>
                        <a:pt x="1651" y="3966"/>
                      </a:lnTo>
                      <a:lnTo>
                        <a:pt x="1638" y="3954"/>
                      </a:lnTo>
                      <a:lnTo>
                        <a:pt x="1623" y="3940"/>
                      </a:lnTo>
                      <a:lnTo>
                        <a:pt x="1609" y="3929"/>
                      </a:lnTo>
                      <a:lnTo>
                        <a:pt x="1594" y="3920"/>
                      </a:lnTo>
                      <a:lnTo>
                        <a:pt x="1579" y="3914"/>
                      </a:lnTo>
                      <a:lnTo>
                        <a:pt x="1565" y="3908"/>
                      </a:lnTo>
                      <a:lnTo>
                        <a:pt x="1533" y="3900"/>
                      </a:lnTo>
                      <a:lnTo>
                        <a:pt x="1500" y="3893"/>
                      </a:lnTo>
                      <a:lnTo>
                        <a:pt x="1486" y="3892"/>
                      </a:lnTo>
                      <a:lnTo>
                        <a:pt x="1473" y="3890"/>
                      </a:lnTo>
                      <a:lnTo>
                        <a:pt x="1461" y="3888"/>
                      </a:lnTo>
                      <a:lnTo>
                        <a:pt x="1448" y="3886"/>
                      </a:lnTo>
                      <a:lnTo>
                        <a:pt x="1443" y="3885"/>
                      </a:lnTo>
                      <a:lnTo>
                        <a:pt x="1441" y="3882"/>
                      </a:lnTo>
                      <a:lnTo>
                        <a:pt x="1441" y="3881"/>
                      </a:lnTo>
                      <a:lnTo>
                        <a:pt x="1442" y="3879"/>
                      </a:lnTo>
                      <a:lnTo>
                        <a:pt x="1451" y="3876"/>
                      </a:lnTo>
                      <a:lnTo>
                        <a:pt x="1465" y="3873"/>
                      </a:lnTo>
                      <a:lnTo>
                        <a:pt x="1497" y="3868"/>
                      </a:lnTo>
                      <a:lnTo>
                        <a:pt x="1519" y="3866"/>
                      </a:lnTo>
                      <a:lnTo>
                        <a:pt x="1529" y="3863"/>
                      </a:lnTo>
                      <a:lnTo>
                        <a:pt x="1537" y="3862"/>
                      </a:lnTo>
                      <a:lnTo>
                        <a:pt x="1544" y="3862"/>
                      </a:lnTo>
                      <a:lnTo>
                        <a:pt x="1550" y="3862"/>
                      </a:lnTo>
                      <a:lnTo>
                        <a:pt x="1553" y="3863"/>
                      </a:lnTo>
                      <a:lnTo>
                        <a:pt x="1557" y="3866"/>
                      </a:lnTo>
                      <a:lnTo>
                        <a:pt x="1559" y="3868"/>
                      </a:lnTo>
                      <a:lnTo>
                        <a:pt x="1562" y="3870"/>
                      </a:lnTo>
                      <a:lnTo>
                        <a:pt x="1565" y="3876"/>
                      </a:lnTo>
                      <a:lnTo>
                        <a:pt x="1571" y="3883"/>
                      </a:lnTo>
                      <a:lnTo>
                        <a:pt x="1575" y="3886"/>
                      </a:lnTo>
                      <a:lnTo>
                        <a:pt x="1579" y="3889"/>
                      </a:lnTo>
                      <a:lnTo>
                        <a:pt x="1585" y="3892"/>
                      </a:lnTo>
                      <a:lnTo>
                        <a:pt x="1592" y="3894"/>
                      </a:lnTo>
                      <a:lnTo>
                        <a:pt x="1598" y="3895"/>
                      </a:lnTo>
                      <a:lnTo>
                        <a:pt x="1603" y="3895"/>
                      </a:lnTo>
                      <a:lnTo>
                        <a:pt x="1607" y="3894"/>
                      </a:lnTo>
                      <a:lnTo>
                        <a:pt x="1611" y="3894"/>
                      </a:lnTo>
                      <a:lnTo>
                        <a:pt x="1618" y="3890"/>
                      </a:lnTo>
                      <a:lnTo>
                        <a:pt x="1625" y="3887"/>
                      </a:lnTo>
                      <a:lnTo>
                        <a:pt x="1631" y="3885"/>
                      </a:lnTo>
                      <a:lnTo>
                        <a:pt x="1638" y="3883"/>
                      </a:lnTo>
                      <a:lnTo>
                        <a:pt x="1642" y="3885"/>
                      </a:lnTo>
                      <a:lnTo>
                        <a:pt x="1645" y="3887"/>
                      </a:lnTo>
                      <a:lnTo>
                        <a:pt x="1650" y="3890"/>
                      </a:lnTo>
                      <a:lnTo>
                        <a:pt x="1654" y="3895"/>
                      </a:lnTo>
                      <a:lnTo>
                        <a:pt x="1665" y="3906"/>
                      </a:lnTo>
                      <a:lnTo>
                        <a:pt x="1676" y="3918"/>
                      </a:lnTo>
                      <a:lnTo>
                        <a:pt x="1686" y="3929"/>
                      </a:lnTo>
                      <a:lnTo>
                        <a:pt x="1697" y="3938"/>
                      </a:lnTo>
                      <a:lnTo>
                        <a:pt x="1701" y="3940"/>
                      </a:lnTo>
                      <a:lnTo>
                        <a:pt x="1706" y="3940"/>
                      </a:lnTo>
                      <a:lnTo>
                        <a:pt x="1712" y="3940"/>
                      </a:lnTo>
                      <a:lnTo>
                        <a:pt x="1718" y="3938"/>
                      </a:lnTo>
                      <a:lnTo>
                        <a:pt x="1723" y="3935"/>
                      </a:lnTo>
                      <a:lnTo>
                        <a:pt x="1727" y="3931"/>
                      </a:lnTo>
                      <a:lnTo>
                        <a:pt x="1730" y="3927"/>
                      </a:lnTo>
                      <a:lnTo>
                        <a:pt x="1731" y="3922"/>
                      </a:lnTo>
                      <a:lnTo>
                        <a:pt x="1728" y="3914"/>
                      </a:lnTo>
                      <a:lnTo>
                        <a:pt x="1726" y="3907"/>
                      </a:lnTo>
                      <a:lnTo>
                        <a:pt x="1724" y="3900"/>
                      </a:lnTo>
                      <a:lnTo>
                        <a:pt x="1719" y="3893"/>
                      </a:lnTo>
                      <a:lnTo>
                        <a:pt x="1714" y="3886"/>
                      </a:lnTo>
                      <a:lnTo>
                        <a:pt x="1710" y="3880"/>
                      </a:lnTo>
                      <a:lnTo>
                        <a:pt x="1704" y="3874"/>
                      </a:lnTo>
                      <a:lnTo>
                        <a:pt x="1698" y="3868"/>
                      </a:lnTo>
                      <a:lnTo>
                        <a:pt x="1685" y="3859"/>
                      </a:lnTo>
                      <a:lnTo>
                        <a:pt x="1671" y="3849"/>
                      </a:lnTo>
                      <a:lnTo>
                        <a:pt x="1657" y="3842"/>
                      </a:lnTo>
                      <a:lnTo>
                        <a:pt x="1644" y="3836"/>
                      </a:lnTo>
                      <a:lnTo>
                        <a:pt x="1642" y="3835"/>
                      </a:lnTo>
                      <a:lnTo>
                        <a:pt x="1639" y="3833"/>
                      </a:lnTo>
                      <a:lnTo>
                        <a:pt x="1638" y="3829"/>
                      </a:lnTo>
                      <a:lnTo>
                        <a:pt x="1637" y="3826"/>
                      </a:lnTo>
                      <a:lnTo>
                        <a:pt x="1636" y="3816"/>
                      </a:lnTo>
                      <a:lnTo>
                        <a:pt x="1637" y="3807"/>
                      </a:lnTo>
                      <a:lnTo>
                        <a:pt x="1639" y="3786"/>
                      </a:lnTo>
                      <a:lnTo>
                        <a:pt x="1639" y="3768"/>
                      </a:lnTo>
                      <a:lnTo>
                        <a:pt x="1634" y="3742"/>
                      </a:lnTo>
                      <a:lnTo>
                        <a:pt x="1631" y="3712"/>
                      </a:lnTo>
                      <a:lnTo>
                        <a:pt x="1626" y="3681"/>
                      </a:lnTo>
                      <a:lnTo>
                        <a:pt x="1622" y="3650"/>
                      </a:lnTo>
                      <a:lnTo>
                        <a:pt x="1618" y="3633"/>
                      </a:lnTo>
                      <a:lnTo>
                        <a:pt x="1614" y="3618"/>
                      </a:lnTo>
                      <a:lnTo>
                        <a:pt x="1610" y="3604"/>
                      </a:lnTo>
                      <a:lnTo>
                        <a:pt x="1605" y="3590"/>
                      </a:lnTo>
                      <a:lnTo>
                        <a:pt x="1599" y="3576"/>
                      </a:lnTo>
                      <a:lnTo>
                        <a:pt x="1592" y="3564"/>
                      </a:lnTo>
                      <a:lnTo>
                        <a:pt x="1584" y="3552"/>
                      </a:lnTo>
                      <a:lnTo>
                        <a:pt x="1576" y="3543"/>
                      </a:lnTo>
                      <a:lnTo>
                        <a:pt x="1575" y="3553"/>
                      </a:lnTo>
                      <a:lnTo>
                        <a:pt x="1573" y="3562"/>
                      </a:lnTo>
                      <a:lnTo>
                        <a:pt x="1571" y="3567"/>
                      </a:lnTo>
                      <a:lnTo>
                        <a:pt x="1567" y="3570"/>
                      </a:lnTo>
                      <a:lnTo>
                        <a:pt x="1564" y="3570"/>
                      </a:lnTo>
                      <a:lnTo>
                        <a:pt x="1559" y="3569"/>
                      </a:lnTo>
                      <a:lnTo>
                        <a:pt x="1555" y="3566"/>
                      </a:lnTo>
                      <a:lnTo>
                        <a:pt x="1550" y="3563"/>
                      </a:lnTo>
                      <a:lnTo>
                        <a:pt x="1530" y="3542"/>
                      </a:lnTo>
                      <a:lnTo>
                        <a:pt x="1518" y="3527"/>
                      </a:lnTo>
                      <a:lnTo>
                        <a:pt x="1517" y="3526"/>
                      </a:lnTo>
                      <a:lnTo>
                        <a:pt x="1516" y="3527"/>
                      </a:lnTo>
                      <a:lnTo>
                        <a:pt x="1516" y="3529"/>
                      </a:lnTo>
                      <a:lnTo>
                        <a:pt x="1516" y="3532"/>
                      </a:lnTo>
                      <a:lnTo>
                        <a:pt x="1517" y="3538"/>
                      </a:lnTo>
                      <a:lnTo>
                        <a:pt x="1519" y="3547"/>
                      </a:lnTo>
                      <a:lnTo>
                        <a:pt x="1524" y="3564"/>
                      </a:lnTo>
                      <a:lnTo>
                        <a:pt x="1528" y="3575"/>
                      </a:lnTo>
                      <a:lnTo>
                        <a:pt x="1539" y="3605"/>
                      </a:lnTo>
                      <a:lnTo>
                        <a:pt x="1549" y="3635"/>
                      </a:lnTo>
                      <a:lnTo>
                        <a:pt x="1557" y="3663"/>
                      </a:lnTo>
                      <a:lnTo>
                        <a:pt x="1562" y="3690"/>
                      </a:lnTo>
                      <a:lnTo>
                        <a:pt x="1564" y="3704"/>
                      </a:lnTo>
                      <a:lnTo>
                        <a:pt x="1565" y="3718"/>
                      </a:lnTo>
                      <a:lnTo>
                        <a:pt x="1566" y="3733"/>
                      </a:lnTo>
                      <a:lnTo>
                        <a:pt x="1565" y="3747"/>
                      </a:lnTo>
                      <a:lnTo>
                        <a:pt x="1564" y="3762"/>
                      </a:lnTo>
                      <a:lnTo>
                        <a:pt x="1563" y="3777"/>
                      </a:lnTo>
                      <a:lnTo>
                        <a:pt x="1559" y="3794"/>
                      </a:lnTo>
                      <a:lnTo>
                        <a:pt x="1556" y="3810"/>
                      </a:lnTo>
                      <a:lnTo>
                        <a:pt x="1552" y="3821"/>
                      </a:lnTo>
                      <a:lnTo>
                        <a:pt x="1550" y="3829"/>
                      </a:lnTo>
                      <a:lnTo>
                        <a:pt x="1545" y="3835"/>
                      </a:lnTo>
                      <a:lnTo>
                        <a:pt x="1540" y="3839"/>
                      </a:lnTo>
                      <a:lnTo>
                        <a:pt x="1537" y="3840"/>
                      </a:lnTo>
                      <a:lnTo>
                        <a:pt x="1535" y="3840"/>
                      </a:lnTo>
                      <a:lnTo>
                        <a:pt x="1531" y="3840"/>
                      </a:lnTo>
                      <a:lnTo>
                        <a:pt x="1526" y="3839"/>
                      </a:lnTo>
                      <a:lnTo>
                        <a:pt x="1517" y="3835"/>
                      </a:lnTo>
                      <a:lnTo>
                        <a:pt x="1506" y="3830"/>
                      </a:lnTo>
                      <a:lnTo>
                        <a:pt x="1483" y="3819"/>
                      </a:lnTo>
                      <a:lnTo>
                        <a:pt x="1463" y="3808"/>
                      </a:lnTo>
                      <a:lnTo>
                        <a:pt x="1456" y="3801"/>
                      </a:lnTo>
                      <a:lnTo>
                        <a:pt x="1449" y="3794"/>
                      </a:lnTo>
                      <a:lnTo>
                        <a:pt x="1445" y="3788"/>
                      </a:lnTo>
                      <a:lnTo>
                        <a:pt x="1443" y="3783"/>
                      </a:lnTo>
                      <a:lnTo>
                        <a:pt x="1442" y="3776"/>
                      </a:lnTo>
                      <a:lnTo>
                        <a:pt x="1439" y="3769"/>
                      </a:lnTo>
                      <a:lnTo>
                        <a:pt x="1433" y="3740"/>
                      </a:lnTo>
                      <a:lnTo>
                        <a:pt x="1431" y="3730"/>
                      </a:lnTo>
                      <a:lnTo>
                        <a:pt x="1423" y="3733"/>
                      </a:lnTo>
                      <a:lnTo>
                        <a:pt x="1406" y="3735"/>
                      </a:lnTo>
                      <a:lnTo>
                        <a:pt x="1402" y="3735"/>
                      </a:lnTo>
                      <a:lnTo>
                        <a:pt x="1398" y="3734"/>
                      </a:lnTo>
                      <a:lnTo>
                        <a:pt x="1395" y="3731"/>
                      </a:lnTo>
                      <a:lnTo>
                        <a:pt x="1391" y="3728"/>
                      </a:lnTo>
                      <a:lnTo>
                        <a:pt x="1385" y="3721"/>
                      </a:lnTo>
                      <a:lnTo>
                        <a:pt x="1379" y="3711"/>
                      </a:lnTo>
                      <a:lnTo>
                        <a:pt x="1371" y="3691"/>
                      </a:lnTo>
                      <a:lnTo>
                        <a:pt x="1366" y="3675"/>
                      </a:lnTo>
                      <a:lnTo>
                        <a:pt x="1364" y="3668"/>
                      </a:lnTo>
                      <a:lnTo>
                        <a:pt x="1361" y="3663"/>
                      </a:lnTo>
                      <a:lnTo>
                        <a:pt x="1357" y="3659"/>
                      </a:lnTo>
                      <a:lnTo>
                        <a:pt x="1352" y="3656"/>
                      </a:lnTo>
                      <a:lnTo>
                        <a:pt x="1342" y="3654"/>
                      </a:lnTo>
                      <a:lnTo>
                        <a:pt x="1329" y="3651"/>
                      </a:lnTo>
                      <a:lnTo>
                        <a:pt x="1315" y="3645"/>
                      </a:lnTo>
                      <a:lnTo>
                        <a:pt x="1296" y="3637"/>
                      </a:lnTo>
                      <a:lnTo>
                        <a:pt x="1287" y="3632"/>
                      </a:lnTo>
                      <a:lnTo>
                        <a:pt x="1280" y="3629"/>
                      </a:lnTo>
                      <a:lnTo>
                        <a:pt x="1274" y="3628"/>
                      </a:lnTo>
                      <a:lnTo>
                        <a:pt x="1272" y="3629"/>
                      </a:lnTo>
                      <a:lnTo>
                        <a:pt x="1280" y="3646"/>
                      </a:lnTo>
                      <a:lnTo>
                        <a:pt x="1288" y="3664"/>
                      </a:lnTo>
                      <a:lnTo>
                        <a:pt x="1297" y="3682"/>
                      </a:lnTo>
                      <a:lnTo>
                        <a:pt x="1309" y="3698"/>
                      </a:lnTo>
                      <a:lnTo>
                        <a:pt x="1321" y="3715"/>
                      </a:lnTo>
                      <a:lnTo>
                        <a:pt x="1335" y="3729"/>
                      </a:lnTo>
                      <a:lnTo>
                        <a:pt x="1343" y="3735"/>
                      </a:lnTo>
                      <a:lnTo>
                        <a:pt x="1350" y="3741"/>
                      </a:lnTo>
                      <a:lnTo>
                        <a:pt x="1358" y="3745"/>
                      </a:lnTo>
                      <a:lnTo>
                        <a:pt x="1366" y="3750"/>
                      </a:lnTo>
                      <a:lnTo>
                        <a:pt x="1375" y="3754"/>
                      </a:lnTo>
                      <a:lnTo>
                        <a:pt x="1381" y="3758"/>
                      </a:lnTo>
                      <a:lnTo>
                        <a:pt x="1386" y="3763"/>
                      </a:lnTo>
                      <a:lnTo>
                        <a:pt x="1391" y="3768"/>
                      </a:lnTo>
                      <a:lnTo>
                        <a:pt x="1395" y="3774"/>
                      </a:lnTo>
                      <a:lnTo>
                        <a:pt x="1398" y="3780"/>
                      </a:lnTo>
                      <a:lnTo>
                        <a:pt x="1401" y="3786"/>
                      </a:lnTo>
                      <a:lnTo>
                        <a:pt x="1402" y="3791"/>
                      </a:lnTo>
                      <a:lnTo>
                        <a:pt x="1404" y="3803"/>
                      </a:lnTo>
                      <a:lnTo>
                        <a:pt x="1404" y="3817"/>
                      </a:lnTo>
                      <a:lnTo>
                        <a:pt x="1404" y="3830"/>
                      </a:lnTo>
                      <a:lnTo>
                        <a:pt x="1403" y="3844"/>
                      </a:lnTo>
                      <a:lnTo>
                        <a:pt x="1403" y="3859"/>
                      </a:lnTo>
                      <a:lnTo>
                        <a:pt x="1402" y="3869"/>
                      </a:lnTo>
                      <a:lnTo>
                        <a:pt x="1403" y="3876"/>
                      </a:lnTo>
                      <a:lnTo>
                        <a:pt x="1404" y="3882"/>
                      </a:lnTo>
                      <a:lnTo>
                        <a:pt x="1408" y="3887"/>
                      </a:lnTo>
                      <a:lnTo>
                        <a:pt x="1414" y="3892"/>
                      </a:lnTo>
                      <a:lnTo>
                        <a:pt x="1423" y="3896"/>
                      </a:lnTo>
                      <a:lnTo>
                        <a:pt x="1435" y="3902"/>
                      </a:lnTo>
                      <a:lnTo>
                        <a:pt x="1441" y="3906"/>
                      </a:lnTo>
                      <a:lnTo>
                        <a:pt x="1443" y="3908"/>
                      </a:lnTo>
                      <a:lnTo>
                        <a:pt x="1444" y="3912"/>
                      </a:lnTo>
                      <a:lnTo>
                        <a:pt x="1443" y="3914"/>
                      </a:lnTo>
                      <a:lnTo>
                        <a:pt x="1441" y="3915"/>
                      </a:lnTo>
                      <a:lnTo>
                        <a:pt x="1437" y="3918"/>
                      </a:lnTo>
                      <a:lnTo>
                        <a:pt x="1432" y="3919"/>
                      </a:lnTo>
                      <a:lnTo>
                        <a:pt x="1426" y="3920"/>
                      </a:lnTo>
                      <a:lnTo>
                        <a:pt x="1403" y="3923"/>
                      </a:lnTo>
                      <a:lnTo>
                        <a:pt x="1389" y="3925"/>
                      </a:lnTo>
                      <a:lnTo>
                        <a:pt x="1379" y="3926"/>
                      </a:lnTo>
                      <a:lnTo>
                        <a:pt x="1372" y="3927"/>
                      </a:lnTo>
                      <a:lnTo>
                        <a:pt x="1365" y="3929"/>
                      </a:lnTo>
                      <a:lnTo>
                        <a:pt x="1359" y="3932"/>
                      </a:lnTo>
                      <a:lnTo>
                        <a:pt x="1347" y="3939"/>
                      </a:lnTo>
                      <a:lnTo>
                        <a:pt x="1336" y="3946"/>
                      </a:lnTo>
                      <a:lnTo>
                        <a:pt x="1324" y="3952"/>
                      </a:lnTo>
                      <a:lnTo>
                        <a:pt x="1312" y="3959"/>
                      </a:lnTo>
                      <a:lnTo>
                        <a:pt x="1307" y="3961"/>
                      </a:lnTo>
                      <a:lnTo>
                        <a:pt x="1300" y="3962"/>
                      </a:lnTo>
                      <a:lnTo>
                        <a:pt x="1292" y="3964"/>
                      </a:lnTo>
                      <a:lnTo>
                        <a:pt x="1284" y="3965"/>
                      </a:lnTo>
                      <a:lnTo>
                        <a:pt x="1283" y="3965"/>
                      </a:lnTo>
                      <a:lnTo>
                        <a:pt x="1281" y="3965"/>
                      </a:lnTo>
                      <a:lnTo>
                        <a:pt x="1281" y="3965"/>
                      </a:lnTo>
                      <a:lnTo>
                        <a:pt x="1241" y="3423"/>
                      </a:lnTo>
                      <a:lnTo>
                        <a:pt x="1241" y="3407"/>
                      </a:lnTo>
                      <a:lnTo>
                        <a:pt x="1240" y="3388"/>
                      </a:lnTo>
                      <a:lnTo>
                        <a:pt x="1238" y="3379"/>
                      </a:lnTo>
                      <a:lnTo>
                        <a:pt x="1236" y="3371"/>
                      </a:lnTo>
                      <a:lnTo>
                        <a:pt x="1234" y="3364"/>
                      </a:lnTo>
                      <a:lnTo>
                        <a:pt x="1231" y="3359"/>
                      </a:lnTo>
                      <a:lnTo>
                        <a:pt x="1230" y="3351"/>
                      </a:lnTo>
                      <a:lnTo>
                        <a:pt x="1227" y="3340"/>
                      </a:lnTo>
                      <a:lnTo>
                        <a:pt x="1223" y="3328"/>
                      </a:lnTo>
                      <a:lnTo>
                        <a:pt x="1220" y="3321"/>
                      </a:lnTo>
                      <a:lnTo>
                        <a:pt x="1220" y="3319"/>
                      </a:lnTo>
                      <a:lnTo>
                        <a:pt x="1211" y="3307"/>
                      </a:lnTo>
                      <a:lnTo>
                        <a:pt x="1204" y="3293"/>
                      </a:lnTo>
                      <a:lnTo>
                        <a:pt x="1195" y="3281"/>
                      </a:lnTo>
                      <a:lnTo>
                        <a:pt x="1187" y="3268"/>
                      </a:lnTo>
                      <a:lnTo>
                        <a:pt x="1182" y="3260"/>
                      </a:lnTo>
                      <a:lnTo>
                        <a:pt x="1178" y="3250"/>
                      </a:lnTo>
                      <a:lnTo>
                        <a:pt x="1176" y="3242"/>
                      </a:lnTo>
                      <a:lnTo>
                        <a:pt x="1175" y="3233"/>
                      </a:lnTo>
                      <a:lnTo>
                        <a:pt x="1174" y="3223"/>
                      </a:lnTo>
                      <a:lnTo>
                        <a:pt x="1174" y="3214"/>
                      </a:lnTo>
                      <a:lnTo>
                        <a:pt x="1175" y="3203"/>
                      </a:lnTo>
                      <a:lnTo>
                        <a:pt x="1177" y="3194"/>
                      </a:lnTo>
                      <a:lnTo>
                        <a:pt x="1176" y="3187"/>
                      </a:lnTo>
                      <a:lnTo>
                        <a:pt x="1175" y="3179"/>
                      </a:lnTo>
                      <a:lnTo>
                        <a:pt x="1176" y="3168"/>
                      </a:lnTo>
                      <a:lnTo>
                        <a:pt x="1176" y="3158"/>
                      </a:lnTo>
                      <a:lnTo>
                        <a:pt x="1178" y="3148"/>
                      </a:lnTo>
                      <a:lnTo>
                        <a:pt x="1181" y="3140"/>
                      </a:lnTo>
                      <a:lnTo>
                        <a:pt x="1184" y="3131"/>
                      </a:lnTo>
                      <a:lnTo>
                        <a:pt x="1188" y="3125"/>
                      </a:lnTo>
                      <a:lnTo>
                        <a:pt x="1194" y="3118"/>
                      </a:lnTo>
                      <a:lnTo>
                        <a:pt x="1197" y="3110"/>
                      </a:lnTo>
                      <a:lnTo>
                        <a:pt x="1201" y="3102"/>
                      </a:lnTo>
                      <a:lnTo>
                        <a:pt x="1202" y="3094"/>
                      </a:lnTo>
                      <a:lnTo>
                        <a:pt x="1204" y="3075"/>
                      </a:lnTo>
                      <a:lnTo>
                        <a:pt x="1204" y="3056"/>
                      </a:lnTo>
                      <a:lnTo>
                        <a:pt x="1207" y="3014"/>
                      </a:lnTo>
                      <a:lnTo>
                        <a:pt x="1210" y="2973"/>
                      </a:lnTo>
                      <a:lnTo>
                        <a:pt x="1214" y="2932"/>
                      </a:lnTo>
                      <a:lnTo>
                        <a:pt x="1216" y="2892"/>
                      </a:lnTo>
                      <a:lnTo>
                        <a:pt x="1201" y="2889"/>
                      </a:lnTo>
                      <a:lnTo>
                        <a:pt x="1184" y="2883"/>
                      </a:lnTo>
                      <a:lnTo>
                        <a:pt x="1169" y="2879"/>
                      </a:lnTo>
                      <a:lnTo>
                        <a:pt x="1150" y="2877"/>
                      </a:lnTo>
                      <a:lnTo>
                        <a:pt x="1128" y="2874"/>
                      </a:lnTo>
                      <a:lnTo>
                        <a:pt x="1101" y="2870"/>
                      </a:lnTo>
                      <a:lnTo>
                        <a:pt x="1075" y="2864"/>
                      </a:lnTo>
                      <a:lnTo>
                        <a:pt x="1054" y="2857"/>
                      </a:lnTo>
                      <a:lnTo>
                        <a:pt x="1042" y="2852"/>
                      </a:lnTo>
                      <a:lnTo>
                        <a:pt x="1030" y="2846"/>
                      </a:lnTo>
                      <a:lnTo>
                        <a:pt x="1017" y="2840"/>
                      </a:lnTo>
                      <a:lnTo>
                        <a:pt x="1007" y="2837"/>
                      </a:lnTo>
                      <a:lnTo>
                        <a:pt x="1005" y="2833"/>
                      </a:lnTo>
                      <a:lnTo>
                        <a:pt x="1003" y="2830"/>
                      </a:lnTo>
                      <a:lnTo>
                        <a:pt x="1001" y="2828"/>
                      </a:lnTo>
                      <a:lnTo>
                        <a:pt x="1000" y="2827"/>
                      </a:lnTo>
                      <a:lnTo>
                        <a:pt x="997" y="2826"/>
                      </a:lnTo>
                      <a:lnTo>
                        <a:pt x="995" y="2825"/>
                      </a:lnTo>
                      <a:lnTo>
                        <a:pt x="992" y="2821"/>
                      </a:lnTo>
                      <a:lnTo>
                        <a:pt x="986" y="2819"/>
                      </a:lnTo>
                      <a:lnTo>
                        <a:pt x="980" y="2818"/>
                      </a:lnTo>
                      <a:lnTo>
                        <a:pt x="975" y="2817"/>
                      </a:lnTo>
                      <a:lnTo>
                        <a:pt x="912" y="2793"/>
                      </a:lnTo>
                      <a:lnTo>
                        <a:pt x="912" y="2793"/>
                      </a:lnTo>
                      <a:lnTo>
                        <a:pt x="913" y="2785"/>
                      </a:lnTo>
                      <a:lnTo>
                        <a:pt x="913" y="2777"/>
                      </a:lnTo>
                      <a:lnTo>
                        <a:pt x="915" y="2766"/>
                      </a:lnTo>
                      <a:lnTo>
                        <a:pt x="919" y="2755"/>
                      </a:lnTo>
                      <a:lnTo>
                        <a:pt x="923" y="2745"/>
                      </a:lnTo>
                      <a:lnTo>
                        <a:pt x="929" y="2735"/>
                      </a:lnTo>
                      <a:lnTo>
                        <a:pt x="942" y="2715"/>
                      </a:lnTo>
                      <a:lnTo>
                        <a:pt x="956" y="2698"/>
                      </a:lnTo>
                      <a:lnTo>
                        <a:pt x="989" y="2665"/>
                      </a:lnTo>
                      <a:lnTo>
                        <a:pt x="1019" y="2634"/>
                      </a:lnTo>
                      <a:lnTo>
                        <a:pt x="1026" y="2626"/>
                      </a:lnTo>
                      <a:lnTo>
                        <a:pt x="1034" y="2620"/>
                      </a:lnTo>
                      <a:lnTo>
                        <a:pt x="1043" y="2615"/>
                      </a:lnTo>
                      <a:lnTo>
                        <a:pt x="1052" y="2610"/>
                      </a:lnTo>
                      <a:lnTo>
                        <a:pt x="1061" y="2606"/>
                      </a:lnTo>
                      <a:lnTo>
                        <a:pt x="1069" y="2601"/>
                      </a:lnTo>
                      <a:lnTo>
                        <a:pt x="1077" y="2595"/>
                      </a:lnTo>
                      <a:lnTo>
                        <a:pt x="1084" y="2589"/>
                      </a:lnTo>
                      <a:lnTo>
                        <a:pt x="1086" y="2587"/>
                      </a:lnTo>
                      <a:lnTo>
                        <a:pt x="1087" y="2582"/>
                      </a:lnTo>
                      <a:lnTo>
                        <a:pt x="1088" y="2577"/>
                      </a:lnTo>
                      <a:lnTo>
                        <a:pt x="1089" y="2572"/>
                      </a:lnTo>
                      <a:lnTo>
                        <a:pt x="1089" y="2559"/>
                      </a:lnTo>
                      <a:lnTo>
                        <a:pt x="1089" y="2544"/>
                      </a:lnTo>
                      <a:lnTo>
                        <a:pt x="1090" y="2531"/>
                      </a:lnTo>
                      <a:lnTo>
                        <a:pt x="1091" y="2520"/>
                      </a:lnTo>
                      <a:lnTo>
                        <a:pt x="1093" y="2515"/>
                      </a:lnTo>
                      <a:lnTo>
                        <a:pt x="1094" y="2510"/>
                      </a:lnTo>
                      <a:lnTo>
                        <a:pt x="1096" y="2508"/>
                      </a:lnTo>
                      <a:lnTo>
                        <a:pt x="1099" y="2507"/>
                      </a:lnTo>
                      <a:lnTo>
                        <a:pt x="1104" y="2498"/>
                      </a:lnTo>
                      <a:lnTo>
                        <a:pt x="1110" y="2490"/>
                      </a:lnTo>
                      <a:lnTo>
                        <a:pt x="1120" y="2483"/>
                      </a:lnTo>
                      <a:lnTo>
                        <a:pt x="1135" y="2468"/>
                      </a:lnTo>
                      <a:lnTo>
                        <a:pt x="1150" y="2452"/>
                      </a:lnTo>
                      <a:lnTo>
                        <a:pt x="1160" y="2442"/>
                      </a:lnTo>
                      <a:lnTo>
                        <a:pt x="1238" y="2349"/>
                      </a:lnTo>
                      <a:lnTo>
                        <a:pt x="1243" y="2342"/>
                      </a:lnTo>
                      <a:lnTo>
                        <a:pt x="1247" y="2337"/>
                      </a:lnTo>
                      <a:lnTo>
                        <a:pt x="1250" y="2332"/>
                      </a:lnTo>
                      <a:lnTo>
                        <a:pt x="1252" y="2326"/>
                      </a:lnTo>
                      <a:lnTo>
                        <a:pt x="1254" y="2322"/>
                      </a:lnTo>
                      <a:lnTo>
                        <a:pt x="1254" y="2316"/>
                      </a:lnTo>
                      <a:lnTo>
                        <a:pt x="1251" y="2310"/>
                      </a:lnTo>
                      <a:lnTo>
                        <a:pt x="1249" y="2303"/>
                      </a:lnTo>
                      <a:lnTo>
                        <a:pt x="1245" y="2293"/>
                      </a:lnTo>
                      <a:lnTo>
                        <a:pt x="1243" y="2287"/>
                      </a:lnTo>
                      <a:lnTo>
                        <a:pt x="1242" y="2283"/>
                      </a:lnTo>
                      <a:lnTo>
                        <a:pt x="1242" y="2278"/>
                      </a:lnTo>
                      <a:lnTo>
                        <a:pt x="1243" y="2270"/>
                      </a:lnTo>
                      <a:lnTo>
                        <a:pt x="1244" y="2256"/>
                      </a:lnTo>
                      <a:lnTo>
                        <a:pt x="1256" y="2245"/>
                      </a:lnTo>
                      <a:lnTo>
                        <a:pt x="1267" y="2236"/>
                      </a:lnTo>
                      <a:lnTo>
                        <a:pt x="1278" y="2226"/>
                      </a:lnTo>
                      <a:lnTo>
                        <a:pt x="1290" y="2219"/>
                      </a:lnTo>
                      <a:lnTo>
                        <a:pt x="1301" y="2214"/>
                      </a:lnTo>
                      <a:lnTo>
                        <a:pt x="1310" y="2209"/>
                      </a:lnTo>
                      <a:lnTo>
                        <a:pt x="1317" y="2204"/>
                      </a:lnTo>
                      <a:lnTo>
                        <a:pt x="1323" y="2198"/>
                      </a:lnTo>
                      <a:lnTo>
                        <a:pt x="1328" y="2191"/>
                      </a:lnTo>
                      <a:lnTo>
                        <a:pt x="1330" y="2183"/>
                      </a:lnTo>
                      <a:lnTo>
                        <a:pt x="1330" y="2171"/>
                      </a:lnTo>
                      <a:lnTo>
                        <a:pt x="1329" y="2158"/>
                      </a:lnTo>
                      <a:lnTo>
                        <a:pt x="1328" y="2140"/>
                      </a:lnTo>
                      <a:lnTo>
                        <a:pt x="1328" y="2118"/>
                      </a:lnTo>
                      <a:lnTo>
                        <a:pt x="1329" y="2106"/>
                      </a:lnTo>
                      <a:lnTo>
                        <a:pt x="1330" y="2094"/>
                      </a:lnTo>
                      <a:lnTo>
                        <a:pt x="1331" y="2085"/>
                      </a:lnTo>
                      <a:lnTo>
                        <a:pt x="1334" y="2078"/>
                      </a:lnTo>
                      <a:lnTo>
                        <a:pt x="1328" y="2076"/>
                      </a:lnTo>
                      <a:lnTo>
                        <a:pt x="1323" y="2074"/>
                      </a:lnTo>
                      <a:lnTo>
                        <a:pt x="1318" y="2069"/>
                      </a:lnTo>
                      <a:lnTo>
                        <a:pt x="1315" y="2065"/>
                      </a:lnTo>
                      <a:lnTo>
                        <a:pt x="1311" y="2058"/>
                      </a:lnTo>
                      <a:lnTo>
                        <a:pt x="1309" y="2051"/>
                      </a:lnTo>
                      <a:lnTo>
                        <a:pt x="1307" y="2042"/>
                      </a:lnTo>
                      <a:lnTo>
                        <a:pt x="1304" y="2034"/>
                      </a:lnTo>
                      <a:lnTo>
                        <a:pt x="1301" y="2016"/>
                      </a:lnTo>
                      <a:lnTo>
                        <a:pt x="1298" y="1999"/>
                      </a:lnTo>
                      <a:lnTo>
                        <a:pt x="1297" y="1983"/>
                      </a:lnTo>
                      <a:lnTo>
                        <a:pt x="1297" y="1972"/>
                      </a:lnTo>
                      <a:lnTo>
                        <a:pt x="1297" y="1959"/>
                      </a:lnTo>
                      <a:lnTo>
                        <a:pt x="1300" y="1946"/>
                      </a:lnTo>
                      <a:lnTo>
                        <a:pt x="1302" y="1933"/>
                      </a:lnTo>
                      <a:lnTo>
                        <a:pt x="1307" y="1921"/>
                      </a:lnTo>
                      <a:lnTo>
                        <a:pt x="1311" y="1909"/>
                      </a:lnTo>
                      <a:lnTo>
                        <a:pt x="1317" y="1899"/>
                      </a:lnTo>
                      <a:lnTo>
                        <a:pt x="1323" y="1888"/>
                      </a:lnTo>
                      <a:lnTo>
                        <a:pt x="1331" y="1877"/>
                      </a:lnTo>
                      <a:lnTo>
                        <a:pt x="1335" y="1869"/>
                      </a:lnTo>
                      <a:lnTo>
                        <a:pt x="1337" y="1862"/>
                      </a:lnTo>
                      <a:lnTo>
                        <a:pt x="1337" y="1854"/>
                      </a:lnTo>
                      <a:lnTo>
                        <a:pt x="1336" y="1848"/>
                      </a:lnTo>
                      <a:lnTo>
                        <a:pt x="1335" y="1845"/>
                      </a:lnTo>
                      <a:lnTo>
                        <a:pt x="1334" y="1843"/>
                      </a:lnTo>
                      <a:lnTo>
                        <a:pt x="1332" y="1842"/>
                      </a:lnTo>
                      <a:lnTo>
                        <a:pt x="1330" y="1842"/>
                      </a:lnTo>
                      <a:lnTo>
                        <a:pt x="1329" y="1843"/>
                      </a:lnTo>
                      <a:lnTo>
                        <a:pt x="1327" y="1844"/>
                      </a:lnTo>
                      <a:lnTo>
                        <a:pt x="1324" y="1848"/>
                      </a:lnTo>
                      <a:lnTo>
                        <a:pt x="1322" y="1851"/>
                      </a:lnTo>
                      <a:lnTo>
                        <a:pt x="1316" y="1864"/>
                      </a:lnTo>
                      <a:lnTo>
                        <a:pt x="1309" y="1875"/>
                      </a:lnTo>
                      <a:lnTo>
                        <a:pt x="1300" y="1884"/>
                      </a:lnTo>
                      <a:lnTo>
                        <a:pt x="1290" y="1895"/>
                      </a:lnTo>
                      <a:lnTo>
                        <a:pt x="1288" y="1900"/>
                      </a:lnTo>
                      <a:lnTo>
                        <a:pt x="1284" y="1910"/>
                      </a:lnTo>
                      <a:lnTo>
                        <a:pt x="1282" y="1924"/>
                      </a:lnTo>
                      <a:lnTo>
                        <a:pt x="1280" y="1940"/>
                      </a:lnTo>
                      <a:lnTo>
                        <a:pt x="1276" y="1972"/>
                      </a:lnTo>
                      <a:lnTo>
                        <a:pt x="1272" y="1993"/>
                      </a:lnTo>
                      <a:lnTo>
                        <a:pt x="1271" y="2000"/>
                      </a:lnTo>
                      <a:lnTo>
                        <a:pt x="1270" y="2009"/>
                      </a:lnTo>
                      <a:lnTo>
                        <a:pt x="1268" y="2014"/>
                      </a:lnTo>
                      <a:lnTo>
                        <a:pt x="1267" y="2019"/>
                      </a:lnTo>
                      <a:lnTo>
                        <a:pt x="1264" y="2021"/>
                      </a:lnTo>
                      <a:lnTo>
                        <a:pt x="1262" y="2022"/>
                      </a:lnTo>
                      <a:lnTo>
                        <a:pt x="1247" y="2014"/>
                      </a:lnTo>
                      <a:lnTo>
                        <a:pt x="1231" y="2006"/>
                      </a:lnTo>
                      <a:lnTo>
                        <a:pt x="1233" y="2013"/>
                      </a:lnTo>
                      <a:lnTo>
                        <a:pt x="1233" y="2019"/>
                      </a:lnTo>
                      <a:lnTo>
                        <a:pt x="1235" y="2023"/>
                      </a:lnTo>
                      <a:lnTo>
                        <a:pt x="1236" y="2027"/>
                      </a:lnTo>
                      <a:lnTo>
                        <a:pt x="1242" y="2033"/>
                      </a:lnTo>
                      <a:lnTo>
                        <a:pt x="1248" y="2035"/>
                      </a:lnTo>
                      <a:lnTo>
                        <a:pt x="1255" y="2039"/>
                      </a:lnTo>
                      <a:lnTo>
                        <a:pt x="1261" y="2043"/>
                      </a:lnTo>
                      <a:lnTo>
                        <a:pt x="1264" y="2047"/>
                      </a:lnTo>
                      <a:lnTo>
                        <a:pt x="1267" y="2051"/>
                      </a:lnTo>
                      <a:lnTo>
                        <a:pt x="1269" y="2056"/>
                      </a:lnTo>
                      <a:lnTo>
                        <a:pt x="1271" y="2064"/>
                      </a:lnTo>
                      <a:lnTo>
                        <a:pt x="1276" y="2080"/>
                      </a:lnTo>
                      <a:lnTo>
                        <a:pt x="1283" y="2099"/>
                      </a:lnTo>
                      <a:lnTo>
                        <a:pt x="1285" y="2108"/>
                      </a:lnTo>
                      <a:lnTo>
                        <a:pt x="1288" y="2118"/>
                      </a:lnTo>
                      <a:lnTo>
                        <a:pt x="1288" y="2126"/>
                      </a:lnTo>
                      <a:lnTo>
                        <a:pt x="1287" y="2133"/>
                      </a:lnTo>
                      <a:lnTo>
                        <a:pt x="1284" y="2139"/>
                      </a:lnTo>
                      <a:lnTo>
                        <a:pt x="1281" y="2145"/>
                      </a:lnTo>
                      <a:lnTo>
                        <a:pt x="1276" y="2150"/>
                      </a:lnTo>
                      <a:lnTo>
                        <a:pt x="1271" y="2154"/>
                      </a:lnTo>
                      <a:lnTo>
                        <a:pt x="1267" y="2159"/>
                      </a:lnTo>
                      <a:lnTo>
                        <a:pt x="1262" y="2164"/>
                      </a:lnTo>
                      <a:lnTo>
                        <a:pt x="1258" y="2170"/>
                      </a:lnTo>
                      <a:lnTo>
                        <a:pt x="1255" y="2177"/>
                      </a:lnTo>
                      <a:lnTo>
                        <a:pt x="1252" y="2186"/>
                      </a:lnTo>
                      <a:lnTo>
                        <a:pt x="1248" y="2197"/>
                      </a:lnTo>
                      <a:lnTo>
                        <a:pt x="1244" y="2201"/>
                      </a:lnTo>
                      <a:lnTo>
                        <a:pt x="1241" y="2205"/>
                      </a:lnTo>
                      <a:lnTo>
                        <a:pt x="1237" y="2207"/>
                      </a:lnTo>
                      <a:lnTo>
                        <a:pt x="1233" y="2210"/>
                      </a:lnTo>
                      <a:lnTo>
                        <a:pt x="1224" y="2210"/>
                      </a:lnTo>
                      <a:lnTo>
                        <a:pt x="1218" y="2211"/>
                      </a:lnTo>
                      <a:lnTo>
                        <a:pt x="1215" y="2212"/>
                      </a:lnTo>
                      <a:lnTo>
                        <a:pt x="1214" y="2214"/>
                      </a:lnTo>
                      <a:lnTo>
                        <a:pt x="1214" y="2223"/>
                      </a:lnTo>
                      <a:lnTo>
                        <a:pt x="1215" y="2238"/>
                      </a:lnTo>
                      <a:lnTo>
                        <a:pt x="1215" y="2256"/>
                      </a:lnTo>
                      <a:lnTo>
                        <a:pt x="1215" y="2277"/>
                      </a:lnTo>
                      <a:lnTo>
                        <a:pt x="1214" y="2287"/>
                      </a:lnTo>
                      <a:lnTo>
                        <a:pt x="1211" y="2297"/>
                      </a:lnTo>
                      <a:lnTo>
                        <a:pt x="1210" y="2306"/>
                      </a:lnTo>
                      <a:lnTo>
                        <a:pt x="1207" y="2315"/>
                      </a:lnTo>
                      <a:lnTo>
                        <a:pt x="1197" y="2331"/>
                      </a:lnTo>
                      <a:lnTo>
                        <a:pt x="1187" y="2348"/>
                      </a:lnTo>
                      <a:lnTo>
                        <a:pt x="1176" y="2361"/>
                      </a:lnTo>
                      <a:lnTo>
                        <a:pt x="1164" y="2375"/>
                      </a:lnTo>
                      <a:lnTo>
                        <a:pt x="1153" y="2388"/>
                      </a:lnTo>
                      <a:lnTo>
                        <a:pt x="1142" y="2402"/>
                      </a:lnTo>
                      <a:lnTo>
                        <a:pt x="1137" y="2409"/>
                      </a:lnTo>
                      <a:lnTo>
                        <a:pt x="1134" y="2416"/>
                      </a:lnTo>
                      <a:lnTo>
                        <a:pt x="1129" y="2424"/>
                      </a:lnTo>
                      <a:lnTo>
                        <a:pt x="1127" y="2434"/>
                      </a:lnTo>
                      <a:lnTo>
                        <a:pt x="1121" y="2448"/>
                      </a:lnTo>
                      <a:lnTo>
                        <a:pt x="1113" y="2461"/>
                      </a:lnTo>
                      <a:lnTo>
                        <a:pt x="1103" y="2474"/>
                      </a:lnTo>
                      <a:lnTo>
                        <a:pt x="1093" y="2487"/>
                      </a:lnTo>
                      <a:lnTo>
                        <a:pt x="1069" y="2510"/>
                      </a:lnTo>
                      <a:lnTo>
                        <a:pt x="1047" y="2533"/>
                      </a:lnTo>
                      <a:lnTo>
                        <a:pt x="1034" y="2547"/>
                      </a:lnTo>
                      <a:lnTo>
                        <a:pt x="1017" y="2560"/>
                      </a:lnTo>
                      <a:lnTo>
                        <a:pt x="1009" y="2566"/>
                      </a:lnTo>
                      <a:lnTo>
                        <a:pt x="1000" y="2569"/>
                      </a:lnTo>
                      <a:lnTo>
                        <a:pt x="995" y="2569"/>
                      </a:lnTo>
                      <a:lnTo>
                        <a:pt x="990" y="2569"/>
                      </a:lnTo>
                      <a:lnTo>
                        <a:pt x="986" y="2569"/>
                      </a:lnTo>
                      <a:lnTo>
                        <a:pt x="982" y="2567"/>
                      </a:lnTo>
                      <a:lnTo>
                        <a:pt x="975" y="2564"/>
                      </a:lnTo>
                      <a:lnTo>
                        <a:pt x="968" y="2564"/>
                      </a:lnTo>
                      <a:lnTo>
                        <a:pt x="961" y="2564"/>
                      </a:lnTo>
                      <a:lnTo>
                        <a:pt x="955" y="2567"/>
                      </a:lnTo>
                      <a:lnTo>
                        <a:pt x="942" y="2572"/>
                      </a:lnTo>
                      <a:lnTo>
                        <a:pt x="932" y="2576"/>
                      </a:lnTo>
                      <a:lnTo>
                        <a:pt x="927" y="2579"/>
                      </a:lnTo>
                      <a:lnTo>
                        <a:pt x="923" y="2579"/>
                      </a:lnTo>
                      <a:lnTo>
                        <a:pt x="920" y="2579"/>
                      </a:lnTo>
                      <a:lnTo>
                        <a:pt x="918" y="2576"/>
                      </a:lnTo>
                      <a:lnTo>
                        <a:pt x="916" y="2572"/>
                      </a:lnTo>
                      <a:lnTo>
                        <a:pt x="916" y="2564"/>
                      </a:lnTo>
                      <a:lnTo>
                        <a:pt x="916" y="2555"/>
                      </a:lnTo>
                      <a:lnTo>
                        <a:pt x="918" y="2542"/>
                      </a:lnTo>
                      <a:lnTo>
                        <a:pt x="919" y="2528"/>
                      </a:lnTo>
                      <a:lnTo>
                        <a:pt x="918" y="2510"/>
                      </a:lnTo>
                      <a:lnTo>
                        <a:pt x="918" y="2502"/>
                      </a:lnTo>
                      <a:lnTo>
                        <a:pt x="918" y="2495"/>
                      </a:lnTo>
                      <a:lnTo>
                        <a:pt x="918" y="2488"/>
                      </a:lnTo>
                      <a:lnTo>
                        <a:pt x="920" y="2482"/>
                      </a:lnTo>
                      <a:lnTo>
                        <a:pt x="925" y="2471"/>
                      </a:lnTo>
                      <a:lnTo>
                        <a:pt x="928" y="2464"/>
                      </a:lnTo>
                      <a:lnTo>
                        <a:pt x="930" y="2456"/>
                      </a:lnTo>
                      <a:lnTo>
                        <a:pt x="930" y="2444"/>
                      </a:lnTo>
                      <a:lnTo>
                        <a:pt x="921" y="2464"/>
                      </a:lnTo>
                      <a:lnTo>
                        <a:pt x="909" y="2485"/>
                      </a:lnTo>
                      <a:lnTo>
                        <a:pt x="902" y="2497"/>
                      </a:lnTo>
                      <a:lnTo>
                        <a:pt x="898" y="2508"/>
                      </a:lnTo>
                      <a:lnTo>
                        <a:pt x="893" y="2518"/>
                      </a:lnTo>
                      <a:lnTo>
                        <a:pt x="892" y="2528"/>
                      </a:lnTo>
                      <a:lnTo>
                        <a:pt x="889" y="2536"/>
                      </a:lnTo>
                      <a:lnTo>
                        <a:pt x="886" y="2544"/>
                      </a:lnTo>
                      <a:lnTo>
                        <a:pt x="881" y="2553"/>
                      </a:lnTo>
                      <a:lnTo>
                        <a:pt x="875" y="2561"/>
                      </a:lnTo>
                      <a:lnTo>
                        <a:pt x="869" y="2567"/>
                      </a:lnTo>
                      <a:lnTo>
                        <a:pt x="861" y="2572"/>
                      </a:lnTo>
                      <a:lnTo>
                        <a:pt x="858" y="2573"/>
                      </a:lnTo>
                      <a:lnTo>
                        <a:pt x="854" y="2573"/>
                      </a:lnTo>
                      <a:lnTo>
                        <a:pt x="851" y="2572"/>
                      </a:lnTo>
                      <a:lnTo>
                        <a:pt x="847" y="2569"/>
                      </a:lnTo>
                      <a:lnTo>
                        <a:pt x="829" y="2559"/>
                      </a:lnTo>
                      <a:lnTo>
                        <a:pt x="819" y="2549"/>
                      </a:lnTo>
                      <a:lnTo>
                        <a:pt x="815" y="2546"/>
                      </a:lnTo>
                      <a:lnTo>
                        <a:pt x="812" y="2542"/>
                      </a:lnTo>
                      <a:lnTo>
                        <a:pt x="811" y="2540"/>
                      </a:lnTo>
                      <a:lnTo>
                        <a:pt x="811" y="2536"/>
                      </a:lnTo>
                      <a:lnTo>
                        <a:pt x="811" y="2533"/>
                      </a:lnTo>
                      <a:lnTo>
                        <a:pt x="812" y="2529"/>
                      </a:lnTo>
                      <a:lnTo>
                        <a:pt x="814" y="2526"/>
                      </a:lnTo>
                      <a:lnTo>
                        <a:pt x="816" y="2521"/>
                      </a:lnTo>
                      <a:lnTo>
                        <a:pt x="825" y="2510"/>
                      </a:lnTo>
                      <a:lnTo>
                        <a:pt x="835" y="2495"/>
                      </a:lnTo>
                      <a:lnTo>
                        <a:pt x="838" y="2490"/>
                      </a:lnTo>
                      <a:lnTo>
                        <a:pt x="840" y="2485"/>
                      </a:lnTo>
                      <a:lnTo>
                        <a:pt x="841" y="2483"/>
                      </a:lnTo>
                      <a:lnTo>
                        <a:pt x="841" y="2480"/>
                      </a:lnTo>
                      <a:lnTo>
                        <a:pt x="840" y="2478"/>
                      </a:lnTo>
                      <a:lnTo>
                        <a:pt x="838" y="2477"/>
                      </a:lnTo>
                      <a:lnTo>
                        <a:pt x="835" y="2476"/>
                      </a:lnTo>
                      <a:lnTo>
                        <a:pt x="833" y="2476"/>
                      </a:lnTo>
                      <a:lnTo>
                        <a:pt x="825" y="2475"/>
                      </a:lnTo>
                      <a:lnTo>
                        <a:pt x="816" y="2475"/>
                      </a:lnTo>
                      <a:lnTo>
                        <a:pt x="807" y="2474"/>
                      </a:lnTo>
                      <a:lnTo>
                        <a:pt x="798" y="2470"/>
                      </a:lnTo>
                      <a:lnTo>
                        <a:pt x="796" y="2469"/>
                      </a:lnTo>
                      <a:lnTo>
                        <a:pt x="795" y="2468"/>
                      </a:lnTo>
                      <a:lnTo>
                        <a:pt x="795" y="2467"/>
                      </a:lnTo>
                      <a:lnTo>
                        <a:pt x="795" y="2464"/>
                      </a:lnTo>
                      <a:lnTo>
                        <a:pt x="798" y="2461"/>
                      </a:lnTo>
                      <a:lnTo>
                        <a:pt x="801" y="2457"/>
                      </a:lnTo>
                      <a:lnTo>
                        <a:pt x="805" y="2451"/>
                      </a:lnTo>
                      <a:lnTo>
                        <a:pt x="809" y="2445"/>
                      </a:lnTo>
                      <a:lnTo>
                        <a:pt x="812" y="2440"/>
                      </a:lnTo>
                      <a:lnTo>
                        <a:pt x="813" y="2431"/>
                      </a:lnTo>
                      <a:lnTo>
                        <a:pt x="812" y="2428"/>
                      </a:lnTo>
                      <a:lnTo>
                        <a:pt x="811" y="2425"/>
                      </a:lnTo>
                      <a:lnTo>
                        <a:pt x="807" y="2425"/>
                      </a:lnTo>
                      <a:lnTo>
                        <a:pt x="802" y="2427"/>
                      </a:lnTo>
                      <a:lnTo>
                        <a:pt x="792" y="2430"/>
                      </a:lnTo>
                      <a:lnTo>
                        <a:pt x="779" y="2432"/>
                      </a:lnTo>
                      <a:lnTo>
                        <a:pt x="775" y="2434"/>
                      </a:lnTo>
                      <a:lnTo>
                        <a:pt x="772" y="2437"/>
                      </a:lnTo>
                      <a:lnTo>
                        <a:pt x="769" y="2443"/>
                      </a:lnTo>
                      <a:lnTo>
                        <a:pt x="767" y="2449"/>
                      </a:lnTo>
                      <a:lnTo>
                        <a:pt x="765" y="2467"/>
                      </a:lnTo>
                      <a:lnTo>
                        <a:pt x="765" y="2488"/>
                      </a:lnTo>
                      <a:lnTo>
                        <a:pt x="766" y="2531"/>
                      </a:lnTo>
                      <a:lnTo>
                        <a:pt x="767" y="2562"/>
                      </a:lnTo>
                      <a:lnTo>
                        <a:pt x="767" y="2562"/>
                      </a:lnTo>
                      <a:lnTo>
                        <a:pt x="601" y="2305"/>
                      </a:lnTo>
                      <a:lnTo>
                        <a:pt x="497" y="2240"/>
                      </a:lnTo>
                      <a:lnTo>
                        <a:pt x="497" y="2240"/>
                      </a:lnTo>
                      <a:lnTo>
                        <a:pt x="503" y="2226"/>
                      </a:lnTo>
                      <a:lnTo>
                        <a:pt x="504" y="2217"/>
                      </a:lnTo>
                      <a:lnTo>
                        <a:pt x="499" y="2201"/>
                      </a:lnTo>
                      <a:lnTo>
                        <a:pt x="496" y="2196"/>
                      </a:lnTo>
                      <a:lnTo>
                        <a:pt x="493" y="2200"/>
                      </a:lnTo>
                      <a:lnTo>
                        <a:pt x="487" y="2218"/>
                      </a:lnTo>
                      <a:lnTo>
                        <a:pt x="485" y="2225"/>
                      </a:lnTo>
                      <a:lnTo>
                        <a:pt x="483" y="2231"/>
                      </a:lnTo>
                      <a:lnTo>
                        <a:pt x="483" y="2231"/>
                      </a:lnTo>
                      <a:lnTo>
                        <a:pt x="439" y="2203"/>
                      </a:lnTo>
                      <a:lnTo>
                        <a:pt x="433" y="2197"/>
                      </a:lnTo>
                      <a:lnTo>
                        <a:pt x="425" y="2192"/>
                      </a:lnTo>
                      <a:lnTo>
                        <a:pt x="417" y="2187"/>
                      </a:lnTo>
                      <a:lnTo>
                        <a:pt x="407" y="2183"/>
                      </a:lnTo>
                      <a:lnTo>
                        <a:pt x="398" y="2177"/>
                      </a:lnTo>
                      <a:lnTo>
                        <a:pt x="390" y="2172"/>
                      </a:lnTo>
                      <a:lnTo>
                        <a:pt x="384" y="2167"/>
                      </a:lnTo>
                      <a:lnTo>
                        <a:pt x="378" y="2163"/>
                      </a:lnTo>
                      <a:lnTo>
                        <a:pt x="370" y="2159"/>
                      </a:lnTo>
                      <a:lnTo>
                        <a:pt x="358" y="2152"/>
                      </a:lnTo>
                      <a:lnTo>
                        <a:pt x="346" y="2145"/>
                      </a:lnTo>
                      <a:lnTo>
                        <a:pt x="336" y="2140"/>
                      </a:lnTo>
                      <a:lnTo>
                        <a:pt x="317" y="2133"/>
                      </a:lnTo>
                      <a:lnTo>
                        <a:pt x="293" y="2121"/>
                      </a:lnTo>
                      <a:lnTo>
                        <a:pt x="283" y="2115"/>
                      </a:lnTo>
                      <a:lnTo>
                        <a:pt x="274" y="2108"/>
                      </a:lnTo>
                      <a:lnTo>
                        <a:pt x="269" y="2105"/>
                      </a:lnTo>
                      <a:lnTo>
                        <a:pt x="266" y="2100"/>
                      </a:lnTo>
                      <a:lnTo>
                        <a:pt x="264" y="2097"/>
                      </a:lnTo>
                      <a:lnTo>
                        <a:pt x="262" y="2093"/>
                      </a:lnTo>
                      <a:lnTo>
                        <a:pt x="262" y="2079"/>
                      </a:lnTo>
                      <a:lnTo>
                        <a:pt x="262" y="2061"/>
                      </a:lnTo>
                      <a:lnTo>
                        <a:pt x="263" y="2053"/>
                      </a:lnTo>
                      <a:lnTo>
                        <a:pt x="262" y="2046"/>
                      </a:lnTo>
                      <a:lnTo>
                        <a:pt x="261" y="2039"/>
                      </a:lnTo>
                      <a:lnTo>
                        <a:pt x="257" y="2033"/>
                      </a:lnTo>
                      <a:lnTo>
                        <a:pt x="239" y="2016"/>
                      </a:lnTo>
                      <a:lnTo>
                        <a:pt x="221" y="2000"/>
                      </a:lnTo>
                      <a:lnTo>
                        <a:pt x="212" y="1990"/>
                      </a:lnTo>
                      <a:lnTo>
                        <a:pt x="205" y="1981"/>
                      </a:lnTo>
                      <a:lnTo>
                        <a:pt x="203" y="1976"/>
                      </a:lnTo>
                      <a:lnTo>
                        <a:pt x="201" y="1970"/>
                      </a:lnTo>
                      <a:lnTo>
                        <a:pt x="199" y="1965"/>
                      </a:lnTo>
                      <a:lnTo>
                        <a:pt x="198" y="1957"/>
                      </a:lnTo>
                      <a:lnTo>
                        <a:pt x="198" y="1930"/>
                      </a:lnTo>
                      <a:lnTo>
                        <a:pt x="199" y="1904"/>
                      </a:lnTo>
                      <a:lnTo>
                        <a:pt x="198" y="1893"/>
                      </a:lnTo>
                      <a:lnTo>
                        <a:pt x="196" y="1880"/>
                      </a:lnTo>
                      <a:lnTo>
                        <a:pt x="192" y="1874"/>
                      </a:lnTo>
                      <a:lnTo>
                        <a:pt x="189" y="1868"/>
                      </a:lnTo>
                      <a:lnTo>
                        <a:pt x="184" y="1861"/>
                      </a:lnTo>
                      <a:lnTo>
                        <a:pt x="179" y="1855"/>
                      </a:lnTo>
                      <a:lnTo>
                        <a:pt x="175" y="1841"/>
                      </a:lnTo>
                      <a:lnTo>
                        <a:pt x="170" y="1827"/>
                      </a:lnTo>
                      <a:lnTo>
                        <a:pt x="165" y="1812"/>
                      </a:lnTo>
                      <a:lnTo>
                        <a:pt x="163" y="1797"/>
                      </a:lnTo>
                      <a:lnTo>
                        <a:pt x="163" y="1792"/>
                      </a:lnTo>
                      <a:lnTo>
                        <a:pt x="164" y="1785"/>
                      </a:lnTo>
                      <a:lnTo>
                        <a:pt x="167" y="1778"/>
                      </a:lnTo>
                      <a:lnTo>
                        <a:pt x="169" y="1772"/>
                      </a:lnTo>
                      <a:lnTo>
                        <a:pt x="174" y="1767"/>
                      </a:lnTo>
                      <a:lnTo>
                        <a:pt x="178" y="1763"/>
                      </a:lnTo>
                      <a:lnTo>
                        <a:pt x="181" y="1762"/>
                      </a:lnTo>
                      <a:lnTo>
                        <a:pt x="184" y="1762"/>
                      </a:lnTo>
                      <a:lnTo>
                        <a:pt x="187" y="1763"/>
                      </a:lnTo>
                      <a:lnTo>
                        <a:pt x="190" y="1764"/>
                      </a:lnTo>
                      <a:lnTo>
                        <a:pt x="205" y="1761"/>
                      </a:lnTo>
                      <a:lnTo>
                        <a:pt x="222" y="1758"/>
                      </a:lnTo>
                      <a:lnTo>
                        <a:pt x="225" y="1754"/>
                      </a:lnTo>
                      <a:lnTo>
                        <a:pt x="227" y="1749"/>
                      </a:lnTo>
                      <a:lnTo>
                        <a:pt x="228" y="1744"/>
                      </a:lnTo>
                      <a:lnTo>
                        <a:pt x="227" y="1739"/>
                      </a:lnTo>
                      <a:lnTo>
                        <a:pt x="223" y="1729"/>
                      </a:lnTo>
                      <a:lnTo>
                        <a:pt x="217" y="1717"/>
                      </a:lnTo>
                      <a:lnTo>
                        <a:pt x="210" y="1706"/>
                      </a:lnTo>
                      <a:lnTo>
                        <a:pt x="204" y="1696"/>
                      </a:lnTo>
                      <a:lnTo>
                        <a:pt x="198" y="1685"/>
                      </a:lnTo>
                      <a:lnTo>
                        <a:pt x="196" y="1676"/>
                      </a:lnTo>
                      <a:lnTo>
                        <a:pt x="196" y="1666"/>
                      </a:lnTo>
                      <a:lnTo>
                        <a:pt x="197" y="1657"/>
                      </a:lnTo>
                      <a:lnTo>
                        <a:pt x="198" y="1649"/>
                      </a:lnTo>
                      <a:lnTo>
                        <a:pt x="201" y="1640"/>
                      </a:lnTo>
                      <a:lnTo>
                        <a:pt x="205" y="1624"/>
                      </a:lnTo>
                      <a:lnTo>
                        <a:pt x="211" y="1607"/>
                      </a:lnTo>
                      <a:lnTo>
                        <a:pt x="217" y="1591"/>
                      </a:lnTo>
                      <a:lnTo>
                        <a:pt x="222" y="1573"/>
                      </a:lnTo>
                      <a:lnTo>
                        <a:pt x="224" y="1565"/>
                      </a:lnTo>
                      <a:lnTo>
                        <a:pt x="225" y="1556"/>
                      </a:lnTo>
                      <a:lnTo>
                        <a:pt x="227" y="1547"/>
                      </a:lnTo>
                      <a:lnTo>
                        <a:pt x="227" y="1538"/>
                      </a:lnTo>
                      <a:lnTo>
                        <a:pt x="225" y="1528"/>
                      </a:lnTo>
                      <a:lnTo>
                        <a:pt x="224" y="1519"/>
                      </a:lnTo>
                      <a:lnTo>
                        <a:pt x="222" y="1511"/>
                      </a:lnTo>
                      <a:lnTo>
                        <a:pt x="219" y="1502"/>
                      </a:lnTo>
                      <a:lnTo>
                        <a:pt x="212" y="1486"/>
                      </a:lnTo>
                      <a:lnTo>
                        <a:pt x="205" y="1469"/>
                      </a:lnTo>
                      <a:lnTo>
                        <a:pt x="198" y="1453"/>
                      </a:lnTo>
                      <a:lnTo>
                        <a:pt x="192" y="1435"/>
                      </a:lnTo>
                      <a:lnTo>
                        <a:pt x="190" y="1426"/>
                      </a:lnTo>
                      <a:lnTo>
                        <a:pt x="189" y="1418"/>
                      </a:lnTo>
                      <a:lnTo>
                        <a:pt x="188" y="1407"/>
                      </a:lnTo>
                      <a:lnTo>
                        <a:pt x="187" y="1398"/>
                      </a:lnTo>
                      <a:lnTo>
                        <a:pt x="191" y="1391"/>
                      </a:lnTo>
                      <a:lnTo>
                        <a:pt x="195" y="1382"/>
                      </a:lnTo>
                      <a:lnTo>
                        <a:pt x="197" y="1380"/>
                      </a:lnTo>
                      <a:lnTo>
                        <a:pt x="202" y="1359"/>
                      </a:lnTo>
                      <a:lnTo>
                        <a:pt x="208" y="1343"/>
                      </a:lnTo>
                      <a:lnTo>
                        <a:pt x="209" y="1336"/>
                      </a:lnTo>
                      <a:lnTo>
                        <a:pt x="209" y="1328"/>
                      </a:lnTo>
                      <a:lnTo>
                        <a:pt x="207" y="1320"/>
                      </a:lnTo>
                      <a:lnTo>
                        <a:pt x="201" y="1309"/>
                      </a:lnTo>
                      <a:lnTo>
                        <a:pt x="190" y="1307"/>
                      </a:lnTo>
                      <a:lnTo>
                        <a:pt x="178" y="1306"/>
                      </a:lnTo>
                      <a:lnTo>
                        <a:pt x="174" y="1304"/>
                      </a:lnTo>
                      <a:lnTo>
                        <a:pt x="168" y="1306"/>
                      </a:lnTo>
                      <a:lnTo>
                        <a:pt x="163" y="1307"/>
                      </a:lnTo>
                      <a:lnTo>
                        <a:pt x="160" y="1309"/>
                      </a:lnTo>
                      <a:lnTo>
                        <a:pt x="149" y="1312"/>
                      </a:lnTo>
                      <a:lnTo>
                        <a:pt x="140" y="1316"/>
                      </a:lnTo>
                      <a:lnTo>
                        <a:pt x="131" y="1323"/>
                      </a:lnTo>
                      <a:lnTo>
                        <a:pt x="122" y="1329"/>
                      </a:lnTo>
                      <a:lnTo>
                        <a:pt x="116" y="1334"/>
                      </a:lnTo>
                      <a:lnTo>
                        <a:pt x="109" y="1337"/>
                      </a:lnTo>
                      <a:lnTo>
                        <a:pt x="102" y="1341"/>
                      </a:lnTo>
                      <a:lnTo>
                        <a:pt x="95" y="1343"/>
                      </a:lnTo>
                      <a:lnTo>
                        <a:pt x="88" y="1346"/>
                      </a:lnTo>
                      <a:lnTo>
                        <a:pt x="81" y="1347"/>
                      </a:lnTo>
                      <a:lnTo>
                        <a:pt x="73" y="1348"/>
                      </a:lnTo>
                      <a:lnTo>
                        <a:pt x="64" y="1348"/>
                      </a:lnTo>
                      <a:lnTo>
                        <a:pt x="1" y="1345"/>
                      </a:lnTo>
                      <a:lnTo>
                        <a:pt x="0" y="741"/>
                      </a:lnTo>
                      <a:lnTo>
                        <a:pt x="0" y="741"/>
                      </a:lnTo>
                      <a:lnTo>
                        <a:pt x="122" y="741"/>
                      </a:lnTo>
                      <a:lnTo>
                        <a:pt x="1517" y="0"/>
                      </a:lnTo>
                      <a:lnTo>
                        <a:pt x="1517" y="0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Freeform 12">
                  <a:extLst>
                    <a:ext uri="{FF2B5EF4-FFF2-40B4-BE49-F238E27FC236}">
                      <a16:creationId xmlns:a16="http://schemas.microsoft.com/office/drawing/2014/main" id="{C40339DC-BF50-4B4A-88A4-C9E2D5199C4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813044" y="3730734"/>
                  <a:ext cx="916271" cy="925118"/>
                </a:xfrm>
                <a:custGeom>
                  <a:avLst/>
                  <a:gdLst>
                    <a:gd name="T0" fmla="*/ 3323 w 3738"/>
                    <a:gd name="T1" fmla="*/ 3575 h 3773"/>
                    <a:gd name="T2" fmla="*/ 632 w 3738"/>
                    <a:gd name="T3" fmla="*/ 1969 h 3773"/>
                    <a:gd name="T4" fmla="*/ 1013 w 3738"/>
                    <a:gd name="T5" fmla="*/ 2117 h 3773"/>
                    <a:gd name="T6" fmla="*/ 1074 w 3738"/>
                    <a:gd name="T7" fmla="*/ 2138 h 3773"/>
                    <a:gd name="T8" fmla="*/ 1976 w 3738"/>
                    <a:gd name="T9" fmla="*/ 2329 h 3773"/>
                    <a:gd name="T10" fmla="*/ 1737 w 3738"/>
                    <a:gd name="T11" fmla="*/ 2382 h 3773"/>
                    <a:gd name="T12" fmla="*/ 1932 w 3738"/>
                    <a:gd name="T13" fmla="*/ 2490 h 3773"/>
                    <a:gd name="T14" fmla="*/ 2503 w 3738"/>
                    <a:gd name="T15" fmla="*/ 2200 h 3773"/>
                    <a:gd name="T16" fmla="*/ 2948 w 3738"/>
                    <a:gd name="T17" fmla="*/ 2080 h 3773"/>
                    <a:gd name="T18" fmla="*/ 3367 w 3738"/>
                    <a:gd name="T19" fmla="*/ 1672 h 3773"/>
                    <a:gd name="T20" fmla="*/ 3300 w 3738"/>
                    <a:gd name="T21" fmla="*/ 1277 h 3773"/>
                    <a:gd name="T22" fmla="*/ 3344 w 3738"/>
                    <a:gd name="T23" fmla="*/ 1156 h 3773"/>
                    <a:gd name="T24" fmla="*/ 3257 w 3738"/>
                    <a:gd name="T25" fmla="*/ 1090 h 3773"/>
                    <a:gd name="T26" fmla="*/ 3056 w 3738"/>
                    <a:gd name="T27" fmla="*/ 1024 h 3773"/>
                    <a:gd name="T28" fmla="*/ 3068 w 3738"/>
                    <a:gd name="T29" fmla="*/ 1173 h 3773"/>
                    <a:gd name="T30" fmla="*/ 3007 w 3738"/>
                    <a:gd name="T31" fmla="*/ 918 h 3773"/>
                    <a:gd name="T32" fmla="*/ 2837 w 3738"/>
                    <a:gd name="T33" fmla="*/ 268 h 3773"/>
                    <a:gd name="T34" fmla="*/ 2439 w 3738"/>
                    <a:gd name="T35" fmla="*/ 363 h 3773"/>
                    <a:gd name="T36" fmla="*/ 2408 w 3738"/>
                    <a:gd name="T37" fmla="*/ 412 h 3773"/>
                    <a:gd name="T38" fmla="*/ 2210 w 3738"/>
                    <a:gd name="T39" fmla="*/ 69 h 3773"/>
                    <a:gd name="T40" fmla="*/ 3025 w 3738"/>
                    <a:gd name="T41" fmla="*/ 221 h 3773"/>
                    <a:gd name="T42" fmla="*/ 3489 w 3738"/>
                    <a:gd name="T43" fmla="*/ 971 h 3773"/>
                    <a:gd name="T44" fmla="*/ 3629 w 3738"/>
                    <a:gd name="T45" fmla="*/ 1617 h 3773"/>
                    <a:gd name="T46" fmla="*/ 3626 w 3738"/>
                    <a:gd name="T47" fmla="*/ 1818 h 3773"/>
                    <a:gd name="T48" fmla="*/ 3722 w 3738"/>
                    <a:gd name="T49" fmla="*/ 2640 h 3773"/>
                    <a:gd name="T50" fmla="*/ 3682 w 3738"/>
                    <a:gd name="T51" fmla="*/ 2201 h 3773"/>
                    <a:gd name="T52" fmla="*/ 3652 w 3738"/>
                    <a:gd name="T53" fmla="*/ 2099 h 3773"/>
                    <a:gd name="T54" fmla="*/ 3558 w 3738"/>
                    <a:gd name="T55" fmla="*/ 2068 h 3773"/>
                    <a:gd name="T56" fmla="*/ 3568 w 3738"/>
                    <a:gd name="T57" fmla="*/ 2285 h 3773"/>
                    <a:gd name="T58" fmla="*/ 3549 w 3738"/>
                    <a:gd name="T59" fmla="*/ 2447 h 3773"/>
                    <a:gd name="T60" fmla="*/ 3637 w 3738"/>
                    <a:gd name="T61" fmla="*/ 2641 h 3773"/>
                    <a:gd name="T62" fmla="*/ 3565 w 3738"/>
                    <a:gd name="T63" fmla="*/ 3106 h 3773"/>
                    <a:gd name="T64" fmla="*/ 3635 w 3738"/>
                    <a:gd name="T65" fmla="*/ 2821 h 3773"/>
                    <a:gd name="T66" fmla="*/ 3549 w 3738"/>
                    <a:gd name="T67" fmla="*/ 2786 h 3773"/>
                    <a:gd name="T68" fmla="*/ 3165 w 3738"/>
                    <a:gd name="T69" fmla="*/ 2761 h 3773"/>
                    <a:gd name="T70" fmla="*/ 2437 w 3738"/>
                    <a:gd name="T71" fmla="*/ 2893 h 3773"/>
                    <a:gd name="T72" fmla="*/ 2317 w 3738"/>
                    <a:gd name="T73" fmla="*/ 2959 h 3773"/>
                    <a:gd name="T74" fmla="*/ 2089 w 3738"/>
                    <a:gd name="T75" fmla="*/ 3023 h 3773"/>
                    <a:gd name="T76" fmla="*/ 2045 w 3738"/>
                    <a:gd name="T77" fmla="*/ 2902 h 3773"/>
                    <a:gd name="T78" fmla="*/ 1819 w 3738"/>
                    <a:gd name="T79" fmla="*/ 3029 h 3773"/>
                    <a:gd name="T80" fmla="*/ 1515 w 3738"/>
                    <a:gd name="T81" fmla="*/ 3135 h 3773"/>
                    <a:gd name="T82" fmla="*/ 1398 w 3738"/>
                    <a:gd name="T83" fmla="*/ 3159 h 3773"/>
                    <a:gd name="T84" fmla="*/ 1408 w 3738"/>
                    <a:gd name="T85" fmla="*/ 3024 h 3773"/>
                    <a:gd name="T86" fmla="*/ 1255 w 3738"/>
                    <a:gd name="T87" fmla="*/ 3137 h 3773"/>
                    <a:gd name="T88" fmla="*/ 1115 w 3738"/>
                    <a:gd name="T89" fmla="*/ 3196 h 3773"/>
                    <a:gd name="T90" fmla="*/ 1114 w 3738"/>
                    <a:gd name="T91" fmla="*/ 3302 h 3773"/>
                    <a:gd name="T92" fmla="*/ 1035 w 3738"/>
                    <a:gd name="T93" fmla="*/ 3489 h 3773"/>
                    <a:gd name="T94" fmla="*/ 845 w 3738"/>
                    <a:gd name="T95" fmla="*/ 3412 h 3773"/>
                    <a:gd name="T96" fmla="*/ 765 w 3738"/>
                    <a:gd name="T97" fmla="*/ 3513 h 3773"/>
                    <a:gd name="T98" fmla="*/ 235 w 3738"/>
                    <a:gd name="T99" fmla="*/ 3641 h 3773"/>
                    <a:gd name="T100" fmla="*/ 22 w 3738"/>
                    <a:gd name="T101" fmla="*/ 3710 h 3773"/>
                    <a:gd name="T102" fmla="*/ 130 w 3738"/>
                    <a:gd name="T103" fmla="*/ 3623 h 3773"/>
                    <a:gd name="T104" fmla="*/ 202 w 3738"/>
                    <a:gd name="T105" fmla="*/ 3398 h 3773"/>
                    <a:gd name="T106" fmla="*/ 218 w 3738"/>
                    <a:gd name="T107" fmla="*/ 3200 h 3773"/>
                    <a:gd name="T108" fmla="*/ 215 w 3738"/>
                    <a:gd name="T109" fmla="*/ 2945 h 3773"/>
                    <a:gd name="T110" fmla="*/ 338 w 3738"/>
                    <a:gd name="T111" fmla="*/ 2823 h 3773"/>
                    <a:gd name="T112" fmla="*/ 192 w 3738"/>
                    <a:gd name="T113" fmla="*/ 2757 h 3773"/>
                    <a:gd name="T114" fmla="*/ 325 w 3738"/>
                    <a:gd name="T115" fmla="*/ 2681 h 3773"/>
                    <a:gd name="T116" fmla="*/ 250 w 3738"/>
                    <a:gd name="T117" fmla="*/ 2641 h 3773"/>
                    <a:gd name="T118" fmla="*/ 202 w 3738"/>
                    <a:gd name="T119" fmla="*/ 2599 h 3773"/>
                    <a:gd name="T120" fmla="*/ 344 w 3738"/>
                    <a:gd name="T121" fmla="*/ 2445 h 3773"/>
                    <a:gd name="T122" fmla="*/ 269 w 3738"/>
                    <a:gd name="T123" fmla="*/ 2381 h 3773"/>
                    <a:gd name="T124" fmla="*/ 376 w 3738"/>
                    <a:gd name="T125" fmla="*/ 2172 h 37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8" h="3773">
                      <a:moveTo>
                        <a:pt x="3449" y="3149"/>
                      </a:moveTo>
                      <a:lnTo>
                        <a:pt x="3445" y="3155"/>
                      </a:lnTo>
                      <a:lnTo>
                        <a:pt x="3443" y="3160"/>
                      </a:lnTo>
                      <a:lnTo>
                        <a:pt x="3440" y="3163"/>
                      </a:lnTo>
                      <a:lnTo>
                        <a:pt x="3437" y="3167"/>
                      </a:lnTo>
                      <a:lnTo>
                        <a:pt x="3435" y="3172"/>
                      </a:lnTo>
                      <a:lnTo>
                        <a:pt x="3433" y="3177"/>
                      </a:lnTo>
                      <a:lnTo>
                        <a:pt x="3429" y="3190"/>
                      </a:lnTo>
                      <a:lnTo>
                        <a:pt x="3425" y="3206"/>
                      </a:lnTo>
                      <a:lnTo>
                        <a:pt x="3422" y="3235"/>
                      </a:lnTo>
                      <a:lnTo>
                        <a:pt x="3420" y="3258"/>
                      </a:lnTo>
                      <a:lnTo>
                        <a:pt x="3416" y="3287"/>
                      </a:lnTo>
                      <a:lnTo>
                        <a:pt x="3413" y="3316"/>
                      </a:lnTo>
                      <a:lnTo>
                        <a:pt x="3411" y="3332"/>
                      </a:lnTo>
                      <a:lnTo>
                        <a:pt x="3409" y="3346"/>
                      </a:lnTo>
                      <a:lnTo>
                        <a:pt x="3407" y="3361"/>
                      </a:lnTo>
                      <a:lnTo>
                        <a:pt x="3403" y="3375"/>
                      </a:lnTo>
                      <a:lnTo>
                        <a:pt x="3397" y="3395"/>
                      </a:lnTo>
                      <a:lnTo>
                        <a:pt x="3388" y="3417"/>
                      </a:lnTo>
                      <a:lnTo>
                        <a:pt x="3382" y="3426"/>
                      </a:lnTo>
                      <a:lnTo>
                        <a:pt x="3376" y="3436"/>
                      </a:lnTo>
                      <a:lnTo>
                        <a:pt x="3370" y="3444"/>
                      </a:lnTo>
                      <a:lnTo>
                        <a:pt x="3363" y="3452"/>
                      </a:lnTo>
                      <a:lnTo>
                        <a:pt x="3357" y="3457"/>
                      </a:lnTo>
                      <a:lnTo>
                        <a:pt x="3351" y="3464"/>
                      </a:lnTo>
                      <a:lnTo>
                        <a:pt x="3346" y="3471"/>
                      </a:lnTo>
                      <a:lnTo>
                        <a:pt x="3340" y="3478"/>
                      </a:lnTo>
                      <a:lnTo>
                        <a:pt x="3335" y="3486"/>
                      </a:lnTo>
                      <a:lnTo>
                        <a:pt x="3330" y="3494"/>
                      </a:lnTo>
                      <a:lnTo>
                        <a:pt x="3327" y="3503"/>
                      </a:lnTo>
                      <a:lnTo>
                        <a:pt x="3323" y="3512"/>
                      </a:lnTo>
                      <a:lnTo>
                        <a:pt x="3321" y="3522"/>
                      </a:lnTo>
                      <a:lnTo>
                        <a:pt x="3319" y="3530"/>
                      </a:lnTo>
                      <a:lnTo>
                        <a:pt x="3317" y="3539"/>
                      </a:lnTo>
                      <a:lnTo>
                        <a:pt x="3317" y="3549"/>
                      </a:lnTo>
                      <a:lnTo>
                        <a:pt x="3319" y="3558"/>
                      </a:lnTo>
                      <a:lnTo>
                        <a:pt x="3321" y="3566"/>
                      </a:lnTo>
                      <a:lnTo>
                        <a:pt x="3323" y="3575"/>
                      </a:lnTo>
                      <a:lnTo>
                        <a:pt x="3328" y="3583"/>
                      </a:lnTo>
                      <a:lnTo>
                        <a:pt x="3333" y="3588"/>
                      </a:lnTo>
                      <a:lnTo>
                        <a:pt x="3337" y="3592"/>
                      </a:lnTo>
                      <a:lnTo>
                        <a:pt x="3343" y="3595"/>
                      </a:lnTo>
                      <a:lnTo>
                        <a:pt x="3349" y="3597"/>
                      </a:lnTo>
                      <a:lnTo>
                        <a:pt x="3355" y="3597"/>
                      </a:lnTo>
                      <a:lnTo>
                        <a:pt x="3361" y="3597"/>
                      </a:lnTo>
                      <a:lnTo>
                        <a:pt x="3367" y="3596"/>
                      </a:lnTo>
                      <a:lnTo>
                        <a:pt x="3373" y="3593"/>
                      </a:lnTo>
                      <a:lnTo>
                        <a:pt x="3378" y="3591"/>
                      </a:lnTo>
                      <a:lnTo>
                        <a:pt x="3384" y="3588"/>
                      </a:lnTo>
                      <a:lnTo>
                        <a:pt x="3389" y="3584"/>
                      </a:lnTo>
                      <a:lnTo>
                        <a:pt x="3394" y="3579"/>
                      </a:lnTo>
                      <a:lnTo>
                        <a:pt x="3397" y="3575"/>
                      </a:lnTo>
                      <a:lnTo>
                        <a:pt x="3401" y="3569"/>
                      </a:lnTo>
                      <a:lnTo>
                        <a:pt x="3403" y="3563"/>
                      </a:lnTo>
                      <a:lnTo>
                        <a:pt x="3404" y="3557"/>
                      </a:lnTo>
                      <a:lnTo>
                        <a:pt x="3437" y="3324"/>
                      </a:lnTo>
                      <a:lnTo>
                        <a:pt x="3440" y="3304"/>
                      </a:lnTo>
                      <a:lnTo>
                        <a:pt x="3441" y="3282"/>
                      </a:lnTo>
                      <a:lnTo>
                        <a:pt x="3442" y="3261"/>
                      </a:lnTo>
                      <a:lnTo>
                        <a:pt x="3444" y="3241"/>
                      </a:lnTo>
                      <a:lnTo>
                        <a:pt x="3447" y="3226"/>
                      </a:lnTo>
                      <a:lnTo>
                        <a:pt x="3450" y="3209"/>
                      </a:lnTo>
                      <a:lnTo>
                        <a:pt x="3452" y="3193"/>
                      </a:lnTo>
                      <a:lnTo>
                        <a:pt x="3454" y="3176"/>
                      </a:lnTo>
                      <a:lnTo>
                        <a:pt x="3449" y="3149"/>
                      </a:lnTo>
                      <a:close/>
                      <a:moveTo>
                        <a:pt x="398" y="2107"/>
                      </a:moveTo>
                      <a:lnTo>
                        <a:pt x="539" y="2029"/>
                      </a:lnTo>
                      <a:lnTo>
                        <a:pt x="543" y="2028"/>
                      </a:lnTo>
                      <a:lnTo>
                        <a:pt x="546" y="2026"/>
                      </a:lnTo>
                      <a:lnTo>
                        <a:pt x="559" y="2020"/>
                      </a:lnTo>
                      <a:lnTo>
                        <a:pt x="572" y="2013"/>
                      </a:lnTo>
                      <a:lnTo>
                        <a:pt x="585" y="2006"/>
                      </a:lnTo>
                      <a:lnTo>
                        <a:pt x="597" y="1998"/>
                      </a:lnTo>
                      <a:lnTo>
                        <a:pt x="610" y="1988"/>
                      </a:lnTo>
                      <a:lnTo>
                        <a:pt x="620" y="1979"/>
                      </a:lnTo>
                      <a:lnTo>
                        <a:pt x="632" y="1969"/>
                      </a:lnTo>
                      <a:lnTo>
                        <a:pt x="641" y="1959"/>
                      </a:lnTo>
                      <a:lnTo>
                        <a:pt x="689" y="1909"/>
                      </a:lnTo>
                      <a:lnTo>
                        <a:pt x="755" y="1829"/>
                      </a:lnTo>
                      <a:lnTo>
                        <a:pt x="755" y="1829"/>
                      </a:lnTo>
                      <a:lnTo>
                        <a:pt x="775" y="1861"/>
                      </a:lnTo>
                      <a:lnTo>
                        <a:pt x="798" y="1893"/>
                      </a:lnTo>
                      <a:lnTo>
                        <a:pt x="822" y="1924"/>
                      </a:lnTo>
                      <a:lnTo>
                        <a:pt x="848" y="1954"/>
                      </a:lnTo>
                      <a:lnTo>
                        <a:pt x="860" y="1967"/>
                      </a:lnTo>
                      <a:lnTo>
                        <a:pt x="873" y="1979"/>
                      </a:lnTo>
                      <a:lnTo>
                        <a:pt x="886" y="1990"/>
                      </a:lnTo>
                      <a:lnTo>
                        <a:pt x="897" y="2000"/>
                      </a:lnTo>
                      <a:lnTo>
                        <a:pt x="908" y="2008"/>
                      </a:lnTo>
                      <a:lnTo>
                        <a:pt x="920" y="2015"/>
                      </a:lnTo>
                      <a:lnTo>
                        <a:pt x="929" y="2020"/>
                      </a:lnTo>
                      <a:lnTo>
                        <a:pt x="939" y="2022"/>
                      </a:lnTo>
                      <a:lnTo>
                        <a:pt x="940" y="2023"/>
                      </a:lnTo>
                      <a:lnTo>
                        <a:pt x="942" y="2025"/>
                      </a:lnTo>
                      <a:lnTo>
                        <a:pt x="942" y="2027"/>
                      </a:lnTo>
                      <a:lnTo>
                        <a:pt x="941" y="2029"/>
                      </a:lnTo>
                      <a:lnTo>
                        <a:pt x="940" y="2031"/>
                      </a:lnTo>
                      <a:lnTo>
                        <a:pt x="939" y="2032"/>
                      </a:lnTo>
                      <a:lnTo>
                        <a:pt x="937" y="2033"/>
                      </a:lnTo>
                      <a:lnTo>
                        <a:pt x="937" y="2035"/>
                      </a:lnTo>
                      <a:lnTo>
                        <a:pt x="933" y="2040"/>
                      </a:lnTo>
                      <a:lnTo>
                        <a:pt x="930" y="2046"/>
                      </a:lnTo>
                      <a:lnTo>
                        <a:pt x="929" y="2046"/>
                      </a:lnTo>
                      <a:lnTo>
                        <a:pt x="928" y="2047"/>
                      </a:lnTo>
                      <a:lnTo>
                        <a:pt x="929" y="2047"/>
                      </a:lnTo>
                      <a:lnTo>
                        <a:pt x="929" y="2048"/>
                      </a:lnTo>
                      <a:lnTo>
                        <a:pt x="933" y="2049"/>
                      </a:lnTo>
                      <a:lnTo>
                        <a:pt x="937" y="2051"/>
                      </a:lnTo>
                      <a:lnTo>
                        <a:pt x="947" y="2052"/>
                      </a:lnTo>
                      <a:lnTo>
                        <a:pt x="952" y="2053"/>
                      </a:lnTo>
                      <a:lnTo>
                        <a:pt x="1041" y="2118"/>
                      </a:lnTo>
                      <a:lnTo>
                        <a:pt x="1031" y="2119"/>
                      </a:lnTo>
                      <a:lnTo>
                        <a:pt x="1022" y="2118"/>
                      </a:lnTo>
                      <a:lnTo>
                        <a:pt x="1013" y="2117"/>
                      </a:lnTo>
                      <a:lnTo>
                        <a:pt x="1003" y="2113"/>
                      </a:lnTo>
                      <a:lnTo>
                        <a:pt x="993" y="2111"/>
                      </a:lnTo>
                      <a:lnTo>
                        <a:pt x="983" y="2110"/>
                      </a:lnTo>
                      <a:lnTo>
                        <a:pt x="979" y="2108"/>
                      </a:lnTo>
                      <a:lnTo>
                        <a:pt x="974" y="2110"/>
                      </a:lnTo>
                      <a:lnTo>
                        <a:pt x="969" y="2110"/>
                      </a:lnTo>
                      <a:lnTo>
                        <a:pt x="964" y="2111"/>
                      </a:lnTo>
                      <a:lnTo>
                        <a:pt x="963" y="2113"/>
                      </a:lnTo>
                      <a:lnTo>
                        <a:pt x="962" y="2114"/>
                      </a:lnTo>
                      <a:lnTo>
                        <a:pt x="962" y="2117"/>
                      </a:lnTo>
                      <a:lnTo>
                        <a:pt x="963" y="2120"/>
                      </a:lnTo>
                      <a:lnTo>
                        <a:pt x="968" y="2127"/>
                      </a:lnTo>
                      <a:lnTo>
                        <a:pt x="975" y="2135"/>
                      </a:lnTo>
                      <a:lnTo>
                        <a:pt x="990" y="2151"/>
                      </a:lnTo>
                      <a:lnTo>
                        <a:pt x="1001" y="2160"/>
                      </a:lnTo>
                      <a:lnTo>
                        <a:pt x="1015" y="2168"/>
                      </a:lnTo>
                      <a:lnTo>
                        <a:pt x="1028" y="2176"/>
                      </a:lnTo>
                      <a:lnTo>
                        <a:pt x="1035" y="2178"/>
                      </a:lnTo>
                      <a:lnTo>
                        <a:pt x="1043" y="2179"/>
                      </a:lnTo>
                      <a:lnTo>
                        <a:pt x="1051" y="2180"/>
                      </a:lnTo>
                      <a:lnTo>
                        <a:pt x="1060" y="2180"/>
                      </a:lnTo>
                      <a:lnTo>
                        <a:pt x="1080" y="2181"/>
                      </a:lnTo>
                      <a:lnTo>
                        <a:pt x="1098" y="2180"/>
                      </a:lnTo>
                      <a:lnTo>
                        <a:pt x="1101" y="2180"/>
                      </a:lnTo>
                      <a:lnTo>
                        <a:pt x="1103" y="2179"/>
                      </a:lnTo>
                      <a:lnTo>
                        <a:pt x="1104" y="2178"/>
                      </a:lnTo>
                      <a:lnTo>
                        <a:pt x="1104" y="2176"/>
                      </a:lnTo>
                      <a:lnTo>
                        <a:pt x="1104" y="2173"/>
                      </a:lnTo>
                      <a:lnTo>
                        <a:pt x="1102" y="2170"/>
                      </a:lnTo>
                      <a:lnTo>
                        <a:pt x="1097" y="2166"/>
                      </a:lnTo>
                      <a:lnTo>
                        <a:pt x="1093" y="2161"/>
                      </a:lnTo>
                      <a:lnTo>
                        <a:pt x="1077" y="2156"/>
                      </a:lnTo>
                      <a:lnTo>
                        <a:pt x="1063" y="2147"/>
                      </a:lnTo>
                      <a:lnTo>
                        <a:pt x="1055" y="2138"/>
                      </a:lnTo>
                      <a:lnTo>
                        <a:pt x="1048" y="2130"/>
                      </a:lnTo>
                      <a:lnTo>
                        <a:pt x="1055" y="2131"/>
                      </a:lnTo>
                      <a:lnTo>
                        <a:pt x="1063" y="2133"/>
                      </a:lnTo>
                      <a:lnTo>
                        <a:pt x="1074" y="2138"/>
                      </a:lnTo>
                      <a:lnTo>
                        <a:pt x="1084" y="2143"/>
                      </a:lnTo>
                      <a:lnTo>
                        <a:pt x="1107" y="2153"/>
                      </a:lnTo>
                      <a:lnTo>
                        <a:pt x="1125" y="2160"/>
                      </a:lnTo>
                      <a:lnTo>
                        <a:pt x="1167" y="2174"/>
                      </a:lnTo>
                      <a:lnTo>
                        <a:pt x="1208" y="2191"/>
                      </a:lnTo>
                      <a:lnTo>
                        <a:pt x="1229" y="2199"/>
                      </a:lnTo>
                      <a:lnTo>
                        <a:pt x="1250" y="2207"/>
                      </a:lnTo>
                      <a:lnTo>
                        <a:pt x="1271" y="2214"/>
                      </a:lnTo>
                      <a:lnTo>
                        <a:pt x="1292" y="2220"/>
                      </a:lnTo>
                      <a:lnTo>
                        <a:pt x="1329" y="2230"/>
                      </a:lnTo>
                      <a:lnTo>
                        <a:pt x="1383" y="2246"/>
                      </a:lnTo>
                      <a:lnTo>
                        <a:pt x="1410" y="2255"/>
                      </a:lnTo>
                      <a:lnTo>
                        <a:pt x="1435" y="2264"/>
                      </a:lnTo>
                      <a:lnTo>
                        <a:pt x="1444" y="2269"/>
                      </a:lnTo>
                      <a:lnTo>
                        <a:pt x="1452" y="2273"/>
                      </a:lnTo>
                      <a:lnTo>
                        <a:pt x="1458" y="2278"/>
                      </a:lnTo>
                      <a:lnTo>
                        <a:pt x="1463" y="2282"/>
                      </a:lnTo>
                      <a:lnTo>
                        <a:pt x="1499" y="2286"/>
                      </a:lnTo>
                      <a:lnTo>
                        <a:pt x="1536" y="2293"/>
                      </a:lnTo>
                      <a:lnTo>
                        <a:pt x="1554" y="2297"/>
                      </a:lnTo>
                      <a:lnTo>
                        <a:pt x="1573" y="2299"/>
                      </a:lnTo>
                      <a:lnTo>
                        <a:pt x="1592" y="2302"/>
                      </a:lnTo>
                      <a:lnTo>
                        <a:pt x="1611" y="2303"/>
                      </a:lnTo>
                      <a:lnTo>
                        <a:pt x="1646" y="2303"/>
                      </a:lnTo>
                      <a:lnTo>
                        <a:pt x="1683" y="2302"/>
                      </a:lnTo>
                      <a:lnTo>
                        <a:pt x="1719" y="2300"/>
                      </a:lnTo>
                      <a:lnTo>
                        <a:pt x="1755" y="2298"/>
                      </a:lnTo>
                      <a:lnTo>
                        <a:pt x="1793" y="2298"/>
                      </a:lnTo>
                      <a:lnTo>
                        <a:pt x="1828" y="2299"/>
                      </a:lnTo>
                      <a:lnTo>
                        <a:pt x="1846" y="2300"/>
                      </a:lnTo>
                      <a:lnTo>
                        <a:pt x="1865" y="2303"/>
                      </a:lnTo>
                      <a:lnTo>
                        <a:pt x="1881" y="2305"/>
                      </a:lnTo>
                      <a:lnTo>
                        <a:pt x="1899" y="2309"/>
                      </a:lnTo>
                      <a:lnTo>
                        <a:pt x="1916" y="2312"/>
                      </a:lnTo>
                      <a:lnTo>
                        <a:pt x="1934" y="2316"/>
                      </a:lnTo>
                      <a:lnTo>
                        <a:pt x="1952" y="2319"/>
                      </a:lnTo>
                      <a:lnTo>
                        <a:pt x="1969" y="2324"/>
                      </a:lnTo>
                      <a:lnTo>
                        <a:pt x="1976" y="2329"/>
                      </a:lnTo>
                      <a:lnTo>
                        <a:pt x="1986" y="2335"/>
                      </a:lnTo>
                      <a:lnTo>
                        <a:pt x="1998" y="2344"/>
                      </a:lnTo>
                      <a:lnTo>
                        <a:pt x="2009" y="2355"/>
                      </a:lnTo>
                      <a:lnTo>
                        <a:pt x="2020" y="2366"/>
                      </a:lnTo>
                      <a:lnTo>
                        <a:pt x="2027" y="2377"/>
                      </a:lnTo>
                      <a:lnTo>
                        <a:pt x="2029" y="2382"/>
                      </a:lnTo>
                      <a:lnTo>
                        <a:pt x="2030" y="2387"/>
                      </a:lnTo>
                      <a:lnTo>
                        <a:pt x="2030" y="2391"/>
                      </a:lnTo>
                      <a:lnTo>
                        <a:pt x="2029" y="2395"/>
                      </a:lnTo>
                      <a:lnTo>
                        <a:pt x="2026" y="2398"/>
                      </a:lnTo>
                      <a:lnTo>
                        <a:pt x="2022" y="2399"/>
                      </a:lnTo>
                      <a:lnTo>
                        <a:pt x="2018" y="2399"/>
                      </a:lnTo>
                      <a:lnTo>
                        <a:pt x="2014" y="2398"/>
                      </a:lnTo>
                      <a:lnTo>
                        <a:pt x="2003" y="2392"/>
                      </a:lnTo>
                      <a:lnTo>
                        <a:pt x="1994" y="2384"/>
                      </a:lnTo>
                      <a:lnTo>
                        <a:pt x="1983" y="2376"/>
                      </a:lnTo>
                      <a:lnTo>
                        <a:pt x="1974" y="2370"/>
                      </a:lnTo>
                      <a:lnTo>
                        <a:pt x="1971" y="2368"/>
                      </a:lnTo>
                      <a:lnTo>
                        <a:pt x="1967" y="2366"/>
                      </a:lnTo>
                      <a:lnTo>
                        <a:pt x="1963" y="2368"/>
                      </a:lnTo>
                      <a:lnTo>
                        <a:pt x="1960" y="2370"/>
                      </a:lnTo>
                      <a:lnTo>
                        <a:pt x="1953" y="2378"/>
                      </a:lnTo>
                      <a:lnTo>
                        <a:pt x="1945" y="2383"/>
                      </a:lnTo>
                      <a:lnTo>
                        <a:pt x="1935" y="2388"/>
                      </a:lnTo>
                      <a:lnTo>
                        <a:pt x="1927" y="2389"/>
                      </a:lnTo>
                      <a:lnTo>
                        <a:pt x="1918" y="2390"/>
                      </a:lnTo>
                      <a:lnTo>
                        <a:pt x="1908" y="2389"/>
                      </a:lnTo>
                      <a:lnTo>
                        <a:pt x="1899" y="2387"/>
                      </a:lnTo>
                      <a:lnTo>
                        <a:pt x="1888" y="2384"/>
                      </a:lnTo>
                      <a:lnTo>
                        <a:pt x="1867" y="2378"/>
                      </a:lnTo>
                      <a:lnTo>
                        <a:pt x="1846" y="2371"/>
                      </a:lnTo>
                      <a:lnTo>
                        <a:pt x="1834" y="2369"/>
                      </a:lnTo>
                      <a:lnTo>
                        <a:pt x="1824" y="2368"/>
                      </a:lnTo>
                      <a:lnTo>
                        <a:pt x="1812" y="2366"/>
                      </a:lnTo>
                      <a:lnTo>
                        <a:pt x="1800" y="2368"/>
                      </a:lnTo>
                      <a:lnTo>
                        <a:pt x="1779" y="2371"/>
                      </a:lnTo>
                      <a:lnTo>
                        <a:pt x="1758" y="2377"/>
                      </a:lnTo>
                      <a:lnTo>
                        <a:pt x="1737" y="2382"/>
                      </a:lnTo>
                      <a:lnTo>
                        <a:pt x="1715" y="2384"/>
                      </a:lnTo>
                      <a:lnTo>
                        <a:pt x="1705" y="2384"/>
                      </a:lnTo>
                      <a:lnTo>
                        <a:pt x="1694" y="2383"/>
                      </a:lnTo>
                      <a:lnTo>
                        <a:pt x="1684" y="2381"/>
                      </a:lnTo>
                      <a:lnTo>
                        <a:pt x="1674" y="2378"/>
                      </a:lnTo>
                      <a:lnTo>
                        <a:pt x="1665" y="2375"/>
                      </a:lnTo>
                      <a:lnTo>
                        <a:pt x="1656" y="2372"/>
                      </a:lnTo>
                      <a:lnTo>
                        <a:pt x="1647" y="2371"/>
                      </a:lnTo>
                      <a:lnTo>
                        <a:pt x="1639" y="2370"/>
                      </a:lnTo>
                      <a:lnTo>
                        <a:pt x="1639" y="2376"/>
                      </a:lnTo>
                      <a:lnTo>
                        <a:pt x="1641" y="2383"/>
                      </a:lnTo>
                      <a:lnTo>
                        <a:pt x="1645" y="2390"/>
                      </a:lnTo>
                      <a:lnTo>
                        <a:pt x="1648" y="2397"/>
                      </a:lnTo>
                      <a:lnTo>
                        <a:pt x="1656" y="2412"/>
                      </a:lnTo>
                      <a:lnTo>
                        <a:pt x="1660" y="2425"/>
                      </a:lnTo>
                      <a:lnTo>
                        <a:pt x="1663" y="2454"/>
                      </a:lnTo>
                      <a:lnTo>
                        <a:pt x="1666" y="2478"/>
                      </a:lnTo>
                      <a:lnTo>
                        <a:pt x="1668" y="2483"/>
                      </a:lnTo>
                      <a:lnTo>
                        <a:pt x="1671" y="2488"/>
                      </a:lnTo>
                      <a:lnTo>
                        <a:pt x="1674" y="2491"/>
                      </a:lnTo>
                      <a:lnTo>
                        <a:pt x="1679" y="2495"/>
                      </a:lnTo>
                      <a:lnTo>
                        <a:pt x="1684" y="2498"/>
                      </a:lnTo>
                      <a:lnTo>
                        <a:pt x="1691" y="2500"/>
                      </a:lnTo>
                      <a:lnTo>
                        <a:pt x="1699" y="2501"/>
                      </a:lnTo>
                      <a:lnTo>
                        <a:pt x="1707" y="2502"/>
                      </a:lnTo>
                      <a:lnTo>
                        <a:pt x="1723" y="2501"/>
                      </a:lnTo>
                      <a:lnTo>
                        <a:pt x="1737" y="2498"/>
                      </a:lnTo>
                      <a:lnTo>
                        <a:pt x="1751" y="2496"/>
                      </a:lnTo>
                      <a:lnTo>
                        <a:pt x="1765" y="2493"/>
                      </a:lnTo>
                      <a:lnTo>
                        <a:pt x="1780" y="2490"/>
                      </a:lnTo>
                      <a:lnTo>
                        <a:pt x="1794" y="2487"/>
                      </a:lnTo>
                      <a:lnTo>
                        <a:pt x="1808" y="2486"/>
                      </a:lnTo>
                      <a:lnTo>
                        <a:pt x="1824" y="2484"/>
                      </a:lnTo>
                      <a:lnTo>
                        <a:pt x="1844" y="2486"/>
                      </a:lnTo>
                      <a:lnTo>
                        <a:pt x="1864" y="2488"/>
                      </a:lnTo>
                      <a:lnTo>
                        <a:pt x="1884" y="2490"/>
                      </a:lnTo>
                      <a:lnTo>
                        <a:pt x="1905" y="2491"/>
                      </a:lnTo>
                      <a:lnTo>
                        <a:pt x="1932" y="2490"/>
                      </a:lnTo>
                      <a:lnTo>
                        <a:pt x="1959" y="2487"/>
                      </a:lnTo>
                      <a:lnTo>
                        <a:pt x="1987" y="2483"/>
                      </a:lnTo>
                      <a:lnTo>
                        <a:pt x="2015" y="2481"/>
                      </a:lnTo>
                      <a:lnTo>
                        <a:pt x="2029" y="2480"/>
                      </a:lnTo>
                      <a:lnTo>
                        <a:pt x="2042" y="2477"/>
                      </a:lnTo>
                      <a:lnTo>
                        <a:pt x="2054" y="2473"/>
                      </a:lnTo>
                      <a:lnTo>
                        <a:pt x="2066" y="2468"/>
                      </a:lnTo>
                      <a:lnTo>
                        <a:pt x="2076" y="2463"/>
                      </a:lnTo>
                      <a:lnTo>
                        <a:pt x="2088" y="2460"/>
                      </a:lnTo>
                      <a:lnTo>
                        <a:pt x="2100" y="2456"/>
                      </a:lnTo>
                      <a:lnTo>
                        <a:pt x="2113" y="2455"/>
                      </a:lnTo>
                      <a:lnTo>
                        <a:pt x="2123" y="2450"/>
                      </a:lnTo>
                      <a:lnTo>
                        <a:pt x="2134" y="2443"/>
                      </a:lnTo>
                      <a:lnTo>
                        <a:pt x="2144" y="2436"/>
                      </a:lnTo>
                      <a:lnTo>
                        <a:pt x="2155" y="2427"/>
                      </a:lnTo>
                      <a:lnTo>
                        <a:pt x="2176" y="2407"/>
                      </a:lnTo>
                      <a:lnTo>
                        <a:pt x="2195" y="2383"/>
                      </a:lnTo>
                      <a:lnTo>
                        <a:pt x="2215" y="2359"/>
                      </a:lnTo>
                      <a:lnTo>
                        <a:pt x="2234" y="2336"/>
                      </a:lnTo>
                      <a:lnTo>
                        <a:pt x="2251" y="2315"/>
                      </a:lnTo>
                      <a:lnTo>
                        <a:pt x="2268" y="2296"/>
                      </a:lnTo>
                      <a:lnTo>
                        <a:pt x="2289" y="2278"/>
                      </a:lnTo>
                      <a:lnTo>
                        <a:pt x="2310" y="2262"/>
                      </a:lnTo>
                      <a:lnTo>
                        <a:pt x="2332" y="2246"/>
                      </a:lnTo>
                      <a:lnTo>
                        <a:pt x="2357" y="2233"/>
                      </a:lnTo>
                      <a:lnTo>
                        <a:pt x="2376" y="2223"/>
                      </a:lnTo>
                      <a:lnTo>
                        <a:pt x="2401" y="2210"/>
                      </a:lnTo>
                      <a:lnTo>
                        <a:pt x="2412" y="2204"/>
                      </a:lnTo>
                      <a:lnTo>
                        <a:pt x="2424" y="2198"/>
                      </a:lnTo>
                      <a:lnTo>
                        <a:pt x="2435" y="2194"/>
                      </a:lnTo>
                      <a:lnTo>
                        <a:pt x="2443" y="2193"/>
                      </a:lnTo>
                      <a:lnTo>
                        <a:pt x="2451" y="2200"/>
                      </a:lnTo>
                      <a:lnTo>
                        <a:pt x="2459" y="2205"/>
                      </a:lnTo>
                      <a:lnTo>
                        <a:pt x="2468" y="2207"/>
                      </a:lnTo>
                      <a:lnTo>
                        <a:pt x="2476" y="2209"/>
                      </a:lnTo>
                      <a:lnTo>
                        <a:pt x="2485" y="2207"/>
                      </a:lnTo>
                      <a:lnTo>
                        <a:pt x="2493" y="2204"/>
                      </a:lnTo>
                      <a:lnTo>
                        <a:pt x="2503" y="2200"/>
                      </a:lnTo>
                      <a:lnTo>
                        <a:pt x="2512" y="2194"/>
                      </a:lnTo>
                      <a:lnTo>
                        <a:pt x="2521" y="2190"/>
                      </a:lnTo>
                      <a:lnTo>
                        <a:pt x="2529" y="2185"/>
                      </a:lnTo>
                      <a:lnTo>
                        <a:pt x="2537" y="2181"/>
                      </a:lnTo>
                      <a:lnTo>
                        <a:pt x="2545" y="2179"/>
                      </a:lnTo>
                      <a:lnTo>
                        <a:pt x="2563" y="2176"/>
                      </a:lnTo>
                      <a:lnTo>
                        <a:pt x="2579" y="2172"/>
                      </a:lnTo>
                      <a:lnTo>
                        <a:pt x="2596" y="2170"/>
                      </a:lnTo>
                      <a:lnTo>
                        <a:pt x="2612" y="2166"/>
                      </a:lnTo>
                      <a:lnTo>
                        <a:pt x="2620" y="2163"/>
                      </a:lnTo>
                      <a:lnTo>
                        <a:pt x="2629" y="2159"/>
                      </a:lnTo>
                      <a:lnTo>
                        <a:pt x="2637" y="2156"/>
                      </a:lnTo>
                      <a:lnTo>
                        <a:pt x="2645" y="2150"/>
                      </a:lnTo>
                      <a:lnTo>
                        <a:pt x="2652" y="2145"/>
                      </a:lnTo>
                      <a:lnTo>
                        <a:pt x="2659" y="2141"/>
                      </a:lnTo>
                      <a:lnTo>
                        <a:pt x="2666" y="2139"/>
                      </a:lnTo>
                      <a:lnTo>
                        <a:pt x="2672" y="2138"/>
                      </a:lnTo>
                      <a:lnTo>
                        <a:pt x="2679" y="2138"/>
                      </a:lnTo>
                      <a:lnTo>
                        <a:pt x="2686" y="2139"/>
                      </a:lnTo>
                      <a:lnTo>
                        <a:pt x="2693" y="2141"/>
                      </a:lnTo>
                      <a:lnTo>
                        <a:pt x="2702" y="2144"/>
                      </a:lnTo>
                      <a:lnTo>
                        <a:pt x="2712" y="2147"/>
                      </a:lnTo>
                      <a:lnTo>
                        <a:pt x="2723" y="2150"/>
                      </a:lnTo>
                      <a:lnTo>
                        <a:pt x="2733" y="2151"/>
                      </a:lnTo>
                      <a:lnTo>
                        <a:pt x="2743" y="2152"/>
                      </a:lnTo>
                      <a:lnTo>
                        <a:pt x="2763" y="2151"/>
                      </a:lnTo>
                      <a:lnTo>
                        <a:pt x="2785" y="2150"/>
                      </a:lnTo>
                      <a:lnTo>
                        <a:pt x="2796" y="2144"/>
                      </a:lnTo>
                      <a:lnTo>
                        <a:pt x="2806" y="2139"/>
                      </a:lnTo>
                      <a:lnTo>
                        <a:pt x="2818" y="2135"/>
                      </a:lnTo>
                      <a:lnTo>
                        <a:pt x="2830" y="2132"/>
                      </a:lnTo>
                      <a:lnTo>
                        <a:pt x="2841" y="2128"/>
                      </a:lnTo>
                      <a:lnTo>
                        <a:pt x="2854" y="2125"/>
                      </a:lnTo>
                      <a:lnTo>
                        <a:pt x="2865" y="2120"/>
                      </a:lnTo>
                      <a:lnTo>
                        <a:pt x="2877" y="2115"/>
                      </a:lnTo>
                      <a:lnTo>
                        <a:pt x="2904" y="2100"/>
                      </a:lnTo>
                      <a:lnTo>
                        <a:pt x="2934" y="2087"/>
                      </a:lnTo>
                      <a:lnTo>
                        <a:pt x="2948" y="2080"/>
                      </a:lnTo>
                      <a:lnTo>
                        <a:pt x="2964" y="2075"/>
                      </a:lnTo>
                      <a:lnTo>
                        <a:pt x="2979" y="2071"/>
                      </a:lnTo>
                      <a:lnTo>
                        <a:pt x="2994" y="2066"/>
                      </a:lnTo>
                      <a:lnTo>
                        <a:pt x="3006" y="2064"/>
                      </a:lnTo>
                      <a:lnTo>
                        <a:pt x="3018" y="2064"/>
                      </a:lnTo>
                      <a:lnTo>
                        <a:pt x="3028" y="2065"/>
                      </a:lnTo>
                      <a:lnTo>
                        <a:pt x="3040" y="2066"/>
                      </a:lnTo>
                      <a:lnTo>
                        <a:pt x="3047" y="2066"/>
                      </a:lnTo>
                      <a:lnTo>
                        <a:pt x="3053" y="2066"/>
                      </a:lnTo>
                      <a:lnTo>
                        <a:pt x="3060" y="2064"/>
                      </a:lnTo>
                      <a:lnTo>
                        <a:pt x="3066" y="2061"/>
                      </a:lnTo>
                      <a:lnTo>
                        <a:pt x="3078" y="2055"/>
                      </a:lnTo>
                      <a:lnTo>
                        <a:pt x="3091" y="2053"/>
                      </a:lnTo>
                      <a:lnTo>
                        <a:pt x="3116" y="2034"/>
                      </a:lnTo>
                      <a:lnTo>
                        <a:pt x="3143" y="2018"/>
                      </a:lnTo>
                      <a:lnTo>
                        <a:pt x="3169" y="2002"/>
                      </a:lnTo>
                      <a:lnTo>
                        <a:pt x="3195" y="1988"/>
                      </a:lnTo>
                      <a:lnTo>
                        <a:pt x="3208" y="1981"/>
                      </a:lnTo>
                      <a:lnTo>
                        <a:pt x="3221" y="1973"/>
                      </a:lnTo>
                      <a:lnTo>
                        <a:pt x="3233" y="1965"/>
                      </a:lnTo>
                      <a:lnTo>
                        <a:pt x="3244" y="1955"/>
                      </a:lnTo>
                      <a:lnTo>
                        <a:pt x="3256" y="1945"/>
                      </a:lnTo>
                      <a:lnTo>
                        <a:pt x="3268" y="1934"/>
                      </a:lnTo>
                      <a:lnTo>
                        <a:pt x="3279" y="1921"/>
                      </a:lnTo>
                      <a:lnTo>
                        <a:pt x="3289" y="1907"/>
                      </a:lnTo>
                      <a:lnTo>
                        <a:pt x="3310" y="1884"/>
                      </a:lnTo>
                      <a:lnTo>
                        <a:pt x="3333" y="1862"/>
                      </a:lnTo>
                      <a:lnTo>
                        <a:pt x="3343" y="1850"/>
                      </a:lnTo>
                      <a:lnTo>
                        <a:pt x="3351" y="1837"/>
                      </a:lnTo>
                      <a:lnTo>
                        <a:pt x="3355" y="1830"/>
                      </a:lnTo>
                      <a:lnTo>
                        <a:pt x="3358" y="1824"/>
                      </a:lnTo>
                      <a:lnTo>
                        <a:pt x="3361" y="1816"/>
                      </a:lnTo>
                      <a:lnTo>
                        <a:pt x="3362" y="1809"/>
                      </a:lnTo>
                      <a:lnTo>
                        <a:pt x="3366" y="1777"/>
                      </a:lnTo>
                      <a:lnTo>
                        <a:pt x="3367" y="1742"/>
                      </a:lnTo>
                      <a:lnTo>
                        <a:pt x="3367" y="1708"/>
                      </a:lnTo>
                      <a:lnTo>
                        <a:pt x="3364" y="1677"/>
                      </a:lnTo>
                      <a:lnTo>
                        <a:pt x="3367" y="1672"/>
                      </a:lnTo>
                      <a:lnTo>
                        <a:pt x="3368" y="1666"/>
                      </a:lnTo>
                      <a:lnTo>
                        <a:pt x="3368" y="1659"/>
                      </a:lnTo>
                      <a:lnTo>
                        <a:pt x="3368" y="1651"/>
                      </a:lnTo>
                      <a:lnTo>
                        <a:pt x="3367" y="1632"/>
                      </a:lnTo>
                      <a:lnTo>
                        <a:pt x="3363" y="1612"/>
                      </a:lnTo>
                      <a:lnTo>
                        <a:pt x="3355" y="1573"/>
                      </a:lnTo>
                      <a:lnTo>
                        <a:pt x="3348" y="1544"/>
                      </a:lnTo>
                      <a:lnTo>
                        <a:pt x="3344" y="1524"/>
                      </a:lnTo>
                      <a:lnTo>
                        <a:pt x="3341" y="1500"/>
                      </a:lnTo>
                      <a:lnTo>
                        <a:pt x="3338" y="1474"/>
                      </a:lnTo>
                      <a:lnTo>
                        <a:pt x="3337" y="1446"/>
                      </a:lnTo>
                      <a:lnTo>
                        <a:pt x="3338" y="1419"/>
                      </a:lnTo>
                      <a:lnTo>
                        <a:pt x="3340" y="1392"/>
                      </a:lnTo>
                      <a:lnTo>
                        <a:pt x="3341" y="1380"/>
                      </a:lnTo>
                      <a:lnTo>
                        <a:pt x="3343" y="1369"/>
                      </a:lnTo>
                      <a:lnTo>
                        <a:pt x="3347" y="1359"/>
                      </a:lnTo>
                      <a:lnTo>
                        <a:pt x="3349" y="1350"/>
                      </a:lnTo>
                      <a:lnTo>
                        <a:pt x="3358" y="1332"/>
                      </a:lnTo>
                      <a:lnTo>
                        <a:pt x="3371" y="1306"/>
                      </a:lnTo>
                      <a:lnTo>
                        <a:pt x="3374" y="1299"/>
                      </a:lnTo>
                      <a:lnTo>
                        <a:pt x="3376" y="1294"/>
                      </a:lnTo>
                      <a:lnTo>
                        <a:pt x="3376" y="1289"/>
                      </a:lnTo>
                      <a:lnTo>
                        <a:pt x="3376" y="1284"/>
                      </a:lnTo>
                      <a:lnTo>
                        <a:pt x="3375" y="1282"/>
                      </a:lnTo>
                      <a:lnTo>
                        <a:pt x="3371" y="1282"/>
                      </a:lnTo>
                      <a:lnTo>
                        <a:pt x="3367" y="1282"/>
                      </a:lnTo>
                      <a:lnTo>
                        <a:pt x="3361" y="1286"/>
                      </a:lnTo>
                      <a:lnTo>
                        <a:pt x="3353" y="1289"/>
                      </a:lnTo>
                      <a:lnTo>
                        <a:pt x="3346" y="1292"/>
                      </a:lnTo>
                      <a:lnTo>
                        <a:pt x="3338" y="1293"/>
                      </a:lnTo>
                      <a:lnTo>
                        <a:pt x="3333" y="1294"/>
                      </a:lnTo>
                      <a:lnTo>
                        <a:pt x="3326" y="1294"/>
                      </a:lnTo>
                      <a:lnTo>
                        <a:pt x="3321" y="1293"/>
                      </a:lnTo>
                      <a:lnTo>
                        <a:pt x="3315" y="1290"/>
                      </a:lnTo>
                      <a:lnTo>
                        <a:pt x="3310" y="1288"/>
                      </a:lnTo>
                      <a:lnTo>
                        <a:pt x="3307" y="1284"/>
                      </a:lnTo>
                      <a:lnTo>
                        <a:pt x="3302" y="1281"/>
                      </a:lnTo>
                      <a:lnTo>
                        <a:pt x="3300" y="1277"/>
                      </a:lnTo>
                      <a:lnTo>
                        <a:pt x="3296" y="1273"/>
                      </a:lnTo>
                      <a:lnTo>
                        <a:pt x="3293" y="1264"/>
                      </a:lnTo>
                      <a:lnTo>
                        <a:pt x="3290" y="1255"/>
                      </a:lnTo>
                      <a:lnTo>
                        <a:pt x="3290" y="1250"/>
                      </a:lnTo>
                      <a:lnTo>
                        <a:pt x="3291" y="1247"/>
                      </a:lnTo>
                      <a:lnTo>
                        <a:pt x="3293" y="1242"/>
                      </a:lnTo>
                      <a:lnTo>
                        <a:pt x="3294" y="1239"/>
                      </a:lnTo>
                      <a:lnTo>
                        <a:pt x="3296" y="1236"/>
                      </a:lnTo>
                      <a:lnTo>
                        <a:pt x="3300" y="1233"/>
                      </a:lnTo>
                      <a:lnTo>
                        <a:pt x="3303" y="1231"/>
                      </a:lnTo>
                      <a:lnTo>
                        <a:pt x="3308" y="1230"/>
                      </a:lnTo>
                      <a:lnTo>
                        <a:pt x="3313" y="1229"/>
                      </a:lnTo>
                      <a:lnTo>
                        <a:pt x="3319" y="1229"/>
                      </a:lnTo>
                      <a:lnTo>
                        <a:pt x="3324" y="1231"/>
                      </a:lnTo>
                      <a:lnTo>
                        <a:pt x="3331" y="1234"/>
                      </a:lnTo>
                      <a:lnTo>
                        <a:pt x="3340" y="1237"/>
                      </a:lnTo>
                      <a:lnTo>
                        <a:pt x="3348" y="1241"/>
                      </a:lnTo>
                      <a:lnTo>
                        <a:pt x="3357" y="1247"/>
                      </a:lnTo>
                      <a:lnTo>
                        <a:pt x="3368" y="1255"/>
                      </a:lnTo>
                      <a:lnTo>
                        <a:pt x="3373" y="1259"/>
                      </a:lnTo>
                      <a:lnTo>
                        <a:pt x="3377" y="1260"/>
                      </a:lnTo>
                      <a:lnTo>
                        <a:pt x="3380" y="1260"/>
                      </a:lnTo>
                      <a:lnTo>
                        <a:pt x="3380" y="1257"/>
                      </a:lnTo>
                      <a:lnTo>
                        <a:pt x="3380" y="1250"/>
                      </a:lnTo>
                      <a:lnTo>
                        <a:pt x="3375" y="1239"/>
                      </a:lnTo>
                      <a:lnTo>
                        <a:pt x="3364" y="1214"/>
                      </a:lnTo>
                      <a:lnTo>
                        <a:pt x="3360" y="1198"/>
                      </a:lnTo>
                      <a:lnTo>
                        <a:pt x="3364" y="1190"/>
                      </a:lnTo>
                      <a:lnTo>
                        <a:pt x="3368" y="1183"/>
                      </a:lnTo>
                      <a:lnTo>
                        <a:pt x="3370" y="1177"/>
                      </a:lnTo>
                      <a:lnTo>
                        <a:pt x="3371" y="1173"/>
                      </a:lnTo>
                      <a:lnTo>
                        <a:pt x="3371" y="1169"/>
                      </a:lnTo>
                      <a:lnTo>
                        <a:pt x="3370" y="1165"/>
                      </a:lnTo>
                      <a:lnTo>
                        <a:pt x="3368" y="1164"/>
                      </a:lnTo>
                      <a:lnTo>
                        <a:pt x="3366" y="1162"/>
                      </a:lnTo>
                      <a:lnTo>
                        <a:pt x="3357" y="1160"/>
                      </a:lnTo>
                      <a:lnTo>
                        <a:pt x="3349" y="1157"/>
                      </a:lnTo>
                      <a:lnTo>
                        <a:pt x="3344" y="1156"/>
                      </a:lnTo>
                      <a:lnTo>
                        <a:pt x="3338" y="1154"/>
                      </a:lnTo>
                      <a:lnTo>
                        <a:pt x="3334" y="1151"/>
                      </a:lnTo>
                      <a:lnTo>
                        <a:pt x="3330" y="1147"/>
                      </a:lnTo>
                      <a:lnTo>
                        <a:pt x="3333" y="1161"/>
                      </a:lnTo>
                      <a:lnTo>
                        <a:pt x="3334" y="1173"/>
                      </a:lnTo>
                      <a:lnTo>
                        <a:pt x="3334" y="1180"/>
                      </a:lnTo>
                      <a:lnTo>
                        <a:pt x="3333" y="1185"/>
                      </a:lnTo>
                      <a:lnTo>
                        <a:pt x="3330" y="1189"/>
                      </a:lnTo>
                      <a:lnTo>
                        <a:pt x="3326" y="1190"/>
                      </a:lnTo>
                      <a:lnTo>
                        <a:pt x="3321" y="1190"/>
                      </a:lnTo>
                      <a:lnTo>
                        <a:pt x="3316" y="1188"/>
                      </a:lnTo>
                      <a:lnTo>
                        <a:pt x="3289" y="1171"/>
                      </a:lnTo>
                      <a:lnTo>
                        <a:pt x="3263" y="1155"/>
                      </a:lnTo>
                      <a:lnTo>
                        <a:pt x="3255" y="1145"/>
                      </a:lnTo>
                      <a:lnTo>
                        <a:pt x="3248" y="1137"/>
                      </a:lnTo>
                      <a:lnTo>
                        <a:pt x="3242" y="1129"/>
                      </a:lnTo>
                      <a:lnTo>
                        <a:pt x="3237" y="1119"/>
                      </a:lnTo>
                      <a:lnTo>
                        <a:pt x="3234" y="1110"/>
                      </a:lnTo>
                      <a:lnTo>
                        <a:pt x="3230" y="1101"/>
                      </a:lnTo>
                      <a:lnTo>
                        <a:pt x="3227" y="1091"/>
                      </a:lnTo>
                      <a:lnTo>
                        <a:pt x="3224" y="1081"/>
                      </a:lnTo>
                      <a:lnTo>
                        <a:pt x="3223" y="1070"/>
                      </a:lnTo>
                      <a:lnTo>
                        <a:pt x="3222" y="1062"/>
                      </a:lnTo>
                      <a:lnTo>
                        <a:pt x="3223" y="1055"/>
                      </a:lnTo>
                      <a:lnTo>
                        <a:pt x="3226" y="1051"/>
                      </a:lnTo>
                      <a:lnTo>
                        <a:pt x="3227" y="1050"/>
                      </a:lnTo>
                      <a:lnTo>
                        <a:pt x="3229" y="1050"/>
                      </a:lnTo>
                      <a:lnTo>
                        <a:pt x="3230" y="1051"/>
                      </a:lnTo>
                      <a:lnTo>
                        <a:pt x="3233" y="1053"/>
                      </a:lnTo>
                      <a:lnTo>
                        <a:pt x="3236" y="1059"/>
                      </a:lnTo>
                      <a:lnTo>
                        <a:pt x="3240" y="1071"/>
                      </a:lnTo>
                      <a:lnTo>
                        <a:pt x="3244" y="1083"/>
                      </a:lnTo>
                      <a:lnTo>
                        <a:pt x="3248" y="1090"/>
                      </a:lnTo>
                      <a:lnTo>
                        <a:pt x="3249" y="1092"/>
                      </a:lnTo>
                      <a:lnTo>
                        <a:pt x="3252" y="1094"/>
                      </a:lnTo>
                      <a:lnTo>
                        <a:pt x="3253" y="1094"/>
                      </a:lnTo>
                      <a:lnTo>
                        <a:pt x="3255" y="1094"/>
                      </a:lnTo>
                      <a:lnTo>
                        <a:pt x="3257" y="1090"/>
                      </a:lnTo>
                      <a:lnTo>
                        <a:pt x="3261" y="1085"/>
                      </a:lnTo>
                      <a:lnTo>
                        <a:pt x="3263" y="1077"/>
                      </a:lnTo>
                      <a:lnTo>
                        <a:pt x="3264" y="1069"/>
                      </a:lnTo>
                      <a:lnTo>
                        <a:pt x="3266" y="1059"/>
                      </a:lnTo>
                      <a:lnTo>
                        <a:pt x="3267" y="1050"/>
                      </a:lnTo>
                      <a:lnTo>
                        <a:pt x="3267" y="1040"/>
                      </a:lnTo>
                      <a:lnTo>
                        <a:pt x="3266" y="1032"/>
                      </a:lnTo>
                      <a:lnTo>
                        <a:pt x="3264" y="1025"/>
                      </a:lnTo>
                      <a:lnTo>
                        <a:pt x="3262" y="1019"/>
                      </a:lnTo>
                      <a:lnTo>
                        <a:pt x="3261" y="1017"/>
                      </a:lnTo>
                      <a:lnTo>
                        <a:pt x="3260" y="1016"/>
                      </a:lnTo>
                      <a:lnTo>
                        <a:pt x="3257" y="1015"/>
                      </a:lnTo>
                      <a:lnTo>
                        <a:pt x="3256" y="1016"/>
                      </a:lnTo>
                      <a:lnTo>
                        <a:pt x="3243" y="1017"/>
                      </a:lnTo>
                      <a:lnTo>
                        <a:pt x="3228" y="1017"/>
                      </a:lnTo>
                      <a:lnTo>
                        <a:pt x="3213" y="1017"/>
                      </a:lnTo>
                      <a:lnTo>
                        <a:pt x="3196" y="1017"/>
                      </a:lnTo>
                      <a:lnTo>
                        <a:pt x="3180" y="1017"/>
                      </a:lnTo>
                      <a:lnTo>
                        <a:pt x="3166" y="1018"/>
                      </a:lnTo>
                      <a:lnTo>
                        <a:pt x="3159" y="1019"/>
                      </a:lnTo>
                      <a:lnTo>
                        <a:pt x="3152" y="1022"/>
                      </a:lnTo>
                      <a:lnTo>
                        <a:pt x="3146" y="1024"/>
                      </a:lnTo>
                      <a:lnTo>
                        <a:pt x="3141" y="1028"/>
                      </a:lnTo>
                      <a:lnTo>
                        <a:pt x="3129" y="1037"/>
                      </a:lnTo>
                      <a:lnTo>
                        <a:pt x="3119" y="1043"/>
                      </a:lnTo>
                      <a:lnTo>
                        <a:pt x="3113" y="1044"/>
                      </a:lnTo>
                      <a:lnTo>
                        <a:pt x="3106" y="1045"/>
                      </a:lnTo>
                      <a:lnTo>
                        <a:pt x="3100" y="1044"/>
                      </a:lnTo>
                      <a:lnTo>
                        <a:pt x="3093" y="1042"/>
                      </a:lnTo>
                      <a:lnTo>
                        <a:pt x="3088" y="1039"/>
                      </a:lnTo>
                      <a:lnTo>
                        <a:pt x="3083" y="1036"/>
                      </a:lnTo>
                      <a:lnTo>
                        <a:pt x="3081" y="1032"/>
                      </a:lnTo>
                      <a:lnTo>
                        <a:pt x="3078" y="1029"/>
                      </a:lnTo>
                      <a:lnTo>
                        <a:pt x="3074" y="1025"/>
                      </a:lnTo>
                      <a:lnTo>
                        <a:pt x="3071" y="1022"/>
                      </a:lnTo>
                      <a:lnTo>
                        <a:pt x="3067" y="1020"/>
                      </a:lnTo>
                      <a:lnTo>
                        <a:pt x="3062" y="1022"/>
                      </a:lnTo>
                      <a:lnTo>
                        <a:pt x="3056" y="1024"/>
                      </a:lnTo>
                      <a:lnTo>
                        <a:pt x="3051" y="1029"/>
                      </a:lnTo>
                      <a:lnTo>
                        <a:pt x="3044" y="1033"/>
                      </a:lnTo>
                      <a:lnTo>
                        <a:pt x="3039" y="1039"/>
                      </a:lnTo>
                      <a:lnTo>
                        <a:pt x="3036" y="1042"/>
                      </a:lnTo>
                      <a:lnTo>
                        <a:pt x="3035" y="1045"/>
                      </a:lnTo>
                      <a:lnTo>
                        <a:pt x="3034" y="1048"/>
                      </a:lnTo>
                      <a:lnTo>
                        <a:pt x="3034" y="1050"/>
                      </a:lnTo>
                      <a:lnTo>
                        <a:pt x="3035" y="1053"/>
                      </a:lnTo>
                      <a:lnTo>
                        <a:pt x="3038" y="1056"/>
                      </a:lnTo>
                      <a:lnTo>
                        <a:pt x="3041" y="1058"/>
                      </a:lnTo>
                      <a:lnTo>
                        <a:pt x="3045" y="1059"/>
                      </a:lnTo>
                      <a:lnTo>
                        <a:pt x="3056" y="1062"/>
                      </a:lnTo>
                      <a:lnTo>
                        <a:pt x="3068" y="1064"/>
                      </a:lnTo>
                      <a:lnTo>
                        <a:pt x="3079" y="1064"/>
                      </a:lnTo>
                      <a:lnTo>
                        <a:pt x="3091" y="1065"/>
                      </a:lnTo>
                      <a:lnTo>
                        <a:pt x="3101" y="1065"/>
                      </a:lnTo>
                      <a:lnTo>
                        <a:pt x="3112" y="1065"/>
                      </a:lnTo>
                      <a:lnTo>
                        <a:pt x="3122" y="1066"/>
                      </a:lnTo>
                      <a:lnTo>
                        <a:pt x="3133" y="1068"/>
                      </a:lnTo>
                      <a:lnTo>
                        <a:pt x="3132" y="1072"/>
                      </a:lnTo>
                      <a:lnTo>
                        <a:pt x="3130" y="1076"/>
                      </a:lnTo>
                      <a:lnTo>
                        <a:pt x="3127" y="1079"/>
                      </a:lnTo>
                      <a:lnTo>
                        <a:pt x="3125" y="1083"/>
                      </a:lnTo>
                      <a:lnTo>
                        <a:pt x="3115" y="1089"/>
                      </a:lnTo>
                      <a:lnTo>
                        <a:pt x="3105" y="1095"/>
                      </a:lnTo>
                      <a:lnTo>
                        <a:pt x="3094" y="1099"/>
                      </a:lnTo>
                      <a:lnTo>
                        <a:pt x="3085" y="1105"/>
                      </a:lnTo>
                      <a:lnTo>
                        <a:pt x="3080" y="1109"/>
                      </a:lnTo>
                      <a:lnTo>
                        <a:pt x="3076" y="1114"/>
                      </a:lnTo>
                      <a:lnTo>
                        <a:pt x="3073" y="1117"/>
                      </a:lnTo>
                      <a:lnTo>
                        <a:pt x="3071" y="1122"/>
                      </a:lnTo>
                      <a:lnTo>
                        <a:pt x="3069" y="1129"/>
                      </a:lnTo>
                      <a:lnTo>
                        <a:pt x="3069" y="1136"/>
                      </a:lnTo>
                      <a:lnTo>
                        <a:pt x="3071" y="1143"/>
                      </a:lnTo>
                      <a:lnTo>
                        <a:pt x="3071" y="1150"/>
                      </a:lnTo>
                      <a:lnTo>
                        <a:pt x="3072" y="1157"/>
                      </a:lnTo>
                      <a:lnTo>
                        <a:pt x="3071" y="1164"/>
                      </a:lnTo>
                      <a:lnTo>
                        <a:pt x="3068" y="1173"/>
                      </a:lnTo>
                      <a:lnTo>
                        <a:pt x="3063" y="1181"/>
                      </a:lnTo>
                      <a:lnTo>
                        <a:pt x="3058" y="1193"/>
                      </a:lnTo>
                      <a:lnTo>
                        <a:pt x="3052" y="1204"/>
                      </a:lnTo>
                      <a:lnTo>
                        <a:pt x="3048" y="1216"/>
                      </a:lnTo>
                      <a:lnTo>
                        <a:pt x="3047" y="1229"/>
                      </a:lnTo>
                      <a:lnTo>
                        <a:pt x="3046" y="1241"/>
                      </a:lnTo>
                      <a:lnTo>
                        <a:pt x="3047" y="1253"/>
                      </a:lnTo>
                      <a:lnTo>
                        <a:pt x="3048" y="1266"/>
                      </a:lnTo>
                      <a:lnTo>
                        <a:pt x="3051" y="1277"/>
                      </a:lnTo>
                      <a:lnTo>
                        <a:pt x="3055" y="1302"/>
                      </a:lnTo>
                      <a:lnTo>
                        <a:pt x="3061" y="1328"/>
                      </a:lnTo>
                      <a:lnTo>
                        <a:pt x="3063" y="1340"/>
                      </a:lnTo>
                      <a:lnTo>
                        <a:pt x="3066" y="1353"/>
                      </a:lnTo>
                      <a:lnTo>
                        <a:pt x="3067" y="1366"/>
                      </a:lnTo>
                      <a:lnTo>
                        <a:pt x="3068" y="1379"/>
                      </a:lnTo>
                      <a:lnTo>
                        <a:pt x="3066" y="1376"/>
                      </a:lnTo>
                      <a:lnTo>
                        <a:pt x="3062" y="1372"/>
                      </a:lnTo>
                      <a:lnTo>
                        <a:pt x="3060" y="1366"/>
                      </a:lnTo>
                      <a:lnTo>
                        <a:pt x="3058" y="1358"/>
                      </a:lnTo>
                      <a:lnTo>
                        <a:pt x="3053" y="1336"/>
                      </a:lnTo>
                      <a:lnTo>
                        <a:pt x="3048" y="1313"/>
                      </a:lnTo>
                      <a:lnTo>
                        <a:pt x="3041" y="1266"/>
                      </a:lnTo>
                      <a:lnTo>
                        <a:pt x="3038" y="1236"/>
                      </a:lnTo>
                      <a:lnTo>
                        <a:pt x="3036" y="1213"/>
                      </a:lnTo>
                      <a:lnTo>
                        <a:pt x="3035" y="1189"/>
                      </a:lnTo>
                      <a:lnTo>
                        <a:pt x="3035" y="1164"/>
                      </a:lnTo>
                      <a:lnTo>
                        <a:pt x="3035" y="1141"/>
                      </a:lnTo>
                      <a:lnTo>
                        <a:pt x="3035" y="1117"/>
                      </a:lnTo>
                      <a:lnTo>
                        <a:pt x="3034" y="1092"/>
                      </a:lnTo>
                      <a:lnTo>
                        <a:pt x="3032" y="1069"/>
                      </a:lnTo>
                      <a:lnTo>
                        <a:pt x="3028" y="1046"/>
                      </a:lnTo>
                      <a:lnTo>
                        <a:pt x="3025" y="1025"/>
                      </a:lnTo>
                      <a:lnTo>
                        <a:pt x="3022" y="1004"/>
                      </a:lnTo>
                      <a:lnTo>
                        <a:pt x="3019" y="983"/>
                      </a:lnTo>
                      <a:lnTo>
                        <a:pt x="3014" y="960"/>
                      </a:lnTo>
                      <a:lnTo>
                        <a:pt x="3012" y="947"/>
                      </a:lnTo>
                      <a:lnTo>
                        <a:pt x="3009" y="933"/>
                      </a:lnTo>
                      <a:lnTo>
                        <a:pt x="3007" y="918"/>
                      </a:lnTo>
                      <a:lnTo>
                        <a:pt x="3006" y="901"/>
                      </a:lnTo>
                      <a:lnTo>
                        <a:pt x="3005" y="886"/>
                      </a:lnTo>
                      <a:lnTo>
                        <a:pt x="3002" y="871"/>
                      </a:lnTo>
                      <a:lnTo>
                        <a:pt x="2999" y="858"/>
                      </a:lnTo>
                      <a:lnTo>
                        <a:pt x="2995" y="847"/>
                      </a:lnTo>
                      <a:lnTo>
                        <a:pt x="3000" y="830"/>
                      </a:lnTo>
                      <a:lnTo>
                        <a:pt x="3004" y="809"/>
                      </a:lnTo>
                      <a:lnTo>
                        <a:pt x="3006" y="788"/>
                      </a:lnTo>
                      <a:lnTo>
                        <a:pt x="3006" y="767"/>
                      </a:lnTo>
                      <a:lnTo>
                        <a:pt x="3006" y="723"/>
                      </a:lnTo>
                      <a:lnTo>
                        <a:pt x="3005" y="685"/>
                      </a:lnTo>
                      <a:lnTo>
                        <a:pt x="3004" y="654"/>
                      </a:lnTo>
                      <a:lnTo>
                        <a:pt x="3000" y="620"/>
                      </a:lnTo>
                      <a:lnTo>
                        <a:pt x="2998" y="602"/>
                      </a:lnTo>
                      <a:lnTo>
                        <a:pt x="2994" y="586"/>
                      </a:lnTo>
                      <a:lnTo>
                        <a:pt x="2991" y="570"/>
                      </a:lnTo>
                      <a:lnTo>
                        <a:pt x="2987" y="557"/>
                      </a:lnTo>
                      <a:lnTo>
                        <a:pt x="2981" y="538"/>
                      </a:lnTo>
                      <a:lnTo>
                        <a:pt x="2977" y="518"/>
                      </a:lnTo>
                      <a:lnTo>
                        <a:pt x="2973" y="498"/>
                      </a:lnTo>
                      <a:lnTo>
                        <a:pt x="2971" y="479"/>
                      </a:lnTo>
                      <a:lnTo>
                        <a:pt x="2968" y="466"/>
                      </a:lnTo>
                      <a:lnTo>
                        <a:pt x="2965" y="454"/>
                      </a:lnTo>
                      <a:lnTo>
                        <a:pt x="2960" y="439"/>
                      </a:lnTo>
                      <a:lnTo>
                        <a:pt x="2954" y="424"/>
                      </a:lnTo>
                      <a:lnTo>
                        <a:pt x="2941" y="397"/>
                      </a:lnTo>
                      <a:lnTo>
                        <a:pt x="2928" y="372"/>
                      </a:lnTo>
                      <a:lnTo>
                        <a:pt x="2922" y="362"/>
                      </a:lnTo>
                      <a:lnTo>
                        <a:pt x="2915" y="350"/>
                      </a:lnTo>
                      <a:lnTo>
                        <a:pt x="2907" y="339"/>
                      </a:lnTo>
                      <a:lnTo>
                        <a:pt x="2901" y="327"/>
                      </a:lnTo>
                      <a:lnTo>
                        <a:pt x="2894" y="317"/>
                      </a:lnTo>
                      <a:lnTo>
                        <a:pt x="2884" y="306"/>
                      </a:lnTo>
                      <a:lnTo>
                        <a:pt x="2874" y="296"/>
                      </a:lnTo>
                      <a:lnTo>
                        <a:pt x="2870" y="289"/>
                      </a:lnTo>
                      <a:lnTo>
                        <a:pt x="2858" y="279"/>
                      </a:lnTo>
                      <a:lnTo>
                        <a:pt x="2845" y="272"/>
                      </a:lnTo>
                      <a:lnTo>
                        <a:pt x="2837" y="268"/>
                      </a:lnTo>
                      <a:lnTo>
                        <a:pt x="2827" y="261"/>
                      </a:lnTo>
                      <a:lnTo>
                        <a:pt x="2818" y="254"/>
                      </a:lnTo>
                      <a:lnTo>
                        <a:pt x="2807" y="247"/>
                      </a:lnTo>
                      <a:lnTo>
                        <a:pt x="2788" y="231"/>
                      </a:lnTo>
                      <a:lnTo>
                        <a:pt x="2772" y="215"/>
                      </a:lnTo>
                      <a:lnTo>
                        <a:pt x="2756" y="204"/>
                      </a:lnTo>
                      <a:lnTo>
                        <a:pt x="2739" y="192"/>
                      </a:lnTo>
                      <a:lnTo>
                        <a:pt x="2721" y="182"/>
                      </a:lnTo>
                      <a:lnTo>
                        <a:pt x="2702" y="174"/>
                      </a:lnTo>
                      <a:lnTo>
                        <a:pt x="2682" y="167"/>
                      </a:lnTo>
                      <a:lnTo>
                        <a:pt x="2662" y="161"/>
                      </a:lnTo>
                      <a:lnTo>
                        <a:pt x="2640" y="158"/>
                      </a:lnTo>
                      <a:lnTo>
                        <a:pt x="2619" y="155"/>
                      </a:lnTo>
                      <a:lnTo>
                        <a:pt x="2598" y="155"/>
                      </a:lnTo>
                      <a:lnTo>
                        <a:pt x="2577" y="158"/>
                      </a:lnTo>
                      <a:lnTo>
                        <a:pt x="2568" y="159"/>
                      </a:lnTo>
                      <a:lnTo>
                        <a:pt x="2557" y="161"/>
                      </a:lnTo>
                      <a:lnTo>
                        <a:pt x="2548" y="165"/>
                      </a:lnTo>
                      <a:lnTo>
                        <a:pt x="2538" y="168"/>
                      </a:lnTo>
                      <a:lnTo>
                        <a:pt x="2529" y="172"/>
                      </a:lnTo>
                      <a:lnTo>
                        <a:pt x="2519" y="178"/>
                      </a:lnTo>
                      <a:lnTo>
                        <a:pt x="2511" y="182"/>
                      </a:lnTo>
                      <a:lnTo>
                        <a:pt x="2503" y="190"/>
                      </a:lnTo>
                      <a:lnTo>
                        <a:pt x="2495" y="195"/>
                      </a:lnTo>
                      <a:lnTo>
                        <a:pt x="2486" y="204"/>
                      </a:lnTo>
                      <a:lnTo>
                        <a:pt x="2479" y="212"/>
                      </a:lnTo>
                      <a:lnTo>
                        <a:pt x="2472" y="221"/>
                      </a:lnTo>
                      <a:lnTo>
                        <a:pt x="2462" y="237"/>
                      </a:lnTo>
                      <a:lnTo>
                        <a:pt x="2451" y="256"/>
                      </a:lnTo>
                      <a:lnTo>
                        <a:pt x="2439" y="276"/>
                      </a:lnTo>
                      <a:lnTo>
                        <a:pt x="2431" y="297"/>
                      </a:lnTo>
                      <a:lnTo>
                        <a:pt x="2428" y="307"/>
                      </a:lnTo>
                      <a:lnTo>
                        <a:pt x="2425" y="318"/>
                      </a:lnTo>
                      <a:lnTo>
                        <a:pt x="2425" y="327"/>
                      </a:lnTo>
                      <a:lnTo>
                        <a:pt x="2425" y="337"/>
                      </a:lnTo>
                      <a:lnTo>
                        <a:pt x="2429" y="346"/>
                      </a:lnTo>
                      <a:lnTo>
                        <a:pt x="2432" y="355"/>
                      </a:lnTo>
                      <a:lnTo>
                        <a:pt x="2439" y="363"/>
                      </a:lnTo>
                      <a:lnTo>
                        <a:pt x="2449" y="370"/>
                      </a:lnTo>
                      <a:lnTo>
                        <a:pt x="2461" y="376"/>
                      </a:lnTo>
                      <a:lnTo>
                        <a:pt x="2472" y="379"/>
                      </a:lnTo>
                      <a:lnTo>
                        <a:pt x="2482" y="380"/>
                      </a:lnTo>
                      <a:lnTo>
                        <a:pt x="2491" y="379"/>
                      </a:lnTo>
                      <a:lnTo>
                        <a:pt x="2498" y="376"/>
                      </a:lnTo>
                      <a:lnTo>
                        <a:pt x="2505" y="371"/>
                      </a:lnTo>
                      <a:lnTo>
                        <a:pt x="2512" y="364"/>
                      </a:lnTo>
                      <a:lnTo>
                        <a:pt x="2518" y="358"/>
                      </a:lnTo>
                      <a:lnTo>
                        <a:pt x="2529" y="343"/>
                      </a:lnTo>
                      <a:lnTo>
                        <a:pt x="2538" y="330"/>
                      </a:lnTo>
                      <a:lnTo>
                        <a:pt x="2543" y="325"/>
                      </a:lnTo>
                      <a:lnTo>
                        <a:pt x="2548" y="320"/>
                      </a:lnTo>
                      <a:lnTo>
                        <a:pt x="2553" y="319"/>
                      </a:lnTo>
                      <a:lnTo>
                        <a:pt x="2558" y="319"/>
                      </a:lnTo>
                      <a:lnTo>
                        <a:pt x="2560" y="329"/>
                      </a:lnTo>
                      <a:lnTo>
                        <a:pt x="2560" y="338"/>
                      </a:lnTo>
                      <a:lnTo>
                        <a:pt x="2559" y="349"/>
                      </a:lnTo>
                      <a:lnTo>
                        <a:pt x="2557" y="358"/>
                      </a:lnTo>
                      <a:lnTo>
                        <a:pt x="2553" y="367"/>
                      </a:lnTo>
                      <a:lnTo>
                        <a:pt x="2549" y="376"/>
                      </a:lnTo>
                      <a:lnTo>
                        <a:pt x="2543" y="384"/>
                      </a:lnTo>
                      <a:lnTo>
                        <a:pt x="2537" y="392"/>
                      </a:lnTo>
                      <a:lnTo>
                        <a:pt x="2530" y="399"/>
                      </a:lnTo>
                      <a:lnTo>
                        <a:pt x="2522" y="406"/>
                      </a:lnTo>
                      <a:lnTo>
                        <a:pt x="2513" y="412"/>
                      </a:lnTo>
                      <a:lnTo>
                        <a:pt x="2504" y="418"/>
                      </a:lnTo>
                      <a:lnTo>
                        <a:pt x="2495" y="422"/>
                      </a:lnTo>
                      <a:lnTo>
                        <a:pt x="2485" y="425"/>
                      </a:lnTo>
                      <a:lnTo>
                        <a:pt x="2476" y="428"/>
                      </a:lnTo>
                      <a:lnTo>
                        <a:pt x="2466" y="429"/>
                      </a:lnTo>
                      <a:lnTo>
                        <a:pt x="2457" y="429"/>
                      </a:lnTo>
                      <a:lnTo>
                        <a:pt x="2448" y="428"/>
                      </a:lnTo>
                      <a:lnTo>
                        <a:pt x="2439" y="426"/>
                      </a:lnTo>
                      <a:lnTo>
                        <a:pt x="2431" y="424"/>
                      </a:lnTo>
                      <a:lnTo>
                        <a:pt x="2423" y="421"/>
                      </a:lnTo>
                      <a:lnTo>
                        <a:pt x="2415" y="417"/>
                      </a:lnTo>
                      <a:lnTo>
                        <a:pt x="2408" y="412"/>
                      </a:lnTo>
                      <a:lnTo>
                        <a:pt x="2401" y="408"/>
                      </a:lnTo>
                      <a:lnTo>
                        <a:pt x="2388" y="396"/>
                      </a:lnTo>
                      <a:lnTo>
                        <a:pt x="2375" y="383"/>
                      </a:lnTo>
                      <a:lnTo>
                        <a:pt x="2363" y="370"/>
                      </a:lnTo>
                      <a:lnTo>
                        <a:pt x="2351" y="356"/>
                      </a:lnTo>
                      <a:lnTo>
                        <a:pt x="2343" y="346"/>
                      </a:lnTo>
                      <a:lnTo>
                        <a:pt x="2337" y="336"/>
                      </a:lnTo>
                      <a:lnTo>
                        <a:pt x="2331" y="324"/>
                      </a:lnTo>
                      <a:lnTo>
                        <a:pt x="2325" y="313"/>
                      </a:lnTo>
                      <a:lnTo>
                        <a:pt x="2316" y="289"/>
                      </a:lnTo>
                      <a:lnTo>
                        <a:pt x="2305" y="265"/>
                      </a:lnTo>
                      <a:lnTo>
                        <a:pt x="2301" y="253"/>
                      </a:lnTo>
                      <a:lnTo>
                        <a:pt x="2295" y="243"/>
                      </a:lnTo>
                      <a:lnTo>
                        <a:pt x="2288" y="232"/>
                      </a:lnTo>
                      <a:lnTo>
                        <a:pt x="2281" y="221"/>
                      </a:lnTo>
                      <a:lnTo>
                        <a:pt x="2274" y="213"/>
                      </a:lnTo>
                      <a:lnTo>
                        <a:pt x="2264" y="205"/>
                      </a:lnTo>
                      <a:lnTo>
                        <a:pt x="2254" y="198"/>
                      </a:lnTo>
                      <a:lnTo>
                        <a:pt x="2242" y="193"/>
                      </a:lnTo>
                      <a:lnTo>
                        <a:pt x="2233" y="188"/>
                      </a:lnTo>
                      <a:lnTo>
                        <a:pt x="2223" y="185"/>
                      </a:lnTo>
                      <a:lnTo>
                        <a:pt x="2215" y="180"/>
                      </a:lnTo>
                      <a:lnTo>
                        <a:pt x="2206" y="174"/>
                      </a:lnTo>
                      <a:lnTo>
                        <a:pt x="2198" y="168"/>
                      </a:lnTo>
                      <a:lnTo>
                        <a:pt x="2190" y="161"/>
                      </a:lnTo>
                      <a:lnTo>
                        <a:pt x="2183" y="154"/>
                      </a:lnTo>
                      <a:lnTo>
                        <a:pt x="2177" y="146"/>
                      </a:lnTo>
                      <a:lnTo>
                        <a:pt x="2174" y="140"/>
                      </a:lnTo>
                      <a:lnTo>
                        <a:pt x="2171" y="135"/>
                      </a:lnTo>
                      <a:lnTo>
                        <a:pt x="2170" y="131"/>
                      </a:lnTo>
                      <a:lnTo>
                        <a:pt x="2170" y="125"/>
                      </a:lnTo>
                      <a:lnTo>
                        <a:pt x="2171" y="120"/>
                      </a:lnTo>
                      <a:lnTo>
                        <a:pt x="2174" y="115"/>
                      </a:lnTo>
                      <a:lnTo>
                        <a:pt x="2175" y="111"/>
                      </a:lnTo>
                      <a:lnTo>
                        <a:pt x="2179" y="106"/>
                      </a:lnTo>
                      <a:lnTo>
                        <a:pt x="2191" y="89"/>
                      </a:lnTo>
                      <a:lnTo>
                        <a:pt x="2204" y="73"/>
                      </a:lnTo>
                      <a:lnTo>
                        <a:pt x="2210" y="69"/>
                      </a:lnTo>
                      <a:lnTo>
                        <a:pt x="2218" y="65"/>
                      </a:lnTo>
                      <a:lnTo>
                        <a:pt x="2226" y="59"/>
                      </a:lnTo>
                      <a:lnTo>
                        <a:pt x="2235" y="50"/>
                      </a:lnTo>
                      <a:lnTo>
                        <a:pt x="2243" y="43"/>
                      </a:lnTo>
                      <a:lnTo>
                        <a:pt x="2253" y="36"/>
                      </a:lnTo>
                      <a:lnTo>
                        <a:pt x="2261" y="30"/>
                      </a:lnTo>
                      <a:lnTo>
                        <a:pt x="2269" y="26"/>
                      </a:lnTo>
                      <a:lnTo>
                        <a:pt x="2287" y="20"/>
                      </a:lnTo>
                      <a:lnTo>
                        <a:pt x="2304" y="14"/>
                      </a:lnTo>
                      <a:lnTo>
                        <a:pt x="2322" y="10"/>
                      </a:lnTo>
                      <a:lnTo>
                        <a:pt x="2341" y="7"/>
                      </a:lnTo>
                      <a:lnTo>
                        <a:pt x="2361" y="3"/>
                      </a:lnTo>
                      <a:lnTo>
                        <a:pt x="2379" y="1"/>
                      </a:lnTo>
                      <a:lnTo>
                        <a:pt x="2399" y="0"/>
                      </a:lnTo>
                      <a:lnTo>
                        <a:pt x="2419" y="0"/>
                      </a:lnTo>
                      <a:lnTo>
                        <a:pt x="2439" y="0"/>
                      </a:lnTo>
                      <a:lnTo>
                        <a:pt x="2459" y="1"/>
                      </a:lnTo>
                      <a:lnTo>
                        <a:pt x="2481" y="2"/>
                      </a:lnTo>
                      <a:lnTo>
                        <a:pt x="2501" y="4"/>
                      </a:lnTo>
                      <a:lnTo>
                        <a:pt x="2543" y="10"/>
                      </a:lnTo>
                      <a:lnTo>
                        <a:pt x="2584" y="19"/>
                      </a:lnTo>
                      <a:lnTo>
                        <a:pt x="2625" y="28"/>
                      </a:lnTo>
                      <a:lnTo>
                        <a:pt x="2666" y="41"/>
                      </a:lnTo>
                      <a:lnTo>
                        <a:pt x="2705" y="54"/>
                      </a:lnTo>
                      <a:lnTo>
                        <a:pt x="2744" y="69"/>
                      </a:lnTo>
                      <a:lnTo>
                        <a:pt x="2781" y="87"/>
                      </a:lnTo>
                      <a:lnTo>
                        <a:pt x="2817" y="105"/>
                      </a:lnTo>
                      <a:lnTo>
                        <a:pt x="2850" y="124"/>
                      </a:lnTo>
                      <a:lnTo>
                        <a:pt x="2881" y="142"/>
                      </a:lnTo>
                      <a:lnTo>
                        <a:pt x="2886" y="147"/>
                      </a:lnTo>
                      <a:lnTo>
                        <a:pt x="2891" y="147"/>
                      </a:lnTo>
                      <a:lnTo>
                        <a:pt x="2907" y="160"/>
                      </a:lnTo>
                      <a:lnTo>
                        <a:pt x="2926" y="171"/>
                      </a:lnTo>
                      <a:lnTo>
                        <a:pt x="2946" y="180"/>
                      </a:lnTo>
                      <a:lnTo>
                        <a:pt x="2966" y="191"/>
                      </a:lnTo>
                      <a:lnTo>
                        <a:pt x="2986" y="200"/>
                      </a:lnTo>
                      <a:lnTo>
                        <a:pt x="3006" y="211"/>
                      </a:lnTo>
                      <a:lnTo>
                        <a:pt x="3025" y="221"/>
                      </a:lnTo>
                      <a:lnTo>
                        <a:pt x="3042" y="235"/>
                      </a:lnTo>
                      <a:lnTo>
                        <a:pt x="3069" y="260"/>
                      </a:lnTo>
                      <a:lnTo>
                        <a:pt x="3096" y="284"/>
                      </a:lnTo>
                      <a:lnTo>
                        <a:pt x="3121" y="307"/>
                      </a:lnTo>
                      <a:lnTo>
                        <a:pt x="3145" y="332"/>
                      </a:lnTo>
                      <a:lnTo>
                        <a:pt x="3155" y="345"/>
                      </a:lnTo>
                      <a:lnTo>
                        <a:pt x="3166" y="358"/>
                      </a:lnTo>
                      <a:lnTo>
                        <a:pt x="3176" y="372"/>
                      </a:lnTo>
                      <a:lnTo>
                        <a:pt x="3186" y="386"/>
                      </a:lnTo>
                      <a:lnTo>
                        <a:pt x="3195" y="402"/>
                      </a:lnTo>
                      <a:lnTo>
                        <a:pt x="3205" y="418"/>
                      </a:lnTo>
                      <a:lnTo>
                        <a:pt x="3213" y="435"/>
                      </a:lnTo>
                      <a:lnTo>
                        <a:pt x="3221" y="452"/>
                      </a:lnTo>
                      <a:lnTo>
                        <a:pt x="3236" y="485"/>
                      </a:lnTo>
                      <a:lnTo>
                        <a:pt x="3253" y="517"/>
                      </a:lnTo>
                      <a:lnTo>
                        <a:pt x="3272" y="548"/>
                      </a:lnTo>
                      <a:lnTo>
                        <a:pt x="3290" y="577"/>
                      </a:lnTo>
                      <a:lnTo>
                        <a:pt x="3309" y="608"/>
                      </a:lnTo>
                      <a:lnTo>
                        <a:pt x="3328" y="637"/>
                      </a:lnTo>
                      <a:lnTo>
                        <a:pt x="3346" y="668"/>
                      </a:lnTo>
                      <a:lnTo>
                        <a:pt x="3361" y="700"/>
                      </a:lnTo>
                      <a:lnTo>
                        <a:pt x="3369" y="714"/>
                      </a:lnTo>
                      <a:lnTo>
                        <a:pt x="3376" y="729"/>
                      </a:lnTo>
                      <a:lnTo>
                        <a:pt x="3383" y="745"/>
                      </a:lnTo>
                      <a:lnTo>
                        <a:pt x="3388" y="761"/>
                      </a:lnTo>
                      <a:lnTo>
                        <a:pt x="3400" y="793"/>
                      </a:lnTo>
                      <a:lnTo>
                        <a:pt x="3413" y="824"/>
                      </a:lnTo>
                      <a:lnTo>
                        <a:pt x="3443" y="885"/>
                      </a:lnTo>
                      <a:lnTo>
                        <a:pt x="3451" y="898"/>
                      </a:lnTo>
                      <a:lnTo>
                        <a:pt x="3461" y="913"/>
                      </a:lnTo>
                      <a:lnTo>
                        <a:pt x="3465" y="920"/>
                      </a:lnTo>
                      <a:lnTo>
                        <a:pt x="3470" y="927"/>
                      </a:lnTo>
                      <a:lnTo>
                        <a:pt x="3472" y="934"/>
                      </a:lnTo>
                      <a:lnTo>
                        <a:pt x="3475" y="941"/>
                      </a:lnTo>
                      <a:lnTo>
                        <a:pt x="3478" y="949"/>
                      </a:lnTo>
                      <a:lnTo>
                        <a:pt x="3483" y="954"/>
                      </a:lnTo>
                      <a:lnTo>
                        <a:pt x="3487" y="963"/>
                      </a:lnTo>
                      <a:lnTo>
                        <a:pt x="3489" y="971"/>
                      </a:lnTo>
                      <a:lnTo>
                        <a:pt x="3495" y="989"/>
                      </a:lnTo>
                      <a:lnTo>
                        <a:pt x="3500" y="1007"/>
                      </a:lnTo>
                      <a:lnTo>
                        <a:pt x="3508" y="1046"/>
                      </a:lnTo>
                      <a:lnTo>
                        <a:pt x="3516" y="1079"/>
                      </a:lnTo>
                      <a:lnTo>
                        <a:pt x="3525" y="1110"/>
                      </a:lnTo>
                      <a:lnTo>
                        <a:pt x="3535" y="1145"/>
                      </a:lnTo>
                      <a:lnTo>
                        <a:pt x="3539" y="1163"/>
                      </a:lnTo>
                      <a:lnTo>
                        <a:pt x="3544" y="1180"/>
                      </a:lnTo>
                      <a:lnTo>
                        <a:pt x="3547" y="1196"/>
                      </a:lnTo>
                      <a:lnTo>
                        <a:pt x="3549" y="1211"/>
                      </a:lnTo>
                      <a:lnTo>
                        <a:pt x="3556" y="1226"/>
                      </a:lnTo>
                      <a:lnTo>
                        <a:pt x="3564" y="1246"/>
                      </a:lnTo>
                      <a:lnTo>
                        <a:pt x="3571" y="1266"/>
                      </a:lnTo>
                      <a:lnTo>
                        <a:pt x="3575" y="1281"/>
                      </a:lnTo>
                      <a:lnTo>
                        <a:pt x="3588" y="1319"/>
                      </a:lnTo>
                      <a:lnTo>
                        <a:pt x="3598" y="1356"/>
                      </a:lnTo>
                      <a:lnTo>
                        <a:pt x="3608" y="1395"/>
                      </a:lnTo>
                      <a:lnTo>
                        <a:pt x="3616" y="1433"/>
                      </a:lnTo>
                      <a:lnTo>
                        <a:pt x="3623" y="1472"/>
                      </a:lnTo>
                      <a:lnTo>
                        <a:pt x="3631" y="1511"/>
                      </a:lnTo>
                      <a:lnTo>
                        <a:pt x="3638" y="1550"/>
                      </a:lnTo>
                      <a:lnTo>
                        <a:pt x="3645" y="1589"/>
                      </a:lnTo>
                      <a:lnTo>
                        <a:pt x="3649" y="1616"/>
                      </a:lnTo>
                      <a:lnTo>
                        <a:pt x="3652" y="1645"/>
                      </a:lnTo>
                      <a:lnTo>
                        <a:pt x="3657" y="1675"/>
                      </a:lnTo>
                      <a:lnTo>
                        <a:pt x="3663" y="1702"/>
                      </a:lnTo>
                      <a:lnTo>
                        <a:pt x="3664" y="1716"/>
                      </a:lnTo>
                      <a:lnTo>
                        <a:pt x="3663" y="1735"/>
                      </a:lnTo>
                      <a:lnTo>
                        <a:pt x="3663" y="1751"/>
                      </a:lnTo>
                      <a:lnTo>
                        <a:pt x="3663" y="1761"/>
                      </a:lnTo>
                      <a:lnTo>
                        <a:pt x="3663" y="1749"/>
                      </a:lnTo>
                      <a:lnTo>
                        <a:pt x="3661" y="1737"/>
                      </a:lnTo>
                      <a:lnTo>
                        <a:pt x="3657" y="1724"/>
                      </a:lnTo>
                      <a:lnTo>
                        <a:pt x="3653" y="1712"/>
                      </a:lnTo>
                      <a:lnTo>
                        <a:pt x="3646" y="1686"/>
                      </a:lnTo>
                      <a:lnTo>
                        <a:pt x="3641" y="1663"/>
                      </a:lnTo>
                      <a:lnTo>
                        <a:pt x="3636" y="1644"/>
                      </a:lnTo>
                      <a:lnTo>
                        <a:pt x="3629" y="1617"/>
                      </a:lnTo>
                      <a:lnTo>
                        <a:pt x="3625" y="1605"/>
                      </a:lnTo>
                      <a:lnTo>
                        <a:pt x="3621" y="1598"/>
                      </a:lnTo>
                      <a:lnTo>
                        <a:pt x="3619" y="1597"/>
                      </a:lnTo>
                      <a:lnTo>
                        <a:pt x="3617" y="1597"/>
                      </a:lnTo>
                      <a:lnTo>
                        <a:pt x="3616" y="1600"/>
                      </a:lnTo>
                      <a:lnTo>
                        <a:pt x="3615" y="1605"/>
                      </a:lnTo>
                      <a:lnTo>
                        <a:pt x="3611" y="1615"/>
                      </a:lnTo>
                      <a:lnTo>
                        <a:pt x="3608" y="1624"/>
                      </a:lnTo>
                      <a:lnTo>
                        <a:pt x="3603" y="1633"/>
                      </a:lnTo>
                      <a:lnTo>
                        <a:pt x="3597" y="1640"/>
                      </a:lnTo>
                      <a:lnTo>
                        <a:pt x="3590" y="1648"/>
                      </a:lnTo>
                      <a:lnTo>
                        <a:pt x="3582" y="1653"/>
                      </a:lnTo>
                      <a:lnTo>
                        <a:pt x="3574" y="1658"/>
                      </a:lnTo>
                      <a:lnTo>
                        <a:pt x="3563" y="1662"/>
                      </a:lnTo>
                      <a:lnTo>
                        <a:pt x="3557" y="1664"/>
                      </a:lnTo>
                      <a:lnTo>
                        <a:pt x="3552" y="1668"/>
                      </a:lnTo>
                      <a:lnTo>
                        <a:pt x="3550" y="1672"/>
                      </a:lnTo>
                      <a:lnTo>
                        <a:pt x="3549" y="1678"/>
                      </a:lnTo>
                      <a:lnTo>
                        <a:pt x="3550" y="1685"/>
                      </a:lnTo>
                      <a:lnTo>
                        <a:pt x="3551" y="1691"/>
                      </a:lnTo>
                      <a:lnTo>
                        <a:pt x="3555" y="1699"/>
                      </a:lnTo>
                      <a:lnTo>
                        <a:pt x="3558" y="1706"/>
                      </a:lnTo>
                      <a:lnTo>
                        <a:pt x="3568" y="1723"/>
                      </a:lnTo>
                      <a:lnTo>
                        <a:pt x="3577" y="1739"/>
                      </a:lnTo>
                      <a:lnTo>
                        <a:pt x="3581" y="1747"/>
                      </a:lnTo>
                      <a:lnTo>
                        <a:pt x="3584" y="1754"/>
                      </a:lnTo>
                      <a:lnTo>
                        <a:pt x="3586" y="1761"/>
                      </a:lnTo>
                      <a:lnTo>
                        <a:pt x="3589" y="1767"/>
                      </a:lnTo>
                      <a:lnTo>
                        <a:pt x="3590" y="1774"/>
                      </a:lnTo>
                      <a:lnTo>
                        <a:pt x="3591" y="1778"/>
                      </a:lnTo>
                      <a:lnTo>
                        <a:pt x="3594" y="1783"/>
                      </a:lnTo>
                      <a:lnTo>
                        <a:pt x="3597" y="1788"/>
                      </a:lnTo>
                      <a:lnTo>
                        <a:pt x="3603" y="1795"/>
                      </a:lnTo>
                      <a:lnTo>
                        <a:pt x="3609" y="1801"/>
                      </a:lnTo>
                      <a:lnTo>
                        <a:pt x="3616" y="1807"/>
                      </a:lnTo>
                      <a:lnTo>
                        <a:pt x="3622" y="1813"/>
                      </a:lnTo>
                      <a:lnTo>
                        <a:pt x="3624" y="1815"/>
                      </a:lnTo>
                      <a:lnTo>
                        <a:pt x="3626" y="1818"/>
                      </a:lnTo>
                      <a:lnTo>
                        <a:pt x="3628" y="1823"/>
                      </a:lnTo>
                      <a:lnTo>
                        <a:pt x="3630" y="1828"/>
                      </a:lnTo>
                      <a:lnTo>
                        <a:pt x="3632" y="1842"/>
                      </a:lnTo>
                      <a:lnTo>
                        <a:pt x="3636" y="1854"/>
                      </a:lnTo>
                      <a:lnTo>
                        <a:pt x="3641" y="1866"/>
                      </a:lnTo>
                      <a:lnTo>
                        <a:pt x="3648" y="1877"/>
                      </a:lnTo>
                      <a:lnTo>
                        <a:pt x="3650" y="1880"/>
                      </a:lnTo>
                      <a:lnTo>
                        <a:pt x="3653" y="1880"/>
                      </a:lnTo>
                      <a:lnTo>
                        <a:pt x="3657" y="1880"/>
                      </a:lnTo>
                      <a:lnTo>
                        <a:pt x="3661" y="1880"/>
                      </a:lnTo>
                      <a:lnTo>
                        <a:pt x="3668" y="1876"/>
                      </a:lnTo>
                      <a:lnTo>
                        <a:pt x="3672" y="1873"/>
                      </a:lnTo>
                      <a:lnTo>
                        <a:pt x="3675" y="1867"/>
                      </a:lnTo>
                      <a:lnTo>
                        <a:pt x="3676" y="1861"/>
                      </a:lnTo>
                      <a:lnTo>
                        <a:pt x="3677" y="1854"/>
                      </a:lnTo>
                      <a:lnTo>
                        <a:pt x="3677" y="1846"/>
                      </a:lnTo>
                      <a:lnTo>
                        <a:pt x="3677" y="1830"/>
                      </a:lnTo>
                      <a:lnTo>
                        <a:pt x="3677" y="1813"/>
                      </a:lnTo>
                      <a:lnTo>
                        <a:pt x="3676" y="1796"/>
                      </a:lnTo>
                      <a:lnTo>
                        <a:pt x="3675" y="1778"/>
                      </a:lnTo>
                      <a:lnTo>
                        <a:pt x="3676" y="1763"/>
                      </a:lnTo>
                      <a:lnTo>
                        <a:pt x="3679" y="1749"/>
                      </a:lnTo>
                      <a:lnTo>
                        <a:pt x="3684" y="1758"/>
                      </a:lnTo>
                      <a:lnTo>
                        <a:pt x="3688" y="1772"/>
                      </a:lnTo>
                      <a:lnTo>
                        <a:pt x="3690" y="1789"/>
                      </a:lnTo>
                      <a:lnTo>
                        <a:pt x="3692" y="1808"/>
                      </a:lnTo>
                      <a:lnTo>
                        <a:pt x="3696" y="1843"/>
                      </a:lnTo>
                      <a:lnTo>
                        <a:pt x="3696" y="1869"/>
                      </a:lnTo>
                      <a:lnTo>
                        <a:pt x="3697" y="1867"/>
                      </a:lnTo>
                      <a:lnTo>
                        <a:pt x="3698" y="1866"/>
                      </a:lnTo>
                      <a:lnTo>
                        <a:pt x="3736" y="2417"/>
                      </a:lnTo>
                      <a:lnTo>
                        <a:pt x="3738" y="2441"/>
                      </a:lnTo>
                      <a:lnTo>
                        <a:pt x="3738" y="2478"/>
                      </a:lnTo>
                      <a:lnTo>
                        <a:pt x="3737" y="2524"/>
                      </a:lnTo>
                      <a:lnTo>
                        <a:pt x="3732" y="2573"/>
                      </a:lnTo>
                      <a:lnTo>
                        <a:pt x="3729" y="2596"/>
                      </a:lnTo>
                      <a:lnTo>
                        <a:pt x="3725" y="2620"/>
                      </a:lnTo>
                      <a:lnTo>
                        <a:pt x="3722" y="2640"/>
                      </a:lnTo>
                      <a:lnTo>
                        <a:pt x="3716" y="2659"/>
                      </a:lnTo>
                      <a:lnTo>
                        <a:pt x="3713" y="2666"/>
                      </a:lnTo>
                      <a:lnTo>
                        <a:pt x="3710" y="2673"/>
                      </a:lnTo>
                      <a:lnTo>
                        <a:pt x="3706" y="2679"/>
                      </a:lnTo>
                      <a:lnTo>
                        <a:pt x="3703" y="2684"/>
                      </a:lnTo>
                      <a:lnTo>
                        <a:pt x="3699" y="2687"/>
                      </a:lnTo>
                      <a:lnTo>
                        <a:pt x="3696" y="2689"/>
                      </a:lnTo>
                      <a:lnTo>
                        <a:pt x="3691" y="2691"/>
                      </a:lnTo>
                      <a:lnTo>
                        <a:pt x="3686" y="2691"/>
                      </a:lnTo>
                      <a:lnTo>
                        <a:pt x="3685" y="2680"/>
                      </a:lnTo>
                      <a:lnTo>
                        <a:pt x="3686" y="2667"/>
                      </a:lnTo>
                      <a:lnTo>
                        <a:pt x="3689" y="2653"/>
                      </a:lnTo>
                      <a:lnTo>
                        <a:pt x="3692" y="2638"/>
                      </a:lnTo>
                      <a:lnTo>
                        <a:pt x="3702" y="2607"/>
                      </a:lnTo>
                      <a:lnTo>
                        <a:pt x="3710" y="2581"/>
                      </a:lnTo>
                      <a:lnTo>
                        <a:pt x="3717" y="2556"/>
                      </a:lnTo>
                      <a:lnTo>
                        <a:pt x="3722" y="2531"/>
                      </a:lnTo>
                      <a:lnTo>
                        <a:pt x="3723" y="2519"/>
                      </a:lnTo>
                      <a:lnTo>
                        <a:pt x="3723" y="2506"/>
                      </a:lnTo>
                      <a:lnTo>
                        <a:pt x="3723" y="2494"/>
                      </a:lnTo>
                      <a:lnTo>
                        <a:pt x="3719" y="2481"/>
                      </a:lnTo>
                      <a:lnTo>
                        <a:pt x="3715" y="2461"/>
                      </a:lnTo>
                      <a:lnTo>
                        <a:pt x="3709" y="2444"/>
                      </a:lnTo>
                      <a:lnTo>
                        <a:pt x="3706" y="2435"/>
                      </a:lnTo>
                      <a:lnTo>
                        <a:pt x="3704" y="2425"/>
                      </a:lnTo>
                      <a:lnTo>
                        <a:pt x="3703" y="2415"/>
                      </a:lnTo>
                      <a:lnTo>
                        <a:pt x="3703" y="2403"/>
                      </a:lnTo>
                      <a:lnTo>
                        <a:pt x="3703" y="2376"/>
                      </a:lnTo>
                      <a:lnTo>
                        <a:pt x="3703" y="2350"/>
                      </a:lnTo>
                      <a:lnTo>
                        <a:pt x="3702" y="2323"/>
                      </a:lnTo>
                      <a:lnTo>
                        <a:pt x="3702" y="2298"/>
                      </a:lnTo>
                      <a:lnTo>
                        <a:pt x="3699" y="2272"/>
                      </a:lnTo>
                      <a:lnTo>
                        <a:pt x="3697" y="2247"/>
                      </a:lnTo>
                      <a:lnTo>
                        <a:pt x="3693" y="2222"/>
                      </a:lnTo>
                      <a:lnTo>
                        <a:pt x="3688" y="2197"/>
                      </a:lnTo>
                      <a:lnTo>
                        <a:pt x="3686" y="2196"/>
                      </a:lnTo>
                      <a:lnTo>
                        <a:pt x="3684" y="2196"/>
                      </a:lnTo>
                      <a:lnTo>
                        <a:pt x="3682" y="2201"/>
                      </a:lnTo>
                      <a:lnTo>
                        <a:pt x="3678" y="2206"/>
                      </a:lnTo>
                      <a:lnTo>
                        <a:pt x="3673" y="2212"/>
                      </a:lnTo>
                      <a:lnTo>
                        <a:pt x="3668" y="2218"/>
                      </a:lnTo>
                      <a:lnTo>
                        <a:pt x="3662" y="2223"/>
                      </a:lnTo>
                      <a:lnTo>
                        <a:pt x="3655" y="2226"/>
                      </a:lnTo>
                      <a:lnTo>
                        <a:pt x="3649" y="2229"/>
                      </a:lnTo>
                      <a:lnTo>
                        <a:pt x="3643" y="2230"/>
                      </a:lnTo>
                      <a:lnTo>
                        <a:pt x="3641" y="2226"/>
                      </a:lnTo>
                      <a:lnTo>
                        <a:pt x="3637" y="2219"/>
                      </a:lnTo>
                      <a:lnTo>
                        <a:pt x="3632" y="2207"/>
                      </a:lnTo>
                      <a:lnTo>
                        <a:pt x="3629" y="2196"/>
                      </a:lnTo>
                      <a:lnTo>
                        <a:pt x="3628" y="2190"/>
                      </a:lnTo>
                      <a:lnTo>
                        <a:pt x="3628" y="2184"/>
                      </a:lnTo>
                      <a:lnTo>
                        <a:pt x="3630" y="2179"/>
                      </a:lnTo>
                      <a:lnTo>
                        <a:pt x="3632" y="2176"/>
                      </a:lnTo>
                      <a:lnTo>
                        <a:pt x="3637" y="2173"/>
                      </a:lnTo>
                      <a:lnTo>
                        <a:pt x="3643" y="2171"/>
                      </a:lnTo>
                      <a:lnTo>
                        <a:pt x="3651" y="2172"/>
                      </a:lnTo>
                      <a:lnTo>
                        <a:pt x="3663" y="2173"/>
                      </a:lnTo>
                      <a:lnTo>
                        <a:pt x="3671" y="2177"/>
                      </a:lnTo>
                      <a:lnTo>
                        <a:pt x="3682" y="2181"/>
                      </a:lnTo>
                      <a:lnTo>
                        <a:pt x="3686" y="2184"/>
                      </a:lnTo>
                      <a:lnTo>
                        <a:pt x="3691" y="2184"/>
                      </a:lnTo>
                      <a:lnTo>
                        <a:pt x="3696" y="2183"/>
                      </a:lnTo>
                      <a:lnTo>
                        <a:pt x="3698" y="2180"/>
                      </a:lnTo>
                      <a:lnTo>
                        <a:pt x="3700" y="2176"/>
                      </a:lnTo>
                      <a:lnTo>
                        <a:pt x="3700" y="2171"/>
                      </a:lnTo>
                      <a:lnTo>
                        <a:pt x="3700" y="2166"/>
                      </a:lnTo>
                      <a:lnTo>
                        <a:pt x="3698" y="2160"/>
                      </a:lnTo>
                      <a:lnTo>
                        <a:pt x="3695" y="2150"/>
                      </a:lnTo>
                      <a:lnTo>
                        <a:pt x="3689" y="2141"/>
                      </a:lnTo>
                      <a:lnTo>
                        <a:pt x="3675" y="2132"/>
                      </a:lnTo>
                      <a:lnTo>
                        <a:pt x="3661" y="2125"/>
                      </a:lnTo>
                      <a:lnTo>
                        <a:pt x="3656" y="2123"/>
                      </a:lnTo>
                      <a:lnTo>
                        <a:pt x="3653" y="2119"/>
                      </a:lnTo>
                      <a:lnTo>
                        <a:pt x="3652" y="2115"/>
                      </a:lnTo>
                      <a:lnTo>
                        <a:pt x="3651" y="2111"/>
                      </a:lnTo>
                      <a:lnTo>
                        <a:pt x="3652" y="2099"/>
                      </a:lnTo>
                      <a:lnTo>
                        <a:pt x="3652" y="2087"/>
                      </a:lnTo>
                      <a:lnTo>
                        <a:pt x="3652" y="2084"/>
                      </a:lnTo>
                      <a:lnTo>
                        <a:pt x="3655" y="2080"/>
                      </a:lnTo>
                      <a:lnTo>
                        <a:pt x="3658" y="2077"/>
                      </a:lnTo>
                      <a:lnTo>
                        <a:pt x="3662" y="2073"/>
                      </a:lnTo>
                      <a:lnTo>
                        <a:pt x="3666" y="2068"/>
                      </a:lnTo>
                      <a:lnTo>
                        <a:pt x="3669" y="2062"/>
                      </a:lnTo>
                      <a:lnTo>
                        <a:pt x="3672" y="2056"/>
                      </a:lnTo>
                      <a:lnTo>
                        <a:pt x="3672" y="2049"/>
                      </a:lnTo>
                      <a:lnTo>
                        <a:pt x="3652" y="2048"/>
                      </a:lnTo>
                      <a:lnTo>
                        <a:pt x="3630" y="2048"/>
                      </a:lnTo>
                      <a:lnTo>
                        <a:pt x="3621" y="2049"/>
                      </a:lnTo>
                      <a:lnTo>
                        <a:pt x="3613" y="2052"/>
                      </a:lnTo>
                      <a:lnTo>
                        <a:pt x="3612" y="2054"/>
                      </a:lnTo>
                      <a:lnTo>
                        <a:pt x="3611" y="2056"/>
                      </a:lnTo>
                      <a:lnTo>
                        <a:pt x="3612" y="2060"/>
                      </a:lnTo>
                      <a:lnTo>
                        <a:pt x="3615" y="2064"/>
                      </a:lnTo>
                      <a:lnTo>
                        <a:pt x="3621" y="2075"/>
                      </a:lnTo>
                      <a:lnTo>
                        <a:pt x="3628" y="2092"/>
                      </a:lnTo>
                      <a:lnTo>
                        <a:pt x="3631" y="2100"/>
                      </a:lnTo>
                      <a:lnTo>
                        <a:pt x="3632" y="2108"/>
                      </a:lnTo>
                      <a:lnTo>
                        <a:pt x="3633" y="2115"/>
                      </a:lnTo>
                      <a:lnTo>
                        <a:pt x="3632" y="2121"/>
                      </a:lnTo>
                      <a:lnTo>
                        <a:pt x="3626" y="2126"/>
                      </a:lnTo>
                      <a:lnTo>
                        <a:pt x="3616" y="2131"/>
                      </a:lnTo>
                      <a:lnTo>
                        <a:pt x="3603" y="2135"/>
                      </a:lnTo>
                      <a:lnTo>
                        <a:pt x="3595" y="2139"/>
                      </a:lnTo>
                      <a:lnTo>
                        <a:pt x="3591" y="2139"/>
                      </a:lnTo>
                      <a:lnTo>
                        <a:pt x="3589" y="2138"/>
                      </a:lnTo>
                      <a:lnTo>
                        <a:pt x="3586" y="2135"/>
                      </a:lnTo>
                      <a:lnTo>
                        <a:pt x="3584" y="2131"/>
                      </a:lnTo>
                      <a:lnTo>
                        <a:pt x="3581" y="2118"/>
                      </a:lnTo>
                      <a:lnTo>
                        <a:pt x="3576" y="2102"/>
                      </a:lnTo>
                      <a:lnTo>
                        <a:pt x="3574" y="2095"/>
                      </a:lnTo>
                      <a:lnTo>
                        <a:pt x="3570" y="2087"/>
                      </a:lnTo>
                      <a:lnTo>
                        <a:pt x="3568" y="2080"/>
                      </a:lnTo>
                      <a:lnTo>
                        <a:pt x="3563" y="2073"/>
                      </a:lnTo>
                      <a:lnTo>
                        <a:pt x="3558" y="2068"/>
                      </a:lnTo>
                      <a:lnTo>
                        <a:pt x="3552" y="2064"/>
                      </a:lnTo>
                      <a:lnTo>
                        <a:pt x="3547" y="2061"/>
                      </a:lnTo>
                      <a:lnTo>
                        <a:pt x="3539" y="2060"/>
                      </a:lnTo>
                      <a:lnTo>
                        <a:pt x="3539" y="2065"/>
                      </a:lnTo>
                      <a:lnTo>
                        <a:pt x="3542" y="2068"/>
                      </a:lnTo>
                      <a:lnTo>
                        <a:pt x="3544" y="2073"/>
                      </a:lnTo>
                      <a:lnTo>
                        <a:pt x="3547" y="2078"/>
                      </a:lnTo>
                      <a:lnTo>
                        <a:pt x="3549" y="2082"/>
                      </a:lnTo>
                      <a:lnTo>
                        <a:pt x="3551" y="2087"/>
                      </a:lnTo>
                      <a:lnTo>
                        <a:pt x="3552" y="2092"/>
                      </a:lnTo>
                      <a:lnTo>
                        <a:pt x="3551" y="2098"/>
                      </a:lnTo>
                      <a:lnTo>
                        <a:pt x="3539" y="2115"/>
                      </a:lnTo>
                      <a:lnTo>
                        <a:pt x="3529" y="2132"/>
                      </a:lnTo>
                      <a:lnTo>
                        <a:pt x="3538" y="2132"/>
                      </a:lnTo>
                      <a:lnTo>
                        <a:pt x="3545" y="2134"/>
                      </a:lnTo>
                      <a:lnTo>
                        <a:pt x="3551" y="2137"/>
                      </a:lnTo>
                      <a:lnTo>
                        <a:pt x="3556" y="2140"/>
                      </a:lnTo>
                      <a:lnTo>
                        <a:pt x="3561" y="2145"/>
                      </a:lnTo>
                      <a:lnTo>
                        <a:pt x="3563" y="2151"/>
                      </a:lnTo>
                      <a:lnTo>
                        <a:pt x="3566" y="2158"/>
                      </a:lnTo>
                      <a:lnTo>
                        <a:pt x="3570" y="2166"/>
                      </a:lnTo>
                      <a:lnTo>
                        <a:pt x="3570" y="2168"/>
                      </a:lnTo>
                      <a:lnTo>
                        <a:pt x="3570" y="2170"/>
                      </a:lnTo>
                      <a:lnTo>
                        <a:pt x="3569" y="2172"/>
                      </a:lnTo>
                      <a:lnTo>
                        <a:pt x="3568" y="2174"/>
                      </a:lnTo>
                      <a:lnTo>
                        <a:pt x="3563" y="2178"/>
                      </a:lnTo>
                      <a:lnTo>
                        <a:pt x="3557" y="2181"/>
                      </a:lnTo>
                      <a:lnTo>
                        <a:pt x="3544" y="2189"/>
                      </a:lnTo>
                      <a:lnTo>
                        <a:pt x="3536" y="2196"/>
                      </a:lnTo>
                      <a:lnTo>
                        <a:pt x="3532" y="2201"/>
                      </a:lnTo>
                      <a:lnTo>
                        <a:pt x="3530" y="2210"/>
                      </a:lnTo>
                      <a:lnTo>
                        <a:pt x="3530" y="2217"/>
                      </a:lnTo>
                      <a:lnTo>
                        <a:pt x="3531" y="2226"/>
                      </a:lnTo>
                      <a:lnTo>
                        <a:pt x="3536" y="2243"/>
                      </a:lnTo>
                      <a:lnTo>
                        <a:pt x="3542" y="2257"/>
                      </a:lnTo>
                      <a:lnTo>
                        <a:pt x="3551" y="2267"/>
                      </a:lnTo>
                      <a:lnTo>
                        <a:pt x="3562" y="2279"/>
                      </a:lnTo>
                      <a:lnTo>
                        <a:pt x="3568" y="2285"/>
                      </a:lnTo>
                      <a:lnTo>
                        <a:pt x="3572" y="2291"/>
                      </a:lnTo>
                      <a:lnTo>
                        <a:pt x="3576" y="2298"/>
                      </a:lnTo>
                      <a:lnTo>
                        <a:pt x="3577" y="2306"/>
                      </a:lnTo>
                      <a:lnTo>
                        <a:pt x="3576" y="2308"/>
                      </a:lnTo>
                      <a:lnTo>
                        <a:pt x="3433" y="2308"/>
                      </a:lnTo>
                      <a:lnTo>
                        <a:pt x="3430" y="2310"/>
                      </a:lnTo>
                      <a:lnTo>
                        <a:pt x="3429" y="2313"/>
                      </a:lnTo>
                      <a:lnTo>
                        <a:pt x="3428" y="2319"/>
                      </a:lnTo>
                      <a:lnTo>
                        <a:pt x="3427" y="2325"/>
                      </a:lnTo>
                      <a:lnTo>
                        <a:pt x="3427" y="2339"/>
                      </a:lnTo>
                      <a:lnTo>
                        <a:pt x="3427" y="2349"/>
                      </a:lnTo>
                      <a:lnTo>
                        <a:pt x="3414" y="2432"/>
                      </a:lnTo>
                      <a:lnTo>
                        <a:pt x="3413" y="2441"/>
                      </a:lnTo>
                      <a:lnTo>
                        <a:pt x="3414" y="2447"/>
                      </a:lnTo>
                      <a:lnTo>
                        <a:pt x="3415" y="2448"/>
                      </a:lnTo>
                      <a:lnTo>
                        <a:pt x="3417" y="2449"/>
                      </a:lnTo>
                      <a:lnTo>
                        <a:pt x="3418" y="2450"/>
                      </a:lnTo>
                      <a:lnTo>
                        <a:pt x="3421" y="2450"/>
                      </a:lnTo>
                      <a:lnTo>
                        <a:pt x="3427" y="2448"/>
                      </a:lnTo>
                      <a:lnTo>
                        <a:pt x="3434" y="2444"/>
                      </a:lnTo>
                      <a:lnTo>
                        <a:pt x="3442" y="2440"/>
                      </a:lnTo>
                      <a:lnTo>
                        <a:pt x="3450" y="2435"/>
                      </a:lnTo>
                      <a:lnTo>
                        <a:pt x="3468" y="2422"/>
                      </a:lnTo>
                      <a:lnTo>
                        <a:pt x="3484" y="2411"/>
                      </a:lnTo>
                      <a:lnTo>
                        <a:pt x="3492" y="2407"/>
                      </a:lnTo>
                      <a:lnTo>
                        <a:pt x="3500" y="2403"/>
                      </a:lnTo>
                      <a:lnTo>
                        <a:pt x="3505" y="2402"/>
                      </a:lnTo>
                      <a:lnTo>
                        <a:pt x="3510" y="2403"/>
                      </a:lnTo>
                      <a:lnTo>
                        <a:pt x="3519" y="2407"/>
                      </a:lnTo>
                      <a:lnTo>
                        <a:pt x="3528" y="2411"/>
                      </a:lnTo>
                      <a:lnTo>
                        <a:pt x="3535" y="2415"/>
                      </a:lnTo>
                      <a:lnTo>
                        <a:pt x="3542" y="2421"/>
                      </a:lnTo>
                      <a:lnTo>
                        <a:pt x="3547" y="2425"/>
                      </a:lnTo>
                      <a:lnTo>
                        <a:pt x="3550" y="2431"/>
                      </a:lnTo>
                      <a:lnTo>
                        <a:pt x="3550" y="2435"/>
                      </a:lnTo>
                      <a:lnTo>
                        <a:pt x="3551" y="2440"/>
                      </a:lnTo>
                      <a:lnTo>
                        <a:pt x="3550" y="2443"/>
                      </a:lnTo>
                      <a:lnTo>
                        <a:pt x="3549" y="2447"/>
                      </a:lnTo>
                      <a:lnTo>
                        <a:pt x="3545" y="2448"/>
                      </a:lnTo>
                      <a:lnTo>
                        <a:pt x="3543" y="2449"/>
                      </a:lnTo>
                      <a:lnTo>
                        <a:pt x="3541" y="2450"/>
                      </a:lnTo>
                      <a:lnTo>
                        <a:pt x="3538" y="2453"/>
                      </a:lnTo>
                      <a:lnTo>
                        <a:pt x="3535" y="2458"/>
                      </a:lnTo>
                      <a:lnTo>
                        <a:pt x="3532" y="2465"/>
                      </a:lnTo>
                      <a:lnTo>
                        <a:pt x="3532" y="2471"/>
                      </a:lnTo>
                      <a:lnTo>
                        <a:pt x="3535" y="2476"/>
                      </a:lnTo>
                      <a:lnTo>
                        <a:pt x="3536" y="2477"/>
                      </a:lnTo>
                      <a:lnTo>
                        <a:pt x="3537" y="2477"/>
                      </a:lnTo>
                      <a:lnTo>
                        <a:pt x="3539" y="2477"/>
                      </a:lnTo>
                      <a:lnTo>
                        <a:pt x="3542" y="2476"/>
                      </a:lnTo>
                      <a:lnTo>
                        <a:pt x="3544" y="2475"/>
                      </a:lnTo>
                      <a:lnTo>
                        <a:pt x="3549" y="2474"/>
                      </a:lnTo>
                      <a:lnTo>
                        <a:pt x="3555" y="2475"/>
                      </a:lnTo>
                      <a:lnTo>
                        <a:pt x="3562" y="2475"/>
                      </a:lnTo>
                      <a:lnTo>
                        <a:pt x="3577" y="2478"/>
                      </a:lnTo>
                      <a:lnTo>
                        <a:pt x="3595" y="2483"/>
                      </a:lnTo>
                      <a:lnTo>
                        <a:pt x="3611" y="2488"/>
                      </a:lnTo>
                      <a:lnTo>
                        <a:pt x="3626" y="2494"/>
                      </a:lnTo>
                      <a:lnTo>
                        <a:pt x="3638" y="2498"/>
                      </a:lnTo>
                      <a:lnTo>
                        <a:pt x="3646" y="2503"/>
                      </a:lnTo>
                      <a:lnTo>
                        <a:pt x="3652" y="2509"/>
                      </a:lnTo>
                      <a:lnTo>
                        <a:pt x="3658" y="2513"/>
                      </a:lnTo>
                      <a:lnTo>
                        <a:pt x="3661" y="2516"/>
                      </a:lnTo>
                      <a:lnTo>
                        <a:pt x="3662" y="2519"/>
                      </a:lnTo>
                      <a:lnTo>
                        <a:pt x="3662" y="2522"/>
                      </a:lnTo>
                      <a:lnTo>
                        <a:pt x="3659" y="2527"/>
                      </a:lnTo>
                      <a:lnTo>
                        <a:pt x="3656" y="2531"/>
                      </a:lnTo>
                      <a:lnTo>
                        <a:pt x="3651" y="2540"/>
                      </a:lnTo>
                      <a:lnTo>
                        <a:pt x="3645" y="2547"/>
                      </a:lnTo>
                      <a:lnTo>
                        <a:pt x="3642" y="2554"/>
                      </a:lnTo>
                      <a:lnTo>
                        <a:pt x="3639" y="2561"/>
                      </a:lnTo>
                      <a:lnTo>
                        <a:pt x="3638" y="2568"/>
                      </a:lnTo>
                      <a:lnTo>
                        <a:pt x="3635" y="2583"/>
                      </a:lnTo>
                      <a:lnTo>
                        <a:pt x="3632" y="2600"/>
                      </a:lnTo>
                      <a:lnTo>
                        <a:pt x="3633" y="2620"/>
                      </a:lnTo>
                      <a:lnTo>
                        <a:pt x="3637" y="2641"/>
                      </a:lnTo>
                      <a:lnTo>
                        <a:pt x="3642" y="2662"/>
                      </a:lnTo>
                      <a:lnTo>
                        <a:pt x="3645" y="2681"/>
                      </a:lnTo>
                      <a:lnTo>
                        <a:pt x="3646" y="2692"/>
                      </a:lnTo>
                      <a:lnTo>
                        <a:pt x="3645" y="2702"/>
                      </a:lnTo>
                      <a:lnTo>
                        <a:pt x="3644" y="2712"/>
                      </a:lnTo>
                      <a:lnTo>
                        <a:pt x="3642" y="2721"/>
                      </a:lnTo>
                      <a:lnTo>
                        <a:pt x="3639" y="2730"/>
                      </a:lnTo>
                      <a:lnTo>
                        <a:pt x="3637" y="2739"/>
                      </a:lnTo>
                      <a:lnTo>
                        <a:pt x="3636" y="2748"/>
                      </a:lnTo>
                      <a:lnTo>
                        <a:pt x="3635" y="2759"/>
                      </a:lnTo>
                      <a:lnTo>
                        <a:pt x="3642" y="2761"/>
                      </a:lnTo>
                      <a:lnTo>
                        <a:pt x="3646" y="2764"/>
                      </a:lnTo>
                      <a:lnTo>
                        <a:pt x="3652" y="2767"/>
                      </a:lnTo>
                      <a:lnTo>
                        <a:pt x="3656" y="2771"/>
                      </a:lnTo>
                      <a:lnTo>
                        <a:pt x="3659" y="2775"/>
                      </a:lnTo>
                      <a:lnTo>
                        <a:pt x="3662" y="2779"/>
                      </a:lnTo>
                      <a:lnTo>
                        <a:pt x="3663" y="2785"/>
                      </a:lnTo>
                      <a:lnTo>
                        <a:pt x="3664" y="2790"/>
                      </a:lnTo>
                      <a:lnTo>
                        <a:pt x="3665" y="2800"/>
                      </a:lnTo>
                      <a:lnTo>
                        <a:pt x="3664" y="2812"/>
                      </a:lnTo>
                      <a:lnTo>
                        <a:pt x="3662" y="2824"/>
                      </a:lnTo>
                      <a:lnTo>
                        <a:pt x="3657" y="2837"/>
                      </a:lnTo>
                      <a:lnTo>
                        <a:pt x="3648" y="2863"/>
                      </a:lnTo>
                      <a:lnTo>
                        <a:pt x="3636" y="2889"/>
                      </a:lnTo>
                      <a:lnTo>
                        <a:pt x="3631" y="2900"/>
                      </a:lnTo>
                      <a:lnTo>
                        <a:pt x="3626" y="2912"/>
                      </a:lnTo>
                      <a:lnTo>
                        <a:pt x="3624" y="2923"/>
                      </a:lnTo>
                      <a:lnTo>
                        <a:pt x="3622" y="2932"/>
                      </a:lnTo>
                      <a:lnTo>
                        <a:pt x="3621" y="2950"/>
                      </a:lnTo>
                      <a:lnTo>
                        <a:pt x="3618" y="2971"/>
                      </a:lnTo>
                      <a:lnTo>
                        <a:pt x="3615" y="2992"/>
                      </a:lnTo>
                      <a:lnTo>
                        <a:pt x="3609" y="3015"/>
                      </a:lnTo>
                      <a:lnTo>
                        <a:pt x="3603" y="3037"/>
                      </a:lnTo>
                      <a:lnTo>
                        <a:pt x="3596" y="3057"/>
                      </a:lnTo>
                      <a:lnTo>
                        <a:pt x="3588" y="3076"/>
                      </a:lnTo>
                      <a:lnTo>
                        <a:pt x="3579" y="3091"/>
                      </a:lnTo>
                      <a:lnTo>
                        <a:pt x="3574" y="3098"/>
                      </a:lnTo>
                      <a:lnTo>
                        <a:pt x="3565" y="3106"/>
                      </a:lnTo>
                      <a:lnTo>
                        <a:pt x="3555" y="3114"/>
                      </a:lnTo>
                      <a:lnTo>
                        <a:pt x="3544" y="3120"/>
                      </a:lnTo>
                      <a:lnTo>
                        <a:pt x="3532" y="3126"/>
                      </a:lnTo>
                      <a:lnTo>
                        <a:pt x="3521" y="3129"/>
                      </a:lnTo>
                      <a:lnTo>
                        <a:pt x="3516" y="3129"/>
                      </a:lnTo>
                      <a:lnTo>
                        <a:pt x="3510" y="3129"/>
                      </a:lnTo>
                      <a:lnTo>
                        <a:pt x="3507" y="3128"/>
                      </a:lnTo>
                      <a:lnTo>
                        <a:pt x="3502" y="3126"/>
                      </a:lnTo>
                      <a:lnTo>
                        <a:pt x="3498" y="3121"/>
                      </a:lnTo>
                      <a:lnTo>
                        <a:pt x="3496" y="3117"/>
                      </a:lnTo>
                      <a:lnTo>
                        <a:pt x="3495" y="3113"/>
                      </a:lnTo>
                      <a:lnTo>
                        <a:pt x="3496" y="3108"/>
                      </a:lnTo>
                      <a:lnTo>
                        <a:pt x="3497" y="3103"/>
                      </a:lnTo>
                      <a:lnTo>
                        <a:pt x="3501" y="3098"/>
                      </a:lnTo>
                      <a:lnTo>
                        <a:pt x="3504" y="3094"/>
                      </a:lnTo>
                      <a:lnTo>
                        <a:pt x="3508" y="3089"/>
                      </a:lnTo>
                      <a:lnTo>
                        <a:pt x="3527" y="3072"/>
                      </a:lnTo>
                      <a:lnTo>
                        <a:pt x="3542" y="3060"/>
                      </a:lnTo>
                      <a:lnTo>
                        <a:pt x="3549" y="3051"/>
                      </a:lnTo>
                      <a:lnTo>
                        <a:pt x="3555" y="3044"/>
                      </a:lnTo>
                      <a:lnTo>
                        <a:pt x="3558" y="3036"/>
                      </a:lnTo>
                      <a:lnTo>
                        <a:pt x="3562" y="3027"/>
                      </a:lnTo>
                      <a:lnTo>
                        <a:pt x="3564" y="3018"/>
                      </a:lnTo>
                      <a:lnTo>
                        <a:pt x="3566" y="3009"/>
                      </a:lnTo>
                      <a:lnTo>
                        <a:pt x="3566" y="2998"/>
                      </a:lnTo>
                      <a:lnTo>
                        <a:pt x="3568" y="2988"/>
                      </a:lnTo>
                      <a:lnTo>
                        <a:pt x="3568" y="2981"/>
                      </a:lnTo>
                      <a:lnTo>
                        <a:pt x="3570" y="2972"/>
                      </a:lnTo>
                      <a:lnTo>
                        <a:pt x="3575" y="2965"/>
                      </a:lnTo>
                      <a:lnTo>
                        <a:pt x="3578" y="2957"/>
                      </a:lnTo>
                      <a:lnTo>
                        <a:pt x="3588" y="2942"/>
                      </a:lnTo>
                      <a:lnTo>
                        <a:pt x="3596" y="2929"/>
                      </a:lnTo>
                      <a:lnTo>
                        <a:pt x="3603" y="2910"/>
                      </a:lnTo>
                      <a:lnTo>
                        <a:pt x="3608" y="2891"/>
                      </a:lnTo>
                      <a:lnTo>
                        <a:pt x="3613" y="2872"/>
                      </a:lnTo>
                      <a:lnTo>
                        <a:pt x="3622" y="2852"/>
                      </a:lnTo>
                      <a:lnTo>
                        <a:pt x="3629" y="2836"/>
                      </a:lnTo>
                      <a:lnTo>
                        <a:pt x="3635" y="2821"/>
                      </a:lnTo>
                      <a:lnTo>
                        <a:pt x="3636" y="2814"/>
                      </a:lnTo>
                      <a:lnTo>
                        <a:pt x="3637" y="2806"/>
                      </a:lnTo>
                      <a:lnTo>
                        <a:pt x="3637" y="2798"/>
                      </a:lnTo>
                      <a:lnTo>
                        <a:pt x="3635" y="2790"/>
                      </a:lnTo>
                      <a:lnTo>
                        <a:pt x="3632" y="2790"/>
                      </a:lnTo>
                      <a:lnTo>
                        <a:pt x="3629" y="2791"/>
                      </a:lnTo>
                      <a:lnTo>
                        <a:pt x="3625" y="2793"/>
                      </a:lnTo>
                      <a:lnTo>
                        <a:pt x="3622" y="2797"/>
                      </a:lnTo>
                      <a:lnTo>
                        <a:pt x="3615" y="2807"/>
                      </a:lnTo>
                      <a:lnTo>
                        <a:pt x="3605" y="2819"/>
                      </a:lnTo>
                      <a:lnTo>
                        <a:pt x="3597" y="2832"/>
                      </a:lnTo>
                      <a:lnTo>
                        <a:pt x="3588" y="2843"/>
                      </a:lnTo>
                      <a:lnTo>
                        <a:pt x="3582" y="2849"/>
                      </a:lnTo>
                      <a:lnTo>
                        <a:pt x="3577" y="2852"/>
                      </a:lnTo>
                      <a:lnTo>
                        <a:pt x="3572" y="2856"/>
                      </a:lnTo>
                      <a:lnTo>
                        <a:pt x="3566" y="2857"/>
                      </a:lnTo>
                      <a:lnTo>
                        <a:pt x="3557" y="2858"/>
                      </a:lnTo>
                      <a:lnTo>
                        <a:pt x="3545" y="2857"/>
                      </a:lnTo>
                      <a:lnTo>
                        <a:pt x="3530" y="2854"/>
                      </a:lnTo>
                      <a:lnTo>
                        <a:pt x="3516" y="2851"/>
                      </a:lnTo>
                      <a:lnTo>
                        <a:pt x="3502" y="2846"/>
                      </a:lnTo>
                      <a:lnTo>
                        <a:pt x="3490" y="2840"/>
                      </a:lnTo>
                      <a:lnTo>
                        <a:pt x="3485" y="2837"/>
                      </a:lnTo>
                      <a:lnTo>
                        <a:pt x="3482" y="2832"/>
                      </a:lnTo>
                      <a:lnTo>
                        <a:pt x="3480" y="2829"/>
                      </a:lnTo>
                      <a:lnTo>
                        <a:pt x="3478" y="2824"/>
                      </a:lnTo>
                      <a:lnTo>
                        <a:pt x="3502" y="2826"/>
                      </a:lnTo>
                      <a:lnTo>
                        <a:pt x="3515" y="2826"/>
                      </a:lnTo>
                      <a:lnTo>
                        <a:pt x="3517" y="2826"/>
                      </a:lnTo>
                      <a:lnTo>
                        <a:pt x="3519" y="2825"/>
                      </a:lnTo>
                      <a:lnTo>
                        <a:pt x="3521" y="2823"/>
                      </a:lnTo>
                      <a:lnTo>
                        <a:pt x="3522" y="2819"/>
                      </a:lnTo>
                      <a:lnTo>
                        <a:pt x="3523" y="2810"/>
                      </a:lnTo>
                      <a:lnTo>
                        <a:pt x="3523" y="2797"/>
                      </a:lnTo>
                      <a:lnTo>
                        <a:pt x="3532" y="2793"/>
                      </a:lnTo>
                      <a:lnTo>
                        <a:pt x="3539" y="2791"/>
                      </a:lnTo>
                      <a:lnTo>
                        <a:pt x="3545" y="2788"/>
                      </a:lnTo>
                      <a:lnTo>
                        <a:pt x="3549" y="2786"/>
                      </a:lnTo>
                      <a:lnTo>
                        <a:pt x="3550" y="2784"/>
                      </a:lnTo>
                      <a:lnTo>
                        <a:pt x="3551" y="2781"/>
                      </a:lnTo>
                      <a:lnTo>
                        <a:pt x="3550" y="2779"/>
                      </a:lnTo>
                      <a:lnTo>
                        <a:pt x="3547" y="2777"/>
                      </a:lnTo>
                      <a:lnTo>
                        <a:pt x="3539" y="2774"/>
                      </a:lnTo>
                      <a:lnTo>
                        <a:pt x="3528" y="2773"/>
                      </a:lnTo>
                      <a:lnTo>
                        <a:pt x="3514" y="2773"/>
                      </a:lnTo>
                      <a:lnTo>
                        <a:pt x="3500" y="2775"/>
                      </a:lnTo>
                      <a:lnTo>
                        <a:pt x="3497" y="2786"/>
                      </a:lnTo>
                      <a:lnTo>
                        <a:pt x="3494" y="2796"/>
                      </a:lnTo>
                      <a:lnTo>
                        <a:pt x="3491" y="2803"/>
                      </a:lnTo>
                      <a:lnTo>
                        <a:pt x="3488" y="2810"/>
                      </a:lnTo>
                      <a:lnTo>
                        <a:pt x="3484" y="2814"/>
                      </a:lnTo>
                      <a:lnTo>
                        <a:pt x="3481" y="2818"/>
                      </a:lnTo>
                      <a:lnTo>
                        <a:pt x="3477" y="2821"/>
                      </a:lnTo>
                      <a:lnTo>
                        <a:pt x="3474" y="2824"/>
                      </a:lnTo>
                      <a:lnTo>
                        <a:pt x="3469" y="2825"/>
                      </a:lnTo>
                      <a:lnTo>
                        <a:pt x="3465" y="2825"/>
                      </a:lnTo>
                      <a:lnTo>
                        <a:pt x="3461" y="2824"/>
                      </a:lnTo>
                      <a:lnTo>
                        <a:pt x="3457" y="2823"/>
                      </a:lnTo>
                      <a:lnTo>
                        <a:pt x="3448" y="2818"/>
                      </a:lnTo>
                      <a:lnTo>
                        <a:pt x="3440" y="2811"/>
                      </a:lnTo>
                      <a:lnTo>
                        <a:pt x="3421" y="2793"/>
                      </a:lnTo>
                      <a:lnTo>
                        <a:pt x="3402" y="2772"/>
                      </a:lnTo>
                      <a:lnTo>
                        <a:pt x="3391" y="2763"/>
                      </a:lnTo>
                      <a:lnTo>
                        <a:pt x="3382" y="2753"/>
                      </a:lnTo>
                      <a:lnTo>
                        <a:pt x="3373" y="2745"/>
                      </a:lnTo>
                      <a:lnTo>
                        <a:pt x="3363" y="2739"/>
                      </a:lnTo>
                      <a:lnTo>
                        <a:pt x="3351" y="2735"/>
                      </a:lnTo>
                      <a:lnTo>
                        <a:pt x="3338" y="2733"/>
                      </a:lnTo>
                      <a:lnTo>
                        <a:pt x="3324" y="2732"/>
                      </a:lnTo>
                      <a:lnTo>
                        <a:pt x="3308" y="2732"/>
                      </a:lnTo>
                      <a:lnTo>
                        <a:pt x="3291" y="2733"/>
                      </a:lnTo>
                      <a:lnTo>
                        <a:pt x="3274" y="2735"/>
                      </a:lnTo>
                      <a:lnTo>
                        <a:pt x="3255" y="2739"/>
                      </a:lnTo>
                      <a:lnTo>
                        <a:pt x="3237" y="2742"/>
                      </a:lnTo>
                      <a:lnTo>
                        <a:pt x="3200" y="2752"/>
                      </a:lnTo>
                      <a:lnTo>
                        <a:pt x="3165" y="2761"/>
                      </a:lnTo>
                      <a:lnTo>
                        <a:pt x="3133" y="2771"/>
                      </a:lnTo>
                      <a:lnTo>
                        <a:pt x="3108" y="2778"/>
                      </a:lnTo>
                      <a:lnTo>
                        <a:pt x="3087" y="2777"/>
                      </a:lnTo>
                      <a:lnTo>
                        <a:pt x="3066" y="2777"/>
                      </a:lnTo>
                      <a:lnTo>
                        <a:pt x="3044" y="2779"/>
                      </a:lnTo>
                      <a:lnTo>
                        <a:pt x="3021" y="2783"/>
                      </a:lnTo>
                      <a:lnTo>
                        <a:pt x="2978" y="2791"/>
                      </a:lnTo>
                      <a:lnTo>
                        <a:pt x="2937" y="2799"/>
                      </a:lnTo>
                      <a:lnTo>
                        <a:pt x="2913" y="2804"/>
                      </a:lnTo>
                      <a:lnTo>
                        <a:pt x="2887" y="2811"/>
                      </a:lnTo>
                      <a:lnTo>
                        <a:pt x="2863" y="2818"/>
                      </a:lnTo>
                      <a:lnTo>
                        <a:pt x="2839" y="2827"/>
                      </a:lnTo>
                      <a:lnTo>
                        <a:pt x="2828" y="2831"/>
                      </a:lnTo>
                      <a:lnTo>
                        <a:pt x="2816" y="2836"/>
                      </a:lnTo>
                      <a:lnTo>
                        <a:pt x="2801" y="2838"/>
                      </a:lnTo>
                      <a:lnTo>
                        <a:pt x="2787" y="2841"/>
                      </a:lnTo>
                      <a:lnTo>
                        <a:pt x="2773" y="2845"/>
                      </a:lnTo>
                      <a:lnTo>
                        <a:pt x="2760" y="2850"/>
                      </a:lnTo>
                      <a:lnTo>
                        <a:pt x="2750" y="2854"/>
                      </a:lnTo>
                      <a:lnTo>
                        <a:pt x="2740" y="2860"/>
                      </a:lnTo>
                      <a:lnTo>
                        <a:pt x="2724" y="2864"/>
                      </a:lnTo>
                      <a:lnTo>
                        <a:pt x="2709" y="2869"/>
                      </a:lnTo>
                      <a:lnTo>
                        <a:pt x="2700" y="2871"/>
                      </a:lnTo>
                      <a:lnTo>
                        <a:pt x="2692" y="2873"/>
                      </a:lnTo>
                      <a:lnTo>
                        <a:pt x="2683" y="2874"/>
                      </a:lnTo>
                      <a:lnTo>
                        <a:pt x="2673" y="2876"/>
                      </a:lnTo>
                      <a:lnTo>
                        <a:pt x="2649" y="2874"/>
                      </a:lnTo>
                      <a:lnTo>
                        <a:pt x="2623" y="2872"/>
                      </a:lnTo>
                      <a:lnTo>
                        <a:pt x="2610" y="2871"/>
                      </a:lnTo>
                      <a:lnTo>
                        <a:pt x="2597" y="2870"/>
                      </a:lnTo>
                      <a:lnTo>
                        <a:pt x="2584" y="2870"/>
                      </a:lnTo>
                      <a:lnTo>
                        <a:pt x="2572" y="2871"/>
                      </a:lnTo>
                      <a:lnTo>
                        <a:pt x="2459" y="2882"/>
                      </a:lnTo>
                      <a:lnTo>
                        <a:pt x="2457" y="2885"/>
                      </a:lnTo>
                      <a:lnTo>
                        <a:pt x="2454" y="2887"/>
                      </a:lnTo>
                      <a:lnTo>
                        <a:pt x="2450" y="2890"/>
                      </a:lnTo>
                      <a:lnTo>
                        <a:pt x="2445" y="2892"/>
                      </a:lnTo>
                      <a:lnTo>
                        <a:pt x="2437" y="2893"/>
                      </a:lnTo>
                      <a:lnTo>
                        <a:pt x="2428" y="2895"/>
                      </a:lnTo>
                      <a:lnTo>
                        <a:pt x="2428" y="2893"/>
                      </a:lnTo>
                      <a:lnTo>
                        <a:pt x="2426" y="2892"/>
                      </a:lnTo>
                      <a:lnTo>
                        <a:pt x="2428" y="2883"/>
                      </a:lnTo>
                      <a:lnTo>
                        <a:pt x="2428" y="2874"/>
                      </a:lnTo>
                      <a:lnTo>
                        <a:pt x="2434" y="2874"/>
                      </a:lnTo>
                      <a:lnTo>
                        <a:pt x="2437" y="2873"/>
                      </a:lnTo>
                      <a:lnTo>
                        <a:pt x="2441" y="2871"/>
                      </a:lnTo>
                      <a:lnTo>
                        <a:pt x="2444" y="2869"/>
                      </a:lnTo>
                      <a:lnTo>
                        <a:pt x="2451" y="2865"/>
                      </a:lnTo>
                      <a:lnTo>
                        <a:pt x="2457" y="2862"/>
                      </a:lnTo>
                      <a:lnTo>
                        <a:pt x="2457" y="2859"/>
                      </a:lnTo>
                      <a:lnTo>
                        <a:pt x="2455" y="2858"/>
                      </a:lnTo>
                      <a:lnTo>
                        <a:pt x="2452" y="2854"/>
                      </a:lnTo>
                      <a:lnTo>
                        <a:pt x="2451" y="2850"/>
                      </a:lnTo>
                      <a:lnTo>
                        <a:pt x="2451" y="2844"/>
                      </a:lnTo>
                      <a:lnTo>
                        <a:pt x="2451" y="2834"/>
                      </a:lnTo>
                      <a:lnTo>
                        <a:pt x="2449" y="2829"/>
                      </a:lnTo>
                      <a:lnTo>
                        <a:pt x="2446" y="2827"/>
                      </a:lnTo>
                      <a:lnTo>
                        <a:pt x="2442" y="2831"/>
                      </a:lnTo>
                      <a:lnTo>
                        <a:pt x="2437" y="2836"/>
                      </a:lnTo>
                      <a:lnTo>
                        <a:pt x="2431" y="2841"/>
                      </a:lnTo>
                      <a:lnTo>
                        <a:pt x="2422" y="2854"/>
                      </a:lnTo>
                      <a:lnTo>
                        <a:pt x="2417" y="2864"/>
                      </a:lnTo>
                      <a:lnTo>
                        <a:pt x="2416" y="2876"/>
                      </a:lnTo>
                      <a:lnTo>
                        <a:pt x="2415" y="2892"/>
                      </a:lnTo>
                      <a:lnTo>
                        <a:pt x="2415" y="2900"/>
                      </a:lnTo>
                      <a:lnTo>
                        <a:pt x="2414" y="2909"/>
                      </a:lnTo>
                      <a:lnTo>
                        <a:pt x="2411" y="2913"/>
                      </a:lnTo>
                      <a:lnTo>
                        <a:pt x="2409" y="2917"/>
                      </a:lnTo>
                      <a:lnTo>
                        <a:pt x="2397" y="2922"/>
                      </a:lnTo>
                      <a:lnTo>
                        <a:pt x="2383" y="2925"/>
                      </a:lnTo>
                      <a:lnTo>
                        <a:pt x="2368" y="2929"/>
                      </a:lnTo>
                      <a:lnTo>
                        <a:pt x="2356" y="2932"/>
                      </a:lnTo>
                      <a:lnTo>
                        <a:pt x="2344" y="2937"/>
                      </a:lnTo>
                      <a:lnTo>
                        <a:pt x="2335" y="2943"/>
                      </a:lnTo>
                      <a:lnTo>
                        <a:pt x="2325" y="2951"/>
                      </a:lnTo>
                      <a:lnTo>
                        <a:pt x="2317" y="2959"/>
                      </a:lnTo>
                      <a:lnTo>
                        <a:pt x="2308" y="2966"/>
                      </a:lnTo>
                      <a:lnTo>
                        <a:pt x="2297" y="2973"/>
                      </a:lnTo>
                      <a:lnTo>
                        <a:pt x="2293" y="2977"/>
                      </a:lnTo>
                      <a:lnTo>
                        <a:pt x="2287" y="2979"/>
                      </a:lnTo>
                      <a:lnTo>
                        <a:pt x="2281" y="2982"/>
                      </a:lnTo>
                      <a:lnTo>
                        <a:pt x="2274" y="2984"/>
                      </a:lnTo>
                      <a:lnTo>
                        <a:pt x="2250" y="2989"/>
                      </a:lnTo>
                      <a:lnTo>
                        <a:pt x="2229" y="2996"/>
                      </a:lnTo>
                      <a:lnTo>
                        <a:pt x="2210" y="3004"/>
                      </a:lnTo>
                      <a:lnTo>
                        <a:pt x="2193" y="3014"/>
                      </a:lnTo>
                      <a:lnTo>
                        <a:pt x="2175" y="3025"/>
                      </a:lnTo>
                      <a:lnTo>
                        <a:pt x="2160" y="3039"/>
                      </a:lnTo>
                      <a:lnTo>
                        <a:pt x="2144" y="3055"/>
                      </a:lnTo>
                      <a:lnTo>
                        <a:pt x="2129" y="3072"/>
                      </a:lnTo>
                      <a:lnTo>
                        <a:pt x="2124" y="3078"/>
                      </a:lnTo>
                      <a:lnTo>
                        <a:pt x="2121" y="3087"/>
                      </a:lnTo>
                      <a:lnTo>
                        <a:pt x="2119" y="3094"/>
                      </a:lnTo>
                      <a:lnTo>
                        <a:pt x="2116" y="3101"/>
                      </a:lnTo>
                      <a:lnTo>
                        <a:pt x="2113" y="3116"/>
                      </a:lnTo>
                      <a:lnTo>
                        <a:pt x="2109" y="3129"/>
                      </a:lnTo>
                      <a:lnTo>
                        <a:pt x="2106" y="3135"/>
                      </a:lnTo>
                      <a:lnTo>
                        <a:pt x="2103" y="3141"/>
                      </a:lnTo>
                      <a:lnTo>
                        <a:pt x="2099" y="3144"/>
                      </a:lnTo>
                      <a:lnTo>
                        <a:pt x="2094" y="3148"/>
                      </a:lnTo>
                      <a:lnTo>
                        <a:pt x="2087" y="3150"/>
                      </a:lnTo>
                      <a:lnTo>
                        <a:pt x="2079" y="3150"/>
                      </a:lnTo>
                      <a:lnTo>
                        <a:pt x="2068" y="3149"/>
                      </a:lnTo>
                      <a:lnTo>
                        <a:pt x="2056" y="3147"/>
                      </a:lnTo>
                      <a:lnTo>
                        <a:pt x="2056" y="3111"/>
                      </a:lnTo>
                      <a:lnTo>
                        <a:pt x="2056" y="3081"/>
                      </a:lnTo>
                      <a:lnTo>
                        <a:pt x="2059" y="3067"/>
                      </a:lnTo>
                      <a:lnTo>
                        <a:pt x="2061" y="3051"/>
                      </a:lnTo>
                      <a:lnTo>
                        <a:pt x="2065" y="3035"/>
                      </a:lnTo>
                      <a:lnTo>
                        <a:pt x="2069" y="3017"/>
                      </a:lnTo>
                      <a:lnTo>
                        <a:pt x="2076" y="3018"/>
                      </a:lnTo>
                      <a:lnTo>
                        <a:pt x="2082" y="3022"/>
                      </a:lnTo>
                      <a:lnTo>
                        <a:pt x="2086" y="3022"/>
                      </a:lnTo>
                      <a:lnTo>
                        <a:pt x="2089" y="3023"/>
                      </a:lnTo>
                      <a:lnTo>
                        <a:pt x="2093" y="3023"/>
                      </a:lnTo>
                      <a:lnTo>
                        <a:pt x="2097" y="3022"/>
                      </a:lnTo>
                      <a:lnTo>
                        <a:pt x="2103" y="3019"/>
                      </a:lnTo>
                      <a:lnTo>
                        <a:pt x="2109" y="3016"/>
                      </a:lnTo>
                      <a:lnTo>
                        <a:pt x="2113" y="3012"/>
                      </a:lnTo>
                      <a:lnTo>
                        <a:pt x="2117" y="3008"/>
                      </a:lnTo>
                      <a:lnTo>
                        <a:pt x="2121" y="3004"/>
                      </a:lnTo>
                      <a:lnTo>
                        <a:pt x="2127" y="3002"/>
                      </a:lnTo>
                      <a:lnTo>
                        <a:pt x="2133" y="2999"/>
                      </a:lnTo>
                      <a:lnTo>
                        <a:pt x="2140" y="2998"/>
                      </a:lnTo>
                      <a:lnTo>
                        <a:pt x="2151" y="2997"/>
                      </a:lnTo>
                      <a:lnTo>
                        <a:pt x="2162" y="2996"/>
                      </a:lnTo>
                      <a:lnTo>
                        <a:pt x="2174" y="2995"/>
                      </a:lnTo>
                      <a:lnTo>
                        <a:pt x="2186" y="2994"/>
                      </a:lnTo>
                      <a:lnTo>
                        <a:pt x="2187" y="2988"/>
                      </a:lnTo>
                      <a:lnTo>
                        <a:pt x="2187" y="2981"/>
                      </a:lnTo>
                      <a:lnTo>
                        <a:pt x="2187" y="2973"/>
                      </a:lnTo>
                      <a:lnTo>
                        <a:pt x="2187" y="2968"/>
                      </a:lnTo>
                      <a:lnTo>
                        <a:pt x="2184" y="2953"/>
                      </a:lnTo>
                      <a:lnTo>
                        <a:pt x="2183" y="2940"/>
                      </a:lnTo>
                      <a:lnTo>
                        <a:pt x="2174" y="2942"/>
                      </a:lnTo>
                      <a:lnTo>
                        <a:pt x="2168" y="2944"/>
                      </a:lnTo>
                      <a:lnTo>
                        <a:pt x="2164" y="2944"/>
                      </a:lnTo>
                      <a:lnTo>
                        <a:pt x="2162" y="2942"/>
                      </a:lnTo>
                      <a:lnTo>
                        <a:pt x="2159" y="2938"/>
                      </a:lnTo>
                      <a:lnTo>
                        <a:pt x="2153" y="2931"/>
                      </a:lnTo>
                      <a:lnTo>
                        <a:pt x="2149" y="2926"/>
                      </a:lnTo>
                      <a:lnTo>
                        <a:pt x="2147" y="2924"/>
                      </a:lnTo>
                      <a:lnTo>
                        <a:pt x="2143" y="2922"/>
                      </a:lnTo>
                      <a:lnTo>
                        <a:pt x="2140" y="2919"/>
                      </a:lnTo>
                      <a:lnTo>
                        <a:pt x="2134" y="2918"/>
                      </a:lnTo>
                      <a:lnTo>
                        <a:pt x="2127" y="2918"/>
                      </a:lnTo>
                      <a:lnTo>
                        <a:pt x="2113" y="2920"/>
                      </a:lnTo>
                      <a:lnTo>
                        <a:pt x="2099" y="2919"/>
                      </a:lnTo>
                      <a:lnTo>
                        <a:pt x="2086" y="2916"/>
                      </a:lnTo>
                      <a:lnTo>
                        <a:pt x="2070" y="2910"/>
                      </a:lnTo>
                      <a:lnTo>
                        <a:pt x="2055" y="2904"/>
                      </a:lnTo>
                      <a:lnTo>
                        <a:pt x="2045" y="2902"/>
                      </a:lnTo>
                      <a:lnTo>
                        <a:pt x="2043" y="2910"/>
                      </a:lnTo>
                      <a:lnTo>
                        <a:pt x="2041" y="2915"/>
                      </a:lnTo>
                      <a:lnTo>
                        <a:pt x="2036" y="2919"/>
                      </a:lnTo>
                      <a:lnTo>
                        <a:pt x="2033" y="2922"/>
                      </a:lnTo>
                      <a:lnTo>
                        <a:pt x="2028" y="2925"/>
                      </a:lnTo>
                      <a:lnTo>
                        <a:pt x="2025" y="2930"/>
                      </a:lnTo>
                      <a:lnTo>
                        <a:pt x="2023" y="2936"/>
                      </a:lnTo>
                      <a:lnTo>
                        <a:pt x="2023" y="2945"/>
                      </a:lnTo>
                      <a:lnTo>
                        <a:pt x="2025" y="2952"/>
                      </a:lnTo>
                      <a:lnTo>
                        <a:pt x="2028" y="2959"/>
                      </a:lnTo>
                      <a:lnTo>
                        <a:pt x="2032" y="2965"/>
                      </a:lnTo>
                      <a:lnTo>
                        <a:pt x="2035" y="2971"/>
                      </a:lnTo>
                      <a:lnTo>
                        <a:pt x="2039" y="2977"/>
                      </a:lnTo>
                      <a:lnTo>
                        <a:pt x="2042" y="2983"/>
                      </a:lnTo>
                      <a:lnTo>
                        <a:pt x="2045" y="2990"/>
                      </a:lnTo>
                      <a:lnTo>
                        <a:pt x="2045" y="2998"/>
                      </a:lnTo>
                      <a:lnTo>
                        <a:pt x="2040" y="2998"/>
                      </a:lnTo>
                      <a:lnTo>
                        <a:pt x="2034" y="2996"/>
                      </a:lnTo>
                      <a:lnTo>
                        <a:pt x="2026" y="2992"/>
                      </a:lnTo>
                      <a:lnTo>
                        <a:pt x="2019" y="2988"/>
                      </a:lnTo>
                      <a:lnTo>
                        <a:pt x="2009" y="2984"/>
                      </a:lnTo>
                      <a:lnTo>
                        <a:pt x="2001" y="2979"/>
                      </a:lnTo>
                      <a:lnTo>
                        <a:pt x="1993" y="2977"/>
                      </a:lnTo>
                      <a:lnTo>
                        <a:pt x="1983" y="2976"/>
                      </a:lnTo>
                      <a:lnTo>
                        <a:pt x="1968" y="2976"/>
                      </a:lnTo>
                      <a:lnTo>
                        <a:pt x="1953" y="2978"/>
                      </a:lnTo>
                      <a:lnTo>
                        <a:pt x="1946" y="2979"/>
                      </a:lnTo>
                      <a:lnTo>
                        <a:pt x="1939" y="2983"/>
                      </a:lnTo>
                      <a:lnTo>
                        <a:pt x="1933" y="2986"/>
                      </a:lnTo>
                      <a:lnTo>
                        <a:pt x="1926" y="2992"/>
                      </a:lnTo>
                      <a:lnTo>
                        <a:pt x="1906" y="3003"/>
                      </a:lnTo>
                      <a:lnTo>
                        <a:pt x="1880" y="3017"/>
                      </a:lnTo>
                      <a:lnTo>
                        <a:pt x="1867" y="3024"/>
                      </a:lnTo>
                      <a:lnTo>
                        <a:pt x="1854" y="3030"/>
                      </a:lnTo>
                      <a:lnTo>
                        <a:pt x="1844" y="3035"/>
                      </a:lnTo>
                      <a:lnTo>
                        <a:pt x="1833" y="3036"/>
                      </a:lnTo>
                      <a:lnTo>
                        <a:pt x="1828" y="3034"/>
                      </a:lnTo>
                      <a:lnTo>
                        <a:pt x="1819" y="3029"/>
                      </a:lnTo>
                      <a:lnTo>
                        <a:pt x="1808" y="3022"/>
                      </a:lnTo>
                      <a:lnTo>
                        <a:pt x="1797" y="3012"/>
                      </a:lnTo>
                      <a:lnTo>
                        <a:pt x="1775" y="2995"/>
                      </a:lnTo>
                      <a:lnTo>
                        <a:pt x="1760" y="2983"/>
                      </a:lnTo>
                      <a:lnTo>
                        <a:pt x="1752" y="2978"/>
                      </a:lnTo>
                      <a:lnTo>
                        <a:pt x="1745" y="2975"/>
                      </a:lnTo>
                      <a:lnTo>
                        <a:pt x="1738" y="2971"/>
                      </a:lnTo>
                      <a:lnTo>
                        <a:pt x="1731" y="2969"/>
                      </a:lnTo>
                      <a:lnTo>
                        <a:pt x="1717" y="2965"/>
                      </a:lnTo>
                      <a:lnTo>
                        <a:pt x="1703" y="2964"/>
                      </a:lnTo>
                      <a:lnTo>
                        <a:pt x="1688" y="2965"/>
                      </a:lnTo>
                      <a:lnTo>
                        <a:pt x="1676" y="2969"/>
                      </a:lnTo>
                      <a:lnTo>
                        <a:pt x="1663" y="2973"/>
                      </a:lnTo>
                      <a:lnTo>
                        <a:pt x="1650" y="2979"/>
                      </a:lnTo>
                      <a:lnTo>
                        <a:pt x="1624" y="2992"/>
                      </a:lnTo>
                      <a:lnTo>
                        <a:pt x="1599" y="3008"/>
                      </a:lnTo>
                      <a:lnTo>
                        <a:pt x="1587" y="3015"/>
                      </a:lnTo>
                      <a:lnTo>
                        <a:pt x="1576" y="3022"/>
                      </a:lnTo>
                      <a:lnTo>
                        <a:pt x="1564" y="3028"/>
                      </a:lnTo>
                      <a:lnTo>
                        <a:pt x="1552" y="3032"/>
                      </a:lnTo>
                      <a:lnTo>
                        <a:pt x="1552" y="3034"/>
                      </a:lnTo>
                      <a:lnTo>
                        <a:pt x="1556" y="3036"/>
                      </a:lnTo>
                      <a:lnTo>
                        <a:pt x="1562" y="3039"/>
                      </a:lnTo>
                      <a:lnTo>
                        <a:pt x="1566" y="3044"/>
                      </a:lnTo>
                      <a:lnTo>
                        <a:pt x="1572" y="3051"/>
                      </a:lnTo>
                      <a:lnTo>
                        <a:pt x="1576" y="3058"/>
                      </a:lnTo>
                      <a:lnTo>
                        <a:pt x="1579" y="3065"/>
                      </a:lnTo>
                      <a:lnTo>
                        <a:pt x="1580" y="3068"/>
                      </a:lnTo>
                      <a:lnTo>
                        <a:pt x="1580" y="3071"/>
                      </a:lnTo>
                      <a:lnTo>
                        <a:pt x="1580" y="3074"/>
                      </a:lnTo>
                      <a:lnTo>
                        <a:pt x="1579" y="3077"/>
                      </a:lnTo>
                      <a:lnTo>
                        <a:pt x="1572" y="3087"/>
                      </a:lnTo>
                      <a:lnTo>
                        <a:pt x="1565" y="3096"/>
                      </a:lnTo>
                      <a:lnTo>
                        <a:pt x="1557" y="3104"/>
                      </a:lnTo>
                      <a:lnTo>
                        <a:pt x="1547" y="3113"/>
                      </a:lnTo>
                      <a:lnTo>
                        <a:pt x="1537" y="3121"/>
                      </a:lnTo>
                      <a:lnTo>
                        <a:pt x="1526" y="3128"/>
                      </a:lnTo>
                      <a:lnTo>
                        <a:pt x="1515" y="3135"/>
                      </a:lnTo>
                      <a:lnTo>
                        <a:pt x="1503" y="3141"/>
                      </a:lnTo>
                      <a:lnTo>
                        <a:pt x="1490" y="3146"/>
                      </a:lnTo>
                      <a:lnTo>
                        <a:pt x="1478" y="3150"/>
                      </a:lnTo>
                      <a:lnTo>
                        <a:pt x="1465" y="3154"/>
                      </a:lnTo>
                      <a:lnTo>
                        <a:pt x="1453" y="3156"/>
                      </a:lnTo>
                      <a:lnTo>
                        <a:pt x="1440" y="3157"/>
                      </a:lnTo>
                      <a:lnTo>
                        <a:pt x="1430" y="3157"/>
                      </a:lnTo>
                      <a:lnTo>
                        <a:pt x="1418" y="3157"/>
                      </a:lnTo>
                      <a:lnTo>
                        <a:pt x="1408" y="3155"/>
                      </a:lnTo>
                      <a:lnTo>
                        <a:pt x="1409" y="3148"/>
                      </a:lnTo>
                      <a:lnTo>
                        <a:pt x="1411" y="3141"/>
                      </a:lnTo>
                      <a:lnTo>
                        <a:pt x="1415" y="3134"/>
                      </a:lnTo>
                      <a:lnTo>
                        <a:pt x="1419" y="3127"/>
                      </a:lnTo>
                      <a:lnTo>
                        <a:pt x="1430" y="3111"/>
                      </a:lnTo>
                      <a:lnTo>
                        <a:pt x="1439" y="3097"/>
                      </a:lnTo>
                      <a:lnTo>
                        <a:pt x="1443" y="3091"/>
                      </a:lnTo>
                      <a:lnTo>
                        <a:pt x="1445" y="3087"/>
                      </a:lnTo>
                      <a:lnTo>
                        <a:pt x="1446" y="3082"/>
                      </a:lnTo>
                      <a:lnTo>
                        <a:pt x="1446" y="3078"/>
                      </a:lnTo>
                      <a:lnTo>
                        <a:pt x="1443" y="3076"/>
                      </a:lnTo>
                      <a:lnTo>
                        <a:pt x="1438" y="3074"/>
                      </a:lnTo>
                      <a:lnTo>
                        <a:pt x="1430" y="3075"/>
                      </a:lnTo>
                      <a:lnTo>
                        <a:pt x="1418" y="3076"/>
                      </a:lnTo>
                      <a:lnTo>
                        <a:pt x="1408" y="3077"/>
                      </a:lnTo>
                      <a:lnTo>
                        <a:pt x="1399" y="3076"/>
                      </a:lnTo>
                      <a:lnTo>
                        <a:pt x="1393" y="3075"/>
                      </a:lnTo>
                      <a:lnTo>
                        <a:pt x="1389" y="3074"/>
                      </a:lnTo>
                      <a:lnTo>
                        <a:pt x="1388" y="3074"/>
                      </a:lnTo>
                      <a:lnTo>
                        <a:pt x="1386" y="3075"/>
                      </a:lnTo>
                      <a:lnTo>
                        <a:pt x="1386" y="3076"/>
                      </a:lnTo>
                      <a:lnTo>
                        <a:pt x="1386" y="3078"/>
                      </a:lnTo>
                      <a:lnTo>
                        <a:pt x="1388" y="3085"/>
                      </a:lnTo>
                      <a:lnTo>
                        <a:pt x="1391" y="3100"/>
                      </a:lnTo>
                      <a:lnTo>
                        <a:pt x="1393" y="3114"/>
                      </a:lnTo>
                      <a:lnTo>
                        <a:pt x="1395" y="3128"/>
                      </a:lnTo>
                      <a:lnTo>
                        <a:pt x="1396" y="3143"/>
                      </a:lnTo>
                      <a:lnTo>
                        <a:pt x="1398" y="3157"/>
                      </a:lnTo>
                      <a:lnTo>
                        <a:pt x="1398" y="3159"/>
                      </a:lnTo>
                      <a:lnTo>
                        <a:pt x="1377" y="3159"/>
                      </a:lnTo>
                      <a:lnTo>
                        <a:pt x="1358" y="3161"/>
                      </a:lnTo>
                      <a:lnTo>
                        <a:pt x="1342" y="3164"/>
                      </a:lnTo>
                      <a:lnTo>
                        <a:pt x="1321" y="3168"/>
                      </a:lnTo>
                      <a:lnTo>
                        <a:pt x="1309" y="3169"/>
                      </a:lnTo>
                      <a:lnTo>
                        <a:pt x="1299" y="3169"/>
                      </a:lnTo>
                      <a:lnTo>
                        <a:pt x="1291" y="3168"/>
                      </a:lnTo>
                      <a:lnTo>
                        <a:pt x="1284" y="3167"/>
                      </a:lnTo>
                      <a:lnTo>
                        <a:pt x="1271" y="3162"/>
                      </a:lnTo>
                      <a:lnTo>
                        <a:pt x="1252" y="3156"/>
                      </a:lnTo>
                      <a:lnTo>
                        <a:pt x="1268" y="3151"/>
                      </a:lnTo>
                      <a:lnTo>
                        <a:pt x="1287" y="3146"/>
                      </a:lnTo>
                      <a:lnTo>
                        <a:pt x="1296" y="3139"/>
                      </a:lnTo>
                      <a:lnTo>
                        <a:pt x="1301" y="3133"/>
                      </a:lnTo>
                      <a:lnTo>
                        <a:pt x="1302" y="3128"/>
                      </a:lnTo>
                      <a:lnTo>
                        <a:pt x="1302" y="3123"/>
                      </a:lnTo>
                      <a:lnTo>
                        <a:pt x="1299" y="3118"/>
                      </a:lnTo>
                      <a:lnTo>
                        <a:pt x="1296" y="3113"/>
                      </a:lnTo>
                      <a:lnTo>
                        <a:pt x="1295" y="3106"/>
                      </a:lnTo>
                      <a:lnTo>
                        <a:pt x="1296" y="3096"/>
                      </a:lnTo>
                      <a:lnTo>
                        <a:pt x="1298" y="3090"/>
                      </a:lnTo>
                      <a:lnTo>
                        <a:pt x="1303" y="3082"/>
                      </a:lnTo>
                      <a:lnTo>
                        <a:pt x="1310" y="3071"/>
                      </a:lnTo>
                      <a:lnTo>
                        <a:pt x="1317" y="3061"/>
                      </a:lnTo>
                      <a:lnTo>
                        <a:pt x="1325" y="3050"/>
                      </a:lnTo>
                      <a:lnTo>
                        <a:pt x="1334" y="3041"/>
                      </a:lnTo>
                      <a:lnTo>
                        <a:pt x="1341" y="3034"/>
                      </a:lnTo>
                      <a:lnTo>
                        <a:pt x="1346" y="3030"/>
                      </a:lnTo>
                      <a:lnTo>
                        <a:pt x="1351" y="3028"/>
                      </a:lnTo>
                      <a:lnTo>
                        <a:pt x="1356" y="3027"/>
                      </a:lnTo>
                      <a:lnTo>
                        <a:pt x="1359" y="3027"/>
                      </a:lnTo>
                      <a:lnTo>
                        <a:pt x="1364" y="3028"/>
                      </a:lnTo>
                      <a:lnTo>
                        <a:pt x="1373" y="3031"/>
                      </a:lnTo>
                      <a:lnTo>
                        <a:pt x="1382" y="3035"/>
                      </a:lnTo>
                      <a:lnTo>
                        <a:pt x="1389" y="3035"/>
                      </a:lnTo>
                      <a:lnTo>
                        <a:pt x="1395" y="3034"/>
                      </a:lnTo>
                      <a:lnTo>
                        <a:pt x="1401" y="3029"/>
                      </a:lnTo>
                      <a:lnTo>
                        <a:pt x="1408" y="3024"/>
                      </a:lnTo>
                      <a:lnTo>
                        <a:pt x="1415" y="3019"/>
                      </a:lnTo>
                      <a:lnTo>
                        <a:pt x="1423" y="3016"/>
                      </a:lnTo>
                      <a:lnTo>
                        <a:pt x="1431" y="3012"/>
                      </a:lnTo>
                      <a:lnTo>
                        <a:pt x="1439" y="3011"/>
                      </a:lnTo>
                      <a:lnTo>
                        <a:pt x="1438" y="3008"/>
                      </a:lnTo>
                      <a:lnTo>
                        <a:pt x="1435" y="3004"/>
                      </a:lnTo>
                      <a:lnTo>
                        <a:pt x="1430" y="3001"/>
                      </a:lnTo>
                      <a:lnTo>
                        <a:pt x="1424" y="2997"/>
                      </a:lnTo>
                      <a:lnTo>
                        <a:pt x="1413" y="2991"/>
                      </a:lnTo>
                      <a:lnTo>
                        <a:pt x="1405" y="2985"/>
                      </a:lnTo>
                      <a:lnTo>
                        <a:pt x="1401" y="2977"/>
                      </a:lnTo>
                      <a:lnTo>
                        <a:pt x="1396" y="2969"/>
                      </a:lnTo>
                      <a:lnTo>
                        <a:pt x="1393" y="2964"/>
                      </a:lnTo>
                      <a:lnTo>
                        <a:pt x="1391" y="2962"/>
                      </a:lnTo>
                      <a:lnTo>
                        <a:pt x="1388" y="2959"/>
                      </a:lnTo>
                      <a:lnTo>
                        <a:pt x="1383" y="2958"/>
                      </a:lnTo>
                      <a:lnTo>
                        <a:pt x="1379" y="2971"/>
                      </a:lnTo>
                      <a:lnTo>
                        <a:pt x="1377" y="2982"/>
                      </a:lnTo>
                      <a:lnTo>
                        <a:pt x="1375" y="2989"/>
                      </a:lnTo>
                      <a:lnTo>
                        <a:pt x="1371" y="2995"/>
                      </a:lnTo>
                      <a:lnTo>
                        <a:pt x="1366" y="2999"/>
                      </a:lnTo>
                      <a:lnTo>
                        <a:pt x="1361" y="3005"/>
                      </a:lnTo>
                      <a:lnTo>
                        <a:pt x="1352" y="3010"/>
                      </a:lnTo>
                      <a:lnTo>
                        <a:pt x="1341" y="3017"/>
                      </a:lnTo>
                      <a:lnTo>
                        <a:pt x="1321" y="3032"/>
                      </a:lnTo>
                      <a:lnTo>
                        <a:pt x="1289" y="3056"/>
                      </a:lnTo>
                      <a:lnTo>
                        <a:pt x="1275" y="3069"/>
                      </a:lnTo>
                      <a:lnTo>
                        <a:pt x="1262" y="3081"/>
                      </a:lnTo>
                      <a:lnTo>
                        <a:pt x="1256" y="3085"/>
                      </a:lnTo>
                      <a:lnTo>
                        <a:pt x="1252" y="3090"/>
                      </a:lnTo>
                      <a:lnTo>
                        <a:pt x="1250" y="3094"/>
                      </a:lnTo>
                      <a:lnTo>
                        <a:pt x="1249" y="3096"/>
                      </a:lnTo>
                      <a:lnTo>
                        <a:pt x="1252" y="3108"/>
                      </a:lnTo>
                      <a:lnTo>
                        <a:pt x="1258" y="3121"/>
                      </a:lnTo>
                      <a:lnTo>
                        <a:pt x="1259" y="3127"/>
                      </a:lnTo>
                      <a:lnTo>
                        <a:pt x="1258" y="3133"/>
                      </a:lnTo>
                      <a:lnTo>
                        <a:pt x="1257" y="3135"/>
                      </a:lnTo>
                      <a:lnTo>
                        <a:pt x="1255" y="3137"/>
                      </a:lnTo>
                      <a:lnTo>
                        <a:pt x="1252" y="3140"/>
                      </a:lnTo>
                      <a:lnTo>
                        <a:pt x="1249" y="3141"/>
                      </a:lnTo>
                      <a:lnTo>
                        <a:pt x="1242" y="3144"/>
                      </a:lnTo>
                      <a:lnTo>
                        <a:pt x="1238" y="3148"/>
                      </a:lnTo>
                      <a:lnTo>
                        <a:pt x="1235" y="3153"/>
                      </a:lnTo>
                      <a:lnTo>
                        <a:pt x="1234" y="3159"/>
                      </a:lnTo>
                      <a:lnTo>
                        <a:pt x="1232" y="3167"/>
                      </a:lnTo>
                      <a:lnTo>
                        <a:pt x="1232" y="3172"/>
                      </a:lnTo>
                      <a:lnTo>
                        <a:pt x="1229" y="3179"/>
                      </a:lnTo>
                      <a:lnTo>
                        <a:pt x="1227" y="3188"/>
                      </a:lnTo>
                      <a:lnTo>
                        <a:pt x="1218" y="3202"/>
                      </a:lnTo>
                      <a:lnTo>
                        <a:pt x="1211" y="3216"/>
                      </a:lnTo>
                      <a:lnTo>
                        <a:pt x="1204" y="3232"/>
                      </a:lnTo>
                      <a:lnTo>
                        <a:pt x="1198" y="3246"/>
                      </a:lnTo>
                      <a:lnTo>
                        <a:pt x="1196" y="3256"/>
                      </a:lnTo>
                      <a:lnTo>
                        <a:pt x="1192" y="3267"/>
                      </a:lnTo>
                      <a:lnTo>
                        <a:pt x="1184" y="3275"/>
                      </a:lnTo>
                      <a:lnTo>
                        <a:pt x="1177" y="3282"/>
                      </a:lnTo>
                      <a:lnTo>
                        <a:pt x="1175" y="3282"/>
                      </a:lnTo>
                      <a:lnTo>
                        <a:pt x="1174" y="3285"/>
                      </a:lnTo>
                      <a:lnTo>
                        <a:pt x="1170" y="3286"/>
                      </a:lnTo>
                      <a:lnTo>
                        <a:pt x="1167" y="3286"/>
                      </a:lnTo>
                      <a:lnTo>
                        <a:pt x="1161" y="3286"/>
                      </a:lnTo>
                      <a:lnTo>
                        <a:pt x="1156" y="3285"/>
                      </a:lnTo>
                      <a:lnTo>
                        <a:pt x="1153" y="3283"/>
                      </a:lnTo>
                      <a:lnTo>
                        <a:pt x="1149" y="3281"/>
                      </a:lnTo>
                      <a:lnTo>
                        <a:pt x="1147" y="3279"/>
                      </a:lnTo>
                      <a:lnTo>
                        <a:pt x="1145" y="3267"/>
                      </a:lnTo>
                      <a:lnTo>
                        <a:pt x="1145" y="3253"/>
                      </a:lnTo>
                      <a:lnTo>
                        <a:pt x="1145" y="3239"/>
                      </a:lnTo>
                      <a:lnTo>
                        <a:pt x="1144" y="3226"/>
                      </a:lnTo>
                      <a:lnTo>
                        <a:pt x="1131" y="3226"/>
                      </a:lnTo>
                      <a:lnTo>
                        <a:pt x="1121" y="3226"/>
                      </a:lnTo>
                      <a:lnTo>
                        <a:pt x="1116" y="3225"/>
                      </a:lnTo>
                      <a:lnTo>
                        <a:pt x="1114" y="3221"/>
                      </a:lnTo>
                      <a:lnTo>
                        <a:pt x="1111" y="3215"/>
                      </a:lnTo>
                      <a:lnTo>
                        <a:pt x="1111" y="3207"/>
                      </a:lnTo>
                      <a:lnTo>
                        <a:pt x="1115" y="3196"/>
                      </a:lnTo>
                      <a:lnTo>
                        <a:pt x="1120" y="3184"/>
                      </a:lnTo>
                      <a:lnTo>
                        <a:pt x="1127" y="3173"/>
                      </a:lnTo>
                      <a:lnTo>
                        <a:pt x="1133" y="3163"/>
                      </a:lnTo>
                      <a:lnTo>
                        <a:pt x="1140" y="3150"/>
                      </a:lnTo>
                      <a:lnTo>
                        <a:pt x="1144" y="3140"/>
                      </a:lnTo>
                      <a:lnTo>
                        <a:pt x="1145" y="3129"/>
                      </a:lnTo>
                      <a:lnTo>
                        <a:pt x="1147" y="3114"/>
                      </a:lnTo>
                      <a:lnTo>
                        <a:pt x="1147" y="3109"/>
                      </a:lnTo>
                      <a:lnTo>
                        <a:pt x="1147" y="3107"/>
                      </a:lnTo>
                      <a:lnTo>
                        <a:pt x="1145" y="3104"/>
                      </a:lnTo>
                      <a:lnTo>
                        <a:pt x="1144" y="3104"/>
                      </a:lnTo>
                      <a:lnTo>
                        <a:pt x="1141" y="3106"/>
                      </a:lnTo>
                      <a:lnTo>
                        <a:pt x="1137" y="3110"/>
                      </a:lnTo>
                      <a:lnTo>
                        <a:pt x="1128" y="3122"/>
                      </a:lnTo>
                      <a:lnTo>
                        <a:pt x="1123" y="3133"/>
                      </a:lnTo>
                      <a:lnTo>
                        <a:pt x="1118" y="3146"/>
                      </a:lnTo>
                      <a:lnTo>
                        <a:pt x="1114" y="3159"/>
                      </a:lnTo>
                      <a:lnTo>
                        <a:pt x="1109" y="3172"/>
                      </a:lnTo>
                      <a:lnTo>
                        <a:pt x="1102" y="3184"/>
                      </a:lnTo>
                      <a:lnTo>
                        <a:pt x="1097" y="3200"/>
                      </a:lnTo>
                      <a:lnTo>
                        <a:pt x="1095" y="3214"/>
                      </a:lnTo>
                      <a:lnTo>
                        <a:pt x="1090" y="3232"/>
                      </a:lnTo>
                      <a:lnTo>
                        <a:pt x="1082" y="3249"/>
                      </a:lnTo>
                      <a:lnTo>
                        <a:pt x="1078" y="3258"/>
                      </a:lnTo>
                      <a:lnTo>
                        <a:pt x="1075" y="3267"/>
                      </a:lnTo>
                      <a:lnTo>
                        <a:pt x="1073" y="3275"/>
                      </a:lnTo>
                      <a:lnTo>
                        <a:pt x="1071" y="3283"/>
                      </a:lnTo>
                      <a:lnTo>
                        <a:pt x="1073" y="3287"/>
                      </a:lnTo>
                      <a:lnTo>
                        <a:pt x="1075" y="3288"/>
                      </a:lnTo>
                      <a:lnTo>
                        <a:pt x="1080" y="3289"/>
                      </a:lnTo>
                      <a:lnTo>
                        <a:pt x="1086" y="3289"/>
                      </a:lnTo>
                      <a:lnTo>
                        <a:pt x="1096" y="3289"/>
                      </a:lnTo>
                      <a:lnTo>
                        <a:pt x="1106" y="3288"/>
                      </a:lnTo>
                      <a:lnTo>
                        <a:pt x="1109" y="3289"/>
                      </a:lnTo>
                      <a:lnTo>
                        <a:pt x="1110" y="3291"/>
                      </a:lnTo>
                      <a:lnTo>
                        <a:pt x="1113" y="3293"/>
                      </a:lnTo>
                      <a:lnTo>
                        <a:pt x="1114" y="3295"/>
                      </a:lnTo>
                      <a:lnTo>
                        <a:pt x="1114" y="3302"/>
                      </a:lnTo>
                      <a:lnTo>
                        <a:pt x="1114" y="3311"/>
                      </a:lnTo>
                      <a:lnTo>
                        <a:pt x="1114" y="3318"/>
                      </a:lnTo>
                      <a:lnTo>
                        <a:pt x="1115" y="3325"/>
                      </a:lnTo>
                      <a:lnTo>
                        <a:pt x="1116" y="3328"/>
                      </a:lnTo>
                      <a:lnTo>
                        <a:pt x="1117" y="3331"/>
                      </a:lnTo>
                      <a:lnTo>
                        <a:pt x="1120" y="3332"/>
                      </a:lnTo>
                      <a:lnTo>
                        <a:pt x="1123" y="3333"/>
                      </a:lnTo>
                      <a:lnTo>
                        <a:pt x="1125" y="3333"/>
                      </a:lnTo>
                      <a:lnTo>
                        <a:pt x="1128" y="3332"/>
                      </a:lnTo>
                      <a:lnTo>
                        <a:pt x="1130" y="3331"/>
                      </a:lnTo>
                      <a:lnTo>
                        <a:pt x="1133" y="3328"/>
                      </a:lnTo>
                      <a:lnTo>
                        <a:pt x="1137" y="3322"/>
                      </a:lnTo>
                      <a:lnTo>
                        <a:pt x="1141" y="3315"/>
                      </a:lnTo>
                      <a:lnTo>
                        <a:pt x="1145" y="3308"/>
                      </a:lnTo>
                      <a:lnTo>
                        <a:pt x="1150" y="3302"/>
                      </a:lnTo>
                      <a:lnTo>
                        <a:pt x="1153" y="3299"/>
                      </a:lnTo>
                      <a:lnTo>
                        <a:pt x="1155" y="3298"/>
                      </a:lnTo>
                      <a:lnTo>
                        <a:pt x="1158" y="3296"/>
                      </a:lnTo>
                      <a:lnTo>
                        <a:pt x="1161" y="3295"/>
                      </a:lnTo>
                      <a:lnTo>
                        <a:pt x="1156" y="3309"/>
                      </a:lnTo>
                      <a:lnTo>
                        <a:pt x="1150" y="3322"/>
                      </a:lnTo>
                      <a:lnTo>
                        <a:pt x="1144" y="3337"/>
                      </a:lnTo>
                      <a:lnTo>
                        <a:pt x="1137" y="3351"/>
                      </a:lnTo>
                      <a:lnTo>
                        <a:pt x="1130" y="3360"/>
                      </a:lnTo>
                      <a:lnTo>
                        <a:pt x="1123" y="3370"/>
                      </a:lnTo>
                      <a:lnTo>
                        <a:pt x="1115" y="3380"/>
                      </a:lnTo>
                      <a:lnTo>
                        <a:pt x="1109" y="3390"/>
                      </a:lnTo>
                      <a:lnTo>
                        <a:pt x="1104" y="3397"/>
                      </a:lnTo>
                      <a:lnTo>
                        <a:pt x="1100" y="3404"/>
                      </a:lnTo>
                      <a:lnTo>
                        <a:pt x="1096" y="3410"/>
                      </a:lnTo>
                      <a:lnTo>
                        <a:pt x="1093" y="3414"/>
                      </a:lnTo>
                      <a:lnTo>
                        <a:pt x="1093" y="3415"/>
                      </a:lnTo>
                      <a:lnTo>
                        <a:pt x="1091" y="3417"/>
                      </a:lnTo>
                      <a:lnTo>
                        <a:pt x="1075" y="3438"/>
                      </a:lnTo>
                      <a:lnTo>
                        <a:pt x="1060" y="3459"/>
                      </a:lnTo>
                      <a:lnTo>
                        <a:pt x="1053" y="3470"/>
                      </a:lnTo>
                      <a:lnTo>
                        <a:pt x="1044" y="3479"/>
                      </a:lnTo>
                      <a:lnTo>
                        <a:pt x="1035" y="3489"/>
                      </a:lnTo>
                      <a:lnTo>
                        <a:pt x="1023" y="3497"/>
                      </a:lnTo>
                      <a:lnTo>
                        <a:pt x="1009" y="3504"/>
                      </a:lnTo>
                      <a:lnTo>
                        <a:pt x="996" y="3510"/>
                      </a:lnTo>
                      <a:lnTo>
                        <a:pt x="982" y="3513"/>
                      </a:lnTo>
                      <a:lnTo>
                        <a:pt x="968" y="3516"/>
                      </a:lnTo>
                      <a:lnTo>
                        <a:pt x="940" y="3518"/>
                      </a:lnTo>
                      <a:lnTo>
                        <a:pt x="909" y="3523"/>
                      </a:lnTo>
                      <a:lnTo>
                        <a:pt x="888" y="3525"/>
                      </a:lnTo>
                      <a:lnTo>
                        <a:pt x="858" y="3530"/>
                      </a:lnTo>
                      <a:lnTo>
                        <a:pt x="842" y="3532"/>
                      </a:lnTo>
                      <a:lnTo>
                        <a:pt x="829" y="3536"/>
                      </a:lnTo>
                      <a:lnTo>
                        <a:pt x="823" y="3538"/>
                      </a:lnTo>
                      <a:lnTo>
                        <a:pt x="819" y="3540"/>
                      </a:lnTo>
                      <a:lnTo>
                        <a:pt x="814" y="3543"/>
                      </a:lnTo>
                      <a:lnTo>
                        <a:pt x="812" y="3545"/>
                      </a:lnTo>
                      <a:lnTo>
                        <a:pt x="808" y="3545"/>
                      </a:lnTo>
                      <a:lnTo>
                        <a:pt x="807" y="3547"/>
                      </a:lnTo>
                      <a:lnTo>
                        <a:pt x="805" y="3549"/>
                      </a:lnTo>
                      <a:lnTo>
                        <a:pt x="801" y="3549"/>
                      </a:lnTo>
                      <a:lnTo>
                        <a:pt x="798" y="3546"/>
                      </a:lnTo>
                      <a:lnTo>
                        <a:pt x="795" y="3544"/>
                      </a:lnTo>
                      <a:lnTo>
                        <a:pt x="793" y="3542"/>
                      </a:lnTo>
                      <a:lnTo>
                        <a:pt x="791" y="3538"/>
                      </a:lnTo>
                      <a:lnTo>
                        <a:pt x="791" y="3533"/>
                      </a:lnTo>
                      <a:lnTo>
                        <a:pt x="807" y="3527"/>
                      </a:lnTo>
                      <a:lnTo>
                        <a:pt x="827" y="3524"/>
                      </a:lnTo>
                      <a:lnTo>
                        <a:pt x="836" y="3522"/>
                      </a:lnTo>
                      <a:lnTo>
                        <a:pt x="846" y="3518"/>
                      </a:lnTo>
                      <a:lnTo>
                        <a:pt x="854" y="3514"/>
                      </a:lnTo>
                      <a:lnTo>
                        <a:pt x="862" y="3511"/>
                      </a:lnTo>
                      <a:lnTo>
                        <a:pt x="860" y="3503"/>
                      </a:lnTo>
                      <a:lnTo>
                        <a:pt x="854" y="3493"/>
                      </a:lnTo>
                      <a:lnTo>
                        <a:pt x="849" y="3483"/>
                      </a:lnTo>
                      <a:lnTo>
                        <a:pt x="846" y="3473"/>
                      </a:lnTo>
                      <a:lnTo>
                        <a:pt x="846" y="3454"/>
                      </a:lnTo>
                      <a:lnTo>
                        <a:pt x="847" y="3432"/>
                      </a:lnTo>
                      <a:lnTo>
                        <a:pt x="846" y="3421"/>
                      </a:lnTo>
                      <a:lnTo>
                        <a:pt x="845" y="3412"/>
                      </a:lnTo>
                      <a:lnTo>
                        <a:pt x="842" y="3407"/>
                      </a:lnTo>
                      <a:lnTo>
                        <a:pt x="840" y="3404"/>
                      </a:lnTo>
                      <a:lnTo>
                        <a:pt x="838" y="3400"/>
                      </a:lnTo>
                      <a:lnTo>
                        <a:pt x="833" y="3398"/>
                      </a:lnTo>
                      <a:lnTo>
                        <a:pt x="831" y="3394"/>
                      </a:lnTo>
                      <a:lnTo>
                        <a:pt x="828" y="3388"/>
                      </a:lnTo>
                      <a:lnTo>
                        <a:pt x="826" y="3381"/>
                      </a:lnTo>
                      <a:lnTo>
                        <a:pt x="822" y="3372"/>
                      </a:lnTo>
                      <a:lnTo>
                        <a:pt x="820" y="3362"/>
                      </a:lnTo>
                      <a:lnTo>
                        <a:pt x="818" y="3354"/>
                      </a:lnTo>
                      <a:lnTo>
                        <a:pt x="814" y="3346"/>
                      </a:lnTo>
                      <a:lnTo>
                        <a:pt x="809" y="3340"/>
                      </a:lnTo>
                      <a:lnTo>
                        <a:pt x="806" y="3337"/>
                      </a:lnTo>
                      <a:lnTo>
                        <a:pt x="802" y="3335"/>
                      </a:lnTo>
                      <a:lnTo>
                        <a:pt x="800" y="3337"/>
                      </a:lnTo>
                      <a:lnTo>
                        <a:pt x="798" y="3340"/>
                      </a:lnTo>
                      <a:lnTo>
                        <a:pt x="793" y="3351"/>
                      </a:lnTo>
                      <a:lnTo>
                        <a:pt x="791" y="3365"/>
                      </a:lnTo>
                      <a:lnTo>
                        <a:pt x="788" y="3397"/>
                      </a:lnTo>
                      <a:lnTo>
                        <a:pt x="786" y="3418"/>
                      </a:lnTo>
                      <a:lnTo>
                        <a:pt x="782" y="3433"/>
                      </a:lnTo>
                      <a:lnTo>
                        <a:pt x="774" y="3457"/>
                      </a:lnTo>
                      <a:lnTo>
                        <a:pt x="769" y="3469"/>
                      </a:lnTo>
                      <a:lnTo>
                        <a:pt x="765" y="3478"/>
                      </a:lnTo>
                      <a:lnTo>
                        <a:pt x="762" y="3483"/>
                      </a:lnTo>
                      <a:lnTo>
                        <a:pt x="760" y="3486"/>
                      </a:lnTo>
                      <a:lnTo>
                        <a:pt x="758" y="3489"/>
                      </a:lnTo>
                      <a:lnTo>
                        <a:pt x="755" y="3490"/>
                      </a:lnTo>
                      <a:lnTo>
                        <a:pt x="751" y="3496"/>
                      </a:lnTo>
                      <a:lnTo>
                        <a:pt x="746" y="3502"/>
                      </a:lnTo>
                      <a:lnTo>
                        <a:pt x="746" y="3503"/>
                      </a:lnTo>
                      <a:lnTo>
                        <a:pt x="746" y="3504"/>
                      </a:lnTo>
                      <a:lnTo>
                        <a:pt x="745" y="3505"/>
                      </a:lnTo>
                      <a:lnTo>
                        <a:pt x="746" y="3506"/>
                      </a:lnTo>
                      <a:lnTo>
                        <a:pt x="749" y="3509"/>
                      </a:lnTo>
                      <a:lnTo>
                        <a:pt x="754" y="3510"/>
                      </a:lnTo>
                      <a:lnTo>
                        <a:pt x="760" y="3512"/>
                      </a:lnTo>
                      <a:lnTo>
                        <a:pt x="765" y="3513"/>
                      </a:lnTo>
                      <a:lnTo>
                        <a:pt x="768" y="3516"/>
                      </a:lnTo>
                      <a:lnTo>
                        <a:pt x="769" y="3518"/>
                      </a:lnTo>
                      <a:lnTo>
                        <a:pt x="773" y="3520"/>
                      </a:lnTo>
                      <a:lnTo>
                        <a:pt x="775" y="3526"/>
                      </a:lnTo>
                      <a:lnTo>
                        <a:pt x="778" y="3533"/>
                      </a:lnTo>
                      <a:lnTo>
                        <a:pt x="779" y="3540"/>
                      </a:lnTo>
                      <a:lnTo>
                        <a:pt x="779" y="3547"/>
                      </a:lnTo>
                      <a:lnTo>
                        <a:pt x="776" y="3552"/>
                      </a:lnTo>
                      <a:lnTo>
                        <a:pt x="775" y="3553"/>
                      </a:lnTo>
                      <a:lnTo>
                        <a:pt x="773" y="3553"/>
                      </a:lnTo>
                      <a:lnTo>
                        <a:pt x="771" y="3552"/>
                      </a:lnTo>
                      <a:lnTo>
                        <a:pt x="767" y="3550"/>
                      </a:lnTo>
                      <a:lnTo>
                        <a:pt x="755" y="3544"/>
                      </a:lnTo>
                      <a:lnTo>
                        <a:pt x="738" y="3537"/>
                      </a:lnTo>
                      <a:lnTo>
                        <a:pt x="719" y="3532"/>
                      </a:lnTo>
                      <a:lnTo>
                        <a:pt x="707" y="3530"/>
                      </a:lnTo>
                      <a:lnTo>
                        <a:pt x="705" y="3527"/>
                      </a:lnTo>
                      <a:lnTo>
                        <a:pt x="701" y="3527"/>
                      </a:lnTo>
                      <a:lnTo>
                        <a:pt x="698" y="3527"/>
                      </a:lnTo>
                      <a:lnTo>
                        <a:pt x="694" y="3527"/>
                      </a:lnTo>
                      <a:lnTo>
                        <a:pt x="693" y="3530"/>
                      </a:lnTo>
                      <a:lnTo>
                        <a:pt x="691" y="3531"/>
                      </a:lnTo>
                      <a:lnTo>
                        <a:pt x="651" y="3539"/>
                      </a:lnTo>
                      <a:lnTo>
                        <a:pt x="612" y="3547"/>
                      </a:lnTo>
                      <a:lnTo>
                        <a:pt x="572" y="3556"/>
                      </a:lnTo>
                      <a:lnTo>
                        <a:pt x="533" y="3563"/>
                      </a:lnTo>
                      <a:lnTo>
                        <a:pt x="493" y="3570"/>
                      </a:lnTo>
                      <a:lnTo>
                        <a:pt x="453" y="3576"/>
                      </a:lnTo>
                      <a:lnTo>
                        <a:pt x="413" y="3579"/>
                      </a:lnTo>
                      <a:lnTo>
                        <a:pt x="372" y="3583"/>
                      </a:lnTo>
                      <a:lnTo>
                        <a:pt x="352" y="3584"/>
                      </a:lnTo>
                      <a:lnTo>
                        <a:pt x="332" y="3588"/>
                      </a:lnTo>
                      <a:lnTo>
                        <a:pt x="313" y="3593"/>
                      </a:lnTo>
                      <a:lnTo>
                        <a:pt x="295" y="3599"/>
                      </a:lnTo>
                      <a:lnTo>
                        <a:pt x="278" y="3608"/>
                      </a:lnTo>
                      <a:lnTo>
                        <a:pt x="263" y="3617"/>
                      </a:lnTo>
                      <a:lnTo>
                        <a:pt x="248" y="3628"/>
                      </a:lnTo>
                      <a:lnTo>
                        <a:pt x="235" y="3641"/>
                      </a:lnTo>
                      <a:lnTo>
                        <a:pt x="222" y="3654"/>
                      </a:lnTo>
                      <a:lnTo>
                        <a:pt x="210" y="3668"/>
                      </a:lnTo>
                      <a:lnTo>
                        <a:pt x="199" y="3683"/>
                      </a:lnTo>
                      <a:lnTo>
                        <a:pt x="190" y="3700"/>
                      </a:lnTo>
                      <a:lnTo>
                        <a:pt x="182" y="3716"/>
                      </a:lnTo>
                      <a:lnTo>
                        <a:pt x="175" y="3734"/>
                      </a:lnTo>
                      <a:lnTo>
                        <a:pt x="168" y="3753"/>
                      </a:lnTo>
                      <a:lnTo>
                        <a:pt x="163" y="3773"/>
                      </a:lnTo>
                      <a:lnTo>
                        <a:pt x="149" y="3763"/>
                      </a:lnTo>
                      <a:lnTo>
                        <a:pt x="134" y="3754"/>
                      </a:lnTo>
                      <a:lnTo>
                        <a:pt x="118" y="3750"/>
                      </a:lnTo>
                      <a:lnTo>
                        <a:pt x="104" y="3748"/>
                      </a:lnTo>
                      <a:lnTo>
                        <a:pt x="98" y="3747"/>
                      </a:lnTo>
                      <a:lnTo>
                        <a:pt x="92" y="3743"/>
                      </a:lnTo>
                      <a:lnTo>
                        <a:pt x="88" y="3738"/>
                      </a:lnTo>
                      <a:lnTo>
                        <a:pt x="83" y="3730"/>
                      </a:lnTo>
                      <a:lnTo>
                        <a:pt x="80" y="3718"/>
                      </a:lnTo>
                      <a:lnTo>
                        <a:pt x="75" y="3703"/>
                      </a:lnTo>
                      <a:lnTo>
                        <a:pt x="71" y="3696"/>
                      </a:lnTo>
                      <a:lnTo>
                        <a:pt x="68" y="3690"/>
                      </a:lnTo>
                      <a:lnTo>
                        <a:pt x="65" y="3689"/>
                      </a:lnTo>
                      <a:lnTo>
                        <a:pt x="63" y="3687"/>
                      </a:lnTo>
                      <a:lnTo>
                        <a:pt x="61" y="3685"/>
                      </a:lnTo>
                      <a:lnTo>
                        <a:pt x="57" y="3685"/>
                      </a:lnTo>
                      <a:lnTo>
                        <a:pt x="49" y="3683"/>
                      </a:lnTo>
                      <a:lnTo>
                        <a:pt x="40" y="3681"/>
                      </a:lnTo>
                      <a:lnTo>
                        <a:pt x="35" y="3680"/>
                      </a:lnTo>
                      <a:lnTo>
                        <a:pt x="30" y="3678"/>
                      </a:lnTo>
                      <a:lnTo>
                        <a:pt x="25" y="3678"/>
                      </a:lnTo>
                      <a:lnTo>
                        <a:pt x="23" y="3680"/>
                      </a:lnTo>
                      <a:lnTo>
                        <a:pt x="22" y="3682"/>
                      </a:lnTo>
                      <a:lnTo>
                        <a:pt x="21" y="3684"/>
                      </a:lnTo>
                      <a:lnTo>
                        <a:pt x="21" y="3687"/>
                      </a:lnTo>
                      <a:lnTo>
                        <a:pt x="21" y="3689"/>
                      </a:lnTo>
                      <a:lnTo>
                        <a:pt x="22" y="3694"/>
                      </a:lnTo>
                      <a:lnTo>
                        <a:pt x="23" y="3698"/>
                      </a:lnTo>
                      <a:lnTo>
                        <a:pt x="23" y="3704"/>
                      </a:lnTo>
                      <a:lnTo>
                        <a:pt x="22" y="3710"/>
                      </a:lnTo>
                      <a:lnTo>
                        <a:pt x="21" y="3714"/>
                      </a:lnTo>
                      <a:lnTo>
                        <a:pt x="18" y="3717"/>
                      </a:lnTo>
                      <a:lnTo>
                        <a:pt x="15" y="3720"/>
                      </a:lnTo>
                      <a:lnTo>
                        <a:pt x="11" y="3723"/>
                      </a:lnTo>
                      <a:lnTo>
                        <a:pt x="9" y="3724"/>
                      </a:lnTo>
                      <a:lnTo>
                        <a:pt x="7" y="3723"/>
                      </a:lnTo>
                      <a:lnTo>
                        <a:pt x="5" y="3721"/>
                      </a:lnTo>
                      <a:lnTo>
                        <a:pt x="4" y="3717"/>
                      </a:lnTo>
                      <a:lnTo>
                        <a:pt x="2" y="3708"/>
                      </a:lnTo>
                      <a:lnTo>
                        <a:pt x="1" y="3696"/>
                      </a:lnTo>
                      <a:lnTo>
                        <a:pt x="0" y="3683"/>
                      </a:lnTo>
                      <a:lnTo>
                        <a:pt x="0" y="3671"/>
                      </a:lnTo>
                      <a:lnTo>
                        <a:pt x="1" y="3662"/>
                      </a:lnTo>
                      <a:lnTo>
                        <a:pt x="2" y="3656"/>
                      </a:lnTo>
                      <a:lnTo>
                        <a:pt x="14" y="3657"/>
                      </a:lnTo>
                      <a:lnTo>
                        <a:pt x="29" y="3662"/>
                      </a:lnTo>
                      <a:lnTo>
                        <a:pt x="45" y="3667"/>
                      </a:lnTo>
                      <a:lnTo>
                        <a:pt x="58" y="3671"/>
                      </a:lnTo>
                      <a:lnTo>
                        <a:pt x="64" y="3671"/>
                      </a:lnTo>
                      <a:lnTo>
                        <a:pt x="68" y="3671"/>
                      </a:lnTo>
                      <a:lnTo>
                        <a:pt x="71" y="3669"/>
                      </a:lnTo>
                      <a:lnTo>
                        <a:pt x="74" y="3665"/>
                      </a:lnTo>
                      <a:lnTo>
                        <a:pt x="78" y="3656"/>
                      </a:lnTo>
                      <a:lnTo>
                        <a:pt x="81" y="3644"/>
                      </a:lnTo>
                      <a:lnTo>
                        <a:pt x="83" y="3631"/>
                      </a:lnTo>
                      <a:lnTo>
                        <a:pt x="84" y="3621"/>
                      </a:lnTo>
                      <a:lnTo>
                        <a:pt x="87" y="3616"/>
                      </a:lnTo>
                      <a:lnTo>
                        <a:pt x="88" y="3612"/>
                      </a:lnTo>
                      <a:lnTo>
                        <a:pt x="90" y="3610"/>
                      </a:lnTo>
                      <a:lnTo>
                        <a:pt x="92" y="3608"/>
                      </a:lnTo>
                      <a:lnTo>
                        <a:pt x="95" y="3614"/>
                      </a:lnTo>
                      <a:lnTo>
                        <a:pt x="98" y="3618"/>
                      </a:lnTo>
                      <a:lnTo>
                        <a:pt x="103" y="3621"/>
                      </a:lnTo>
                      <a:lnTo>
                        <a:pt x="108" y="3623"/>
                      </a:lnTo>
                      <a:lnTo>
                        <a:pt x="112" y="3624"/>
                      </a:lnTo>
                      <a:lnTo>
                        <a:pt x="118" y="3624"/>
                      </a:lnTo>
                      <a:lnTo>
                        <a:pt x="124" y="3624"/>
                      </a:lnTo>
                      <a:lnTo>
                        <a:pt x="130" y="3623"/>
                      </a:lnTo>
                      <a:lnTo>
                        <a:pt x="136" y="3621"/>
                      </a:lnTo>
                      <a:lnTo>
                        <a:pt x="141" y="3618"/>
                      </a:lnTo>
                      <a:lnTo>
                        <a:pt x="145" y="3615"/>
                      </a:lnTo>
                      <a:lnTo>
                        <a:pt x="150" y="3612"/>
                      </a:lnTo>
                      <a:lnTo>
                        <a:pt x="154" y="3609"/>
                      </a:lnTo>
                      <a:lnTo>
                        <a:pt x="156" y="3604"/>
                      </a:lnTo>
                      <a:lnTo>
                        <a:pt x="158" y="3601"/>
                      </a:lnTo>
                      <a:lnTo>
                        <a:pt x="158" y="3596"/>
                      </a:lnTo>
                      <a:lnTo>
                        <a:pt x="149" y="3593"/>
                      </a:lnTo>
                      <a:lnTo>
                        <a:pt x="141" y="3591"/>
                      </a:lnTo>
                      <a:lnTo>
                        <a:pt x="136" y="3588"/>
                      </a:lnTo>
                      <a:lnTo>
                        <a:pt x="132" y="3585"/>
                      </a:lnTo>
                      <a:lnTo>
                        <a:pt x="131" y="3583"/>
                      </a:lnTo>
                      <a:lnTo>
                        <a:pt x="132" y="3579"/>
                      </a:lnTo>
                      <a:lnTo>
                        <a:pt x="134" y="3576"/>
                      </a:lnTo>
                      <a:lnTo>
                        <a:pt x="136" y="3573"/>
                      </a:lnTo>
                      <a:lnTo>
                        <a:pt x="143" y="3565"/>
                      </a:lnTo>
                      <a:lnTo>
                        <a:pt x="150" y="3557"/>
                      </a:lnTo>
                      <a:lnTo>
                        <a:pt x="154" y="3551"/>
                      </a:lnTo>
                      <a:lnTo>
                        <a:pt x="156" y="3545"/>
                      </a:lnTo>
                      <a:lnTo>
                        <a:pt x="158" y="3539"/>
                      </a:lnTo>
                      <a:lnTo>
                        <a:pt x="158" y="3532"/>
                      </a:lnTo>
                      <a:lnTo>
                        <a:pt x="158" y="3512"/>
                      </a:lnTo>
                      <a:lnTo>
                        <a:pt x="157" y="3491"/>
                      </a:lnTo>
                      <a:lnTo>
                        <a:pt x="156" y="3470"/>
                      </a:lnTo>
                      <a:lnTo>
                        <a:pt x="158" y="3450"/>
                      </a:lnTo>
                      <a:lnTo>
                        <a:pt x="159" y="3445"/>
                      </a:lnTo>
                      <a:lnTo>
                        <a:pt x="161" y="3441"/>
                      </a:lnTo>
                      <a:lnTo>
                        <a:pt x="163" y="3438"/>
                      </a:lnTo>
                      <a:lnTo>
                        <a:pt x="165" y="3436"/>
                      </a:lnTo>
                      <a:lnTo>
                        <a:pt x="170" y="3431"/>
                      </a:lnTo>
                      <a:lnTo>
                        <a:pt x="176" y="3427"/>
                      </a:lnTo>
                      <a:lnTo>
                        <a:pt x="183" y="3425"/>
                      </a:lnTo>
                      <a:lnTo>
                        <a:pt x="188" y="3421"/>
                      </a:lnTo>
                      <a:lnTo>
                        <a:pt x="192" y="3418"/>
                      </a:lnTo>
                      <a:lnTo>
                        <a:pt x="195" y="3413"/>
                      </a:lnTo>
                      <a:lnTo>
                        <a:pt x="198" y="3405"/>
                      </a:lnTo>
                      <a:lnTo>
                        <a:pt x="202" y="3398"/>
                      </a:lnTo>
                      <a:lnTo>
                        <a:pt x="206" y="3393"/>
                      </a:lnTo>
                      <a:lnTo>
                        <a:pt x="211" y="3388"/>
                      </a:lnTo>
                      <a:lnTo>
                        <a:pt x="216" y="3384"/>
                      </a:lnTo>
                      <a:lnTo>
                        <a:pt x="219" y="3378"/>
                      </a:lnTo>
                      <a:lnTo>
                        <a:pt x="222" y="3370"/>
                      </a:lnTo>
                      <a:lnTo>
                        <a:pt x="222" y="3358"/>
                      </a:lnTo>
                      <a:lnTo>
                        <a:pt x="221" y="3337"/>
                      </a:lnTo>
                      <a:lnTo>
                        <a:pt x="218" y="3311"/>
                      </a:lnTo>
                      <a:lnTo>
                        <a:pt x="216" y="3298"/>
                      </a:lnTo>
                      <a:lnTo>
                        <a:pt x="212" y="3286"/>
                      </a:lnTo>
                      <a:lnTo>
                        <a:pt x="208" y="3275"/>
                      </a:lnTo>
                      <a:lnTo>
                        <a:pt x="202" y="3267"/>
                      </a:lnTo>
                      <a:lnTo>
                        <a:pt x="201" y="3261"/>
                      </a:lnTo>
                      <a:lnTo>
                        <a:pt x="199" y="3255"/>
                      </a:lnTo>
                      <a:lnTo>
                        <a:pt x="197" y="3249"/>
                      </a:lnTo>
                      <a:lnTo>
                        <a:pt x="195" y="3243"/>
                      </a:lnTo>
                      <a:lnTo>
                        <a:pt x="189" y="3232"/>
                      </a:lnTo>
                      <a:lnTo>
                        <a:pt x="183" y="3220"/>
                      </a:lnTo>
                      <a:lnTo>
                        <a:pt x="176" y="3209"/>
                      </a:lnTo>
                      <a:lnTo>
                        <a:pt x="170" y="3197"/>
                      </a:lnTo>
                      <a:lnTo>
                        <a:pt x="169" y="3192"/>
                      </a:lnTo>
                      <a:lnTo>
                        <a:pt x="166" y="3186"/>
                      </a:lnTo>
                      <a:lnTo>
                        <a:pt x="165" y="3181"/>
                      </a:lnTo>
                      <a:lnTo>
                        <a:pt x="165" y="3175"/>
                      </a:lnTo>
                      <a:lnTo>
                        <a:pt x="189" y="3174"/>
                      </a:lnTo>
                      <a:lnTo>
                        <a:pt x="201" y="3174"/>
                      </a:lnTo>
                      <a:lnTo>
                        <a:pt x="202" y="3175"/>
                      </a:lnTo>
                      <a:lnTo>
                        <a:pt x="203" y="3176"/>
                      </a:lnTo>
                      <a:lnTo>
                        <a:pt x="204" y="3179"/>
                      </a:lnTo>
                      <a:lnTo>
                        <a:pt x="204" y="3181"/>
                      </a:lnTo>
                      <a:lnTo>
                        <a:pt x="204" y="3190"/>
                      </a:lnTo>
                      <a:lnTo>
                        <a:pt x="204" y="3202"/>
                      </a:lnTo>
                      <a:lnTo>
                        <a:pt x="204" y="3209"/>
                      </a:lnTo>
                      <a:lnTo>
                        <a:pt x="205" y="3214"/>
                      </a:lnTo>
                      <a:lnTo>
                        <a:pt x="206" y="3216"/>
                      </a:lnTo>
                      <a:lnTo>
                        <a:pt x="209" y="3216"/>
                      </a:lnTo>
                      <a:lnTo>
                        <a:pt x="214" y="3210"/>
                      </a:lnTo>
                      <a:lnTo>
                        <a:pt x="218" y="3200"/>
                      </a:lnTo>
                      <a:lnTo>
                        <a:pt x="223" y="3186"/>
                      </a:lnTo>
                      <a:lnTo>
                        <a:pt x="228" y="3170"/>
                      </a:lnTo>
                      <a:lnTo>
                        <a:pt x="231" y="3157"/>
                      </a:lnTo>
                      <a:lnTo>
                        <a:pt x="232" y="3149"/>
                      </a:lnTo>
                      <a:lnTo>
                        <a:pt x="221" y="3149"/>
                      </a:lnTo>
                      <a:lnTo>
                        <a:pt x="209" y="3151"/>
                      </a:lnTo>
                      <a:lnTo>
                        <a:pt x="198" y="3154"/>
                      </a:lnTo>
                      <a:lnTo>
                        <a:pt x="185" y="3154"/>
                      </a:lnTo>
                      <a:lnTo>
                        <a:pt x="177" y="3154"/>
                      </a:lnTo>
                      <a:lnTo>
                        <a:pt x="172" y="3153"/>
                      </a:lnTo>
                      <a:lnTo>
                        <a:pt x="170" y="3151"/>
                      </a:lnTo>
                      <a:lnTo>
                        <a:pt x="170" y="3149"/>
                      </a:lnTo>
                      <a:lnTo>
                        <a:pt x="175" y="3142"/>
                      </a:lnTo>
                      <a:lnTo>
                        <a:pt x="182" y="3133"/>
                      </a:lnTo>
                      <a:lnTo>
                        <a:pt x="188" y="3124"/>
                      </a:lnTo>
                      <a:lnTo>
                        <a:pt x="192" y="3116"/>
                      </a:lnTo>
                      <a:lnTo>
                        <a:pt x="197" y="3108"/>
                      </a:lnTo>
                      <a:lnTo>
                        <a:pt x="201" y="3100"/>
                      </a:lnTo>
                      <a:lnTo>
                        <a:pt x="208" y="3083"/>
                      </a:lnTo>
                      <a:lnTo>
                        <a:pt x="217" y="3067"/>
                      </a:lnTo>
                      <a:lnTo>
                        <a:pt x="221" y="3060"/>
                      </a:lnTo>
                      <a:lnTo>
                        <a:pt x="223" y="3052"/>
                      </a:lnTo>
                      <a:lnTo>
                        <a:pt x="223" y="3047"/>
                      </a:lnTo>
                      <a:lnTo>
                        <a:pt x="223" y="3039"/>
                      </a:lnTo>
                      <a:lnTo>
                        <a:pt x="219" y="3028"/>
                      </a:lnTo>
                      <a:lnTo>
                        <a:pt x="215" y="3017"/>
                      </a:lnTo>
                      <a:lnTo>
                        <a:pt x="209" y="3006"/>
                      </a:lnTo>
                      <a:lnTo>
                        <a:pt x="205" y="2997"/>
                      </a:lnTo>
                      <a:lnTo>
                        <a:pt x="204" y="2992"/>
                      </a:lnTo>
                      <a:lnTo>
                        <a:pt x="204" y="2989"/>
                      </a:lnTo>
                      <a:lnTo>
                        <a:pt x="206" y="2984"/>
                      </a:lnTo>
                      <a:lnTo>
                        <a:pt x="209" y="2981"/>
                      </a:lnTo>
                      <a:lnTo>
                        <a:pt x="211" y="2977"/>
                      </a:lnTo>
                      <a:lnTo>
                        <a:pt x="214" y="2971"/>
                      </a:lnTo>
                      <a:lnTo>
                        <a:pt x="216" y="2965"/>
                      </a:lnTo>
                      <a:lnTo>
                        <a:pt x="216" y="2958"/>
                      </a:lnTo>
                      <a:lnTo>
                        <a:pt x="216" y="2951"/>
                      </a:lnTo>
                      <a:lnTo>
                        <a:pt x="215" y="2945"/>
                      </a:lnTo>
                      <a:lnTo>
                        <a:pt x="215" y="2943"/>
                      </a:lnTo>
                      <a:lnTo>
                        <a:pt x="212" y="2942"/>
                      </a:lnTo>
                      <a:lnTo>
                        <a:pt x="211" y="2940"/>
                      </a:lnTo>
                      <a:lnTo>
                        <a:pt x="209" y="2940"/>
                      </a:lnTo>
                      <a:lnTo>
                        <a:pt x="204" y="2940"/>
                      </a:lnTo>
                      <a:lnTo>
                        <a:pt x="201" y="2943"/>
                      </a:lnTo>
                      <a:lnTo>
                        <a:pt x="196" y="2946"/>
                      </a:lnTo>
                      <a:lnTo>
                        <a:pt x="191" y="2950"/>
                      </a:lnTo>
                      <a:lnTo>
                        <a:pt x="186" y="2953"/>
                      </a:lnTo>
                      <a:lnTo>
                        <a:pt x="181" y="2956"/>
                      </a:lnTo>
                      <a:lnTo>
                        <a:pt x="176" y="2958"/>
                      </a:lnTo>
                      <a:lnTo>
                        <a:pt x="170" y="2959"/>
                      </a:lnTo>
                      <a:lnTo>
                        <a:pt x="172" y="2951"/>
                      </a:lnTo>
                      <a:lnTo>
                        <a:pt x="177" y="2942"/>
                      </a:lnTo>
                      <a:lnTo>
                        <a:pt x="178" y="2937"/>
                      </a:lnTo>
                      <a:lnTo>
                        <a:pt x="179" y="2931"/>
                      </a:lnTo>
                      <a:lnTo>
                        <a:pt x="181" y="2926"/>
                      </a:lnTo>
                      <a:lnTo>
                        <a:pt x="179" y="2922"/>
                      </a:lnTo>
                      <a:lnTo>
                        <a:pt x="179" y="2917"/>
                      </a:lnTo>
                      <a:lnTo>
                        <a:pt x="179" y="2913"/>
                      </a:lnTo>
                      <a:lnTo>
                        <a:pt x="179" y="2910"/>
                      </a:lnTo>
                      <a:lnTo>
                        <a:pt x="181" y="2907"/>
                      </a:lnTo>
                      <a:lnTo>
                        <a:pt x="184" y="2905"/>
                      </a:lnTo>
                      <a:lnTo>
                        <a:pt x="189" y="2903"/>
                      </a:lnTo>
                      <a:lnTo>
                        <a:pt x="202" y="2900"/>
                      </a:lnTo>
                      <a:lnTo>
                        <a:pt x="216" y="2896"/>
                      </a:lnTo>
                      <a:lnTo>
                        <a:pt x="237" y="2887"/>
                      </a:lnTo>
                      <a:lnTo>
                        <a:pt x="263" y="2878"/>
                      </a:lnTo>
                      <a:lnTo>
                        <a:pt x="277" y="2872"/>
                      </a:lnTo>
                      <a:lnTo>
                        <a:pt x="289" y="2867"/>
                      </a:lnTo>
                      <a:lnTo>
                        <a:pt x="298" y="2862"/>
                      </a:lnTo>
                      <a:lnTo>
                        <a:pt x="304" y="2854"/>
                      </a:lnTo>
                      <a:lnTo>
                        <a:pt x="310" y="2847"/>
                      </a:lnTo>
                      <a:lnTo>
                        <a:pt x="317" y="2840"/>
                      </a:lnTo>
                      <a:lnTo>
                        <a:pt x="324" y="2836"/>
                      </a:lnTo>
                      <a:lnTo>
                        <a:pt x="332" y="2831"/>
                      </a:lnTo>
                      <a:lnTo>
                        <a:pt x="336" y="2827"/>
                      </a:lnTo>
                      <a:lnTo>
                        <a:pt x="338" y="2823"/>
                      </a:lnTo>
                      <a:lnTo>
                        <a:pt x="339" y="2817"/>
                      </a:lnTo>
                      <a:lnTo>
                        <a:pt x="339" y="2811"/>
                      </a:lnTo>
                      <a:lnTo>
                        <a:pt x="337" y="2798"/>
                      </a:lnTo>
                      <a:lnTo>
                        <a:pt x="335" y="2787"/>
                      </a:lnTo>
                      <a:lnTo>
                        <a:pt x="326" y="2793"/>
                      </a:lnTo>
                      <a:lnTo>
                        <a:pt x="318" y="2801"/>
                      </a:lnTo>
                      <a:lnTo>
                        <a:pt x="313" y="2804"/>
                      </a:lnTo>
                      <a:lnTo>
                        <a:pt x="309" y="2805"/>
                      </a:lnTo>
                      <a:lnTo>
                        <a:pt x="305" y="2805"/>
                      </a:lnTo>
                      <a:lnTo>
                        <a:pt x="302" y="2804"/>
                      </a:lnTo>
                      <a:lnTo>
                        <a:pt x="298" y="2803"/>
                      </a:lnTo>
                      <a:lnTo>
                        <a:pt x="293" y="2800"/>
                      </a:lnTo>
                      <a:lnTo>
                        <a:pt x="289" y="2797"/>
                      </a:lnTo>
                      <a:lnTo>
                        <a:pt x="283" y="2794"/>
                      </a:lnTo>
                      <a:lnTo>
                        <a:pt x="278" y="2793"/>
                      </a:lnTo>
                      <a:lnTo>
                        <a:pt x="273" y="2792"/>
                      </a:lnTo>
                      <a:lnTo>
                        <a:pt x="270" y="2792"/>
                      </a:lnTo>
                      <a:lnTo>
                        <a:pt x="266" y="2793"/>
                      </a:lnTo>
                      <a:lnTo>
                        <a:pt x="263" y="2794"/>
                      </a:lnTo>
                      <a:lnTo>
                        <a:pt x="261" y="2796"/>
                      </a:lnTo>
                      <a:lnTo>
                        <a:pt x="255" y="2800"/>
                      </a:lnTo>
                      <a:lnTo>
                        <a:pt x="249" y="2805"/>
                      </a:lnTo>
                      <a:lnTo>
                        <a:pt x="242" y="2810"/>
                      </a:lnTo>
                      <a:lnTo>
                        <a:pt x="235" y="2813"/>
                      </a:lnTo>
                      <a:lnTo>
                        <a:pt x="228" y="2813"/>
                      </a:lnTo>
                      <a:lnTo>
                        <a:pt x="221" y="2812"/>
                      </a:lnTo>
                      <a:lnTo>
                        <a:pt x="214" y="2810"/>
                      </a:lnTo>
                      <a:lnTo>
                        <a:pt x="206" y="2806"/>
                      </a:lnTo>
                      <a:lnTo>
                        <a:pt x="191" y="2798"/>
                      </a:lnTo>
                      <a:lnTo>
                        <a:pt x="178" y="2791"/>
                      </a:lnTo>
                      <a:lnTo>
                        <a:pt x="175" y="2788"/>
                      </a:lnTo>
                      <a:lnTo>
                        <a:pt x="174" y="2785"/>
                      </a:lnTo>
                      <a:lnTo>
                        <a:pt x="174" y="2781"/>
                      </a:lnTo>
                      <a:lnTo>
                        <a:pt x="175" y="2777"/>
                      </a:lnTo>
                      <a:lnTo>
                        <a:pt x="177" y="2772"/>
                      </a:lnTo>
                      <a:lnTo>
                        <a:pt x="182" y="2766"/>
                      </a:lnTo>
                      <a:lnTo>
                        <a:pt x="186" y="2761"/>
                      </a:lnTo>
                      <a:lnTo>
                        <a:pt x="192" y="2757"/>
                      </a:lnTo>
                      <a:lnTo>
                        <a:pt x="198" y="2753"/>
                      </a:lnTo>
                      <a:lnTo>
                        <a:pt x="205" y="2750"/>
                      </a:lnTo>
                      <a:lnTo>
                        <a:pt x="212" y="2747"/>
                      </a:lnTo>
                      <a:lnTo>
                        <a:pt x="218" y="2745"/>
                      </a:lnTo>
                      <a:lnTo>
                        <a:pt x="225" y="2745"/>
                      </a:lnTo>
                      <a:lnTo>
                        <a:pt x="231" y="2746"/>
                      </a:lnTo>
                      <a:lnTo>
                        <a:pt x="237" y="2748"/>
                      </a:lnTo>
                      <a:lnTo>
                        <a:pt x="242" y="2752"/>
                      </a:lnTo>
                      <a:lnTo>
                        <a:pt x="249" y="2761"/>
                      </a:lnTo>
                      <a:lnTo>
                        <a:pt x="256" y="2770"/>
                      </a:lnTo>
                      <a:lnTo>
                        <a:pt x="261" y="2773"/>
                      </a:lnTo>
                      <a:lnTo>
                        <a:pt x="265" y="2777"/>
                      </a:lnTo>
                      <a:lnTo>
                        <a:pt x="270" y="2778"/>
                      </a:lnTo>
                      <a:lnTo>
                        <a:pt x="276" y="2779"/>
                      </a:lnTo>
                      <a:lnTo>
                        <a:pt x="280" y="2779"/>
                      </a:lnTo>
                      <a:lnTo>
                        <a:pt x="285" y="2778"/>
                      </a:lnTo>
                      <a:lnTo>
                        <a:pt x="288" y="2777"/>
                      </a:lnTo>
                      <a:lnTo>
                        <a:pt x="291" y="2775"/>
                      </a:lnTo>
                      <a:lnTo>
                        <a:pt x="295" y="2771"/>
                      </a:lnTo>
                      <a:lnTo>
                        <a:pt x="296" y="2765"/>
                      </a:lnTo>
                      <a:lnTo>
                        <a:pt x="295" y="2752"/>
                      </a:lnTo>
                      <a:lnTo>
                        <a:pt x="293" y="2738"/>
                      </a:lnTo>
                      <a:lnTo>
                        <a:pt x="310" y="2740"/>
                      </a:lnTo>
                      <a:lnTo>
                        <a:pt x="322" y="2742"/>
                      </a:lnTo>
                      <a:lnTo>
                        <a:pt x="328" y="2741"/>
                      </a:lnTo>
                      <a:lnTo>
                        <a:pt x="332" y="2738"/>
                      </a:lnTo>
                      <a:lnTo>
                        <a:pt x="338" y="2732"/>
                      </a:lnTo>
                      <a:lnTo>
                        <a:pt x="344" y="2721"/>
                      </a:lnTo>
                      <a:lnTo>
                        <a:pt x="349" y="2714"/>
                      </a:lnTo>
                      <a:lnTo>
                        <a:pt x="350" y="2709"/>
                      </a:lnTo>
                      <a:lnTo>
                        <a:pt x="350" y="2706"/>
                      </a:lnTo>
                      <a:lnTo>
                        <a:pt x="347" y="2704"/>
                      </a:lnTo>
                      <a:lnTo>
                        <a:pt x="338" y="2701"/>
                      </a:lnTo>
                      <a:lnTo>
                        <a:pt x="326" y="2697"/>
                      </a:lnTo>
                      <a:lnTo>
                        <a:pt x="324" y="2694"/>
                      </a:lnTo>
                      <a:lnTo>
                        <a:pt x="323" y="2691"/>
                      </a:lnTo>
                      <a:lnTo>
                        <a:pt x="323" y="2686"/>
                      </a:lnTo>
                      <a:lnTo>
                        <a:pt x="325" y="2681"/>
                      </a:lnTo>
                      <a:lnTo>
                        <a:pt x="330" y="2672"/>
                      </a:lnTo>
                      <a:lnTo>
                        <a:pt x="333" y="2664"/>
                      </a:lnTo>
                      <a:lnTo>
                        <a:pt x="333" y="2659"/>
                      </a:lnTo>
                      <a:lnTo>
                        <a:pt x="332" y="2652"/>
                      </a:lnTo>
                      <a:lnTo>
                        <a:pt x="331" y="2648"/>
                      </a:lnTo>
                      <a:lnTo>
                        <a:pt x="330" y="2646"/>
                      </a:lnTo>
                      <a:lnTo>
                        <a:pt x="329" y="2643"/>
                      </a:lnTo>
                      <a:lnTo>
                        <a:pt x="326" y="2643"/>
                      </a:lnTo>
                      <a:lnTo>
                        <a:pt x="323" y="2647"/>
                      </a:lnTo>
                      <a:lnTo>
                        <a:pt x="318" y="2656"/>
                      </a:lnTo>
                      <a:lnTo>
                        <a:pt x="316" y="2660"/>
                      </a:lnTo>
                      <a:lnTo>
                        <a:pt x="312" y="2665"/>
                      </a:lnTo>
                      <a:lnTo>
                        <a:pt x="309" y="2667"/>
                      </a:lnTo>
                      <a:lnTo>
                        <a:pt x="303" y="2668"/>
                      </a:lnTo>
                      <a:lnTo>
                        <a:pt x="288" y="2661"/>
                      </a:lnTo>
                      <a:lnTo>
                        <a:pt x="275" y="2653"/>
                      </a:lnTo>
                      <a:lnTo>
                        <a:pt x="273" y="2654"/>
                      </a:lnTo>
                      <a:lnTo>
                        <a:pt x="271" y="2655"/>
                      </a:lnTo>
                      <a:lnTo>
                        <a:pt x="271" y="2658"/>
                      </a:lnTo>
                      <a:lnTo>
                        <a:pt x="270" y="2660"/>
                      </a:lnTo>
                      <a:lnTo>
                        <a:pt x="269" y="2667"/>
                      </a:lnTo>
                      <a:lnTo>
                        <a:pt x="268" y="2675"/>
                      </a:lnTo>
                      <a:lnTo>
                        <a:pt x="268" y="2693"/>
                      </a:lnTo>
                      <a:lnTo>
                        <a:pt x="268" y="2705"/>
                      </a:lnTo>
                      <a:lnTo>
                        <a:pt x="265" y="2705"/>
                      </a:lnTo>
                      <a:lnTo>
                        <a:pt x="265" y="2698"/>
                      </a:lnTo>
                      <a:lnTo>
                        <a:pt x="262" y="2692"/>
                      </a:lnTo>
                      <a:lnTo>
                        <a:pt x="258" y="2687"/>
                      </a:lnTo>
                      <a:lnTo>
                        <a:pt x="252" y="2684"/>
                      </a:lnTo>
                      <a:lnTo>
                        <a:pt x="242" y="2676"/>
                      </a:lnTo>
                      <a:lnTo>
                        <a:pt x="232" y="2669"/>
                      </a:lnTo>
                      <a:lnTo>
                        <a:pt x="229" y="2667"/>
                      </a:lnTo>
                      <a:lnTo>
                        <a:pt x="228" y="2664"/>
                      </a:lnTo>
                      <a:lnTo>
                        <a:pt x="226" y="2660"/>
                      </a:lnTo>
                      <a:lnTo>
                        <a:pt x="226" y="2658"/>
                      </a:lnTo>
                      <a:lnTo>
                        <a:pt x="230" y="2653"/>
                      </a:lnTo>
                      <a:lnTo>
                        <a:pt x="236" y="2648"/>
                      </a:lnTo>
                      <a:lnTo>
                        <a:pt x="250" y="2641"/>
                      </a:lnTo>
                      <a:lnTo>
                        <a:pt x="265" y="2635"/>
                      </a:lnTo>
                      <a:lnTo>
                        <a:pt x="271" y="2633"/>
                      </a:lnTo>
                      <a:lnTo>
                        <a:pt x="279" y="2629"/>
                      </a:lnTo>
                      <a:lnTo>
                        <a:pt x="286" y="2626"/>
                      </a:lnTo>
                      <a:lnTo>
                        <a:pt x="290" y="2621"/>
                      </a:lnTo>
                      <a:lnTo>
                        <a:pt x="291" y="2614"/>
                      </a:lnTo>
                      <a:lnTo>
                        <a:pt x="289" y="2603"/>
                      </a:lnTo>
                      <a:lnTo>
                        <a:pt x="288" y="2598"/>
                      </a:lnTo>
                      <a:lnTo>
                        <a:pt x="286" y="2594"/>
                      </a:lnTo>
                      <a:lnTo>
                        <a:pt x="284" y="2590"/>
                      </a:lnTo>
                      <a:lnTo>
                        <a:pt x="282" y="2589"/>
                      </a:lnTo>
                      <a:lnTo>
                        <a:pt x="279" y="2594"/>
                      </a:lnTo>
                      <a:lnTo>
                        <a:pt x="276" y="2600"/>
                      </a:lnTo>
                      <a:lnTo>
                        <a:pt x="271" y="2605"/>
                      </a:lnTo>
                      <a:lnTo>
                        <a:pt x="266" y="2609"/>
                      </a:lnTo>
                      <a:lnTo>
                        <a:pt x="255" y="2618"/>
                      </a:lnTo>
                      <a:lnTo>
                        <a:pt x="244" y="2623"/>
                      </a:lnTo>
                      <a:lnTo>
                        <a:pt x="238" y="2627"/>
                      </a:lnTo>
                      <a:lnTo>
                        <a:pt x="232" y="2632"/>
                      </a:lnTo>
                      <a:lnTo>
                        <a:pt x="225" y="2638"/>
                      </a:lnTo>
                      <a:lnTo>
                        <a:pt x="218" y="2645"/>
                      </a:lnTo>
                      <a:lnTo>
                        <a:pt x="204" y="2660"/>
                      </a:lnTo>
                      <a:lnTo>
                        <a:pt x="192" y="2672"/>
                      </a:lnTo>
                      <a:lnTo>
                        <a:pt x="188" y="2674"/>
                      </a:lnTo>
                      <a:lnTo>
                        <a:pt x="179" y="2675"/>
                      </a:lnTo>
                      <a:lnTo>
                        <a:pt x="169" y="2676"/>
                      </a:lnTo>
                      <a:lnTo>
                        <a:pt x="156" y="2676"/>
                      </a:lnTo>
                      <a:lnTo>
                        <a:pt x="132" y="2678"/>
                      </a:lnTo>
                      <a:lnTo>
                        <a:pt x="116" y="2676"/>
                      </a:lnTo>
                      <a:lnTo>
                        <a:pt x="116" y="2674"/>
                      </a:lnTo>
                      <a:lnTo>
                        <a:pt x="117" y="2671"/>
                      </a:lnTo>
                      <a:lnTo>
                        <a:pt x="121" y="2667"/>
                      </a:lnTo>
                      <a:lnTo>
                        <a:pt x="124" y="2664"/>
                      </a:lnTo>
                      <a:lnTo>
                        <a:pt x="135" y="2654"/>
                      </a:lnTo>
                      <a:lnTo>
                        <a:pt x="147" y="2645"/>
                      </a:lnTo>
                      <a:lnTo>
                        <a:pt x="174" y="2626"/>
                      </a:lnTo>
                      <a:lnTo>
                        <a:pt x="191" y="2612"/>
                      </a:lnTo>
                      <a:lnTo>
                        <a:pt x="202" y="2599"/>
                      </a:lnTo>
                      <a:lnTo>
                        <a:pt x="209" y="2589"/>
                      </a:lnTo>
                      <a:lnTo>
                        <a:pt x="214" y="2586"/>
                      </a:lnTo>
                      <a:lnTo>
                        <a:pt x="218" y="2582"/>
                      </a:lnTo>
                      <a:lnTo>
                        <a:pt x="225" y="2580"/>
                      </a:lnTo>
                      <a:lnTo>
                        <a:pt x="235" y="2576"/>
                      </a:lnTo>
                      <a:lnTo>
                        <a:pt x="259" y="2570"/>
                      </a:lnTo>
                      <a:lnTo>
                        <a:pt x="286" y="2562"/>
                      </a:lnTo>
                      <a:lnTo>
                        <a:pt x="300" y="2557"/>
                      </a:lnTo>
                      <a:lnTo>
                        <a:pt x="312" y="2552"/>
                      </a:lnTo>
                      <a:lnTo>
                        <a:pt x="324" y="2546"/>
                      </a:lnTo>
                      <a:lnTo>
                        <a:pt x="335" y="2537"/>
                      </a:lnTo>
                      <a:lnTo>
                        <a:pt x="338" y="2535"/>
                      </a:lnTo>
                      <a:lnTo>
                        <a:pt x="342" y="2531"/>
                      </a:lnTo>
                      <a:lnTo>
                        <a:pt x="344" y="2527"/>
                      </a:lnTo>
                      <a:lnTo>
                        <a:pt x="346" y="2522"/>
                      </a:lnTo>
                      <a:lnTo>
                        <a:pt x="349" y="2513"/>
                      </a:lnTo>
                      <a:lnTo>
                        <a:pt x="351" y="2502"/>
                      </a:lnTo>
                      <a:lnTo>
                        <a:pt x="351" y="2480"/>
                      </a:lnTo>
                      <a:lnTo>
                        <a:pt x="351" y="2458"/>
                      </a:lnTo>
                      <a:lnTo>
                        <a:pt x="351" y="2458"/>
                      </a:lnTo>
                      <a:lnTo>
                        <a:pt x="347" y="2461"/>
                      </a:lnTo>
                      <a:lnTo>
                        <a:pt x="344" y="2467"/>
                      </a:lnTo>
                      <a:lnTo>
                        <a:pt x="339" y="2475"/>
                      </a:lnTo>
                      <a:lnTo>
                        <a:pt x="336" y="2484"/>
                      </a:lnTo>
                      <a:lnTo>
                        <a:pt x="326" y="2503"/>
                      </a:lnTo>
                      <a:lnTo>
                        <a:pt x="323" y="2515"/>
                      </a:lnTo>
                      <a:lnTo>
                        <a:pt x="319" y="2509"/>
                      </a:lnTo>
                      <a:lnTo>
                        <a:pt x="316" y="2496"/>
                      </a:lnTo>
                      <a:lnTo>
                        <a:pt x="312" y="2482"/>
                      </a:lnTo>
                      <a:lnTo>
                        <a:pt x="311" y="2473"/>
                      </a:lnTo>
                      <a:lnTo>
                        <a:pt x="311" y="2469"/>
                      </a:lnTo>
                      <a:lnTo>
                        <a:pt x="312" y="2465"/>
                      </a:lnTo>
                      <a:lnTo>
                        <a:pt x="315" y="2463"/>
                      </a:lnTo>
                      <a:lnTo>
                        <a:pt x="317" y="2461"/>
                      </a:lnTo>
                      <a:lnTo>
                        <a:pt x="323" y="2457"/>
                      </a:lnTo>
                      <a:lnTo>
                        <a:pt x="330" y="2454"/>
                      </a:lnTo>
                      <a:lnTo>
                        <a:pt x="337" y="2450"/>
                      </a:lnTo>
                      <a:lnTo>
                        <a:pt x="344" y="2445"/>
                      </a:lnTo>
                      <a:lnTo>
                        <a:pt x="346" y="2442"/>
                      </a:lnTo>
                      <a:lnTo>
                        <a:pt x="349" y="2438"/>
                      </a:lnTo>
                      <a:lnTo>
                        <a:pt x="350" y="2434"/>
                      </a:lnTo>
                      <a:lnTo>
                        <a:pt x="350" y="2429"/>
                      </a:lnTo>
                      <a:lnTo>
                        <a:pt x="349" y="2417"/>
                      </a:lnTo>
                      <a:lnTo>
                        <a:pt x="346" y="2407"/>
                      </a:lnTo>
                      <a:lnTo>
                        <a:pt x="342" y="2397"/>
                      </a:lnTo>
                      <a:lnTo>
                        <a:pt x="336" y="2389"/>
                      </a:lnTo>
                      <a:lnTo>
                        <a:pt x="332" y="2385"/>
                      </a:lnTo>
                      <a:lnTo>
                        <a:pt x="329" y="2383"/>
                      </a:lnTo>
                      <a:lnTo>
                        <a:pt x="324" y="2381"/>
                      </a:lnTo>
                      <a:lnTo>
                        <a:pt x="319" y="2379"/>
                      </a:lnTo>
                      <a:lnTo>
                        <a:pt x="315" y="2378"/>
                      </a:lnTo>
                      <a:lnTo>
                        <a:pt x="310" y="2378"/>
                      </a:lnTo>
                      <a:lnTo>
                        <a:pt x="304" y="2379"/>
                      </a:lnTo>
                      <a:lnTo>
                        <a:pt x="298" y="2382"/>
                      </a:lnTo>
                      <a:lnTo>
                        <a:pt x="292" y="2384"/>
                      </a:lnTo>
                      <a:lnTo>
                        <a:pt x="288" y="2388"/>
                      </a:lnTo>
                      <a:lnTo>
                        <a:pt x="284" y="2392"/>
                      </a:lnTo>
                      <a:lnTo>
                        <a:pt x="280" y="2397"/>
                      </a:lnTo>
                      <a:lnTo>
                        <a:pt x="277" y="2407"/>
                      </a:lnTo>
                      <a:lnTo>
                        <a:pt x="275" y="2418"/>
                      </a:lnTo>
                      <a:lnTo>
                        <a:pt x="272" y="2429"/>
                      </a:lnTo>
                      <a:lnTo>
                        <a:pt x="271" y="2441"/>
                      </a:lnTo>
                      <a:lnTo>
                        <a:pt x="269" y="2445"/>
                      </a:lnTo>
                      <a:lnTo>
                        <a:pt x="268" y="2449"/>
                      </a:lnTo>
                      <a:lnTo>
                        <a:pt x="264" y="2454"/>
                      </a:lnTo>
                      <a:lnTo>
                        <a:pt x="261" y="2456"/>
                      </a:lnTo>
                      <a:lnTo>
                        <a:pt x="252" y="2449"/>
                      </a:lnTo>
                      <a:lnTo>
                        <a:pt x="245" y="2440"/>
                      </a:lnTo>
                      <a:lnTo>
                        <a:pt x="243" y="2435"/>
                      </a:lnTo>
                      <a:lnTo>
                        <a:pt x="242" y="2429"/>
                      </a:lnTo>
                      <a:lnTo>
                        <a:pt x="242" y="2424"/>
                      </a:lnTo>
                      <a:lnTo>
                        <a:pt x="244" y="2420"/>
                      </a:lnTo>
                      <a:lnTo>
                        <a:pt x="251" y="2403"/>
                      </a:lnTo>
                      <a:lnTo>
                        <a:pt x="258" y="2387"/>
                      </a:lnTo>
                      <a:lnTo>
                        <a:pt x="263" y="2384"/>
                      </a:lnTo>
                      <a:lnTo>
                        <a:pt x="269" y="2381"/>
                      </a:lnTo>
                      <a:lnTo>
                        <a:pt x="275" y="2379"/>
                      </a:lnTo>
                      <a:lnTo>
                        <a:pt x="282" y="2377"/>
                      </a:lnTo>
                      <a:lnTo>
                        <a:pt x="288" y="2375"/>
                      </a:lnTo>
                      <a:lnTo>
                        <a:pt x="293" y="2371"/>
                      </a:lnTo>
                      <a:lnTo>
                        <a:pt x="298" y="2368"/>
                      </a:lnTo>
                      <a:lnTo>
                        <a:pt x="302" y="2362"/>
                      </a:lnTo>
                      <a:lnTo>
                        <a:pt x="304" y="2352"/>
                      </a:lnTo>
                      <a:lnTo>
                        <a:pt x="305" y="2341"/>
                      </a:lnTo>
                      <a:lnTo>
                        <a:pt x="306" y="2328"/>
                      </a:lnTo>
                      <a:lnTo>
                        <a:pt x="309" y="2317"/>
                      </a:lnTo>
                      <a:lnTo>
                        <a:pt x="312" y="2312"/>
                      </a:lnTo>
                      <a:lnTo>
                        <a:pt x="317" y="2306"/>
                      </a:lnTo>
                      <a:lnTo>
                        <a:pt x="309" y="2304"/>
                      </a:lnTo>
                      <a:lnTo>
                        <a:pt x="303" y="2302"/>
                      </a:lnTo>
                      <a:lnTo>
                        <a:pt x="299" y="2298"/>
                      </a:lnTo>
                      <a:lnTo>
                        <a:pt x="297" y="2295"/>
                      </a:lnTo>
                      <a:lnTo>
                        <a:pt x="296" y="2291"/>
                      </a:lnTo>
                      <a:lnTo>
                        <a:pt x="296" y="2288"/>
                      </a:lnTo>
                      <a:lnTo>
                        <a:pt x="297" y="2283"/>
                      </a:lnTo>
                      <a:lnTo>
                        <a:pt x="299" y="2279"/>
                      </a:lnTo>
                      <a:lnTo>
                        <a:pt x="311" y="2263"/>
                      </a:lnTo>
                      <a:lnTo>
                        <a:pt x="322" y="2247"/>
                      </a:lnTo>
                      <a:lnTo>
                        <a:pt x="323" y="2239"/>
                      </a:lnTo>
                      <a:lnTo>
                        <a:pt x="323" y="2232"/>
                      </a:lnTo>
                      <a:lnTo>
                        <a:pt x="320" y="2225"/>
                      </a:lnTo>
                      <a:lnTo>
                        <a:pt x="318" y="2218"/>
                      </a:lnTo>
                      <a:lnTo>
                        <a:pt x="317" y="2212"/>
                      </a:lnTo>
                      <a:lnTo>
                        <a:pt x="316" y="2205"/>
                      </a:lnTo>
                      <a:lnTo>
                        <a:pt x="317" y="2201"/>
                      </a:lnTo>
                      <a:lnTo>
                        <a:pt x="318" y="2198"/>
                      </a:lnTo>
                      <a:lnTo>
                        <a:pt x="320" y="2193"/>
                      </a:lnTo>
                      <a:lnTo>
                        <a:pt x="324" y="2189"/>
                      </a:lnTo>
                      <a:lnTo>
                        <a:pt x="331" y="2183"/>
                      </a:lnTo>
                      <a:lnTo>
                        <a:pt x="342" y="2177"/>
                      </a:lnTo>
                      <a:lnTo>
                        <a:pt x="353" y="2172"/>
                      </a:lnTo>
                      <a:lnTo>
                        <a:pt x="363" y="2170"/>
                      </a:lnTo>
                      <a:lnTo>
                        <a:pt x="372" y="2171"/>
                      </a:lnTo>
                      <a:lnTo>
                        <a:pt x="376" y="2172"/>
                      </a:lnTo>
                      <a:lnTo>
                        <a:pt x="379" y="2171"/>
                      </a:lnTo>
                      <a:lnTo>
                        <a:pt x="385" y="2164"/>
                      </a:lnTo>
                      <a:lnTo>
                        <a:pt x="390" y="2158"/>
                      </a:lnTo>
                      <a:lnTo>
                        <a:pt x="396" y="2152"/>
                      </a:lnTo>
                      <a:lnTo>
                        <a:pt x="399" y="2145"/>
                      </a:lnTo>
                      <a:lnTo>
                        <a:pt x="404" y="2138"/>
                      </a:lnTo>
                      <a:lnTo>
                        <a:pt x="405" y="2130"/>
                      </a:lnTo>
                      <a:lnTo>
                        <a:pt x="405" y="2123"/>
                      </a:lnTo>
                      <a:lnTo>
                        <a:pt x="405" y="2118"/>
                      </a:lnTo>
                      <a:lnTo>
                        <a:pt x="403" y="2114"/>
                      </a:lnTo>
                      <a:lnTo>
                        <a:pt x="400" y="2111"/>
                      </a:lnTo>
                      <a:lnTo>
                        <a:pt x="398" y="2107"/>
                      </a:lnTo>
                      <a:lnTo>
                        <a:pt x="398" y="2107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Freeform 15">
                  <a:extLst>
                    <a:ext uri="{FF2B5EF4-FFF2-40B4-BE49-F238E27FC236}">
                      <a16:creationId xmlns:a16="http://schemas.microsoft.com/office/drawing/2014/main" id="{233C3DA0-771A-43F9-BB87-3A5F65AEF6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265297" y="4852199"/>
                  <a:ext cx="425779" cy="247826"/>
                </a:xfrm>
                <a:custGeom>
                  <a:avLst/>
                  <a:gdLst>
                    <a:gd name="T0" fmla="*/ 397 w 1735"/>
                    <a:gd name="T1" fmla="*/ 730 h 1010"/>
                    <a:gd name="T2" fmla="*/ 422 w 1735"/>
                    <a:gd name="T3" fmla="*/ 712 h 1010"/>
                    <a:gd name="T4" fmla="*/ 471 w 1735"/>
                    <a:gd name="T5" fmla="*/ 747 h 1010"/>
                    <a:gd name="T6" fmla="*/ 534 w 1735"/>
                    <a:gd name="T7" fmla="*/ 776 h 1010"/>
                    <a:gd name="T8" fmla="*/ 598 w 1735"/>
                    <a:gd name="T9" fmla="*/ 710 h 1010"/>
                    <a:gd name="T10" fmla="*/ 578 w 1735"/>
                    <a:gd name="T11" fmla="*/ 671 h 1010"/>
                    <a:gd name="T12" fmla="*/ 516 w 1735"/>
                    <a:gd name="T13" fmla="*/ 678 h 1010"/>
                    <a:gd name="T14" fmla="*/ 567 w 1735"/>
                    <a:gd name="T15" fmla="*/ 631 h 1010"/>
                    <a:gd name="T16" fmla="*/ 598 w 1735"/>
                    <a:gd name="T17" fmla="*/ 633 h 1010"/>
                    <a:gd name="T18" fmla="*/ 715 w 1735"/>
                    <a:gd name="T19" fmla="*/ 654 h 1010"/>
                    <a:gd name="T20" fmla="*/ 1021 w 1735"/>
                    <a:gd name="T21" fmla="*/ 628 h 1010"/>
                    <a:gd name="T22" fmla="*/ 1090 w 1735"/>
                    <a:gd name="T23" fmla="*/ 672 h 1010"/>
                    <a:gd name="T24" fmla="*/ 1071 w 1735"/>
                    <a:gd name="T25" fmla="*/ 727 h 1010"/>
                    <a:gd name="T26" fmla="*/ 1120 w 1735"/>
                    <a:gd name="T27" fmla="*/ 746 h 1010"/>
                    <a:gd name="T28" fmla="*/ 1198 w 1735"/>
                    <a:gd name="T29" fmla="*/ 677 h 1010"/>
                    <a:gd name="T30" fmla="*/ 1216 w 1735"/>
                    <a:gd name="T31" fmla="*/ 646 h 1010"/>
                    <a:gd name="T32" fmla="*/ 1340 w 1735"/>
                    <a:gd name="T33" fmla="*/ 620 h 1010"/>
                    <a:gd name="T34" fmla="*/ 1408 w 1735"/>
                    <a:gd name="T35" fmla="*/ 571 h 1010"/>
                    <a:gd name="T36" fmla="*/ 1383 w 1735"/>
                    <a:gd name="T37" fmla="*/ 506 h 1010"/>
                    <a:gd name="T38" fmla="*/ 1483 w 1735"/>
                    <a:gd name="T39" fmla="*/ 481 h 1010"/>
                    <a:gd name="T40" fmla="*/ 1536 w 1735"/>
                    <a:gd name="T41" fmla="*/ 407 h 1010"/>
                    <a:gd name="T42" fmla="*/ 1501 w 1735"/>
                    <a:gd name="T43" fmla="*/ 338 h 1010"/>
                    <a:gd name="T44" fmla="*/ 1435 w 1735"/>
                    <a:gd name="T45" fmla="*/ 314 h 1010"/>
                    <a:gd name="T46" fmla="*/ 1393 w 1735"/>
                    <a:gd name="T47" fmla="*/ 395 h 1010"/>
                    <a:gd name="T48" fmla="*/ 1366 w 1735"/>
                    <a:gd name="T49" fmla="*/ 429 h 1010"/>
                    <a:gd name="T50" fmla="*/ 1328 w 1735"/>
                    <a:gd name="T51" fmla="*/ 457 h 1010"/>
                    <a:gd name="T52" fmla="*/ 1312 w 1735"/>
                    <a:gd name="T53" fmla="*/ 505 h 1010"/>
                    <a:gd name="T54" fmla="*/ 1279 w 1735"/>
                    <a:gd name="T55" fmla="*/ 528 h 1010"/>
                    <a:gd name="T56" fmla="*/ 1220 w 1735"/>
                    <a:gd name="T57" fmla="*/ 574 h 1010"/>
                    <a:gd name="T58" fmla="*/ 1208 w 1735"/>
                    <a:gd name="T59" fmla="*/ 607 h 1010"/>
                    <a:gd name="T60" fmla="*/ 1157 w 1735"/>
                    <a:gd name="T61" fmla="*/ 618 h 1010"/>
                    <a:gd name="T62" fmla="*/ 1106 w 1735"/>
                    <a:gd name="T63" fmla="*/ 640 h 1010"/>
                    <a:gd name="T64" fmla="*/ 1164 w 1735"/>
                    <a:gd name="T65" fmla="*/ 580 h 1010"/>
                    <a:gd name="T66" fmla="*/ 1328 w 1735"/>
                    <a:gd name="T67" fmla="*/ 424 h 1010"/>
                    <a:gd name="T68" fmla="*/ 1407 w 1735"/>
                    <a:gd name="T69" fmla="*/ 287 h 1010"/>
                    <a:gd name="T70" fmla="*/ 1423 w 1735"/>
                    <a:gd name="T71" fmla="*/ 166 h 1010"/>
                    <a:gd name="T72" fmla="*/ 1379 w 1735"/>
                    <a:gd name="T73" fmla="*/ 103 h 1010"/>
                    <a:gd name="T74" fmla="*/ 1319 w 1735"/>
                    <a:gd name="T75" fmla="*/ 71 h 1010"/>
                    <a:gd name="T76" fmla="*/ 1283 w 1735"/>
                    <a:gd name="T77" fmla="*/ 4 h 1010"/>
                    <a:gd name="T78" fmla="*/ 1339 w 1735"/>
                    <a:gd name="T79" fmla="*/ 43 h 1010"/>
                    <a:gd name="T80" fmla="*/ 1528 w 1735"/>
                    <a:gd name="T81" fmla="*/ 330 h 1010"/>
                    <a:gd name="T82" fmla="*/ 1641 w 1735"/>
                    <a:gd name="T83" fmla="*/ 534 h 1010"/>
                    <a:gd name="T84" fmla="*/ 1708 w 1735"/>
                    <a:gd name="T85" fmla="*/ 686 h 1010"/>
                    <a:gd name="T86" fmla="*/ 1734 w 1735"/>
                    <a:gd name="T87" fmla="*/ 804 h 1010"/>
                    <a:gd name="T88" fmla="*/ 1701 w 1735"/>
                    <a:gd name="T89" fmla="*/ 932 h 1010"/>
                    <a:gd name="T90" fmla="*/ 1671 w 1735"/>
                    <a:gd name="T91" fmla="*/ 963 h 1010"/>
                    <a:gd name="T92" fmla="*/ 1600 w 1735"/>
                    <a:gd name="T93" fmla="*/ 1000 h 1010"/>
                    <a:gd name="T94" fmla="*/ 1342 w 1735"/>
                    <a:gd name="T95" fmla="*/ 997 h 1010"/>
                    <a:gd name="T96" fmla="*/ 1080 w 1735"/>
                    <a:gd name="T97" fmla="*/ 990 h 1010"/>
                    <a:gd name="T98" fmla="*/ 992 w 1735"/>
                    <a:gd name="T99" fmla="*/ 1000 h 1010"/>
                    <a:gd name="T100" fmla="*/ 190 w 1735"/>
                    <a:gd name="T101" fmla="*/ 532 h 1010"/>
                    <a:gd name="T102" fmla="*/ 155 w 1735"/>
                    <a:gd name="T103" fmla="*/ 540 h 1010"/>
                    <a:gd name="T104" fmla="*/ 219 w 1735"/>
                    <a:gd name="T105" fmla="*/ 622 h 1010"/>
                    <a:gd name="T106" fmla="*/ 314 w 1735"/>
                    <a:gd name="T107" fmla="*/ 683 h 1010"/>
                    <a:gd name="T108" fmla="*/ 336 w 1735"/>
                    <a:gd name="T109" fmla="*/ 687 h 1010"/>
                    <a:gd name="T110" fmla="*/ 335 w 1735"/>
                    <a:gd name="T111" fmla="*/ 655 h 1010"/>
                    <a:gd name="T112" fmla="*/ 353 w 1735"/>
                    <a:gd name="T113" fmla="*/ 600 h 1010"/>
                    <a:gd name="T114" fmla="*/ 85 w 1735"/>
                    <a:gd name="T115" fmla="*/ 353 h 1010"/>
                    <a:gd name="T116" fmla="*/ 2 w 1735"/>
                    <a:gd name="T117" fmla="*/ 363 h 1010"/>
                    <a:gd name="T118" fmla="*/ 49 w 1735"/>
                    <a:gd name="T119" fmla="*/ 397 h 1010"/>
                    <a:gd name="T120" fmla="*/ 107 w 1735"/>
                    <a:gd name="T121" fmla="*/ 389 h 10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735" h="1010">
                      <a:moveTo>
                        <a:pt x="795" y="930"/>
                      </a:moveTo>
                      <a:lnTo>
                        <a:pt x="563" y="823"/>
                      </a:lnTo>
                      <a:lnTo>
                        <a:pt x="547" y="815"/>
                      </a:lnTo>
                      <a:lnTo>
                        <a:pt x="522" y="803"/>
                      </a:lnTo>
                      <a:lnTo>
                        <a:pt x="493" y="789"/>
                      </a:lnTo>
                      <a:lnTo>
                        <a:pt x="462" y="772"/>
                      </a:lnTo>
                      <a:lnTo>
                        <a:pt x="433" y="754"/>
                      </a:lnTo>
                      <a:lnTo>
                        <a:pt x="407" y="738"/>
                      </a:lnTo>
                      <a:lnTo>
                        <a:pt x="397" y="730"/>
                      </a:lnTo>
                      <a:lnTo>
                        <a:pt x="389" y="721"/>
                      </a:lnTo>
                      <a:lnTo>
                        <a:pt x="383" y="714"/>
                      </a:lnTo>
                      <a:lnTo>
                        <a:pt x="380" y="707"/>
                      </a:lnTo>
                      <a:lnTo>
                        <a:pt x="382" y="706"/>
                      </a:lnTo>
                      <a:lnTo>
                        <a:pt x="386" y="706"/>
                      </a:lnTo>
                      <a:lnTo>
                        <a:pt x="390" y="706"/>
                      </a:lnTo>
                      <a:lnTo>
                        <a:pt x="395" y="706"/>
                      </a:lnTo>
                      <a:lnTo>
                        <a:pt x="408" y="708"/>
                      </a:lnTo>
                      <a:lnTo>
                        <a:pt x="422" y="712"/>
                      </a:lnTo>
                      <a:lnTo>
                        <a:pt x="436" y="717"/>
                      </a:lnTo>
                      <a:lnTo>
                        <a:pt x="448" y="723"/>
                      </a:lnTo>
                      <a:lnTo>
                        <a:pt x="453" y="725"/>
                      </a:lnTo>
                      <a:lnTo>
                        <a:pt x="456" y="729"/>
                      </a:lnTo>
                      <a:lnTo>
                        <a:pt x="460" y="731"/>
                      </a:lnTo>
                      <a:lnTo>
                        <a:pt x="461" y="733"/>
                      </a:lnTo>
                      <a:lnTo>
                        <a:pt x="465" y="737"/>
                      </a:lnTo>
                      <a:lnTo>
                        <a:pt x="469" y="741"/>
                      </a:lnTo>
                      <a:lnTo>
                        <a:pt x="471" y="747"/>
                      </a:lnTo>
                      <a:lnTo>
                        <a:pt x="475" y="752"/>
                      </a:lnTo>
                      <a:lnTo>
                        <a:pt x="478" y="758"/>
                      </a:lnTo>
                      <a:lnTo>
                        <a:pt x="482" y="763"/>
                      </a:lnTo>
                      <a:lnTo>
                        <a:pt x="487" y="766"/>
                      </a:lnTo>
                      <a:lnTo>
                        <a:pt x="494" y="770"/>
                      </a:lnTo>
                      <a:lnTo>
                        <a:pt x="507" y="772"/>
                      </a:lnTo>
                      <a:lnTo>
                        <a:pt x="521" y="774"/>
                      </a:lnTo>
                      <a:lnTo>
                        <a:pt x="528" y="776"/>
                      </a:lnTo>
                      <a:lnTo>
                        <a:pt x="534" y="776"/>
                      </a:lnTo>
                      <a:lnTo>
                        <a:pt x="541" y="773"/>
                      </a:lnTo>
                      <a:lnTo>
                        <a:pt x="547" y="771"/>
                      </a:lnTo>
                      <a:lnTo>
                        <a:pt x="558" y="764"/>
                      </a:lnTo>
                      <a:lnTo>
                        <a:pt x="568" y="757"/>
                      </a:lnTo>
                      <a:lnTo>
                        <a:pt x="576" y="749"/>
                      </a:lnTo>
                      <a:lnTo>
                        <a:pt x="584" y="740"/>
                      </a:lnTo>
                      <a:lnTo>
                        <a:pt x="590" y="731"/>
                      </a:lnTo>
                      <a:lnTo>
                        <a:pt x="595" y="720"/>
                      </a:lnTo>
                      <a:lnTo>
                        <a:pt x="598" y="710"/>
                      </a:lnTo>
                      <a:lnTo>
                        <a:pt x="599" y="697"/>
                      </a:lnTo>
                      <a:lnTo>
                        <a:pt x="598" y="691"/>
                      </a:lnTo>
                      <a:lnTo>
                        <a:pt x="597" y="685"/>
                      </a:lnTo>
                      <a:lnTo>
                        <a:pt x="596" y="680"/>
                      </a:lnTo>
                      <a:lnTo>
                        <a:pt x="594" y="677"/>
                      </a:lnTo>
                      <a:lnTo>
                        <a:pt x="590" y="674"/>
                      </a:lnTo>
                      <a:lnTo>
                        <a:pt x="587" y="672"/>
                      </a:lnTo>
                      <a:lnTo>
                        <a:pt x="583" y="671"/>
                      </a:lnTo>
                      <a:lnTo>
                        <a:pt x="578" y="671"/>
                      </a:lnTo>
                      <a:lnTo>
                        <a:pt x="570" y="671"/>
                      </a:lnTo>
                      <a:lnTo>
                        <a:pt x="561" y="672"/>
                      </a:lnTo>
                      <a:lnTo>
                        <a:pt x="550" y="675"/>
                      </a:lnTo>
                      <a:lnTo>
                        <a:pt x="542" y="678"/>
                      </a:lnTo>
                      <a:lnTo>
                        <a:pt x="532" y="681"/>
                      </a:lnTo>
                      <a:lnTo>
                        <a:pt x="523" y="683"/>
                      </a:lnTo>
                      <a:lnTo>
                        <a:pt x="520" y="681"/>
                      </a:lnTo>
                      <a:lnTo>
                        <a:pt x="517" y="680"/>
                      </a:lnTo>
                      <a:lnTo>
                        <a:pt x="516" y="678"/>
                      </a:lnTo>
                      <a:lnTo>
                        <a:pt x="515" y="673"/>
                      </a:lnTo>
                      <a:lnTo>
                        <a:pt x="517" y="666"/>
                      </a:lnTo>
                      <a:lnTo>
                        <a:pt x="521" y="659"/>
                      </a:lnTo>
                      <a:lnTo>
                        <a:pt x="527" y="653"/>
                      </a:lnTo>
                      <a:lnTo>
                        <a:pt x="532" y="648"/>
                      </a:lnTo>
                      <a:lnTo>
                        <a:pt x="541" y="644"/>
                      </a:lnTo>
                      <a:lnTo>
                        <a:pt x="549" y="640"/>
                      </a:lnTo>
                      <a:lnTo>
                        <a:pt x="558" y="637"/>
                      </a:lnTo>
                      <a:lnTo>
                        <a:pt x="567" y="631"/>
                      </a:lnTo>
                      <a:lnTo>
                        <a:pt x="569" y="631"/>
                      </a:lnTo>
                      <a:lnTo>
                        <a:pt x="570" y="631"/>
                      </a:lnTo>
                      <a:lnTo>
                        <a:pt x="572" y="628"/>
                      </a:lnTo>
                      <a:lnTo>
                        <a:pt x="576" y="626"/>
                      </a:lnTo>
                      <a:lnTo>
                        <a:pt x="577" y="625"/>
                      </a:lnTo>
                      <a:lnTo>
                        <a:pt x="578" y="625"/>
                      </a:lnTo>
                      <a:lnTo>
                        <a:pt x="584" y="625"/>
                      </a:lnTo>
                      <a:lnTo>
                        <a:pt x="589" y="625"/>
                      </a:lnTo>
                      <a:lnTo>
                        <a:pt x="598" y="633"/>
                      </a:lnTo>
                      <a:lnTo>
                        <a:pt x="609" y="640"/>
                      </a:lnTo>
                      <a:lnTo>
                        <a:pt x="621" y="645"/>
                      </a:lnTo>
                      <a:lnTo>
                        <a:pt x="631" y="648"/>
                      </a:lnTo>
                      <a:lnTo>
                        <a:pt x="643" y="651"/>
                      </a:lnTo>
                      <a:lnTo>
                        <a:pt x="656" y="652"/>
                      </a:lnTo>
                      <a:lnTo>
                        <a:pt x="669" y="653"/>
                      </a:lnTo>
                      <a:lnTo>
                        <a:pt x="682" y="653"/>
                      </a:lnTo>
                      <a:lnTo>
                        <a:pt x="698" y="653"/>
                      </a:lnTo>
                      <a:lnTo>
                        <a:pt x="715" y="654"/>
                      </a:lnTo>
                      <a:lnTo>
                        <a:pt x="731" y="654"/>
                      </a:lnTo>
                      <a:lnTo>
                        <a:pt x="748" y="657"/>
                      </a:lnTo>
                      <a:lnTo>
                        <a:pt x="768" y="658"/>
                      </a:lnTo>
                      <a:lnTo>
                        <a:pt x="788" y="658"/>
                      </a:lnTo>
                      <a:lnTo>
                        <a:pt x="806" y="658"/>
                      </a:lnTo>
                      <a:lnTo>
                        <a:pt x="826" y="659"/>
                      </a:lnTo>
                      <a:lnTo>
                        <a:pt x="1008" y="621"/>
                      </a:lnTo>
                      <a:lnTo>
                        <a:pt x="1013" y="622"/>
                      </a:lnTo>
                      <a:lnTo>
                        <a:pt x="1021" y="628"/>
                      </a:lnTo>
                      <a:lnTo>
                        <a:pt x="1031" y="635"/>
                      </a:lnTo>
                      <a:lnTo>
                        <a:pt x="1043" y="645"/>
                      </a:lnTo>
                      <a:lnTo>
                        <a:pt x="1055" y="654"/>
                      </a:lnTo>
                      <a:lnTo>
                        <a:pt x="1070" y="661"/>
                      </a:lnTo>
                      <a:lnTo>
                        <a:pt x="1075" y="665"/>
                      </a:lnTo>
                      <a:lnTo>
                        <a:pt x="1083" y="667"/>
                      </a:lnTo>
                      <a:lnTo>
                        <a:pt x="1090" y="670"/>
                      </a:lnTo>
                      <a:lnTo>
                        <a:pt x="1095" y="670"/>
                      </a:lnTo>
                      <a:lnTo>
                        <a:pt x="1090" y="672"/>
                      </a:lnTo>
                      <a:lnTo>
                        <a:pt x="1084" y="677"/>
                      </a:lnTo>
                      <a:lnTo>
                        <a:pt x="1079" y="681"/>
                      </a:lnTo>
                      <a:lnTo>
                        <a:pt x="1075" y="687"/>
                      </a:lnTo>
                      <a:lnTo>
                        <a:pt x="1073" y="693"/>
                      </a:lnTo>
                      <a:lnTo>
                        <a:pt x="1071" y="700"/>
                      </a:lnTo>
                      <a:lnTo>
                        <a:pt x="1070" y="707"/>
                      </a:lnTo>
                      <a:lnTo>
                        <a:pt x="1068" y="714"/>
                      </a:lnTo>
                      <a:lnTo>
                        <a:pt x="1070" y="720"/>
                      </a:lnTo>
                      <a:lnTo>
                        <a:pt x="1071" y="727"/>
                      </a:lnTo>
                      <a:lnTo>
                        <a:pt x="1073" y="733"/>
                      </a:lnTo>
                      <a:lnTo>
                        <a:pt x="1077" y="739"/>
                      </a:lnTo>
                      <a:lnTo>
                        <a:pt x="1080" y="744"/>
                      </a:lnTo>
                      <a:lnTo>
                        <a:pt x="1085" y="747"/>
                      </a:lnTo>
                      <a:lnTo>
                        <a:pt x="1092" y="750"/>
                      </a:lnTo>
                      <a:lnTo>
                        <a:pt x="1098" y="751"/>
                      </a:lnTo>
                      <a:lnTo>
                        <a:pt x="1106" y="751"/>
                      </a:lnTo>
                      <a:lnTo>
                        <a:pt x="1113" y="749"/>
                      </a:lnTo>
                      <a:lnTo>
                        <a:pt x="1120" y="746"/>
                      </a:lnTo>
                      <a:lnTo>
                        <a:pt x="1126" y="741"/>
                      </a:lnTo>
                      <a:lnTo>
                        <a:pt x="1138" y="731"/>
                      </a:lnTo>
                      <a:lnTo>
                        <a:pt x="1149" y="717"/>
                      </a:lnTo>
                      <a:lnTo>
                        <a:pt x="1160" y="704"/>
                      </a:lnTo>
                      <a:lnTo>
                        <a:pt x="1172" y="691"/>
                      </a:lnTo>
                      <a:lnTo>
                        <a:pt x="1178" y="686"/>
                      </a:lnTo>
                      <a:lnTo>
                        <a:pt x="1184" y="681"/>
                      </a:lnTo>
                      <a:lnTo>
                        <a:pt x="1191" y="679"/>
                      </a:lnTo>
                      <a:lnTo>
                        <a:pt x="1198" y="677"/>
                      </a:lnTo>
                      <a:lnTo>
                        <a:pt x="1201" y="675"/>
                      </a:lnTo>
                      <a:lnTo>
                        <a:pt x="1205" y="674"/>
                      </a:lnTo>
                      <a:lnTo>
                        <a:pt x="1207" y="673"/>
                      </a:lnTo>
                      <a:lnTo>
                        <a:pt x="1209" y="671"/>
                      </a:lnTo>
                      <a:lnTo>
                        <a:pt x="1212" y="665"/>
                      </a:lnTo>
                      <a:lnTo>
                        <a:pt x="1213" y="659"/>
                      </a:lnTo>
                      <a:lnTo>
                        <a:pt x="1214" y="653"/>
                      </a:lnTo>
                      <a:lnTo>
                        <a:pt x="1215" y="648"/>
                      </a:lnTo>
                      <a:lnTo>
                        <a:pt x="1216" y="646"/>
                      </a:lnTo>
                      <a:lnTo>
                        <a:pt x="1218" y="645"/>
                      </a:lnTo>
                      <a:lnTo>
                        <a:pt x="1220" y="644"/>
                      </a:lnTo>
                      <a:lnTo>
                        <a:pt x="1221" y="644"/>
                      </a:lnTo>
                      <a:lnTo>
                        <a:pt x="1242" y="642"/>
                      </a:lnTo>
                      <a:lnTo>
                        <a:pt x="1272" y="638"/>
                      </a:lnTo>
                      <a:lnTo>
                        <a:pt x="1288" y="634"/>
                      </a:lnTo>
                      <a:lnTo>
                        <a:pt x="1306" y="631"/>
                      </a:lnTo>
                      <a:lnTo>
                        <a:pt x="1323" y="626"/>
                      </a:lnTo>
                      <a:lnTo>
                        <a:pt x="1340" y="620"/>
                      </a:lnTo>
                      <a:lnTo>
                        <a:pt x="1356" y="614"/>
                      </a:lnTo>
                      <a:lnTo>
                        <a:pt x="1370" y="608"/>
                      </a:lnTo>
                      <a:lnTo>
                        <a:pt x="1385" y="600"/>
                      </a:lnTo>
                      <a:lnTo>
                        <a:pt x="1395" y="593"/>
                      </a:lnTo>
                      <a:lnTo>
                        <a:pt x="1399" y="588"/>
                      </a:lnTo>
                      <a:lnTo>
                        <a:pt x="1402" y="585"/>
                      </a:lnTo>
                      <a:lnTo>
                        <a:pt x="1406" y="580"/>
                      </a:lnTo>
                      <a:lnTo>
                        <a:pt x="1407" y="575"/>
                      </a:lnTo>
                      <a:lnTo>
                        <a:pt x="1408" y="571"/>
                      </a:lnTo>
                      <a:lnTo>
                        <a:pt x="1408" y="566"/>
                      </a:lnTo>
                      <a:lnTo>
                        <a:pt x="1407" y="561"/>
                      </a:lnTo>
                      <a:lnTo>
                        <a:pt x="1405" y="556"/>
                      </a:lnTo>
                      <a:lnTo>
                        <a:pt x="1387" y="528"/>
                      </a:lnTo>
                      <a:lnTo>
                        <a:pt x="1377" y="513"/>
                      </a:lnTo>
                      <a:lnTo>
                        <a:pt x="1377" y="510"/>
                      </a:lnTo>
                      <a:lnTo>
                        <a:pt x="1377" y="508"/>
                      </a:lnTo>
                      <a:lnTo>
                        <a:pt x="1380" y="507"/>
                      </a:lnTo>
                      <a:lnTo>
                        <a:pt x="1383" y="506"/>
                      </a:lnTo>
                      <a:lnTo>
                        <a:pt x="1395" y="505"/>
                      </a:lnTo>
                      <a:lnTo>
                        <a:pt x="1414" y="503"/>
                      </a:lnTo>
                      <a:lnTo>
                        <a:pt x="1423" y="503"/>
                      </a:lnTo>
                      <a:lnTo>
                        <a:pt x="1434" y="502"/>
                      </a:lnTo>
                      <a:lnTo>
                        <a:pt x="1443" y="500"/>
                      </a:lnTo>
                      <a:lnTo>
                        <a:pt x="1454" y="496"/>
                      </a:lnTo>
                      <a:lnTo>
                        <a:pt x="1464" y="492"/>
                      </a:lnTo>
                      <a:lnTo>
                        <a:pt x="1474" y="487"/>
                      </a:lnTo>
                      <a:lnTo>
                        <a:pt x="1483" y="481"/>
                      </a:lnTo>
                      <a:lnTo>
                        <a:pt x="1494" y="475"/>
                      </a:lnTo>
                      <a:lnTo>
                        <a:pt x="1502" y="468"/>
                      </a:lnTo>
                      <a:lnTo>
                        <a:pt x="1510" y="461"/>
                      </a:lnTo>
                      <a:lnTo>
                        <a:pt x="1517" y="453"/>
                      </a:lnTo>
                      <a:lnTo>
                        <a:pt x="1524" y="444"/>
                      </a:lnTo>
                      <a:lnTo>
                        <a:pt x="1529" y="435"/>
                      </a:lnTo>
                      <a:lnTo>
                        <a:pt x="1533" y="426"/>
                      </a:lnTo>
                      <a:lnTo>
                        <a:pt x="1535" y="416"/>
                      </a:lnTo>
                      <a:lnTo>
                        <a:pt x="1536" y="407"/>
                      </a:lnTo>
                      <a:lnTo>
                        <a:pt x="1536" y="400"/>
                      </a:lnTo>
                      <a:lnTo>
                        <a:pt x="1534" y="391"/>
                      </a:lnTo>
                      <a:lnTo>
                        <a:pt x="1531" y="384"/>
                      </a:lnTo>
                      <a:lnTo>
                        <a:pt x="1528" y="376"/>
                      </a:lnTo>
                      <a:lnTo>
                        <a:pt x="1524" y="368"/>
                      </a:lnTo>
                      <a:lnTo>
                        <a:pt x="1520" y="360"/>
                      </a:lnTo>
                      <a:lnTo>
                        <a:pt x="1514" y="353"/>
                      </a:lnTo>
                      <a:lnTo>
                        <a:pt x="1508" y="345"/>
                      </a:lnTo>
                      <a:lnTo>
                        <a:pt x="1501" y="338"/>
                      </a:lnTo>
                      <a:lnTo>
                        <a:pt x="1494" y="331"/>
                      </a:lnTo>
                      <a:lnTo>
                        <a:pt x="1487" y="325"/>
                      </a:lnTo>
                      <a:lnTo>
                        <a:pt x="1480" y="321"/>
                      </a:lnTo>
                      <a:lnTo>
                        <a:pt x="1472" y="317"/>
                      </a:lnTo>
                      <a:lnTo>
                        <a:pt x="1463" y="314"/>
                      </a:lnTo>
                      <a:lnTo>
                        <a:pt x="1456" y="311"/>
                      </a:lnTo>
                      <a:lnTo>
                        <a:pt x="1448" y="311"/>
                      </a:lnTo>
                      <a:lnTo>
                        <a:pt x="1441" y="311"/>
                      </a:lnTo>
                      <a:lnTo>
                        <a:pt x="1435" y="314"/>
                      </a:lnTo>
                      <a:lnTo>
                        <a:pt x="1430" y="316"/>
                      </a:lnTo>
                      <a:lnTo>
                        <a:pt x="1425" y="320"/>
                      </a:lnTo>
                      <a:lnTo>
                        <a:pt x="1421" y="323"/>
                      </a:lnTo>
                      <a:lnTo>
                        <a:pt x="1417" y="329"/>
                      </a:lnTo>
                      <a:lnTo>
                        <a:pt x="1414" y="334"/>
                      </a:lnTo>
                      <a:lnTo>
                        <a:pt x="1410" y="340"/>
                      </a:lnTo>
                      <a:lnTo>
                        <a:pt x="1402" y="365"/>
                      </a:lnTo>
                      <a:lnTo>
                        <a:pt x="1395" y="390"/>
                      </a:lnTo>
                      <a:lnTo>
                        <a:pt x="1393" y="395"/>
                      </a:lnTo>
                      <a:lnTo>
                        <a:pt x="1390" y="397"/>
                      </a:lnTo>
                      <a:lnTo>
                        <a:pt x="1387" y="397"/>
                      </a:lnTo>
                      <a:lnTo>
                        <a:pt x="1382" y="397"/>
                      </a:lnTo>
                      <a:lnTo>
                        <a:pt x="1379" y="398"/>
                      </a:lnTo>
                      <a:lnTo>
                        <a:pt x="1374" y="400"/>
                      </a:lnTo>
                      <a:lnTo>
                        <a:pt x="1370" y="403"/>
                      </a:lnTo>
                      <a:lnTo>
                        <a:pt x="1367" y="409"/>
                      </a:lnTo>
                      <a:lnTo>
                        <a:pt x="1366" y="416"/>
                      </a:lnTo>
                      <a:lnTo>
                        <a:pt x="1366" y="429"/>
                      </a:lnTo>
                      <a:lnTo>
                        <a:pt x="1365" y="440"/>
                      </a:lnTo>
                      <a:lnTo>
                        <a:pt x="1363" y="446"/>
                      </a:lnTo>
                      <a:lnTo>
                        <a:pt x="1360" y="449"/>
                      </a:lnTo>
                      <a:lnTo>
                        <a:pt x="1356" y="450"/>
                      </a:lnTo>
                      <a:lnTo>
                        <a:pt x="1353" y="452"/>
                      </a:lnTo>
                      <a:lnTo>
                        <a:pt x="1349" y="453"/>
                      </a:lnTo>
                      <a:lnTo>
                        <a:pt x="1340" y="454"/>
                      </a:lnTo>
                      <a:lnTo>
                        <a:pt x="1332" y="456"/>
                      </a:lnTo>
                      <a:lnTo>
                        <a:pt x="1328" y="457"/>
                      </a:lnTo>
                      <a:lnTo>
                        <a:pt x="1325" y="460"/>
                      </a:lnTo>
                      <a:lnTo>
                        <a:pt x="1321" y="463"/>
                      </a:lnTo>
                      <a:lnTo>
                        <a:pt x="1319" y="467"/>
                      </a:lnTo>
                      <a:lnTo>
                        <a:pt x="1316" y="472"/>
                      </a:lnTo>
                      <a:lnTo>
                        <a:pt x="1314" y="477"/>
                      </a:lnTo>
                      <a:lnTo>
                        <a:pt x="1313" y="486"/>
                      </a:lnTo>
                      <a:lnTo>
                        <a:pt x="1313" y="495"/>
                      </a:lnTo>
                      <a:lnTo>
                        <a:pt x="1313" y="501"/>
                      </a:lnTo>
                      <a:lnTo>
                        <a:pt x="1312" y="505"/>
                      </a:lnTo>
                      <a:lnTo>
                        <a:pt x="1311" y="508"/>
                      </a:lnTo>
                      <a:lnTo>
                        <a:pt x="1309" y="512"/>
                      </a:lnTo>
                      <a:lnTo>
                        <a:pt x="1305" y="514"/>
                      </a:lnTo>
                      <a:lnTo>
                        <a:pt x="1300" y="516"/>
                      </a:lnTo>
                      <a:lnTo>
                        <a:pt x="1294" y="518"/>
                      </a:lnTo>
                      <a:lnTo>
                        <a:pt x="1288" y="520"/>
                      </a:lnTo>
                      <a:lnTo>
                        <a:pt x="1285" y="522"/>
                      </a:lnTo>
                      <a:lnTo>
                        <a:pt x="1282" y="525"/>
                      </a:lnTo>
                      <a:lnTo>
                        <a:pt x="1279" y="528"/>
                      </a:lnTo>
                      <a:lnTo>
                        <a:pt x="1276" y="532"/>
                      </a:lnTo>
                      <a:lnTo>
                        <a:pt x="1269" y="542"/>
                      </a:lnTo>
                      <a:lnTo>
                        <a:pt x="1265" y="548"/>
                      </a:lnTo>
                      <a:lnTo>
                        <a:pt x="1259" y="553"/>
                      </a:lnTo>
                      <a:lnTo>
                        <a:pt x="1253" y="556"/>
                      </a:lnTo>
                      <a:lnTo>
                        <a:pt x="1240" y="561"/>
                      </a:lnTo>
                      <a:lnTo>
                        <a:pt x="1224" y="569"/>
                      </a:lnTo>
                      <a:lnTo>
                        <a:pt x="1221" y="572"/>
                      </a:lnTo>
                      <a:lnTo>
                        <a:pt x="1220" y="574"/>
                      </a:lnTo>
                      <a:lnTo>
                        <a:pt x="1219" y="576"/>
                      </a:lnTo>
                      <a:lnTo>
                        <a:pt x="1218" y="580"/>
                      </a:lnTo>
                      <a:lnTo>
                        <a:pt x="1216" y="587"/>
                      </a:lnTo>
                      <a:lnTo>
                        <a:pt x="1216" y="594"/>
                      </a:lnTo>
                      <a:lnTo>
                        <a:pt x="1215" y="598"/>
                      </a:lnTo>
                      <a:lnTo>
                        <a:pt x="1215" y="601"/>
                      </a:lnTo>
                      <a:lnTo>
                        <a:pt x="1213" y="604"/>
                      </a:lnTo>
                      <a:lnTo>
                        <a:pt x="1212" y="606"/>
                      </a:lnTo>
                      <a:lnTo>
                        <a:pt x="1208" y="607"/>
                      </a:lnTo>
                      <a:lnTo>
                        <a:pt x="1205" y="607"/>
                      </a:lnTo>
                      <a:lnTo>
                        <a:pt x="1200" y="607"/>
                      </a:lnTo>
                      <a:lnTo>
                        <a:pt x="1195" y="606"/>
                      </a:lnTo>
                      <a:lnTo>
                        <a:pt x="1188" y="606"/>
                      </a:lnTo>
                      <a:lnTo>
                        <a:pt x="1181" y="606"/>
                      </a:lnTo>
                      <a:lnTo>
                        <a:pt x="1174" y="607"/>
                      </a:lnTo>
                      <a:lnTo>
                        <a:pt x="1168" y="609"/>
                      </a:lnTo>
                      <a:lnTo>
                        <a:pt x="1161" y="614"/>
                      </a:lnTo>
                      <a:lnTo>
                        <a:pt x="1157" y="618"/>
                      </a:lnTo>
                      <a:lnTo>
                        <a:pt x="1153" y="624"/>
                      </a:lnTo>
                      <a:lnTo>
                        <a:pt x="1151" y="630"/>
                      </a:lnTo>
                      <a:lnTo>
                        <a:pt x="1147" y="645"/>
                      </a:lnTo>
                      <a:lnTo>
                        <a:pt x="1144" y="654"/>
                      </a:lnTo>
                      <a:lnTo>
                        <a:pt x="1141" y="655"/>
                      </a:lnTo>
                      <a:lnTo>
                        <a:pt x="1138" y="655"/>
                      </a:lnTo>
                      <a:lnTo>
                        <a:pt x="1132" y="654"/>
                      </a:lnTo>
                      <a:lnTo>
                        <a:pt x="1125" y="650"/>
                      </a:lnTo>
                      <a:lnTo>
                        <a:pt x="1106" y="640"/>
                      </a:lnTo>
                      <a:lnTo>
                        <a:pt x="1093" y="633"/>
                      </a:lnTo>
                      <a:lnTo>
                        <a:pt x="1085" y="628"/>
                      </a:lnTo>
                      <a:lnTo>
                        <a:pt x="1083" y="625"/>
                      </a:lnTo>
                      <a:lnTo>
                        <a:pt x="1085" y="621"/>
                      </a:lnTo>
                      <a:lnTo>
                        <a:pt x="1092" y="618"/>
                      </a:lnTo>
                      <a:lnTo>
                        <a:pt x="1104" y="613"/>
                      </a:lnTo>
                      <a:lnTo>
                        <a:pt x="1120" y="605"/>
                      </a:lnTo>
                      <a:lnTo>
                        <a:pt x="1142" y="593"/>
                      </a:lnTo>
                      <a:lnTo>
                        <a:pt x="1164" y="580"/>
                      </a:lnTo>
                      <a:lnTo>
                        <a:pt x="1185" y="566"/>
                      </a:lnTo>
                      <a:lnTo>
                        <a:pt x="1206" y="552"/>
                      </a:lnTo>
                      <a:lnTo>
                        <a:pt x="1225" y="535"/>
                      </a:lnTo>
                      <a:lnTo>
                        <a:pt x="1245" y="519"/>
                      </a:lnTo>
                      <a:lnTo>
                        <a:pt x="1262" y="502"/>
                      </a:lnTo>
                      <a:lnTo>
                        <a:pt x="1280" y="483"/>
                      </a:lnTo>
                      <a:lnTo>
                        <a:pt x="1296" y="464"/>
                      </a:lnTo>
                      <a:lnTo>
                        <a:pt x="1313" y="444"/>
                      </a:lnTo>
                      <a:lnTo>
                        <a:pt x="1328" y="424"/>
                      </a:lnTo>
                      <a:lnTo>
                        <a:pt x="1342" y="403"/>
                      </a:lnTo>
                      <a:lnTo>
                        <a:pt x="1356" y="381"/>
                      </a:lnTo>
                      <a:lnTo>
                        <a:pt x="1369" y="358"/>
                      </a:lnTo>
                      <a:lnTo>
                        <a:pt x="1381" y="335"/>
                      </a:lnTo>
                      <a:lnTo>
                        <a:pt x="1393" y="311"/>
                      </a:lnTo>
                      <a:lnTo>
                        <a:pt x="1396" y="307"/>
                      </a:lnTo>
                      <a:lnTo>
                        <a:pt x="1400" y="301"/>
                      </a:lnTo>
                      <a:lnTo>
                        <a:pt x="1403" y="294"/>
                      </a:lnTo>
                      <a:lnTo>
                        <a:pt x="1407" y="287"/>
                      </a:lnTo>
                      <a:lnTo>
                        <a:pt x="1413" y="269"/>
                      </a:lnTo>
                      <a:lnTo>
                        <a:pt x="1417" y="251"/>
                      </a:lnTo>
                      <a:lnTo>
                        <a:pt x="1421" y="232"/>
                      </a:lnTo>
                      <a:lnTo>
                        <a:pt x="1423" y="213"/>
                      </a:lnTo>
                      <a:lnTo>
                        <a:pt x="1426" y="197"/>
                      </a:lnTo>
                      <a:lnTo>
                        <a:pt x="1426" y="184"/>
                      </a:lnTo>
                      <a:lnTo>
                        <a:pt x="1426" y="177"/>
                      </a:lnTo>
                      <a:lnTo>
                        <a:pt x="1425" y="171"/>
                      </a:lnTo>
                      <a:lnTo>
                        <a:pt x="1423" y="166"/>
                      </a:lnTo>
                      <a:lnTo>
                        <a:pt x="1421" y="160"/>
                      </a:lnTo>
                      <a:lnTo>
                        <a:pt x="1414" y="151"/>
                      </a:lnTo>
                      <a:lnTo>
                        <a:pt x="1407" y="143"/>
                      </a:lnTo>
                      <a:lnTo>
                        <a:pt x="1400" y="134"/>
                      </a:lnTo>
                      <a:lnTo>
                        <a:pt x="1393" y="126"/>
                      </a:lnTo>
                      <a:lnTo>
                        <a:pt x="1387" y="117"/>
                      </a:lnTo>
                      <a:lnTo>
                        <a:pt x="1383" y="107"/>
                      </a:lnTo>
                      <a:lnTo>
                        <a:pt x="1381" y="105"/>
                      </a:lnTo>
                      <a:lnTo>
                        <a:pt x="1379" y="103"/>
                      </a:lnTo>
                      <a:lnTo>
                        <a:pt x="1373" y="97"/>
                      </a:lnTo>
                      <a:lnTo>
                        <a:pt x="1367" y="91"/>
                      </a:lnTo>
                      <a:lnTo>
                        <a:pt x="1358" y="89"/>
                      </a:lnTo>
                      <a:lnTo>
                        <a:pt x="1342" y="84"/>
                      </a:lnTo>
                      <a:lnTo>
                        <a:pt x="1335" y="81"/>
                      </a:lnTo>
                      <a:lnTo>
                        <a:pt x="1329" y="79"/>
                      </a:lnTo>
                      <a:lnTo>
                        <a:pt x="1325" y="76"/>
                      </a:lnTo>
                      <a:lnTo>
                        <a:pt x="1322" y="73"/>
                      </a:lnTo>
                      <a:lnTo>
                        <a:pt x="1319" y="71"/>
                      </a:lnTo>
                      <a:lnTo>
                        <a:pt x="1314" y="67"/>
                      </a:lnTo>
                      <a:lnTo>
                        <a:pt x="1309" y="58"/>
                      </a:lnTo>
                      <a:lnTo>
                        <a:pt x="1301" y="46"/>
                      </a:lnTo>
                      <a:lnTo>
                        <a:pt x="1296" y="40"/>
                      </a:lnTo>
                      <a:lnTo>
                        <a:pt x="1292" y="33"/>
                      </a:lnTo>
                      <a:lnTo>
                        <a:pt x="1288" y="27"/>
                      </a:lnTo>
                      <a:lnTo>
                        <a:pt x="1286" y="20"/>
                      </a:lnTo>
                      <a:lnTo>
                        <a:pt x="1283" y="11"/>
                      </a:lnTo>
                      <a:lnTo>
                        <a:pt x="1283" y="4"/>
                      </a:lnTo>
                      <a:lnTo>
                        <a:pt x="1285" y="2"/>
                      </a:lnTo>
                      <a:lnTo>
                        <a:pt x="1286" y="0"/>
                      </a:lnTo>
                      <a:lnTo>
                        <a:pt x="1287" y="0"/>
                      </a:lnTo>
                      <a:lnTo>
                        <a:pt x="1289" y="0"/>
                      </a:lnTo>
                      <a:lnTo>
                        <a:pt x="1294" y="1"/>
                      </a:lnTo>
                      <a:lnTo>
                        <a:pt x="1299" y="5"/>
                      </a:lnTo>
                      <a:lnTo>
                        <a:pt x="1306" y="10"/>
                      </a:lnTo>
                      <a:lnTo>
                        <a:pt x="1312" y="15"/>
                      </a:lnTo>
                      <a:lnTo>
                        <a:pt x="1339" y="43"/>
                      </a:lnTo>
                      <a:lnTo>
                        <a:pt x="1354" y="59"/>
                      </a:lnTo>
                      <a:lnTo>
                        <a:pt x="1374" y="78"/>
                      </a:lnTo>
                      <a:lnTo>
                        <a:pt x="1394" y="97"/>
                      </a:lnTo>
                      <a:lnTo>
                        <a:pt x="1402" y="106"/>
                      </a:lnTo>
                      <a:lnTo>
                        <a:pt x="1412" y="117"/>
                      </a:lnTo>
                      <a:lnTo>
                        <a:pt x="1420" y="129"/>
                      </a:lnTo>
                      <a:lnTo>
                        <a:pt x="1427" y="142"/>
                      </a:lnTo>
                      <a:lnTo>
                        <a:pt x="1508" y="292"/>
                      </a:lnTo>
                      <a:lnTo>
                        <a:pt x="1528" y="330"/>
                      </a:lnTo>
                      <a:lnTo>
                        <a:pt x="1547" y="369"/>
                      </a:lnTo>
                      <a:lnTo>
                        <a:pt x="1568" y="407"/>
                      </a:lnTo>
                      <a:lnTo>
                        <a:pt x="1590" y="443"/>
                      </a:lnTo>
                      <a:lnTo>
                        <a:pt x="1597" y="461"/>
                      </a:lnTo>
                      <a:lnTo>
                        <a:pt x="1605" y="479"/>
                      </a:lnTo>
                      <a:lnTo>
                        <a:pt x="1616" y="496"/>
                      </a:lnTo>
                      <a:lnTo>
                        <a:pt x="1627" y="512"/>
                      </a:lnTo>
                      <a:lnTo>
                        <a:pt x="1634" y="522"/>
                      </a:lnTo>
                      <a:lnTo>
                        <a:pt x="1641" y="534"/>
                      </a:lnTo>
                      <a:lnTo>
                        <a:pt x="1648" y="548"/>
                      </a:lnTo>
                      <a:lnTo>
                        <a:pt x="1654" y="562"/>
                      </a:lnTo>
                      <a:lnTo>
                        <a:pt x="1665" y="592"/>
                      </a:lnTo>
                      <a:lnTo>
                        <a:pt x="1677" y="618"/>
                      </a:lnTo>
                      <a:lnTo>
                        <a:pt x="1684" y="631"/>
                      </a:lnTo>
                      <a:lnTo>
                        <a:pt x="1691" y="646"/>
                      </a:lnTo>
                      <a:lnTo>
                        <a:pt x="1698" y="660"/>
                      </a:lnTo>
                      <a:lnTo>
                        <a:pt x="1704" y="673"/>
                      </a:lnTo>
                      <a:lnTo>
                        <a:pt x="1708" y="686"/>
                      </a:lnTo>
                      <a:lnTo>
                        <a:pt x="1712" y="703"/>
                      </a:lnTo>
                      <a:lnTo>
                        <a:pt x="1717" y="719"/>
                      </a:lnTo>
                      <a:lnTo>
                        <a:pt x="1723" y="729"/>
                      </a:lnTo>
                      <a:lnTo>
                        <a:pt x="1723" y="741"/>
                      </a:lnTo>
                      <a:lnTo>
                        <a:pt x="1725" y="753"/>
                      </a:lnTo>
                      <a:lnTo>
                        <a:pt x="1727" y="765"/>
                      </a:lnTo>
                      <a:lnTo>
                        <a:pt x="1730" y="778"/>
                      </a:lnTo>
                      <a:lnTo>
                        <a:pt x="1732" y="791"/>
                      </a:lnTo>
                      <a:lnTo>
                        <a:pt x="1734" y="804"/>
                      </a:lnTo>
                      <a:lnTo>
                        <a:pt x="1735" y="817"/>
                      </a:lnTo>
                      <a:lnTo>
                        <a:pt x="1735" y="831"/>
                      </a:lnTo>
                      <a:lnTo>
                        <a:pt x="1732" y="846"/>
                      </a:lnTo>
                      <a:lnTo>
                        <a:pt x="1730" y="861"/>
                      </a:lnTo>
                      <a:lnTo>
                        <a:pt x="1725" y="876"/>
                      </a:lnTo>
                      <a:lnTo>
                        <a:pt x="1721" y="890"/>
                      </a:lnTo>
                      <a:lnTo>
                        <a:pt x="1715" y="904"/>
                      </a:lnTo>
                      <a:lnTo>
                        <a:pt x="1708" y="918"/>
                      </a:lnTo>
                      <a:lnTo>
                        <a:pt x="1701" y="932"/>
                      </a:lnTo>
                      <a:lnTo>
                        <a:pt x="1692" y="944"/>
                      </a:lnTo>
                      <a:lnTo>
                        <a:pt x="1688" y="949"/>
                      </a:lnTo>
                      <a:lnTo>
                        <a:pt x="1683" y="952"/>
                      </a:lnTo>
                      <a:lnTo>
                        <a:pt x="1682" y="954"/>
                      </a:lnTo>
                      <a:lnTo>
                        <a:pt x="1680" y="955"/>
                      </a:lnTo>
                      <a:lnTo>
                        <a:pt x="1678" y="957"/>
                      </a:lnTo>
                      <a:lnTo>
                        <a:pt x="1676" y="958"/>
                      </a:lnTo>
                      <a:lnTo>
                        <a:pt x="1675" y="958"/>
                      </a:lnTo>
                      <a:lnTo>
                        <a:pt x="1671" y="963"/>
                      </a:lnTo>
                      <a:lnTo>
                        <a:pt x="1665" y="967"/>
                      </a:lnTo>
                      <a:lnTo>
                        <a:pt x="1658" y="971"/>
                      </a:lnTo>
                      <a:lnTo>
                        <a:pt x="1651" y="975"/>
                      </a:lnTo>
                      <a:lnTo>
                        <a:pt x="1635" y="981"/>
                      </a:lnTo>
                      <a:lnTo>
                        <a:pt x="1623" y="984"/>
                      </a:lnTo>
                      <a:lnTo>
                        <a:pt x="1618" y="989"/>
                      </a:lnTo>
                      <a:lnTo>
                        <a:pt x="1614" y="993"/>
                      </a:lnTo>
                      <a:lnTo>
                        <a:pt x="1607" y="996"/>
                      </a:lnTo>
                      <a:lnTo>
                        <a:pt x="1600" y="1000"/>
                      </a:lnTo>
                      <a:lnTo>
                        <a:pt x="1584" y="1004"/>
                      </a:lnTo>
                      <a:lnTo>
                        <a:pt x="1566" y="1008"/>
                      </a:lnTo>
                      <a:lnTo>
                        <a:pt x="1544" y="1010"/>
                      </a:lnTo>
                      <a:lnTo>
                        <a:pt x="1522" y="1010"/>
                      </a:lnTo>
                      <a:lnTo>
                        <a:pt x="1499" y="1010"/>
                      </a:lnTo>
                      <a:lnTo>
                        <a:pt x="1474" y="1010"/>
                      </a:lnTo>
                      <a:lnTo>
                        <a:pt x="1426" y="1007"/>
                      </a:lnTo>
                      <a:lnTo>
                        <a:pt x="1380" y="1002"/>
                      </a:lnTo>
                      <a:lnTo>
                        <a:pt x="1342" y="997"/>
                      </a:lnTo>
                      <a:lnTo>
                        <a:pt x="1314" y="995"/>
                      </a:lnTo>
                      <a:lnTo>
                        <a:pt x="1149" y="978"/>
                      </a:lnTo>
                      <a:lnTo>
                        <a:pt x="1139" y="978"/>
                      </a:lnTo>
                      <a:lnTo>
                        <a:pt x="1130" y="978"/>
                      </a:lnTo>
                      <a:lnTo>
                        <a:pt x="1119" y="978"/>
                      </a:lnTo>
                      <a:lnTo>
                        <a:pt x="1108" y="981"/>
                      </a:lnTo>
                      <a:lnTo>
                        <a:pt x="1099" y="983"/>
                      </a:lnTo>
                      <a:lnTo>
                        <a:pt x="1090" y="985"/>
                      </a:lnTo>
                      <a:lnTo>
                        <a:pt x="1080" y="990"/>
                      </a:lnTo>
                      <a:lnTo>
                        <a:pt x="1071" y="995"/>
                      </a:lnTo>
                      <a:lnTo>
                        <a:pt x="1059" y="1002"/>
                      </a:lnTo>
                      <a:lnTo>
                        <a:pt x="1050" y="1007"/>
                      </a:lnTo>
                      <a:lnTo>
                        <a:pt x="1041" y="1010"/>
                      </a:lnTo>
                      <a:lnTo>
                        <a:pt x="1033" y="1010"/>
                      </a:lnTo>
                      <a:lnTo>
                        <a:pt x="1025" y="1009"/>
                      </a:lnTo>
                      <a:lnTo>
                        <a:pt x="1016" y="1007"/>
                      </a:lnTo>
                      <a:lnTo>
                        <a:pt x="1005" y="1003"/>
                      </a:lnTo>
                      <a:lnTo>
                        <a:pt x="992" y="1000"/>
                      </a:lnTo>
                      <a:lnTo>
                        <a:pt x="795" y="930"/>
                      </a:lnTo>
                      <a:close/>
                      <a:moveTo>
                        <a:pt x="295" y="552"/>
                      </a:moveTo>
                      <a:lnTo>
                        <a:pt x="270" y="551"/>
                      </a:lnTo>
                      <a:lnTo>
                        <a:pt x="246" y="549"/>
                      </a:lnTo>
                      <a:lnTo>
                        <a:pt x="234" y="548"/>
                      </a:lnTo>
                      <a:lnTo>
                        <a:pt x="223" y="545"/>
                      </a:lnTo>
                      <a:lnTo>
                        <a:pt x="212" y="541"/>
                      </a:lnTo>
                      <a:lnTo>
                        <a:pt x="201" y="536"/>
                      </a:lnTo>
                      <a:lnTo>
                        <a:pt x="190" y="532"/>
                      </a:lnTo>
                      <a:lnTo>
                        <a:pt x="179" y="528"/>
                      </a:lnTo>
                      <a:lnTo>
                        <a:pt x="174" y="527"/>
                      </a:lnTo>
                      <a:lnTo>
                        <a:pt x="169" y="527"/>
                      </a:lnTo>
                      <a:lnTo>
                        <a:pt x="165" y="528"/>
                      </a:lnTo>
                      <a:lnTo>
                        <a:pt x="161" y="529"/>
                      </a:lnTo>
                      <a:lnTo>
                        <a:pt x="158" y="531"/>
                      </a:lnTo>
                      <a:lnTo>
                        <a:pt x="155" y="533"/>
                      </a:lnTo>
                      <a:lnTo>
                        <a:pt x="155" y="536"/>
                      </a:lnTo>
                      <a:lnTo>
                        <a:pt x="155" y="540"/>
                      </a:lnTo>
                      <a:lnTo>
                        <a:pt x="156" y="545"/>
                      </a:lnTo>
                      <a:lnTo>
                        <a:pt x="159" y="551"/>
                      </a:lnTo>
                      <a:lnTo>
                        <a:pt x="162" y="556"/>
                      </a:lnTo>
                      <a:lnTo>
                        <a:pt x="168" y="564"/>
                      </a:lnTo>
                      <a:lnTo>
                        <a:pt x="178" y="574"/>
                      </a:lnTo>
                      <a:lnTo>
                        <a:pt x="188" y="585"/>
                      </a:lnTo>
                      <a:lnTo>
                        <a:pt x="198" y="595"/>
                      </a:lnTo>
                      <a:lnTo>
                        <a:pt x="207" y="606"/>
                      </a:lnTo>
                      <a:lnTo>
                        <a:pt x="219" y="622"/>
                      </a:lnTo>
                      <a:lnTo>
                        <a:pt x="232" y="639"/>
                      </a:lnTo>
                      <a:lnTo>
                        <a:pt x="239" y="645"/>
                      </a:lnTo>
                      <a:lnTo>
                        <a:pt x="248" y="650"/>
                      </a:lnTo>
                      <a:lnTo>
                        <a:pt x="259" y="654"/>
                      </a:lnTo>
                      <a:lnTo>
                        <a:pt x="267" y="657"/>
                      </a:lnTo>
                      <a:lnTo>
                        <a:pt x="277" y="660"/>
                      </a:lnTo>
                      <a:lnTo>
                        <a:pt x="292" y="667"/>
                      </a:lnTo>
                      <a:lnTo>
                        <a:pt x="306" y="675"/>
                      </a:lnTo>
                      <a:lnTo>
                        <a:pt x="314" y="683"/>
                      </a:lnTo>
                      <a:lnTo>
                        <a:pt x="320" y="688"/>
                      </a:lnTo>
                      <a:lnTo>
                        <a:pt x="329" y="694"/>
                      </a:lnTo>
                      <a:lnTo>
                        <a:pt x="334" y="697"/>
                      </a:lnTo>
                      <a:lnTo>
                        <a:pt x="339" y="699"/>
                      </a:lnTo>
                      <a:lnTo>
                        <a:pt x="343" y="699"/>
                      </a:lnTo>
                      <a:lnTo>
                        <a:pt x="347" y="699"/>
                      </a:lnTo>
                      <a:lnTo>
                        <a:pt x="346" y="696"/>
                      </a:lnTo>
                      <a:lnTo>
                        <a:pt x="342" y="692"/>
                      </a:lnTo>
                      <a:lnTo>
                        <a:pt x="336" y="687"/>
                      </a:lnTo>
                      <a:lnTo>
                        <a:pt x="330" y="683"/>
                      </a:lnTo>
                      <a:lnTo>
                        <a:pt x="324" y="677"/>
                      </a:lnTo>
                      <a:lnTo>
                        <a:pt x="320" y="671"/>
                      </a:lnTo>
                      <a:lnTo>
                        <a:pt x="316" y="666"/>
                      </a:lnTo>
                      <a:lnTo>
                        <a:pt x="314" y="660"/>
                      </a:lnTo>
                      <a:lnTo>
                        <a:pt x="320" y="660"/>
                      </a:lnTo>
                      <a:lnTo>
                        <a:pt x="326" y="659"/>
                      </a:lnTo>
                      <a:lnTo>
                        <a:pt x="330" y="658"/>
                      </a:lnTo>
                      <a:lnTo>
                        <a:pt x="335" y="655"/>
                      </a:lnTo>
                      <a:lnTo>
                        <a:pt x="339" y="653"/>
                      </a:lnTo>
                      <a:lnTo>
                        <a:pt x="342" y="651"/>
                      </a:lnTo>
                      <a:lnTo>
                        <a:pt x="346" y="647"/>
                      </a:lnTo>
                      <a:lnTo>
                        <a:pt x="348" y="644"/>
                      </a:lnTo>
                      <a:lnTo>
                        <a:pt x="351" y="635"/>
                      </a:lnTo>
                      <a:lnTo>
                        <a:pt x="354" y="627"/>
                      </a:lnTo>
                      <a:lnTo>
                        <a:pt x="355" y="617"/>
                      </a:lnTo>
                      <a:lnTo>
                        <a:pt x="355" y="606"/>
                      </a:lnTo>
                      <a:lnTo>
                        <a:pt x="353" y="600"/>
                      </a:lnTo>
                      <a:lnTo>
                        <a:pt x="350" y="593"/>
                      </a:lnTo>
                      <a:lnTo>
                        <a:pt x="346" y="585"/>
                      </a:lnTo>
                      <a:lnTo>
                        <a:pt x="340" y="576"/>
                      </a:lnTo>
                      <a:lnTo>
                        <a:pt x="334" y="569"/>
                      </a:lnTo>
                      <a:lnTo>
                        <a:pt x="327" y="564"/>
                      </a:lnTo>
                      <a:lnTo>
                        <a:pt x="321" y="559"/>
                      </a:lnTo>
                      <a:lnTo>
                        <a:pt x="315" y="556"/>
                      </a:lnTo>
                      <a:lnTo>
                        <a:pt x="295" y="552"/>
                      </a:lnTo>
                      <a:close/>
                      <a:moveTo>
                        <a:pt x="85" y="353"/>
                      </a:moveTo>
                      <a:lnTo>
                        <a:pt x="71" y="354"/>
                      </a:lnTo>
                      <a:lnTo>
                        <a:pt x="55" y="355"/>
                      </a:lnTo>
                      <a:lnTo>
                        <a:pt x="44" y="355"/>
                      </a:lnTo>
                      <a:lnTo>
                        <a:pt x="32" y="355"/>
                      </a:lnTo>
                      <a:lnTo>
                        <a:pt x="21" y="354"/>
                      </a:lnTo>
                      <a:lnTo>
                        <a:pt x="11" y="354"/>
                      </a:lnTo>
                      <a:lnTo>
                        <a:pt x="7" y="355"/>
                      </a:lnTo>
                      <a:lnTo>
                        <a:pt x="4" y="358"/>
                      </a:lnTo>
                      <a:lnTo>
                        <a:pt x="2" y="363"/>
                      </a:lnTo>
                      <a:lnTo>
                        <a:pt x="0" y="367"/>
                      </a:lnTo>
                      <a:lnTo>
                        <a:pt x="2" y="373"/>
                      </a:lnTo>
                      <a:lnTo>
                        <a:pt x="6" y="378"/>
                      </a:lnTo>
                      <a:lnTo>
                        <a:pt x="11" y="382"/>
                      </a:lnTo>
                      <a:lnTo>
                        <a:pt x="18" y="386"/>
                      </a:lnTo>
                      <a:lnTo>
                        <a:pt x="26" y="388"/>
                      </a:lnTo>
                      <a:lnTo>
                        <a:pt x="32" y="390"/>
                      </a:lnTo>
                      <a:lnTo>
                        <a:pt x="41" y="395"/>
                      </a:lnTo>
                      <a:lnTo>
                        <a:pt x="49" y="397"/>
                      </a:lnTo>
                      <a:lnTo>
                        <a:pt x="61" y="398"/>
                      </a:lnTo>
                      <a:lnTo>
                        <a:pt x="78" y="400"/>
                      </a:lnTo>
                      <a:lnTo>
                        <a:pt x="86" y="398"/>
                      </a:lnTo>
                      <a:lnTo>
                        <a:pt x="93" y="397"/>
                      </a:lnTo>
                      <a:lnTo>
                        <a:pt x="96" y="396"/>
                      </a:lnTo>
                      <a:lnTo>
                        <a:pt x="99" y="395"/>
                      </a:lnTo>
                      <a:lnTo>
                        <a:pt x="101" y="393"/>
                      </a:lnTo>
                      <a:lnTo>
                        <a:pt x="102" y="390"/>
                      </a:lnTo>
                      <a:lnTo>
                        <a:pt x="107" y="389"/>
                      </a:lnTo>
                      <a:lnTo>
                        <a:pt x="109" y="384"/>
                      </a:lnTo>
                      <a:lnTo>
                        <a:pt x="111" y="380"/>
                      </a:lnTo>
                      <a:lnTo>
                        <a:pt x="112" y="376"/>
                      </a:lnTo>
                      <a:lnTo>
                        <a:pt x="111" y="370"/>
                      </a:lnTo>
                      <a:lnTo>
                        <a:pt x="108" y="364"/>
                      </a:lnTo>
                      <a:lnTo>
                        <a:pt x="105" y="360"/>
                      </a:lnTo>
                      <a:lnTo>
                        <a:pt x="100" y="357"/>
                      </a:lnTo>
                      <a:lnTo>
                        <a:pt x="85" y="35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7" name="Freeform 19">
                  <a:extLst>
                    <a:ext uri="{FF2B5EF4-FFF2-40B4-BE49-F238E27FC236}">
                      <a16:creationId xmlns:a16="http://schemas.microsoft.com/office/drawing/2014/main" id="{24902CC2-DF95-4372-A6A5-79AC020423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495365" y="4642615"/>
                  <a:ext cx="606680" cy="439762"/>
                </a:xfrm>
                <a:custGeom>
                  <a:avLst/>
                  <a:gdLst>
                    <a:gd name="T0" fmla="*/ 721 w 2475"/>
                    <a:gd name="T1" fmla="*/ 1767 h 1794"/>
                    <a:gd name="T2" fmla="*/ 577 w 2475"/>
                    <a:gd name="T3" fmla="*/ 1733 h 1794"/>
                    <a:gd name="T4" fmla="*/ 2316 w 2475"/>
                    <a:gd name="T5" fmla="*/ 1151 h 1794"/>
                    <a:gd name="T6" fmla="*/ 2368 w 2475"/>
                    <a:gd name="T7" fmla="*/ 1121 h 1794"/>
                    <a:gd name="T8" fmla="*/ 2204 w 2475"/>
                    <a:gd name="T9" fmla="*/ 987 h 1794"/>
                    <a:gd name="T10" fmla="*/ 2305 w 2475"/>
                    <a:gd name="T11" fmla="*/ 894 h 1794"/>
                    <a:gd name="T12" fmla="*/ 2429 w 2475"/>
                    <a:gd name="T13" fmla="*/ 933 h 1794"/>
                    <a:gd name="T14" fmla="*/ 2417 w 2475"/>
                    <a:gd name="T15" fmla="*/ 682 h 1794"/>
                    <a:gd name="T16" fmla="*/ 2471 w 2475"/>
                    <a:gd name="T17" fmla="*/ 862 h 1794"/>
                    <a:gd name="T18" fmla="*/ 1879 w 2475"/>
                    <a:gd name="T19" fmla="*/ 1118 h 1794"/>
                    <a:gd name="T20" fmla="*/ 1922 w 2475"/>
                    <a:gd name="T21" fmla="*/ 1046 h 1794"/>
                    <a:gd name="T22" fmla="*/ 1974 w 2475"/>
                    <a:gd name="T23" fmla="*/ 1082 h 1794"/>
                    <a:gd name="T24" fmla="*/ 2016 w 2475"/>
                    <a:gd name="T25" fmla="*/ 1143 h 1794"/>
                    <a:gd name="T26" fmla="*/ 2197 w 2475"/>
                    <a:gd name="T27" fmla="*/ 1081 h 1794"/>
                    <a:gd name="T28" fmla="*/ 2180 w 2475"/>
                    <a:gd name="T29" fmla="*/ 870 h 1794"/>
                    <a:gd name="T30" fmla="*/ 2081 w 2475"/>
                    <a:gd name="T31" fmla="*/ 764 h 1794"/>
                    <a:gd name="T32" fmla="*/ 2043 w 2475"/>
                    <a:gd name="T33" fmla="*/ 772 h 1794"/>
                    <a:gd name="T34" fmla="*/ 1882 w 2475"/>
                    <a:gd name="T35" fmla="*/ 693 h 1794"/>
                    <a:gd name="T36" fmla="*/ 1920 w 2475"/>
                    <a:gd name="T37" fmla="*/ 578 h 1794"/>
                    <a:gd name="T38" fmla="*/ 1925 w 2475"/>
                    <a:gd name="T39" fmla="*/ 424 h 1794"/>
                    <a:gd name="T40" fmla="*/ 1800 w 2475"/>
                    <a:gd name="T41" fmla="*/ 422 h 1794"/>
                    <a:gd name="T42" fmla="*/ 1747 w 2475"/>
                    <a:gd name="T43" fmla="*/ 505 h 1794"/>
                    <a:gd name="T44" fmla="*/ 1721 w 2475"/>
                    <a:gd name="T45" fmla="*/ 457 h 1794"/>
                    <a:gd name="T46" fmla="*/ 1707 w 2475"/>
                    <a:gd name="T47" fmla="*/ 263 h 1794"/>
                    <a:gd name="T48" fmla="*/ 1596 w 2475"/>
                    <a:gd name="T49" fmla="*/ 467 h 1794"/>
                    <a:gd name="T50" fmla="*/ 1508 w 2475"/>
                    <a:gd name="T51" fmla="*/ 405 h 1794"/>
                    <a:gd name="T52" fmla="*/ 1361 w 2475"/>
                    <a:gd name="T53" fmla="*/ 547 h 1794"/>
                    <a:gd name="T54" fmla="*/ 1221 w 2475"/>
                    <a:gd name="T55" fmla="*/ 614 h 1794"/>
                    <a:gd name="T56" fmla="*/ 1090 w 2475"/>
                    <a:gd name="T57" fmla="*/ 820 h 1794"/>
                    <a:gd name="T58" fmla="*/ 961 w 2475"/>
                    <a:gd name="T59" fmla="*/ 994 h 1794"/>
                    <a:gd name="T60" fmla="*/ 918 w 2475"/>
                    <a:gd name="T61" fmla="*/ 1220 h 1794"/>
                    <a:gd name="T62" fmla="*/ 815 w 2475"/>
                    <a:gd name="T63" fmla="*/ 1224 h 1794"/>
                    <a:gd name="T64" fmla="*/ 883 w 2475"/>
                    <a:gd name="T65" fmla="*/ 1125 h 1794"/>
                    <a:gd name="T66" fmla="*/ 621 w 2475"/>
                    <a:gd name="T67" fmla="*/ 1114 h 1794"/>
                    <a:gd name="T68" fmla="*/ 645 w 2475"/>
                    <a:gd name="T69" fmla="*/ 1280 h 1794"/>
                    <a:gd name="T70" fmla="*/ 836 w 2475"/>
                    <a:gd name="T71" fmla="*/ 1442 h 1794"/>
                    <a:gd name="T72" fmla="*/ 828 w 2475"/>
                    <a:gd name="T73" fmla="*/ 1385 h 1794"/>
                    <a:gd name="T74" fmla="*/ 799 w 2475"/>
                    <a:gd name="T75" fmla="*/ 1299 h 1794"/>
                    <a:gd name="T76" fmla="*/ 943 w 2475"/>
                    <a:gd name="T77" fmla="*/ 1318 h 1794"/>
                    <a:gd name="T78" fmla="*/ 1193 w 2475"/>
                    <a:gd name="T79" fmla="*/ 1188 h 1794"/>
                    <a:gd name="T80" fmla="*/ 1271 w 2475"/>
                    <a:gd name="T81" fmla="*/ 1126 h 1794"/>
                    <a:gd name="T82" fmla="*/ 1472 w 2475"/>
                    <a:gd name="T83" fmla="*/ 1147 h 1794"/>
                    <a:gd name="T84" fmla="*/ 1444 w 2475"/>
                    <a:gd name="T85" fmla="*/ 1078 h 1794"/>
                    <a:gd name="T86" fmla="*/ 1665 w 2475"/>
                    <a:gd name="T87" fmla="*/ 1145 h 1794"/>
                    <a:gd name="T88" fmla="*/ 51 w 2475"/>
                    <a:gd name="T89" fmla="*/ 651 h 1794"/>
                    <a:gd name="T90" fmla="*/ 42 w 2475"/>
                    <a:gd name="T91" fmla="*/ 734 h 1794"/>
                    <a:gd name="T92" fmla="*/ 390 w 2475"/>
                    <a:gd name="T93" fmla="*/ 541 h 1794"/>
                    <a:gd name="T94" fmla="*/ 231 w 2475"/>
                    <a:gd name="T95" fmla="*/ 623 h 1794"/>
                    <a:gd name="T96" fmla="*/ 466 w 2475"/>
                    <a:gd name="T97" fmla="*/ 619 h 1794"/>
                    <a:gd name="T98" fmla="*/ 674 w 2475"/>
                    <a:gd name="T99" fmla="*/ 454 h 1794"/>
                    <a:gd name="T100" fmla="*/ 600 w 2475"/>
                    <a:gd name="T101" fmla="*/ 432 h 1794"/>
                    <a:gd name="T102" fmla="*/ 548 w 2475"/>
                    <a:gd name="T103" fmla="*/ 531 h 1794"/>
                    <a:gd name="T104" fmla="*/ 694 w 2475"/>
                    <a:gd name="T105" fmla="*/ 514 h 1794"/>
                    <a:gd name="T106" fmla="*/ 721 w 2475"/>
                    <a:gd name="T107" fmla="*/ 365 h 1794"/>
                    <a:gd name="T108" fmla="*/ 887 w 2475"/>
                    <a:gd name="T109" fmla="*/ 254 h 1794"/>
                    <a:gd name="T110" fmla="*/ 1068 w 2475"/>
                    <a:gd name="T111" fmla="*/ 123 h 1794"/>
                    <a:gd name="T112" fmla="*/ 1185 w 2475"/>
                    <a:gd name="T113" fmla="*/ 28 h 1794"/>
                    <a:gd name="T114" fmla="*/ 1242 w 2475"/>
                    <a:gd name="T115" fmla="*/ 65 h 1794"/>
                    <a:gd name="T116" fmla="*/ 1322 w 2475"/>
                    <a:gd name="T117" fmla="*/ 105 h 1794"/>
                    <a:gd name="T118" fmla="*/ 1213 w 2475"/>
                    <a:gd name="T119" fmla="*/ 124 h 1794"/>
                    <a:gd name="T120" fmla="*/ 1073 w 2475"/>
                    <a:gd name="T121" fmla="*/ 230 h 1794"/>
                    <a:gd name="T122" fmla="*/ 941 w 2475"/>
                    <a:gd name="T123" fmla="*/ 346 h 1794"/>
                    <a:gd name="T124" fmla="*/ 824 w 2475"/>
                    <a:gd name="T125" fmla="*/ 477 h 17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475" h="1794">
                      <a:moveTo>
                        <a:pt x="597" y="1725"/>
                      </a:moveTo>
                      <a:lnTo>
                        <a:pt x="601" y="1727"/>
                      </a:lnTo>
                      <a:lnTo>
                        <a:pt x="607" y="1728"/>
                      </a:lnTo>
                      <a:lnTo>
                        <a:pt x="613" y="1729"/>
                      </a:lnTo>
                      <a:lnTo>
                        <a:pt x="619" y="1729"/>
                      </a:lnTo>
                      <a:lnTo>
                        <a:pt x="631" y="1729"/>
                      </a:lnTo>
                      <a:lnTo>
                        <a:pt x="643" y="1726"/>
                      </a:lnTo>
                      <a:lnTo>
                        <a:pt x="654" y="1720"/>
                      </a:lnTo>
                      <a:lnTo>
                        <a:pt x="665" y="1713"/>
                      </a:lnTo>
                      <a:lnTo>
                        <a:pt x="678" y="1704"/>
                      </a:lnTo>
                      <a:lnTo>
                        <a:pt x="687" y="1694"/>
                      </a:lnTo>
                      <a:lnTo>
                        <a:pt x="694" y="1707"/>
                      </a:lnTo>
                      <a:lnTo>
                        <a:pt x="700" y="1722"/>
                      </a:lnTo>
                      <a:lnTo>
                        <a:pt x="702" y="1726"/>
                      </a:lnTo>
                      <a:lnTo>
                        <a:pt x="705" y="1729"/>
                      </a:lnTo>
                      <a:lnTo>
                        <a:pt x="707" y="1732"/>
                      </a:lnTo>
                      <a:lnTo>
                        <a:pt x="711" y="1733"/>
                      </a:lnTo>
                      <a:lnTo>
                        <a:pt x="719" y="1734"/>
                      </a:lnTo>
                      <a:lnTo>
                        <a:pt x="727" y="1735"/>
                      </a:lnTo>
                      <a:lnTo>
                        <a:pt x="725" y="1746"/>
                      </a:lnTo>
                      <a:lnTo>
                        <a:pt x="722" y="1757"/>
                      </a:lnTo>
                      <a:lnTo>
                        <a:pt x="721" y="1767"/>
                      </a:lnTo>
                      <a:lnTo>
                        <a:pt x="720" y="1780"/>
                      </a:lnTo>
                      <a:lnTo>
                        <a:pt x="718" y="1786"/>
                      </a:lnTo>
                      <a:lnTo>
                        <a:pt x="714" y="1791"/>
                      </a:lnTo>
                      <a:lnTo>
                        <a:pt x="711" y="1793"/>
                      </a:lnTo>
                      <a:lnTo>
                        <a:pt x="705" y="1794"/>
                      </a:lnTo>
                      <a:lnTo>
                        <a:pt x="693" y="1794"/>
                      </a:lnTo>
                      <a:lnTo>
                        <a:pt x="681" y="1793"/>
                      </a:lnTo>
                      <a:lnTo>
                        <a:pt x="670" y="1791"/>
                      </a:lnTo>
                      <a:lnTo>
                        <a:pt x="659" y="1788"/>
                      </a:lnTo>
                      <a:lnTo>
                        <a:pt x="644" y="1785"/>
                      </a:lnTo>
                      <a:lnTo>
                        <a:pt x="631" y="1783"/>
                      </a:lnTo>
                      <a:lnTo>
                        <a:pt x="625" y="1780"/>
                      </a:lnTo>
                      <a:lnTo>
                        <a:pt x="619" y="1778"/>
                      </a:lnTo>
                      <a:lnTo>
                        <a:pt x="612" y="1774"/>
                      </a:lnTo>
                      <a:lnTo>
                        <a:pt x="607" y="1770"/>
                      </a:lnTo>
                      <a:lnTo>
                        <a:pt x="597" y="1762"/>
                      </a:lnTo>
                      <a:lnTo>
                        <a:pt x="585" y="1752"/>
                      </a:lnTo>
                      <a:lnTo>
                        <a:pt x="580" y="1747"/>
                      </a:lnTo>
                      <a:lnTo>
                        <a:pt x="577" y="1741"/>
                      </a:lnTo>
                      <a:lnTo>
                        <a:pt x="576" y="1739"/>
                      </a:lnTo>
                      <a:lnTo>
                        <a:pt x="576" y="1735"/>
                      </a:lnTo>
                      <a:lnTo>
                        <a:pt x="577" y="1733"/>
                      </a:lnTo>
                      <a:lnTo>
                        <a:pt x="578" y="1731"/>
                      </a:lnTo>
                      <a:lnTo>
                        <a:pt x="597" y="1725"/>
                      </a:lnTo>
                      <a:close/>
                      <a:moveTo>
                        <a:pt x="2471" y="949"/>
                      </a:moveTo>
                      <a:lnTo>
                        <a:pt x="2471" y="967"/>
                      </a:lnTo>
                      <a:lnTo>
                        <a:pt x="2470" y="985"/>
                      </a:lnTo>
                      <a:lnTo>
                        <a:pt x="2468" y="1002"/>
                      </a:lnTo>
                      <a:lnTo>
                        <a:pt x="2464" y="1020"/>
                      </a:lnTo>
                      <a:lnTo>
                        <a:pt x="2458" y="1056"/>
                      </a:lnTo>
                      <a:lnTo>
                        <a:pt x="2455" y="1093"/>
                      </a:lnTo>
                      <a:lnTo>
                        <a:pt x="2455" y="1099"/>
                      </a:lnTo>
                      <a:lnTo>
                        <a:pt x="2454" y="1105"/>
                      </a:lnTo>
                      <a:lnTo>
                        <a:pt x="2451" y="1110"/>
                      </a:lnTo>
                      <a:lnTo>
                        <a:pt x="2450" y="1114"/>
                      </a:lnTo>
                      <a:lnTo>
                        <a:pt x="2443" y="1122"/>
                      </a:lnTo>
                      <a:lnTo>
                        <a:pt x="2436" y="1130"/>
                      </a:lnTo>
                      <a:lnTo>
                        <a:pt x="2427" y="1135"/>
                      </a:lnTo>
                      <a:lnTo>
                        <a:pt x="2416" y="1140"/>
                      </a:lnTo>
                      <a:lnTo>
                        <a:pt x="2404" y="1144"/>
                      </a:lnTo>
                      <a:lnTo>
                        <a:pt x="2392" y="1146"/>
                      </a:lnTo>
                      <a:lnTo>
                        <a:pt x="2367" y="1150"/>
                      </a:lnTo>
                      <a:lnTo>
                        <a:pt x="2341" y="1151"/>
                      </a:lnTo>
                      <a:lnTo>
                        <a:pt x="2316" y="1151"/>
                      </a:lnTo>
                      <a:lnTo>
                        <a:pt x="2296" y="1151"/>
                      </a:lnTo>
                      <a:lnTo>
                        <a:pt x="2284" y="1151"/>
                      </a:lnTo>
                      <a:lnTo>
                        <a:pt x="2268" y="1151"/>
                      </a:lnTo>
                      <a:lnTo>
                        <a:pt x="2250" y="1152"/>
                      </a:lnTo>
                      <a:lnTo>
                        <a:pt x="2235" y="1152"/>
                      </a:lnTo>
                      <a:lnTo>
                        <a:pt x="2228" y="1152"/>
                      </a:lnTo>
                      <a:lnTo>
                        <a:pt x="2223" y="1151"/>
                      </a:lnTo>
                      <a:lnTo>
                        <a:pt x="2220" y="1150"/>
                      </a:lnTo>
                      <a:lnTo>
                        <a:pt x="2217" y="1148"/>
                      </a:lnTo>
                      <a:lnTo>
                        <a:pt x="2219" y="1147"/>
                      </a:lnTo>
                      <a:lnTo>
                        <a:pt x="2222" y="1144"/>
                      </a:lnTo>
                      <a:lnTo>
                        <a:pt x="2228" y="1141"/>
                      </a:lnTo>
                      <a:lnTo>
                        <a:pt x="2237" y="1138"/>
                      </a:lnTo>
                      <a:lnTo>
                        <a:pt x="2249" y="1135"/>
                      </a:lnTo>
                      <a:lnTo>
                        <a:pt x="2267" y="1134"/>
                      </a:lnTo>
                      <a:lnTo>
                        <a:pt x="2288" y="1132"/>
                      </a:lnTo>
                      <a:lnTo>
                        <a:pt x="2310" y="1131"/>
                      </a:lnTo>
                      <a:lnTo>
                        <a:pt x="2333" y="1130"/>
                      </a:lnTo>
                      <a:lnTo>
                        <a:pt x="2350" y="1127"/>
                      </a:lnTo>
                      <a:lnTo>
                        <a:pt x="2358" y="1126"/>
                      </a:lnTo>
                      <a:lnTo>
                        <a:pt x="2364" y="1124"/>
                      </a:lnTo>
                      <a:lnTo>
                        <a:pt x="2368" y="1121"/>
                      </a:lnTo>
                      <a:lnTo>
                        <a:pt x="2369" y="1119"/>
                      </a:lnTo>
                      <a:lnTo>
                        <a:pt x="2369" y="1115"/>
                      </a:lnTo>
                      <a:lnTo>
                        <a:pt x="2368" y="1111"/>
                      </a:lnTo>
                      <a:lnTo>
                        <a:pt x="2365" y="1106"/>
                      </a:lnTo>
                      <a:lnTo>
                        <a:pt x="2363" y="1102"/>
                      </a:lnTo>
                      <a:lnTo>
                        <a:pt x="2356" y="1093"/>
                      </a:lnTo>
                      <a:lnTo>
                        <a:pt x="2348" y="1084"/>
                      </a:lnTo>
                      <a:lnTo>
                        <a:pt x="2338" y="1074"/>
                      </a:lnTo>
                      <a:lnTo>
                        <a:pt x="2329" y="1067"/>
                      </a:lnTo>
                      <a:lnTo>
                        <a:pt x="2320" y="1061"/>
                      </a:lnTo>
                      <a:lnTo>
                        <a:pt x="2313" y="1058"/>
                      </a:lnTo>
                      <a:lnTo>
                        <a:pt x="2282" y="1047"/>
                      </a:lnTo>
                      <a:lnTo>
                        <a:pt x="2253" y="1040"/>
                      </a:lnTo>
                      <a:lnTo>
                        <a:pt x="2247" y="1038"/>
                      </a:lnTo>
                      <a:lnTo>
                        <a:pt x="2240" y="1035"/>
                      </a:lnTo>
                      <a:lnTo>
                        <a:pt x="2234" y="1032"/>
                      </a:lnTo>
                      <a:lnTo>
                        <a:pt x="2228" y="1027"/>
                      </a:lnTo>
                      <a:lnTo>
                        <a:pt x="2222" y="1022"/>
                      </a:lnTo>
                      <a:lnTo>
                        <a:pt x="2217" y="1015"/>
                      </a:lnTo>
                      <a:lnTo>
                        <a:pt x="2213" y="1008"/>
                      </a:lnTo>
                      <a:lnTo>
                        <a:pt x="2208" y="1000"/>
                      </a:lnTo>
                      <a:lnTo>
                        <a:pt x="2204" y="987"/>
                      </a:lnTo>
                      <a:lnTo>
                        <a:pt x="2203" y="973"/>
                      </a:lnTo>
                      <a:lnTo>
                        <a:pt x="2203" y="956"/>
                      </a:lnTo>
                      <a:lnTo>
                        <a:pt x="2202" y="940"/>
                      </a:lnTo>
                      <a:lnTo>
                        <a:pt x="2201" y="923"/>
                      </a:lnTo>
                      <a:lnTo>
                        <a:pt x="2199" y="908"/>
                      </a:lnTo>
                      <a:lnTo>
                        <a:pt x="2196" y="902"/>
                      </a:lnTo>
                      <a:lnTo>
                        <a:pt x="2193" y="895"/>
                      </a:lnTo>
                      <a:lnTo>
                        <a:pt x="2189" y="890"/>
                      </a:lnTo>
                      <a:lnTo>
                        <a:pt x="2184" y="886"/>
                      </a:lnTo>
                      <a:lnTo>
                        <a:pt x="2193" y="887"/>
                      </a:lnTo>
                      <a:lnTo>
                        <a:pt x="2202" y="889"/>
                      </a:lnTo>
                      <a:lnTo>
                        <a:pt x="2210" y="893"/>
                      </a:lnTo>
                      <a:lnTo>
                        <a:pt x="2219" y="897"/>
                      </a:lnTo>
                      <a:lnTo>
                        <a:pt x="2228" y="902"/>
                      </a:lnTo>
                      <a:lnTo>
                        <a:pt x="2236" y="906"/>
                      </a:lnTo>
                      <a:lnTo>
                        <a:pt x="2246" y="908"/>
                      </a:lnTo>
                      <a:lnTo>
                        <a:pt x="2256" y="909"/>
                      </a:lnTo>
                      <a:lnTo>
                        <a:pt x="2264" y="909"/>
                      </a:lnTo>
                      <a:lnTo>
                        <a:pt x="2274" y="908"/>
                      </a:lnTo>
                      <a:lnTo>
                        <a:pt x="2282" y="906"/>
                      </a:lnTo>
                      <a:lnTo>
                        <a:pt x="2289" y="902"/>
                      </a:lnTo>
                      <a:lnTo>
                        <a:pt x="2305" y="894"/>
                      </a:lnTo>
                      <a:lnTo>
                        <a:pt x="2320" y="884"/>
                      </a:lnTo>
                      <a:lnTo>
                        <a:pt x="2334" y="873"/>
                      </a:lnTo>
                      <a:lnTo>
                        <a:pt x="2348" y="860"/>
                      </a:lnTo>
                      <a:lnTo>
                        <a:pt x="2361" y="848"/>
                      </a:lnTo>
                      <a:lnTo>
                        <a:pt x="2372" y="836"/>
                      </a:lnTo>
                      <a:lnTo>
                        <a:pt x="2380" y="821"/>
                      </a:lnTo>
                      <a:lnTo>
                        <a:pt x="2384" y="810"/>
                      </a:lnTo>
                      <a:lnTo>
                        <a:pt x="2387" y="814"/>
                      </a:lnTo>
                      <a:lnTo>
                        <a:pt x="2387" y="823"/>
                      </a:lnTo>
                      <a:lnTo>
                        <a:pt x="2387" y="836"/>
                      </a:lnTo>
                      <a:lnTo>
                        <a:pt x="2387" y="851"/>
                      </a:lnTo>
                      <a:lnTo>
                        <a:pt x="2384" y="882"/>
                      </a:lnTo>
                      <a:lnTo>
                        <a:pt x="2385" y="902"/>
                      </a:lnTo>
                      <a:lnTo>
                        <a:pt x="2388" y="912"/>
                      </a:lnTo>
                      <a:lnTo>
                        <a:pt x="2391" y="919"/>
                      </a:lnTo>
                      <a:lnTo>
                        <a:pt x="2396" y="924"/>
                      </a:lnTo>
                      <a:lnTo>
                        <a:pt x="2401" y="929"/>
                      </a:lnTo>
                      <a:lnTo>
                        <a:pt x="2405" y="932"/>
                      </a:lnTo>
                      <a:lnTo>
                        <a:pt x="2411" y="934"/>
                      </a:lnTo>
                      <a:lnTo>
                        <a:pt x="2417" y="935"/>
                      </a:lnTo>
                      <a:lnTo>
                        <a:pt x="2423" y="934"/>
                      </a:lnTo>
                      <a:lnTo>
                        <a:pt x="2429" y="933"/>
                      </a:lnTo>
                      <a:lnTo>
                        <a:pt x="2434" y="930"/>
                      </a:lnTo>
                      <a:lnTo>
                        <a:pt x="2439" y="926"/>
                      </a:lnTo>
                      <a:lnTo>
                        <a:pt x="2444" y="921"/>
                      </a:lnTo>
                      <a:lnTo>
                        <a:pt x="2448" y="916"/>
                      </a:lnTo>
                      <a:lnTo>
                        <a:pt x="2451" y="909"/>
                      </a:lnTo>
                      <a:lnTo>
                        <a:pt x="2454" y="901"/>
                      </a:lnTo>
                      <a:lnTo>
                        <a:pt x="2455" y="893"/>
                      </a:lnTo>
                      <a:lnTo>
                        <a:pt x="2457" y="871"/>
                      </a:lnTo>
                      <a:lnTo>
                        <a:pt x="2458" y="851"/>
                      </a:lnTo>
                      <a:lnTo>
                        <a:pt x="2458" y="833"/>
                      </a:lnTo>
                      <a:lnTo>
                        <a:pt x="2457" y="812"/>
                      </a:lnTo>
                      <a:lnTo>
                        <a:pt x="2456" y="794"/>
                      </a:lnTo>
                      <a:lnTo>
                        <a:pt x="2452" y="775"/>
                      </a:lnTo>
                      <a:lnTo>
                        <a:pt x="2448" y="756"/>
                      </a:lnTo>
                      <a:lnTo>
                        <a:pt x="2442" y="736"/>
                      </a:lnTo>
                      <a:lnTo>
                        <a:pt x="2434" y="723"/>
                      </a:lnTo>
                      <a:lnTo>
                        <a:pt x="2421" y="704"/>
                      </a:lnTo>
                      <a:lnTo>
                        <a:pt x="2418" y="698"/>
                      </a:lnTo>
                      <a:lnTo>
                        <a:pt x="2417" y="693"/>
                      </a:lnTo>
                      <a:lnTo>
                        <a:pt x="2416" y="690"/>
                      </a:lnTo>
                      <a:lnTo>
                        <a:pt x="2416" y="685"/>
                      </a:lnTo>
                      <a:lnTo>
                        <a:pt x="2417" y="682"/>
                      </a:lnTo>
                      <a:lnTo>
                        <a:pt x="2421" y="679"/>
                      </a:lnTo>
                      <a:lnTo>
                        <a:pt x="2425" y="677"/>
                      </a:lnTo>
                      <a:lnTo>
                        <a:pt x="2431" y="676"/>
                      </a:lnTo>
                      <a:lnTo>
                        <a:pt x="2436" y="673"/>
                      </a:lnTo>
                      <a:lnTo>
                        <a:pt x="2444" y="670"/>
                      </a:lnTo>
                      <a:lnTo>
                        <a:pt x="2448" y="669"/>
                      </a:lnTo>
                      <a:lnTo>
                        <a:pt x="2451" y="669"/>
                      </a:lnTo>
                      <a:lnTo>
                        <a:pt x="2454" y="670"/>
                      </a:lnTo>
                      <a:lnTo>
                        <a:pt x="2455" y="672"/>
                      </a:lnTo>
                      <a:lnTo>
                        <a:pt x="2459" y="676"/>
                      </a:lnTo>
                      <a:lnTo>
                        <a:pt x="2463" y="679"/>
                      </a:lnTo>
                      <a:lnTo>
                        <a:pt x="2465" y="685"/>
                      </a:lnTo>
                      <a:lnTo>
                        <a:pt x="2468" y="691"/>
                      </a:lnTo>
                      <a:lnTo>
                        <a:pt x="2471" y="706"/>
                      </a:lnTo>
                      <a:lnTo>
                        <a:pt x="2474" y="723"/>
                      </a:lnTo>
                      <a:lnTo>
                        <a:pt x="2475" y="757"/>
                      </a:lnTo>
                      <a:lnTo>
                        <a:pt x="2475" y="783"/>
                      </a:lnTo>
                      <a:lnTo>
                        <a:pt x="2475" y="800"/>
                      </a:lnTo>
                      <a:lnTo>
                        <a:pt x="2472" y="816"/>
                      </a:lnTo>
                      <a:lnTo>
                        <a:pt x="2471" y="833"/>
                      </a:lnTo>
                      <a:lnTo>
                        <a:pt x="2471" y="849"/>
                      </a:lnTo>
                      <a:lnTo>
                        <a:pt x="2471" y="862"/>
                      </a:lnTo>
                      <a:lnTo>
                        <a:pt x="2471" y="876"/>
                      </a:lnTo>
                      <a:lnTo>
                        <a:pt x="2472" y="889"/>
                      </a:lnTo>
                      <a:lnTo>
                        <a:pt x="2472" y="901"/>
                      </a:lnTo>
                      <a:lnTo>
                        <a:pt x="2471" y="949"/>
                      </a:lnTo>
                      <a:close/>
                      <a:moveTo>
                        <a:pt x="1866" y="1140"/>
                      </a:moveTo>
                      <a:lnTo>
                        <a:pt x="1879" y="1139"/>
                      </a:lnTo>
                      <a:lnTo>
                        <a:pt x="1900" y="1137"/>
                      </a:lnTo>
                      <a:lnTo>
                        <a:pt x="1912" y="1137"/>
                      </a:lnTo>
                      <a:lnTo>
                        <a:pt x="1921" y="1135"/>
                      </a:lnTo>
                      <a:lnTo>
                        <a:pt x="1928" y="1133"/>
                      </a:lnTo>
                      <a:lnTo>
                        <a:pt x="1932" y="1131"/>
                      </a:lnTo>
                      <a:lnTo>
                        <a:pt x="1933" y="1131"/>
                      </a:lnTo>
                      <a:lnTo>
                        <a:pt x="1933" y="1130"/>
                      </a:lnTo>
                      <a:lnTo>
                        <a:pt x="1933" y="1130"/>
                      </a:lnTo>
                      <a:lnTo>
                        <a:pt x="1932" y="1130"/>
                      </a:lnTo>
                      <a:lnTo>
                        <a:pt x="1927" y="1127"/>
                      </a:lnTo>
                      <a:lnTo>
                        <a:pt x="1921" y="1126"/>
                      </a:lnTo>
                      <a:lnTo>
                        <a:pt x="1908" y="1122"/>
                      </a:lnTo>
                      <a:lnTo>
                        <a:pt x="1898" y="1120"/>
                      </a:lnTo>
                      <a:lnTo>
                        <a:pt x="1891" y="1120"/>
                      </a:lnTo>
                      <a:lnTo>
                        <a:pt x="1884" y="1119"/>
                      </a:lnTo>
                      <a:lnTo>
                        <a:pt x="1879" y="1118"/>
                      </a:lnTo>
                      <a:lnTo>
                        <a:pt x="1874" y="1114"/>
                      </a:lnTo>
                      <a:lnTo>
                        <a:pt x="1871" y="1111"/>
                      </a:lnTo>
                      <a:lnTo>
                        <a:pt x="1868" y="1105"/>
                      </a:lnTo>
                      <a:lnTo>
                        <a:pt x="1867" y="1098"/>
                      </a:lnTo>
                      <a:lnTo>
                        <a:pt x="1866" y="1089"/>
                      </a:lnTo>
                      <a:lnTo>
                        <a:pt x="1878" y="1089"/>
                      </a:lnTo>
                      <a:lnTo>
                        <a:pt x="1887" y="1089"/>
                      </a:lnTo>
                      <a:lnTo>
                        <a:pt x="1897" y="1088"/>
                      </a:lnTo>
                      <a:lnTo>
                        <a:pt x="1908" y="1086"/>
                      </a:lnTo>
                      <a:lnTo>
                        <a:pt x="1914" y="1086"/>
                      </a:lnTo>
                      <a:lnTo>
                        <a:pt x="1921" y="1086"/>
                      </a:lnTo>
                      <a:lnTo>
                        <a:pt x="1926" y="1086"/>
                      </a:lnTo>
                      <a:lnTo>
                        <a:pt x="1932" y="1087"/>
                      </a:lnTo>
                      <a:lnTo>
                        <a:pt x="1942" y="1089"/>
                      </a:lnTo>
                      <a:lnTo>
                        <a:pt x="1954" y="1091"/>
                      </a:lnTo>
                      <a:lnTo>
                        <a:pt x="1952" y="1084"/>
                      </a:lnTo>
                      <a:lnTo>
                        <a:pt x="1949" y="1077"/>
                      </a:lnTo>
                      <a:lnTo>
                        <a:pt x="1944" y="1071"/>
                      </a:lnTo>
                      <a:lnTo>
                        <a:pt x="1939" y="1065"/>
                      </a:lnTo>
                      <a:lnTo>
                        <a:pt x="1933" y="1059"/>
                      </a:lnTo>
                      <a:lnTo>
                        <a:pt x="1927" y="1053"/>
                      </a:lnTo>
                      <a:lnTo>
                        <a:pt x="1922" y="1046"/>
                      </a:lnTo>
                      <a:lnTo>
                        <a:pt x="1920" y="1038"/>
                      </a:lnTo>
                      <a:lnTo>
                        <a:pt x="1918" y="1026"/>
                      </a:lnTo>
                      <a:lnTo>
                        <a:pt x="1913" y="1006"/>
                      </a:lnTo>
                      <a:lnTo>
                        <a:pt x="1911" y="998"/>
                      </a:lnTo>
                      <a:lnTo>
                        <a:pt x="1911" y="992"/>
                      </a:lnTo>
                      <a:lnTo>
                        <a:pt x="1911" y="989"/>
                      </a:lnTo>
                      <a:lnTo>
                        <a:pt x="1912" y="989"/>
                      </a:lnTo>
                      <a:lnTo>
                        <a:pt x="1913" y="990"/>
                      </a:lnTo>
                      <a:lnTo>
                        <a:pt x="1914" y="994"/>
                      </a:lnTo>
                      <a:lnTo>
                        <a:pt x="1919" y="1005"/>
                      </a:lnTo>
                      <a:lnTo>
                        <a:pt x="1924" y="1015"/>
                      </a:lnTo>
                      <a:lnTo>
                        <a:pt x="1928" y="1026"/>
                      </a:lnTo>
                      <a:lnTo>
                        <a:pt x="1934" y="1036"/>
                      </a:lnTo>
                      <a:lnTo>
                        <a:pt x="1939" y="1042"/>
                      </a:lnTo>
                      <a:lnTo>
                        <a:pt x="1944" y="1046"/>
                      </a:lnTo>
                      <a:lnTo>
                        <a:pt x="1948" y="1047"/>
                      </a:lnTo>
                      <a:lnTo>
                        <a:pt x="1952" y="1048"/>
                      </a:lnTo>
                      <a:lnTo>
                        <a:pt x="1961" y="1047"/>
                      </a:lnTo>
                      <a:lnTo>
                        <a:pt x="1971" y="1048"/>
                      </a:lnTo>
                      <a:lnTo>
                        <a:pt x="1972" y="1060"/>
                      </a:lnTo>
                      <a:lnTo>
                        <a:pt x="1972" y="1072"/>
                      </a:lnTo>
                      <a:lnTo>
                        <a:pt x="1974" y="1082"/>
                      </a:lnTo>
                      <a:lnTo>
                        <a:pt x="1978" y="1093"/>
                      </a:lnTo>
                      <a:lnTo>
                        <a:pt x="1980" y="1099"/>
                      </a:lnTo>
                      <a:lnTo>
                        <a:pt x="1983" y="1102"/>
                      </a:lnTo>
                      <a:lnTo>
                        <a:pt x="1986" y="1107"/>
                      </a:lnTo>
                      <a:lnTo>
                        <a:pt x="1991" y="1111"/>
                      </a:lnTo>
                      <a:lnTo>
                        <a:pt x="1995" y="1114"/>
                      </a:lnTo>
                      <a:lnTo>
                        <a:pt x="2000" y="1117"/>
                      </a:lnTo>
                      <a:lnTo>
                        <a:pt x="2006" y="1119"/>
                      </a:lnTo>
                      <a:lnTo>
                        <a:pt x="2012" y="1121"/>
                      </a:lnTo>
                      <a:lnTo>
                        <a:pt x="2007" y="1125"/>
                      </a:lnTo>
                      <a:lnTo>
                        <a:pt x="1995" y="1130"/>
                      </a:lnTo>
                      <a:lnTo>
                        <a:pt x="1983" y="1133"/>
                      </a:lnTo>
                      <a:lnTo>
                        <a:pt x="1975" y="1135"/>
                      </a:lnTo>
                      <a:lnTo>
                        <a:pt x="1968" y="1135"/>
                      </a:lnTo>
                      <a:lnTo>
                        <a:pt x="1955" y="1135"/>
                      </a:lnTo>
                      <a:lnTo>
                        <a:pt x="1945" y="1137"/>
                      </a:lnTo>
                      <a:lnTo>
                        <a:pt x="1939" y="1138"/>
                      </a:lnTo>
                      <a:lnTo>
                        <a:pt x="1953" y="1139"/>
                      </a:lnTo>
                      <a:lnTo>
                        <a:pt x="1968" y="1140"/>
                      </a:lnTo>
                      <a:lnTo>
                        <a:pt x="1983" y="1141"/>
                      </a:lnTo>
                      <a:lnTo>
                        <a:pt x="1999" y="1143"/>
                      </a:lnTo>
                      <a:lnTo>
                        <a:pt x="2016" y="1143"/>
                      </a:lnTo>
                      <a:lnTo>
                        <a:pt x="2033" y="1141"/>
                      </a:lnTo>
                      <a:lnTo>
                        <a:pt x="2050" y="1141"/>
                      </a:lnTo>
                      <a:lnTo>
                        <a:pt x="2067" y="1144"/>
                      </a:lnTo>
                      <a:lnTo>
                        <a:pt x="2081" y="1146"/>
                      </a:lnTo>
                      <a:lnTo>
                        <a:pt x="2097" y="1147"/>
                      </a:lnTo>
                      <a:lnTo>
                        <a:pt x="2114" y="1148"/>
                      </a:lnTo>
                      <a:lnTo>
                        <a:pt x="2133" y="1148"/>
                      </a:lnTo>
                      <a:lnTo>
                        <a:pt x="2150" y="1148"/>
                      </a:lnTo>
                      <a:lnTo>
                        <a:pt x="2168" y="1146"/>
                      </a:lnTo>
                      <a:lnTo>
                        <a:pt x="2183" y="1144"/>
                      </a:lnTo>
                      <a:lnTo>
                        <a:pt x="2196" y="1139"/>
                      </a:lnTo>
                      <a:lnTo>
                        <a:pt x="2206" y="1132"/>
                      </a:lnTo>
                      <a:lnTo>
                        <a:pt x="2215" y="1124"/>
                      </a:lnTo>
                      <a:lnTo>
                        <a:pt x="2220" y="1120"/>
                      </a:lnTo>
                      <a:lnTo>
                        <a:pt x="2224" y="1117"/>
                      </a:lnTo>
                      <a:lnTo>
                        <a:pt x="2230" y="1113"/>
                      </a:lnTo>
                      <a:lnTo>
                        <a:pt x="2236" y="1111"/>
                      </a:lnTo>
                      <a:lnTo>
                        <a:pt x="2233" y="1106"/>
                      </a:lnTo>
                      <a:lnTo>
                        <a:pt x="2229" y="1100"/>
                      </a:lnTo>
                      <a:lnTo>
                        <a:pt x="2219" y="1097"/>
                      </a:lnTo>
                      <a:lnTo>
                        <a:pt x="2208" y="1089"/>
                      </a:lnTo>
                      <a:lnTo>
                        <a:pt x="2197" y="1081"/>
                      </a:lnTo>
                      <a:lnTo>
                        <a:pt x="2188" y="1074"/>
                      </a:lnTo>
                      <a:lnTo>
                        <a:pt x="2186" y="1065"/>
                      </a:lnTo>
                      <a:lnTo>
                        <a:pt x="2183" y="1055"/>
                      </a:lnTo>
                      <a:lnTo>
                        <a:pt x="2182" y="1046"/>
                      </a:lnTo>
                      <a:lnTo>
                        <a:pt x="2181" y="1036"/>
                      </a:lnTo>
                      <a:lnTo>
                        <a:pt x="2181" y="1019"/>
                      </a:lnTo>
                      <a:lnTo>
                        <a:pt x="2182" y="1001"/>
                      </a:lnTo>
                      <a:lnTo>
                        <a:pt x="2183" y="983"/>
                      </a:lnTo>
                      <a:lnTo>
                        <a:pt x="2183" y="966"/>
                      </a:lnTo>
                      <a:lnTo>
                        <a:pt x="2182" y="957"/>
                      </a:lnTo>
                      <a:lnTo>
                        <a:pt x="2181" y="948"/>
                      </a:lnTo>
                      <a:lnTo>
                        <a:pt x="2179" y="940"/>
                      </a:lnTo>
                      <a:lnTo>
                        <a:pt x="2176" y="933"/>
                      </a:lnTo>
                      <a:lnTo>
                        <a:pt x="2170" y="919"/>
                      </a:lnTo>
                      <a:lnTo>
                        <a:pt x="2166" y="907"/>
                      </a:lnTo>
                      <a:lnTo>
                        <a:pt x="2162" y="897"/>
                      </a:lnTo>
                      <a:lnTo>
                        <a:pt x="2161" y="890"/>
                      </a:lnTo>
                      <a:lnTo>
                        <a:pt x="2161" y="887"/>
                      </a:lnTo>
                      <a:lnTo>
                        <a:pt x="2163" y="883"/>
                      </a:lnTo>
                      <a:lnTo>
                        <a:pt x="2166" y="880"/>
                      </a:lnTo>
                      <a:lnTo>
                        <a:pt x="2169" y="877"/>
                      </a:lnTo>
                      <a:lnTo>
                        <a:pt x="2180" y="870"/>
                      </a:lnTo>
                      <a:lnTo>
                        <a:pt x="2196" y="864"/>
                      </a:lnTo>
                      <a:lnTo>
                        <a:pt x="2199" y="863"/>
                      </a:lnTo>
                      <a:lnTo>
                        <a:pt x="2200" y="861"/>
                      </a:lnTo>
                      <a:lnTo>
                        <a:pt x="2201" y="858"/>
                      </a:lnTo>
                      <a:lnTo>
                        <a:pt x="2201" y="856"/>
                      </a:lnTo>
                      <a:lnTo>
                        <a:pt x="2200" y="849"/>
                      </a:lnTo>
                      <a:lnTo>
                        <a:pt x="2196" y="841"/>
                      </a:lnTo>
                      <a:lnTo>
                        <a:pt x="2189" y="827"/>
                      </a:lnTo>
                      <a:lnTo>
                        <a:pt x="2182" y="817"/>
                      </a:lnTo>
                      <a:lnTo>
                        <a:pt x="2166" y="817"/>
                      </a:lnTo>
                      <a:lnTo>
                        <a:pt x="2149" y="817"/>
                      </a:lnTo>
                      <a:lnTo>
                        <a:pt x="2144" y="812"/>
                      </a:lnTo>
                      <a:lnTo>
                        <a:pt x="2141" y="808"/>
                      </a:lnTo>
                      <a:lnTo>
                        <a:pt x="2140" y="803"/>
                      </a:lnTo>
                      <a:lnTo>
                        <a:pt x="2137" y="798"/>
                      </a:lnTo>
                      <a:lnTo>
                        <a:pt x="2136" y="794"/>
                      </a:lnTo>
                      <a:lnTo>
                        <a:pt x="2134" y="790"/>
                      </a:lnTo>
                      <a:lnTo>
                        <a:pt x="2130" y="785"/>
                      </a:lnTo>
                      <a:lnTo>
                        <a:pt x="2125" y="782"/>
                      </a:lnTo>
                      <a:lnTo>
                        <a:pt x="2109" y="776"/>
                      </a:lnTo>
                      <a:lnTo>
                        <a:pt x="2095" y="770"/>
                      </a:lnTo>
                      <a:lnTo>
                        <a:pt x="2081" y="764"/>
                      </a:lnTo>
                      <a:lnTo>
                        <a:pt x="2067" y="756"/>
                      </a:lnTo>
                      <a:lnTo>
                        <a:pt x="2052" y="746"/>
                      </a:lnTo>
                      <a:lnTo>
                        <a:pt x="2036" y="737"/>
                      </a:lnTo>
                      <a:lnTo>
                        <a:pt x="2028" y="731"/>
                      </a:lnTo>
                      <a:lnTo>
                        <a:pt x="2021" y="726"/>
                      </a:lnTo>
                      <a:lnTo>
                        <a:pt x="2014" y="721"/>
                      </a:lnTo>
                      <a:lnTo>
                        <a:pt x="2008" y="715"/>
                      </a:lnTo>
                      <a:lnTo>
                        <a:pt x="1952" y="647"/>
                      </a:lnTo>
                      <a:lnTo>
                        <a:pt x="1952" y="658"/>
                      </a:lnTo>
                      <a:lnTo>
                        <a:pt x="1954" y="668"/>
                      </a:lnTo>
                      <a:lnTo>
                        <a:pt x="1956" y="677"/>
                      </a:lnTo>
                      <a:lnTo>
                        <a:pt x="1961" y="685"/>
                      </a:lnTo>
                      <a:lnTo>
                        <a:pt x="1966" y="693"/>
                      </a:lnTo>
                      <a:lnTo>
                        <a:pt x="1972" y="702"/>
                      </a:lnTo>
                      <a:lnTo>
                        <a:pt x="1978" y="709"/>
                      </a:lnTo>
                      <a:lnTo>
                        <a:pt x="1985" y="716"/>
                      </a:lnTo>
                      <a:lnTo>
                        <a:pt x="2015" y="742"/>
                      </a:lnTo>
                      <a:lnTo>
                        <a:pt x="2046" y="767"/>
                      </a:lnTo>
                      <a:lnTo>
                        <a:pt x="2047" y="769"/>
                      </a:lnTo>
                      <a:lnTo>
                        <a:pt x="2048" y="770"/>
                      </a:lnTo>
                      <a:lnTo>
                        <a:pt x="2047" y="771"/>
                      </a:lnTo>
                      <a:lnTo>
                        <a:pt x="2043" y="772"/>
                      </a:lnTo>
                      <a:lnTo>
                        <a:pt x="2036" y="774"/>
                      </a:lnTo>
                      <a:lnTo>
                        <a:pt x="2026" y="775"/>
                      </a:lnTo>
                      <a:lnTo>
                        <a:pt x="2014" y="774"/>
                      </a:lnTo>
                      <a:lnTo>
                        <a:pt x="2003" y="772"/>
                      </a:lnTo>
                      <a:lnTo>
                        <a:pt x="1994" y="770"/>
                      </a:lnTo>
                      <a:lnTo>
                        <a:pt x="1987" y="767"/>
                      </a:lnTo>
                      <a:lnTo>
                        <a:pt x="1975" y="756"/>
                      </a:lnTo>
                      <a:lnTo>
                        <a:pt x="1955" y="737"/>
                      </a:lnTo>
                      <a:lnTo>
                        <a:pt x="1938" y="718"/>
                      </a:lnTo>
                      <a:lnTo>
                        <a:pt x="1929" y="708"/>
                      </a:lnTo>
                      <a:lnTo>
                        <a:pt x="1931" y="697"/>
                      </a:lnTo>
                      <a:lnTo>
                        <a:pt x="1932" y="684"/>
                      </a:lnTo>
                      <a:lnTo>
                        <a:pt x="1931" y="677"/>
                      </a:lnTo>
                      <a:lnTo>
                        <a:pt x="1929" y="672"/>
                      </a:lnTo>
                      <a:lnTo>
                        <a:pt x="1928" y="671"/>
                      </a:lnTo>
                      <a:lnTo>
                        <a:pt x="1926" y="670"/>
                      </a:lnTo>
                      <a:lnTo>
                        <a:pt x="1924" y="670"/>
                      </a:lnTo>
                      <a:lnTo>
                        <a:pt x="1920" y="670"/>
                      </a:lnTo>
                      <a:lnTo>
                        <a:pt x="1905" y="679"/>
                      </a:lnTo>
                      <a:lnTo>
                        <a:pt x="1888" y="690"/>
                      </a:lnTo>
                      <a:lnTo>
                        <a:pt x="1885" y="692"/>
                      </a:lnTo>
                      <a:lnTo>
                        <a:pt x="1882" y="693"/>
                      </a:lnTo>
                      <a:lnTo>
                        <a:pt x="1880" y="693"/>
                      </a:lnTo>
                      <a:lnTo>
                        <a:pt x="1878" y="693"/>
                      </a:lnTo>
                      <a:lnTo>
                        <a:pt x="1877" y="692"/>
                      </a:lnTo>
                      <a:lnTo>
                        <a:pt x="1877" y="689"/>
                      </a:lnTo>
                      <a:lnTo>
                        <a:pt x="1878" y="684"/>
                      </a:lnTo>
                      <a:lnTo>
                        <a:pt x="1880" y="678"/>
                      </a:lnTo>
                      <a:lnTo>
                        <a:pt x="1888" y="657"/>
                      </a:lnTo>
                      <a:lnTo>
                        <a:pt x="1895" y="646"/>
                      </a:lnTo>
                      <a:lnTo>
                        <a:pt x="1895" y="642"/>
                      </a:lnTo>
                      <a:lnTo>
                        <a:pt x="1894" y="636"/>
                      </a:lnTo>
                      <a:lnTo>
                        <a:pt x="1891" y="627"/>
                      </a:lnTo>
                      <a:lnTo>
                        <a:pt x="1885" y="617"/>
                      </a:lnTo>
                      <a:lnTo>
                        <a:pt x="1884" y="613"/>
                      </a:lnTo>
                      <a:lnTo>
                        <a:pt x="1884" y="611"/>
                      </a:lnTo>
                      <a:lnTo>
                        <a:pt x="1884" y="607"/>
                      </a:lnTo>
                      <a:lnTo>
                        <a:pt x="1885" y="604"/>
                      </a:lnTo>
                      <a:lnTo>
                        <a:pt x="1888" y="597"/>
                      </a:lnTo>
                      <a:lnTo>
                        <a:pt x="1893" y="591"/>
                      </a:lnTo>
                      <a:lnTo>
                        <a:pt x="1900" y="585"/>
                      </a:lnTo>
                      <a:lnTo>
                        <a:pt x="1907" y="581"/>
                      </a:lnTo>
                      <a:lnTo>
                        <a:pt x="1914" y="579"/>
                      </a:lnTo>
                      <a:lnTo>
                        <a:pt x="1920" y="578"/>
                      </a:lnTo>
                      <a:lnTo>
                        <a:pt x="1922" y="579"/>
                      </a:lnTo>
                      <a:lnTo>
                        <a:pt x="1925" y="580"/>
                      </a:lnTo>
                      <a:lnTo>
                        <a:pt x="1927" y="583"/>
                      </a:lnTo>
                      <a:lnTo>
                        <a:pt x="1931" y="586"/>
                      </a:lnTo>
                      <a:lnTo>
                        <a:pt x="1935" y="593"/>
                      </a:lnTo>
                      <a:lnTo>
                        <a:pt x="1940" y="603"/>
                      </a:lnTo>
                      <a:lnTo>
                        <a:pt x="1948" y="622"/>
                      </a:lnTo>
                      <a:lnTo>
                        <a:pt x="1953" y="636"/>
                      </a:lnTo>
                      <a:lnTo>
                        <a:pt x="1954" y="635"/>
                      </a:lnTo>
                      <a:lnTo>
                        <a:pt x="1955" y="632"/>
                      </a:lnTo>
                      <a:lnTo>
                        <a:pt x="1955" y="630"/>
                      </a:lnTo>
                      <a:lnTo>
                        <a:pt x="1955" y="627"/>
                      </a:lnTo>
                      <a:lnTo>
                        <a:pt x="1953" y="619"/>
                      </a:lnTo>
                      <a:lnTo>
                        <a:pt x="1951" y="611"/>
                      </a:lnTo>
                      <a:lnTo>
                        <a:pt x="1944" y="593"/>
                      </a:lnTo>
                      <a:lnTo>
                        <a:pt x="1940" y="584"/>
                      </a:lnTo>
                      <a:lnTo>
                        <a:pt x="1940" y="543"/>
                      </a:lnTo>
                      <a:lnTo>
                        <a:pt x="1936" y="503"/>
                      </a:lnTo>
                      <a:lnTo>
                        <a:pt x="1935" y="484"/>
                      </a:lnTo>
                      <a:lnTo>
                        <a:pt x="1933" y="464"/>
                      </a:lnTo>
                      <a:lnTo>
                        <a:pt x="1929" y="444"/>
                      </a:lnTo>
                      <a:lnTo>
                        <a:pt x="1925" y="424"/>
                      </a:lnTo>
                      <a:lnTo>
                        <a:pt x="1921" y="405"/>
                      </a:lnTo>
                      <a:lnTo>
                        <a:pt x="1918" y="386"/>
                      </a:lnTo>
                      <a:lnTo>
                        <a:pt x="1915" y="376"/>
                      </a:lnTo>
                      <a:lnTo>
                        <a:pt x="1912" y="368"/>
                      </a:lnTo>
                      <a:lnTo>
                        <a:pt x="1908" y="361"/>
                      </a:lnTo>
                      <a:lnTo>
                        <a:pt x="1905" y="354"/>
                      </a:lnTo>
                      <a:lnTo>
                        <a:pt x="1900" y="348"/>
                      </a:lnTo>
                      <a:lnTo>
                        <a:pt x="1895" y="343"/>
                      </a:lnTo>
                      <a:lnTo>
                        <a:pt x="1889" y="340"/>
                      </a:lnTo>
                      <a:lnTo>
                        <a:pt x="1884" y="339"/>
                      </a:lnTo>
                      <a:lnTo>
                        <a:pt x="1877" y="340"/>
                      </a:lnTo>
                      <a:lnTo>
                        <a:pt x="1868" y="343"/>
                      </a:lnTo>
                      <a:lnTo>
                        <a:pt x="1859" y="348"/>
                      </a:lnTo>
                      <a:lnTo>
                        <a:pt x="1849" y="356"/>
                      </a:lnTo>
                      <a:lnTo>
                        <a:pt x="1834" y="369"/>
                      </a:lnTo>
                      <a:lnTo>
                        <a:pt x="1811" y="391"/>
                      </a:lnTo>
                      <a:lnTo>
                        <a:pt x="1798" y="401"/>
                      </a:lnTo>
                      <a:lnTo>
                        <a:pt x="1788" y="412"/>
                      </a:lnTo>
                      <a:lnTo>
                        <a:pt x="1781" y="420"/>
                      </a:lnTo>
                      <a:lnTo>
                        <a:pt x="1778" y="425"/>
                      </a:lnTo>
                      <a:lnTo>
                        <a:pt x="1787" y="424"/>
                      </a:lnTo>
                      <a:lnTo>
                        <a:pt x="1800" y="422"/>
                      </a:lnTo>
                      <a:lnTo>
                        <a:pt x="1807" y="422"/>
                      </a:lnTo>
                      <a:lnTo>
                        <a:pt x="1812" y="422"/>
                      </a:lnTo>
                      <a:lnTo>
                        <a:pt x="1817" y="424"/>
                      </a:lnTo>
                      <a:lnTo>
                        <a:pt x="1819" y="426"/>
                      </a:lnTo>
                      <a:lnTo>
                        <a:pt x="1821" y="432"/>
                      </a:lnTo>
                      <a:lnTo>
                        <a:pt x="1821" y="439"/>
                      </a:lnTo>
                      <a:lnTo>
                        <a:pt x="1821" y="446"/>
                      </a:lnTo>
                      <a:lnTo>
                        <a:pt x="1819" y="454"/>
                      </a:lnTo>
                      <a:lnTo>
                        <a:pt x="1817" y="462"/>
                      </a:lnTo>
                      <a:lnTo>
                        <a:pt x="1813" y="471"/>
                      </a:lnTo>
                      <a:lnTo>
                        <a:pt x="1810" y="477"/>
                      </a:lnTo>
                      <a:lnTo>
                        <a:pt x="1806" y="481"/>
                      </a:lnTo>
                      <a:lnTo>
                        <a:pt x="1712" y="611"/>
                      </a:lnTo>
                      <a:lnTo>
                        <a:pt x="1713" y="596"/>
                      </a:lnTo>
                      <a:lnTo>
                        <a:pt x="1714" y="581"/>
                      </a:lnTo>
                      <a:lnTo>
                        <a:pt x="1717" y="570"/>
                      </a:lnTo>
                      <a:lnTo>
                        <a:pt x="1720" y="557"/>
                      </a:lnTo>
                      <a:lnTo>
                        <a:pt x="1724" y="546"/>
                      </a:lnTo>
                      <a:lnTo>
                        <a:pt x="1730" y="534"/>
                      </a:lnTo>
                      <a:lnTo>
                        <a:pt x="1735" y="523"/>
                      </a:lnTo>
                      <a:lnTo>
                        <a:pt x="1744" y="510"/>
                      </a:lnTo>
                      <a:lnTo>
                        <a:pt x="1747" y="505"/>
                      </a:lnTo>
                      <a:lnTo>
                        <a:pt x="1753" y="495"/>
                      </a:lnTo>
                      <a:lnTo>
                        <a:pt x="1757" y="492"/>
                      </a:lnTo>
                      <a:lnTo>
                        <a:pt x="1758" y="487"/>
                      </a:lnTo>
                      <a:lnTo>
                        <a:pt x="1759" y="485"/>
                      </a:lnTo>
                      <a:lnTo>
                        <a:pt x="1758" y="482"/>
                      </a:lnTo>
                      <a:lnTo>
                        <a:pt x="1752" y="485"/>
                      </a:lnTo>
                      <a:lnTo>
                        <a:pt x="1745" y="488"/>
                      </a:lnTo>
                      <a:lnTo>
                        <a:pt x="1741" y="490"/>
                      </a:lnTo>
                      <a:lnTo>
                        <a:pt x="1738" y="490"/>
                      </a:lnTo>
                      <a:lnTo>
                        <a:pt x="1737" y="486"/>
                      </a:lnTo>
                      <a:lnTo>
                        <a:pt x="1738" y="479"/>
                      </a:lnTo>
                      <a:lnTo>
                        <a:pt x="1743" y="467"/>
                      </a:lnTo>
                      <a:lnTo>
                        <a:pt x="1750" y="455"/>
                      </a:lnTo>
                      <a:lnTo>
                        <a:pt x="1754" y="449"/>
                      </a:lnTo>
                      <a:lnTo>
                        <a:pt x="1757" y="444"/>
                      </a:lnTo>
                      <a:lnTo>
                        <a:pt x="1759" y="439"/>
                      </a:lnTo>
                      <a:lnTo>
                        <a:pt x="1760" y="434"/>
                      </a:lnTo>
                      <a:lnTo>
                        <a:pt x="1752" y="439"/>
                      </a:lnTo>
                      <a:lnTo>
                        <a:pt x="1738" y="448"/>
                      </a:lnTo>
                      <a:lnTo>
                        <a:pt x="1731" y="453"/>
                      </a:lnTo>
                      <a:lnTo>
                        <a:pt x="1724" y="455"/>
                      </a:lnTo>
                      <a:lnTo>
                        <a:pt x="1721" y="457"/>
                      </a:lnTo>
                      <a:lnTo>
                        <a:pt x="1719" y="457"/>
                      </a:lnTo>
                      <a:lnTo>
                        <a:pt x="1717" y="457"/>
                      </a:lnTo>
                      <a:lnTo>
                        <a:pt x="1716" y="455"/>
                      </a:lnTo>
                      <a:lnTo>
                        <a:pt x="1714" y="448"/>
                      </a:lnTo>
                      <a:lnTo>
                        <a:pt x="1716" y="439"/>
                      </a:lnTo>
                      <a:lnTo>
                        <a:pt x="1719" y="427"/>
                      </a:lnTo>
                      <a:lnTo>
                        <a:pt x="1724" y="414"/>
                      </a:lnTo>
                      <a:lnTo>
                        <a:pt x="1733" y="389"/>
                      </a:lnTo>
                      <a:lnTo>
                        <a:pt x="1739" y="372"/>
                      </a:lnTo>
                      <a:lnTo>
                        <a:pt x="1744" y="349"/>
                      </a:lnTo>
                      <a:lnTo>
                        <a:pt x="1746" y="325"/>
                      </a:lnTo>
                      <a:lnTo>
                        <a:pt x="1746" y="314"/>
                      </a:lnTo>
                      <a:lnTo>
                        <a:pt x="1745" y="302"/>
                      </a:lnTo>
                      <a:lnTo>
                        <a:pt x="1744" y="293"/>
                      </a:lnTo>
                      <a:lnTo>
                        <a:pt x="1740" y="283"/>
                      </a:lnTo>
                      <a:lnTo>
                        <a:pt x="1737" y="276"/>
                      </a:lnTo>
                      <a:lnTo>
                        <a:pt x="1731" y="269"/>
                      </a:lnTo>
                      <a:lnTo>
                        <a:pt x="1728" y="267"/>
                      </a:lnTo>
                      <a:lnTo>
                        <a:pt x="1725" y="266"/>
                      </a:lnTo>
                      <a:lnTo>
                        <a:pt x="1721" y="264"/>
                      </a:lnTo>
                      <a:lnTo>
                        <a:pt x="1717" y="263"/>
                      </a:lnTo>
                      <a:lnTo>
                        <a:pt x="1707" y="263"/>
                      </a:lnTo>
                      <a:lnTo>
                        <a:pt x="1697" y="267"/>
                      </a:lnTo>
                      <a:lnTo>
                        <a:pt x="1684" y="273"/>
                      </a:lnTo>
                      <a:lnTo>
                        <a:pt x="1669" y="281"/>
                      </a:lnTo>
                      <a:lnTo>
                        <a:pt x="1647" y="296"/>
                      </a:lnTo>
                      <a:lnTo>
                        <a:pt x="1618" y="320"/>
                      </a:lnTo>
                      <a:lnTo>
                        <a:pt x="1604" y="333"/>
                      </a:lnTo>
                      <a:lnTo>
                        <a:pt x="1592" y="345"/>
                      </a:lnTo>
                      <a:lnTo>
                        <a:pt x="1589" y="349"/>
                      </a:lnTo>
                      <a:lnTo>
                        <a:pt x="1585" y="354"/>
                      </a:lnTo>
                      <a:lnTo>
                        <a:pt x="1584" y="358"/>
                      </a:lnTo>
                      <a:lnTo>
                        <a:pt x="1585" y="360"/>
                      </a:lnTo>
                      <a:lnTo>
                        <a:pt x="1593" y="375"/>
                      </a:lnTo>
                      <a:lnTo>
                        <a:pt x="1600" y="388"/>
                      </a:lnTo>
                      <a:lnTo>
                        <a:pt x="1604" y="402"/>
                      </a:lnTo>
                      <a:lnTo>
                        <a:pt x="1605" y="415"/>
                      </a:lnTo>
                      <a:lnTo>
                        <a:pt x="1606" y="445"/>
                      </a:lnTo>
                      <a:lnTo>
                        <a:pt x="1605" y="481"/>
                      </a:lnTo>
                      <a:lnTo>
                        <a:pt x="1604" y="480"/>
                      </a:lnTo>
                      <a:lnTo>
                        <a:pt x="1602" y="479"/>
                      </a:lnTo>
                      <a:lnTo>
                        <a:pt x="1600" y="477"/>
                      </a:lnTo>
                      <a:lnTo>
                        <a:pt x="1598" y="474"/>
                      </a:lnTo>
                      <a:lnTo>
                        <a:pt x="1596" y="467"/>
                      </a:lnTo>
                      <a:lnTo>
                        <a:pt x="1592" y="459"/>
                      </a:lnTo>
                      <a:lnTo>
                        <a:pt x="1589" y="442"/>
                      </a:lnTo>
                      <a:lnTo>
                        <a:pt x="1587" y="431"/>
                      </a:lnTo>
                      <a:lnTo>
                        <a:pt x="1586" y="419"/>
                      </a:lnTo>
                      <a:lnTo>
                        <a:pt x="1584" y="412"/>
                      </a:lnTo>
                      <a:lnTo>
                        <a:pt x="1580" y="407"/>
                      </a:lnTo>
                      <a:lnTo>
                        <a:pt x="1577" y="405"/>
                      </a:lnTo>
                      <a:lnTo>
                        <a:pt x="1571" y="404"/>
                      </a:lnTo>
                      <a:lnTo>
                        <a:pt x="1566" y="402"/>
                      </a:lnTo>
                      <a:lnTo>
                        <a:pt x="1560" y="400"/>
                      </a:lnTo>
                      <a:lnTo>
                        <a:pt x="1555" y="395"/>
                      </a:lnTo>
                      <a:lnTo>
                        <a:pt x="1553" y="393"/>
                      </a:lnTo>
                      <a:lnTo>
                        <a:pt x="1553" y="391"/>
                      </a:lnTo>
                      <a:lnTo>
                        <a:pt x="1555" y="386"/>
                      </a:lnTo>
                      <a:lnTo>
                        <a:pt x="1556" y="382"/>
                      </a:lnTo>
                      <a:lnTo>
                        <a:pt x="1559" y="374"/>
                      </a:lnTo>
                      <a:lnTo>
                        <a:pt x="1562" y="368"/>
                      </a:lnTo>
                      <a:lnTo>
                        <a:pt x="1551" y="378"/>
                      </a:lnTo>
                      <a:lnTo>
                        <a:pt x="1539" y="388"/>
                      </a:lnTo>
                      <a:lnTo>
                        <a:pt x="1530" y="395"/>
                      </a:lnTo>
                      <a:lnTo>
                        <a:pt x="1519" y="400"/>
                      </a:lnTo>
                      <a:lnTo>
                        <a:pt x="1508" y="405"/>
                      </a:lnTo>
                      <a:lnTo>
                        <a:pt x="1496" y="408"/>
                      </a:lnTo>
                      <a:lnTo>
                        <a:pt x="1475" y="406"/>
                      </a:lnTo>
                      <a:lnTo>
                        <a:pt x="1451" y="402"/>
                      </a:lnTo>
                      <a:lnTo>
                        <a:pt x="1441" y="402"/>
                      </a:lnTo>
                      <a:lnTo>
                        <a:pt x="1430" y="404"/>
                      </a:lnTo>
                      <a:lnTo>
                        <a:pt x="1425" y="406"/>
                      </a:lnTo>
                      <a:lnTo>
                        <a:pt x="1421" y="408"/>
                      </a:lnTo>
                      <a:lnTo>
                        <a:pt x="1417" y="412"/>
                      </a:lnTo>
                      <a:lnTo>
                        <a:pt x="1413" y="416"/>
                      </a:lnTo>
                      <a:lnTo>
                        <a:pt x="1408" y="426"/>
                      </a:lnTo>
                      <a:lnTo>
                        <a:pt x="1403" y="438"/>
                      </a:lnTo>
                      <a:lnTo>
                        <a:pt x="1397" y="449"/>
                      </a:lnTo>
                      <a:lnTo>
                        <a:pt x="1392" y="464"/>
                      </a:lnTo>
                      <a:lnTo>
                        <a:pt x="1384" y="490"/>
                      </a:lnTo>
                      <a:lnTo>
                        <a:pt x="1378" y="513"/>
                      </a:lnTo>
                      <a:lnTo>
                        <a:pt x="1377" y="525"/>
                      </a:lnTo>
                      <a:lnTo>
                        <a:pt x="1375" y="541"/>
                      </a:lnTo>
                      <a:lnTo>
                        <a:pt x="1374" y="558"/>
                      </a:lnTo>
                      <a:lnTo>
                        <a:pt x="1371" y="566"/>
                      </a:lnTo>
                      <a:lnTo>
                        <a:pt x="1369" y="566"/>
                      </a:lnTo>
                      <a:lnTo>
                        <a:pt x="1365" y="556"/>
                      </a:lnTo>
                      <a:lnTo>
                        <a:pt x="1361" y="547"/>
                      </a:lnTo>
                      <a:lnTo>
                        <a:pt x="1356" y="541"/>
                      </a:lnTo>
                      <a:lnTo>
                        <a:pt x="1351" y="536"/>
                      </a:lnTo>
                      <a:lnTo>
                        <a:pt x="1345" y="532"/>
                      </a:lnTo>
                      <a:lnTo>
                        <a:pt x="1339" y="531"/>
                      </a:lnTo>
                      <a:lnTo>
                        <a:pt x="1334" y="530"/>
                      </a:lnTo>
                      <a:lnTo>
                        <a:pt x="1327" y="530"/>
                      </a:lnTo>
                      <a:lnTo>
                        <a:pt x="1321" y="532"/>
                      </a:lnTo>
                      <a:lnTo>
                        <a:pt x="1314" y="534"/>
                      </a:lnTo>
                      <a:lnTo>
                        <a:pt x="1307" y="538"/>
                      </a:lnTo>
                      <a:lnTo>
                        <a:pt x="1299" y="541"/>
                      </a:lnTo>
                      <a:lnTo>
                        <a:pt x="1287" y="552"/>
                      </a:lnTo>
                      <a:lnTo>
                        <a:pt x="1274" y="563"/>
                      </a:lnTo>
                      <a:lnTo>
                        <a:pt x="1269" y="567"/>
                      </a:lnTo>
                      <a:lnTo>
                        <a:pt x="1263" y="571"/>
                      </a:lnTo>
                      <a:lnTo>
                        <a:pt x="1258" y="572"/>
                      </a:lnTo>
                      <a:lnTo>
                        <a:pt x="1254" y="574"/>
                      </a:lnTo>
                      <a:lnTo>
                        <a:pt x="1245" y="577"/>
                      </a:lnTo>
                      <a:lnTo>
                        <a:pt x="1237" y="581"/>
                      </a:lnTo>
                      <a:lnTo>
                        <a:pt x="1231" y="589"/>
                      </a:lnTo>
                      <a:lnTo>
                        <a:pt x="1227" y="596"/>
                      </a:lnTo>
                      <a:lnTo>
                        <a:pt x="1223" y="605"/>
                      </a:lnTo>
                      <a:lnTo>
                        <a:pt x="1221" y="614"/>
                      </a:lnTo>
                      <a:lnTo>
                        <a:pt x="1218" y="624"/>
                      </a:lnTo>
                      <a:lnTo>
                        <a:pt x="1216" y="633"/>
                      </a:lnTo>
                      <a:lnTo>
                        <a:pt x="1213" y="643"/>
                      </a:lnTo>
                      <a:lnTo>
                        <a:pt x="1208" y="651"/>
                      </a:lnTo>
                      <a:lnTo>
                        <a:pt x="1201" y="663"/>
                      </a:lnTo>
                      <a:lnTo>
                        <a:pt x="1195" y="676"/>
                      </a:lnTo>
                      <a:lnTo>
                        <a:pt x="1190" y="689"/>
                      </a:lnTo>
                      <a:lnTo>
                        <a:pt x="1185" y="702"/>
                      </a:lnTo>
                      <a:lnTo>
                        <a:pt x="1182" y="715"/>
                      </a:lnTo>
                      <a:lnTo>
                        <a:pt x="1177" y="728"/>
                      </a:lnTo>
                      <a:lnTo>
                        <a:pt x="1171" y="741"/>
                      </a:lnTo>
                      <a:lnTo>
                        <a:pt x="1166" y="752"/>
                      </a:lnTo>
                      <a:lnTo>
                        <a:pt x="1160" y="759"/>
                      </a:lnTo>
                      <a:lnTo>
                        <a:pt x="1151" y="771"/>
                      </a:lnTo>
                      <a:lnTo>
                        <a:pt x="1140" y="784"/>
                      </a:lnTo>
                      <a:lnTo>
                        <a:pt x="1127" y="798"/>
                      </a:lnTo>
                      <a:lnTo>
                        <a:pt x="1121" y="804"/>
                      </a:lnTo>
                      <a:lnTo>
                        <a:pt x="1114" y="810"/>
                      </a:lnTo>
                      <a:lnTo>
                        <a:pt x="1108" y="815"/>
                      </a:lnTo>
                      <a:lnTo>
                        <a:pt x="1101" y="818"/>
                      </a:lnTo>
                      <a:lnTo>
                        <a:pt x="1095" y="820"/>
                      </a:lnTo>
                      <a:lnTo>
                        <a:pt x="1090" y="820"/>
                      </a:lnTo>
                      <a:lnTo>
                        <a:pt x="1084" y="818"/>
                      </a:lnTo>
                      <a:lnTo>
                        <a:pt x="1081" y="814"/>
                      </a:lnTo>
                      <a:lnTo>
                        <a:pt x="1079" y="815"/>
                      </a:lnTo>
                      <a:lnTo>
                        <a:pt x="1076" y="816"/>
                      </a:lnTo>
                      <a:lnTo>
                        <a:pt x="1073" y="820"/>
                      </a:lnTo>
                      <a:lnTo>
                        <a:pt x="1070" y="823"/>
                      </a:lnTo>
                      <a:lnTo>
                        <a:pt x="1064" y="833"/>
                      </a:lnTo>
                      <a:lnTo>
                        <a:pt x="1057" y="844"/>
                      </a:lnTo>
                      <a:lnTo>
                        <a:pt x="1047" y="868"/>
                      </a:lnTo>
                      <a:lnTo>
                        <a:pt x="1041" y="884"/>
                      </a:lnTo>
                      <a:lnTo>
                        <a:pt x="1036" y="894"/>
                      </a:lnTo>
                      <a:lnTo>
                        <a:pt x="1034" y="903"/>
                      </a:lnTo>
                      <a:lnTo>
                        <a:pt x="1030" y="914"/>
                      </a:lnTo>
                      <a:lnTo>
                        <a:pt x="1026" y="923"/>
                      </a:lnTo>
                      <a:lnTo>
                        <a:pt x="1020" y="937"/>
                      </a:lnTo>
                      <a:lnTo>
                        <a:pt x="1015" y="952"/>
                      </a:lnTo>
                      <a:lnTo>
                        <a:pt x="1006" y="966"/>
                      </a:lnTo>
                      <a:lnTo>
                        <a:pt x="993" y="979"/>
                      </a:lnTo>
                      <a:lnTo>
                        <a:pt x="982" y="981"/>
                      </a:lnTo>
                      <a:lnTo>
                        <a:pt x="973" y="983"/>
                      </a:lnTo>
                      <a:lnTo>
                        <a:pt x="967" y="988"/>
                      </a:lnTo>
                      <a:lnTo>
                        <a:pt x="961" y="994"/>
                      </a:lnTo>
                      <a:lnTo>
                        <a:pt x="956" y="999"/>
                      </a:lnTo>
                      <a:lnTo>
                        <a:pt x="952" y="1006"/>
                      </a:lnTo>
                      <a:lnTo>
                        <a:pt x="945" y="1018"/>
                      </a:lnTo>
                      <a:lnTo>
                        <a:pt x="938" y="1032"/>
                      </a:lnTo>
                      <a:lnTo>
                        <a:pt x="933" y="1044"/>
                      </a:lnTo>
                      <a:lnTo>
                        <a:pt x="929" y="1055"/>
                      </a:lnTo>
                      <a:lnTo>
                        <a:pt x="926" y="1067"/>
                      </a:lnTo>
                      <a:lnTo>
                        <a:pt x="920" y="1079"/>
                      </a:lnTo>
                      <a:lnTo>
                        <a:pt x="914" y="1088"/>
                      </a:lnTo>
                      <a:lnTo>
                        <a:pt x="909" y="1097"/>
                      </a:lnTo>
                      <a:lnTo>
                        <a:pt x="906" y="1102"/>
                      </a:lnTo>
                      <a:lnTo>
                        <a:pt x="903" y="1110"/>
                      </a:lnTo>
                      <a:lnTo>
                        <a:pt x="903" y="1115"/>
                      </a:lnTo>
                      <a:lnTo>
                        <a:pt x="902" y="1122"/>
                      </a:lnTo>
                      <a:lnTo>
                        <a:pt x="903" y="1131"/>
                      </a:lnTo>
                      <a:lnTo>
                        <a:pt x="903" y="1141"/>
                      </a:lnTo>
                      <a:lnTo>
                        <a:pt x="909" y="1164"/>
                      </a:lnTo>
                      <a:lnTo>
                        <a:pt x="916" y="1186"/>
                      </a:lnTo>
                      <a:lnTo>
                        <a:pt x="919" y="1198"/>
                      </a:lnTo>
                      <a:lnTo>
                        <a:pt x="920" y="1209"/>
                      </a:lnTo>
                      <a:lnTo>
                        <a:pt x="919" y="1214"/>
                      </a:lnTo>
                      <a:lnTo>
                        <a:pt x="918" y="1220"/>
                      </a:lnTo>
                      <a:lnTo>
                        <a:pt x="916" y="1226"/>
                      </a:lnTo>
                      <a:lnTo>
                        <a:pt x="913" y="1232"/>
                      </a:lnTo>
                      <a:lnTo>
                        <a:pt x="908" y="1244"/>
                      </a:lnTo>
                      <a:lnTo>
                        <a:pt x="902" y="1259"/>
                      </a:lnTo>
                      <a:lnTo>
                        <a:pt x="898" y="1273"/>
                      </a:lnTo>
                      <a:lnTo>
                        <a:pt x="892" y="1284"/>
                      </a:lnTo>
                      <a:lnTo>
                        <a:pt x="887" y="1276"/>
                      </a:lnTo>
                      <a:lnTo>
                        <a:pt x="879" y="1267"/>
                      </a:lnTo>
                      <a:lnTo>
                        <a:pt x="874" y="1263"/>
                      </a:lnTo>
                      <a:lnTo>
                        <a:pt x="869" y="1260"/>
                      </a:lnTo>
                      <a:lnTo>
                        <a:pt x="863" y="1258"/>
                      </a:lnTo>
                      <a:lnTo>
                        <a:pt x="859" y="1257"/>
                      </a:lnTo>
                      <a:lnTo>
                        <a:pt x="846" y="1258"/>
                      </a:lnTo>
                      <a:lnTo>
                        <a:pt x="832" y="1259"/>
                      </a:lnTo>
                      <a:lnTo>
                        <a:pt x="825" y="1258"/>
                      </a:lnTo>
                      <a:lnTo>
                        <a:pt x="820" y="1257"/>
                      </a:lnTo>
                      <a:lnTo>
                        <a:pt x="818" y="1254"/>
                      </a:lnTo>
                      <a:lnTo>
                        <a:pt x="815" y="1253"/>
                      </a:lnTo>
                      <a:lnTo>
                        <a:pt x="814" y="1251"/>
                      </a:lnTo>
                      <a:lnTo>
                        <a:pt x="814" y="1249"/>
                      </a:lnTo>
                      <a:lnTo>
                        <a:pt x="815" y="1236"/>
                      </a:lnTo>
                      <a:lnTo>
                        <a:pt x="815" y="1224"/>
                      </a:lnTo>
                      <a:lnTo>
                        <a:pt x="816" y="1211"/>
                      </a:lnTo>
                      <a:lnTo>
                        <a:pt x="818" y="1198"/>
                      </a:lnTo>
                      <a:lnTo>
                        <a:pt x="818" y="1193"/>
                      </a:lnTo>
                      <a:lnTo>
                        <a:pt x="819" y="1188"/>
                      </a:lnTo>
                      <a:lnTo>
                        <a:pt x="820" y="1186"/>
                      </a:lnTo>
                      <a:lnTo>
                        <a:pt x="821" y="1184"/>
                      </a:lnTo>
                      <a:lnTo>
                        <a:pt x="825" y="1181"/>
                      </a:lnTo>
                      <a:lnTo>
                        <a:pt x="831" y="1180"/>
                      </a:lnTo>
                      <a:lnTo>
                        <a:pt x="843" y="1183"/>
                      </a:lnTo>
                      <a:lnTo>
                        <a:pt x="860" y="1185"/>
                      </a:lnTo>
                      <a:lnTo>
                        <a:pt x="866" y="1185"/>
                      </a:lnTo>
                      <a:lnTo>
                        <a:pt x="871" y="1184"/>
                      </a:lnTo>
                      <a:lnTo>
                        <a:pt x="875" y="1181"/>
                      </a:lnTo>
                      <a:lnTo>
                        <a:pt x="879" y="1179"/>
                      </a:lnTo>
                      <a:lnTo>
                        <a:pt x="881" y="1177"/>
                      </a:lnTo>
                      <a:lnTo>
                        <a:pt x="883" y="1173"/>
                      </a:lnTo>
                      <a:lnTo>
                        <a:pt x="885" y="1170"/>
                      </a:lnTo>
                      <a:lnTo>
                        <a:pt x="886" y="1165"/>
                      </a:lnTo>
                      <a:lnTo>
                        <a:pt x="887" y="1146"/>
                      </a:lnTo>
                      <a:lnTo>
                        <a:pt x="887" y="1126"/>
                      </a:lnTo>
                      <a:lnTo>
                        <a:pt x="886" y="1125"/>
                      </a:lnTo>
                      <a:lnTo>
                        <a:pt x="883" y="1125"/>
                      </a:lnTo>
                      <a:lnTo>
                        <a:pt x="879" y="1125"/>
                      </a:lnTo>
                      <a:lnTo>
                        <a:pt x="874" y="1126"/>
                      </a:lnTo>
                      <a:lnTo>
                        <a:pt x="863" y="1128"/>
                      </a:lnTo>
                      <a:lnTo>
                        <a:pt x="856" y="1130"/>
                      </a:lnTo>
                      <a:lnTo>
                        <a:pt x="826" y="1132"/>
                      </a:lnTo>
                      <a:lnTo>
                        <a:pt x="798" y="1133"/>
                      </a:lnTo>
                      <a:lnTo>
                        <a:pt x="784" y="1132"/>
                      </a:lnTo>
                      <a:lnTo>
                        <a:pt x="768" y="1131"/>
                      </a:lnTo>
                      <a:lnTo>
                        <a:pt x="754" y="1127"/>
                      </a:lnTo>
                      <a:lnTo>
                        <a:pt x="739" y="1122"/>
                      </a:lnTo>
                      <a:lnTo>
                        <a:pt x="721" y="1114"/>
                      </a:lnTo>
                      <a:lnTo>
                        <a:pt x="705" y="1104"/>
                      </a:lnTo>
                      <a:lnTo>
                        <a:pt x="695" y="1100"/>
                      </a:lnTo>
                      <a:lnTo>
                        <a:pt x="687" y="1098"/>
                      </a:lnTo>
                      <a:lnTo>
                        <a:pt x="682" y="1098"/>
                      </a:lnTo>
                      <a:lnTo>
                        <a:pt x="678" y="1098"/>
                      </a:lnTo>
                      <a:lnTo>
                        <a:pt x="673" y="1099"/>
                      </a:lnTo>
                      <a:lnTo>
                        <a:pt x="668" y="1101"/>
                      </a:lnTo>
                      <a:lnTo>
                        <a:pt x="655" y="1106"/>
                      </a:lnTo>
                      <a:lnTo>
                        <a:pt x="644" y="1110"/>
                      </a:lnTo>
                      <a:lnTo>
                        <a:pt x="633" y="1113"/>
                      </a:lnTo>
                      <a:lnTo>
                        <a:pt x="621" y="1114"/>
                      </a:lnTo>
                      <a:lnTo>
                        <a:pt x="611" y="1117"/>
                      </a:lnTo>
                      <a:lnTo>
                        <a:pt x="600" y="1118"/>
                      </a:lnTo>
                      <a:lnTo>
                        <a:pt x="588" y="1120"/>
                      </a:lnTo>
                      <a:lnTo>
                        <a:pt x="578" y="1125"/>
                      </a:lnTo>
                      <a:lnTo>
                        <a:pt x="571" y="1128"/>
                      </a:lnTo>
                      <a:lnTo>
                        <a:pt x="565" y="1132"/>
                      </a:lnTo>
                      <a:lnTo>
                        <a:pt x="561" y="1134"/>
                      </a:lnTo>
                      <a:lnTo>
                        <a:pt x="558" y="1135"/>
                      </a:lnTo>
                      <a:lnTo>
                        <a:pt x="554" y="1135"/>
                      </a:lnTo>
                      <a:lnTo>
                        <a:pt x="551" y="1135"/>
                      </a:lnTo>
                      <a:lnTo>
                        <a:pt x="552" y="1147"/>
                      </a:lnTo>
                      <a:lnTo>
                        <a:pt x="553" y="1159"/>
                      </a:lnTo>
                      <a:lnTo>
                        <a:pt x="557" y="1171"/>
                      </a:lnTo>
                      <a:lnTo>
                        <a:pt x="561" y="1184"/>
                      </a:lnTo>
                      <a:lnTo>
                        <a:pt x="566" y="1196"/>
                      </a:lnTo>
                      <a:lnTo>
                        <a:pt x="573" y="1206"/>
                      </a:lnTo>
                      <a:lnTo>
                        <a:pt x="579" y="1217"/>
                      </a:lnTo>
                      <a:lnTo>
                        <a:pt x="586" y="1225"/>
                      </a:lnTo>
                      <a:lnTo>
                        <a:pt x="605" y="1244"/>
                      </a:lnTo>
                      <a:lnTo>
                        <a:pt x="625" y="1262"/>
                      </a:lnTo>
                      <a:lnTo>
                        <a:pt x="635" y="1271"/>
                      </a:lnTo>
                      <a:lnTo>
                        <a:pt x="645" y="1280"/>
                      </a:lnTo>
                      <a:lnTo>
                        <a:pt x="653" y="1290"/>
                      </a:lnTo>
                      <a:lnTo>
                        <a:pt x="661" y="1299"/>
                      </a:lnTo>
                      <a:lnTo>
                        <a:pt x="670" y="1311"/>
                      </a:lnTo>
                      <a:lnTo>
                        <a:pt x="678" y="1322"/>
                      </a:lnTo>
                      <a:lnTo>
                        <a:pt x="687" y="1332"/>
                      </a:lnTo>
                      <a:lnTo>
                        <a:pt x="697" y="1342"/>
                      </a:lnTo>
                      <a:lnTo>
                        <a:pt x="704" y="1346"/>
                      </a:lnTo>
                      <a:lnTo>
                        <a:pt x="711" y="1353"/>
                      </a:lnTo>
                      <a:lnTo>
                        <a:pt x="718" y="1361"/>
                      </a:lnTo>
                      <a:lnTo>
                        <a:pt x="724" y="1368"/>
                      </a:lnTo>
                      <a:lnTo>
                        <a:pt x="729" y="1376"/>
                      </a:lnTo>
                      <a:lnTo>
                        <a:pt x="735" y="1383"/>
                      </a:lnTo>
                      <a:lnTo>
                        <a:pt x="742" y="1390"/>
                      </a:lnTo>
                      <a:lnTo>
                        <a:pt x="749" y="1395"/>
                      </a:lnTo>
                      <a:lnTo>
                        <a:pt x="760" y="1402"/>
                      </a:lnTo>
                      <a:lnTo>
                        <a:pt x="773" y="1407"/>
                      </a:lnTo>
                      <a:lnTo>
                        <a:pt x="787" y="1411"/>
                      </a:lnTo>
                      <a:lnTo>
                        <a:pt x="799" y="1415"/>
                      </a:lnTo>
                      <a:lnTo>
                        <a:pt x="809" y="1420"/>
                      </a:lnTo>
                      <a:lnTo>
                        <a:pt x="819" y="1427"/>
                      </a:lnTo>
                      <a:lnTo>
                        <a:pt x="827" y="1434"/>
                      </a:lnTo>
                      <a:lnTo>
                        <a:pt x="836" y="1442"/>
                      </a:lnTo>
                      <a:lnTo>
                        <a:pt x="845" y="1448"/>
                      </a:lnTo>
                      <a:lnTo>
                        <a:pt x="854" y="1453"/>
                      </a:lnTo>
                      <a:lnTo>
                        <a:pt x="860" y="1455"/>
                      </a:lnTo>
                      <a:lnTo>
                        <a:pt x="865" y="1455"/>
                      </a:lnTo>
                      <a:lnTo>
                        <a:pt x="871" y="1455"/>
                      </a:lnTo>
                      <a:lnTo>
                        <a:pt x="878" y="1454"/>
                      </a:lnTo>
                      <a:lnTo>
                        <a:pt x="881" y="1453"/>
                      </a:lnTo>
                      <a:lnTo>
                        <a:pt x="885" y="1449"/>
                      </a:lnTo>
                      <a:lnTo>
                        <a:pt x="888" y="1445"/>
                      </a:lnTo>
                      <a:lnTo>
                        <a:pt x="890" y="1442"/>
                      </a:lnTo>
                      <a:lnTo>
                        <a:pt x="894" y="1431"/>
                      </a:lnTo>
                      <a:lnTo>
                        <a:pt x="896" y="1418"/>
                      </a:lnTo>
                      <a:lnTo>
                        <a:pt x="896" y="1407"/>
                      </a:lnTo>
                      <a:lnTo>
                        <a:pt x="896" y="1394"/>
                      </a:lnTo>
                      <a:lnTo>
                        <a:pt x="895" y="1384"/>
                      </a:lnTo>
                      <a:lnTo>
                        <a:pt x="894" y="1376"/>
                      </a:lnTo>
                      <a:lnTo>
                        <a:pt x="846" y="1374"/>
                      </a:lnTo>
                      <a:lnTo>
                        <a:pt x="841" y="1375"/>
                      </a:lnTo>
                      <a:lnTo>
                        <a:pt x="836" y="1375"/>
                      </a:lnTo>
                      <a:lnTo>
                        <a:pt x="834" y="1377"/>
                      </a:lnTo>
                      <a:lnTo>
                        <a:pt x="832" y="1379"/>
                      </a:lnTo>
                      <a:lnTo>
                        <a:pt x="828" y="1385"/>
                      </a:lnTo>
                      <a:lnTo>
                        <a:pt x="826" y="1391"/>
                      </a:lnTo>
                      <a:lnTo>
                        <a:pt x="824" y="1397"/>
                      </a:lnTo>
                      <a:lnTo>
                        <a:pt x="819" y="1401"/>
                      </a:lnTo>
                      <a:lnTo>
                        <a:pt x="816" y="1402"/>
                      </a:lnTo>
                      <a:lnTo>
                        <a:pt x="813" y="1403"/>
                      </a:lnTo>
                      <a:lnTo>
                        <a:pt x="808" y="1402"/>
                      </a:lnTo>
                      <a:lnTo>
                        <a:pt x="802" y="1401"/>
                      </a:lnTo>
                      <a:lnTo>
                        <a:pt x="794" y="1397"/>
                      </a:lnTo>
                      <a:lnTo>
                        <a:pt x="785" y="1390"/>
                      </a:lnTo>
                      <a:lnTo>
                        <a:pt x="774" y="1382"/>
                      </a:lnTo>
                      <a:lnTo>
                        <a:pt x="765" y="1371"/>
                      </a:lnTo>
                      <a:lnTo>
                        <a:pt x="757" y="1361"/>
                      </a:lnTo>
                      <a:lnTo>
                        <a:pt x="749" y="1350"/>
                      </a:lnTo>
                      <a:lnTo>
                        <a:pt x="745" y="1339"/>
                      </a:lnTo>
                      <a:lnTo>
                        <a:pt x="744" y="1330"/>
                      </a:lnTo>
                      <a:lnTo>
                        <a:pt x="753" y="1330"/>
                      </a:lnTo>
                      <a:lnTo>
                        <a:pt x="762" y="1328"/>
                      </a:lnTo>
                      <a:lnTo>
                        <a:pt x="771" y="1324"/>
                      </a:lnTo>
                      <a:lnTo>
                        <a:pt x="779" y="1319"/>
                      </a:lnTo>
                      <a:lnTo>
                        <a:pt x="786" y="1313"/>
                      </a:lnTo>
                      <a:lnTo>
                        <a:pt x="792" y="1306"/>
                      </a:lnTo>
                      <a:lnTo>
                        <a:pt x="799" y="1299"/>
                      </a:lnTo>
                      <a:lnTo>
                        <a:pt x="804" y="1291"/>
                      </a:lnTo>
                      <a:lnTo>
                        <a:pt x="807" y="1286"/>
                      </a:lnTo>
                      <a:lnTo>
                        <a:pt x="811" y="1283"/>
                      </a:lnTo>
                      <a:lnTo>
                        <a:pt x="813" y="1282"/>
                      </a:lnTo>
                      <a:lnTo>
                        <a:pt x="814" y="1280"/>
                      </a:lnTo>
                      <a:lnTo>
                        <a:pt x="816" y="1282"/>
                      </a:lnTo>
                      <a:lnTo>
                        <a:pt x="818" y="1283"/>
                      </a:lnTo>
                      <a:lnTo>
                        <a:pt x="819" y="1284"/>
                      </a:lnTo>
                      <a:lnTo>
                        <a:pt x="820" y="1286"/>
                      </a:lnTo>
                      <a:lnTo>
                        <a:pt x="824" y="1300"/>
                      </a:lnTo>
                      <a:lnTo>
                        <a:pt x="831" y="1313"/>
                      </a:lnTo>
                      <a:lnTo>
                        <a:pt x="840" y="1324"/>
                      </a:lnTo>
                      <a:lnTo>
                        <a:pt x="849" y="1331"/>
                      </a:lnTo>
                      <a:lnTo>
                        <a:pt x="858" y="1336"/>
                      </a:lnTo>
                      <a:lnTo>
                        <a:pt x="866" y="1338"/>
                      </a:lnTo>
                      <a:lnTo>
                        <a:pt x="883" y="1342"/>
                      </a:lnTo>
                      <a:lnTo>
                        <a:pt x="908" y="1348"/>
                      </a:lnTo>
                      <a:lnTo>
                        <a:pt x="912" y="1348"/>
                      </a:lnTo>
                      <a:lnTo>
                        <a:pt x="916" y="1344"/>
                      </a:lnTo>
                      <a:lnTo>
                        <a:pt x="922" y="1338"/>
                      </a:lnTo>
                      <a:lnTo>
                        <a:pt x="929" y="1331"/>
                      </a:lnTo>
                      <a:lnTo>
                        <a:pt x="943" y="1318"/>
                      </a:lnTo>
                      <a:lnTo>
                        <a:pt x="954" y="1309"/>
                      </a:lnTo>
                      <a:lnTo>
                        <a:pt x="961" y="1306"/>
                      </a:lnTo>
                      <a:lnTo>
                        <a:pt x="967" y="1302"/>
                      </a:lnTo>
                      <a:lnTo>
                        <a:pt x="973" y="1298"/>
                      </a:lnTo>
                      <a:lnTo>
                        <a:pt x="977" y="1293"/>
                      </a:lnTo>
                      <a:lnTo>
                        <a:pt x="986" y="1284"/>
                      </a:lnTo>
                      <a:lnTo>
                        <a:pt x="994" y="1273"/>
                      </a:lnTo>
                      <a:lnTo>
                        <a:pt x="1002" y="1263"/>
                      </a:lnTo>
                      <a:lnTo>
                        <a:pt x="1010" y="1253"/>
                      </a:lnTo>
                      <a:lnTo>
                        <a:pt x="1015" y="1249"/>
                      </a:lnTo>
                      <a:lnTo>
                        <a:pt x="1021" y="1245"/>
                      </a:lnTo>
                      <a:lnTo>
                        <a:pt x="1026" y="1242"/>
                      </a:lnTo>
                      <a:lnTo>
                        <a:pt x="1032" y="1238"/>
                      </a:lnTo>
                      <a:lnTo>
                        <a:pt x="1048" y="1231"/>
                      </a:lnTo>
                      <a:lnTo>
                        <a:pt x="1067" y="1224"/>
                      </a:lnTo>
                      <a:lnTo>
                        <a:pt x="1086" y="1217"/>
                      </a:lnTo>
                      <a:lnTo>
                        <a:pt x="1106" y="1210"/>
                      </a:lnTo>
                      <a:lnTo>
                        <a:pt x="1127" y="1204"/>
                      </a:lnTo>
                      <a:lnTo>
                        <a:pt x="1147" y="1199"/>
                      </a:lnTo>
                      <a:lnTo>
                        <a:pt x="1166" y="1196"/>
                      </a:lnTo>
                      <a:lnTo>
                        <a:pt x="1182" y="1194"/>
                      </a:lnTo>
                      <a:lnTo>
                        <a:pt x="1193" y="1188"/>
                      </a:lnTo>
                      <a:lnTo>
                        <a:pt x="1207" y="1184"/>
                      </a:lnTo>
                      <a:lnTo>
                        <a:pt x="1221" y="1180"/>
                      </a:lnTo>
                      <a:lnTo>
                        <a:pt x="1232" y="1179"/>
                      </a:lnTo>
                      <a:lnTo>
                        <a:pt x="1237" y="1179"/>
                      </a:lnTo>
                      <a:lnTo>
                        <a:pt x="1238" y="1179"/>
                      </a:lnTo>
                      <a:lnTo>
                        <a:pt x="1237" y="1178"/>
                      </a:lnTo>
                      <a:lnTo>
                        <a:pt x="1234" y="1177"/>
                      </a:lnTo>
                      <a:lnTo>
                        <a:pt x="1224" y="1174"/>
                      </a:lnTo>
                      <a:lnTo>
                        <a:pt x="1215" y="1172"/>
                      </a:lnTo>
                      <a:lnTo>
                        <a:pt x="1210" y="1170"/>
                      </a:lnTo>
                      <a:lnTo>
                        <a:pt x="1209" y="1167"/>
                      </a:lnTo>
                      <a:lnTo>
                        <a:pt x="1210" y="1165"/>
                      </a:lnTo>
                      <a:lnTo>
                        <a:pt x="1213" y="1163"/>
                      </a:lnTo>
                      <a:lnTo>
                        <a:pt x="1221" y="1158"/>
                      </a:lnTo>
                      <a:lnTo>
                        <a:pt x="1228" y="1153"/>
                      </a:lnTo>
                      <a:lnTo>
                        <a:pt x="1241" y="1140"/>
                      </a:lnTo>
                      <a:lnTo>
                        <a:pt x="1256" y="1126"/>
                      </a:lnTo>
                      <a:lnTo>
                        <a:pt x="1261" y="1124"/>
                      </a:lnTo>
                      <a:lnTo>
                        <a:pt x="1263" y="1122"/>
                      </a:lnTo>
                      <a:lnTo>
                        <a:pt x="1267" y="1122"/>
                      </a:lnTo>
                      <a:lnTo>
                        <a:pt x="1269" y="1124"/>
                      </a:lnTo>
                      <a:lnTo>
                        <a:pt x="1271" y="1126"/>
                      </a:lnTo>
                      <a:lnTo>
                        <a:pt x="1272" y="1131"/>
                      </a:lnTo>
                      <a:lnTo>
                        <a:pt x="1274" y="1137"/>
                      </a:lnTo>
                      <a:lnTo>
                        <a:pt x="1274" y="1144"/>
                      </a:lnTo>
                      <a:lnTo>
                        <a:pt x="1267" y="1154"/>
                      </a:lnTo>
                      <a:lnTo>
                        <a:pt x="1256" y="1166"/>
                      </a:lnTo>
                      <a:lnTo>
                        <a:pt x="1252" y="1172"/>
                      </a:lnTo>
                      <a:lnTo>
                        <a:pt x="1252" y="1176"/>
                      </a:lnTo>
                      <a:lnTo>
                        <a:pt x="1254" y="1176"/>
                      </a:lnTo>
                      <a:lnTo>
                        <a:pt x="1256" y="1176"/>
                      </a:lnTo>
                      <a:lnTo>
                        <a:pt x="1261" y="1176"/>
                      </a:lnTo>
                      <a:lnTo>
                        <a:pt x="1267" y="1173"/>
                      </a:lnTo>
                      <a:lnTo>
                        <a:pt x="1282" y="1168"/>
                      </a:lnTo>
                      <a:lnTo>
                        <a:pt x="1297" y="1166"/>
                      </a:lnTo>
                      <a:lnTo>
                        <a:pt x="1314" y="1165"/>
                      </a:lnTo>
                      <a:lnTo>
                        <a:pt x="1330" y="1164"/>
                      </a:lnTo>
                      <a:lnTo>
                        <a:pt x="1363" y="1163"/>
                      </a:lnTo>
                      <a:lnTo>
                        <a:pt x="1396" y="1160"/>
                      </a:lnTo>
                      <a:lnTo>
                        <a:pt x="1418" y="1157"/>
                      </a:lnTo>
                      <a:lnTo>
                        <a:pt x="1444" y="1154"/>
                      </a:lnTo>
                      <a:lnTo>
                        <a:pt x="1468" y="1153"/>
                      </a:lnTo>
                      <a:lnTo>
                        <a:pt x="1491" y="1153"/>
                      </a:lnTo>
                      <a:lnTo>
                        <a:pt x="1472" y="1147"/>
                      </a:lnTo>
                      <a:lnTo>
                        <a:pt x="1452" y="1140"/>
                      </a:lnTo>
                      <a:lnTo>
                        <a:pt x="1444" y="1135"/>
                      </a:lnTo>
                      <a:lnTo>
                        <a:pt x="1436" y="1130"/>
                      </a:lnTo>
                      <a:lnTo>
                        <a:pt x="1432" y="1126"/>
                      </a:lnTo>
                      <a:lnTo>
                        <a:pt x="1430" y="1121"/>
                      </a:lnTo>
                      <a:lnTo>
                        <a:pt x="1428" y="1118"/>
                      </a:lnTo>
                      <a:lnTo>
                        <a:pt x="1425" y="1112"/>
                      </a:lnTo>
                      <a:lnTo>
                        <a:pt x="1422" y="1102"/>
                      </a:lnTo>
                      <a:lnTo>
                        <a:pt x="1417" y="1094"/>
                      </a:lnTo>
                      <a:lnTo>
                        <a:pt x="1413" y="1084"/>
                      </a:lnTo>
                      <a:lnTo>
                        <a:pt x="1410" y="1074"/>
                      </a:lnTo>
                      <a:lnTo>
                        <a:pt x="1406" y="1062"/>
                      </a:lnTo>
                      <a:lnTo>
                        <a:pt x="1405" y="1049"/>
                      </a:lnTo>
                      <a:lnTo>
                        <a:pt x="1405" y="1047"/>
                      </a:lnTo>
                      <a:lnTo>
                        <a:pt x="1406" y="1046"/>
                      </a:lnTo>
                      <a:lnTo>
                        <a:pt x="1408" y="1047"/>
                      </a:lnTo>
                      <a:lnTo>
                        <a:pt x="1409" y="1048"/>
                      </a:lnTo>
                      <a:lnTo>
                        <a:pt x="1412" y="1052"/>
                      </a:lnTo>
                      <a:lnTo>
                        <a:pt x="1415" y="1055"/>
                      </a:lnTo>
                      <a:lnTo>
                        <a:pt x="1425" y="1062"/>
                      </a:lnTo>
                      <a:lnTo>
                        <a:pt x="1435" y="1069"/>
                      </a:lnTo>
                      <a:lnTo>
                        <a:pt x="1444" y="1078"/>
                      </a:lnTo>
                      <a:lnTo>
                        <a:pt x="1456" y="1084"/>
                      </a:lnTo>
                      <a:lnTo>
                        <a:pt x="1463" y="1085"/>
                      </a:lnTo>
                      <a:lnTo>
                        <a:pt x="1469" y="1086"/>
                      </a:lnTo>
                      <a:lnTo>
                        <a:pt x="1476" y="1087"/>
                      </a:lnTo>
                      <a:lnTo>
                        <a:pt x="1482" y="1087"/>
                      </a:lnTo>
                      <a:lnTo>
                        <a:pt x="1495" y="1086"/>
                      </a:lnTo>
                      <a:lnTo>
                        <a:pt x="1509" y="1086"/>
                      </a:lnTo>
                      <a:lnTo>
                        <a:pt x="1512" y="1100"/>
                      </a:lnTo>
                      <a:lnTo>
                        <a:pt x="1517" y="1115"/>
                      </a:lnTo>
                      <a:lnTo>
                        <a:pt x="1519" y="1125"/>
                      </a:lnTo>
                      <a:lnTo>
                        <a:pt x="1518" y="1131"/>
                      </a:lnTo>
                      <a:lnTo>
                        <a:pt x="1517" y="1137"/>
                      </a:lnTo>
                      <a:lnTo>
                        <a:pt x="1517" y="1144"/>
                      </a:lnTo>
                      <a:lnTo>
                        <a:pt x="1511" y="1146"/>
                      </a:lnTo>
                      <a:lnTo>
                        <a:pt x="1506" y="1151"/>
                      </a:lnTo>
                      <a:lnTo>
                        <a:pt x="1529" y="1151"/>
                      </a:lnTo>
                      <a:lnTo>
                        <a:pt x="1551" y="1150"/>
                      </a:lnTo>
                      <a:lnTo>
                        <a:pt x="1573" y="1150"/>
                      </a:lnTo>
                      <a:lnTo>
                        <a:pt x="1597" y="1148"/>
                      </a:lnTo>
                      <a:lnTo>
                        <a:pt x="1619" y="1147"/>
                      </a:lnTo>
                      <a:lnTo>
                        <a:pt x="1641" y="1146"/>
                      </a:lnTo>
                      <a:lnTo>
                        <a:pt x="1665" y="1145"/>
                      </a:lnTo>
                      <a:lnTo>
                        <a:pt x="1687" y="1145"/>
                      </a:lnTo>
                      <a:lnTo>
                        <a:pt x="1866" y="1140"/>
                      </a:lnTo>
                      <a:close/>
                      <a:moveTo>
                        <a:pt x="168" y="646"/>
                      </a:moveTo>
                      <a:lnTo>
                        <a:pt x="165" y="649"/>
                      </a:lnTo>
                      <a:lnTo>
                        <a:pt x="162" y="647"/>
                      </a:lnTo>
                      <a:lnTo>
                        <a:pt x="158" y="646"/>
                      </a:lnTo>
                      <a:lnTo>
                        <a:pt x="154" y="643"/>
                      </a:lnTo>
                      <a:lnTo>
                        <a:pt x="151" y="639"/>
                      </a:lnTo>
                      <a:lnTo>
                        <a:pt x="145" y="631"/>
                      </a:lnTo>
                      <a:lnTo>
                        <a:pt x="141" y="624"/>
                      </a:lnTo>
                      <a:lnTo>
                        <a:pt x="134" y="614"/>
                      </a:lnTo>
                      <a:lnTo>
                        <a:pt x="128" y="607"/>
                      </a:lnTo>
                      <a:lnTo>
                        <a:pt x="121" y="603"/>
                      </a:lnTo>
                      <a:lnTo>
                        <a:pt x="111" y="598"/>
                      </a:lnTo>
                      <a:lnTo>
                        <a:pt x="101" y="612"/>
                      </a:lnTo>
                      <a:lnTo>
                        <a:pt x="89" y="629"/>
                      </a:lnTo>
                      <a:lnTo>
                        <a:pt x="82" y="635"/>
                      </a:lnTo>
                      <a:lnTo>
                        <a:pt x="75" y="639"/>
                      </a:lnTo>
                      <a:lnTo>
                        <a:pt x="67" y="643"/>
                      </a:lnTo>
                      <a:lnTo>
                        <a:pt x="58" y="646"/>
                      </a:lnTo>
                      <a:lnTo>
                        <a:pt x="54" y="649"/>
                      </a:lnTo>
                      <a:lnTo>
                        <a:pt x="51" y="651"/>
                      </a:lnTo>
                      <a:lnTo>
                        <a:pt x="49" y="655"/>
                      </a:lnTo>
                      <a:lnTo>
                        <a:pt x="47" y="658"/>
                      </a:lnTo>
                      <a:lnTo>
                        <a:pt x="43" y="664"/>
                      </a:lnTo>
                      <a:lnTo>
                        <a:pt x="41" y="672"/>
                      </a:lnTo>
                      <a:lnTo>
                        <a:pt x="38" y="679"/>
                      </a:lnTo>
                      <a:lnTo>
                        <a:pt x="35" y="686"/>
                      </a:lnTo>
                      <a:lnTo>
                        <a:pt x="30" y="693"/>
                      </a:lnTo>
                      <a:lnTo>
                        <a:pt x="23" y="698"/>
                      </a:lnTo>
                      <a:lnTo>
                        <a:pt x="14" y="702"/>
                      </a:lnTo>
                      <a:lnTo>
                        <a:pt x="6" y="706"/>
                      </a:lnTo>
                      <a:lnTo>
                        <a:pt x="2" y="715"/>
                      </a:lnTo>
                      <a:lnTo>
                        <a:pt x="0" y="726"/>
                      </a:lnTo>
                      <a:lnTo>
                        <a:pt x="0" y="732"/>
                      </a:lnTo>
                      <a:lnTo>
                        <a:pt x="0" y="737"/>
                      </a:lnTo>
                      <a:lnTo>
                        <a:pt x="1" y="742"/>
                      </a:lnTo>
                      <a:lnTo>
                        <a:pt x="3" y="744"/>
                      </a:lnTo>
                      <a:lnTo>
                        <a:pt x="7" y="745"/>
                      </a:lnTo>
                      <a:lnTo>
                        <a:pt x="10" y="745"/>
                      </a:lnTo>
                      <a:lnTo>
                        <a:pt x="15" y="745"/>
                      </a:lnTo>
                      <a:lnTo>
                        <a:pt x="20" y="744"/>
                      </a:lnTo>
                      <a:lnTo>
                        <a:pt x="30" y="739"/>
                      </a:lnTo>
                      <a:lnTo>
                        <a:pt x="42" y="734"/>
                      </a:lnTo>
                      <a:lnTo>
                        <a:pt x="62" y="721"/>
                      </a:lnTo>
                      <a:lnTo>
                        <a:pt x="76" y="710"/>
                      </a:lnTo>
                      <a:lnTo>
                        <a:pt x="90" y="693"/>
                      </a:lnTo>
                      <a:lnTo>
                        <a:pt x="103" y="678"/>
                      </a:lnTo>
                      <a:lnTo>
                        <a:pt x="114" y="670"/>
                      </a:lnTo>
                      <a:lnTo>
                        <a:pt x="122" y="662"/>
                      </a:lnTo>
                      <a:lnTo>
                        <a:pt x="130" y="658"/>
                      </a:lnTo>
                      <a:lnTo>
                        <a:pt x="138" y="657"/>
                      </a:lnTo>
                      <a:lnTo>
                        <a:pt x="144" y="657"/>
                      </a:lnTo>
                      <a:lnTo>
                        <a:pt x="149" y="658"/>
                      </a:lnTo>
                      <a:lnTo>
                        <a:pt x="154" y="658"/>
                      </a:lnTo>
                      <a:lnTo>
                        <a:pt x="159" y="656"/>
                      </a:lnTo>
                      <a:lnTo>
                        <a:pt x="168" y="646"/>
                      </a:lnTo>
                      <a:close/>
                      <a:moveTo>
                        <a:pt x="457" y="479"/>
                      </a:moveTo>
                      <a:lnTo>
                        <a:pt x="447" y="493"/>
                      </a:lnTo>
                      <a:lnTo>
                        <a:pt x="437" y="507"/>
                      </a:lnTo>
                      <a:lnTo>
                        <a:pt x="431" y="514"/>
                      </a:lnTo>
                      <a:lnTo>
                        <a:pt x="424" y="520"/>
                      </a:lnTo>
                      <a:lnTo>
                        <a:pt x="417" y="525"/>
                      </a:lnTo>
                      <a:lnTo>
                        <a:pt x="410" y="530"/>
                      </a:lnTo>
                      <a:lnTo>
                        <a:pt x="399" y="534"/>
                      </a:lnTo>
                      <a:lnTo>
                        <a:pt x="390" y="541"/>
                      </a:lnTo>
                      <a:lnTo>
                        <a:pt x="382" y="550"/>
                      </a:lnTo>
                      <a:lnTo>
                        <a:pt x="372" y="558"/>
                      </a:lnTo>
                      <a:lnTo>
                        <a:pt x="364" y="566"/>
                      </a:lnTo>
                      <a:lnTo>
                        <a:pt x="356" y="573"/>
                      </a:lnTo>
                      <a:lnTo>
                        <a:pt x="352" y="577"/>
                      </a:lnTo>
                      <a:lnTo>
                        <a:pt x="348" y="579"/>
                      </a:lnTo>
                      <a:lnTo>
                        <a:pt x="343" y="581"/>
                      </a:lnTo>
                      <a:lnTo>
                        <a:pt x="338" y="583"/>
                      </a:lnTo>
                      <a:lnTo>
                        <a:pt x="326" y="585"/>
                      </a:lnTo>
                      <a:lnTo>
                        <a:pt x="312" y="585"/>
                      </a:lnTo>
                      <a:lnTo>
                        <a:pt x="298" y="585"/>
                      </a:lnTo>
                      <a:lnTo>
                        <a:pt x="286" y="584"/>
                      </a:lnTo>
                      <a:lnTo>
                        <a:pt x="277" y="580"/>
                      </a:lnTo>
                      <a:lnTo>
                        <a:pt x="268" y="578"/>
                      </a:lnTo>
                      <a:lnTo>
                        <a:pt x="263" y="577"/>
                      </a:lnTo>
                      <a:lnTo>
                        <a:pt x="258" y="576"/>
                      </a:lnTo>
                      <a:lnTo>
                        <a:pt x="254" y="576"/>
                      </a:lnTo>
                      <a:lnTo>
                        <a:pt x="248" y="577"/>
                      </a:lnTo>
                      <a:lnTo>
                        <a:pt x="248" y="578"/>
                      </a:lnTo>
                      <a:lnTo>
                        <a:pt x="242" y="596"/>
                      </a:lnTo>
                      <a:lnTo>
                        <a:pt x="234" y="613"/>
                      </a:lnTo>
                      <a:lnTo>
                        <a:pt x="231" y="623"/>
                      </a:lnTo>
                      <a:lnTo>
                        <a:pt x="228" y="631"/>
                      </a:lnTo>
                      <a:lnTo>
                        <a:pt x="226" y="642"/>
                      </a:lnTo>
                      <a:lnTo>
                        <a:pt x="225" y="651"/>
                      </a:lnTo>
                      <a:lnTo>
                        <a:pt x="226" y="655"/>
                      </a:lnTo>
                      <a:lnTo>
                        <a:pt x="228" y="658"/>
                      </a:lnTo>
                      <a:lnTo>
                        <a:pt x="230" y="660"/>
                      </a:lnTo>
                      <a:lnTo>
                        <a:pt x="234" y="662"/>
                      </a:lnTo>
                      <a:lnTo>
                        <a:pt x="242" y="665"/>
                      </a:lnTo>
                      <a:lnTo>
                        <a:pt x="252" y="666"/>
                      </a:lnTo>
                      <a:lnTo>
                        <a:pt x="273" y="665"/>
                      </a:lnTo>
                      <a:lnTo>
                        <a:pt x="290" y="664"/>
                      </a:lnTo>
                      <a:lnTo>
                        <a:pt x="325" y="662"/>
                      </a:lnTo>
                      <a:lnTo>
                        <a:pt x="362" y="660"/>
                      </a:lnTo>
                      <a:lnTo>
                        <a:pt x="379" y="658"/>
                      </a:lnTo>
                      <a:lnTo>
                        <a:pt x="397" y="655"/>
                      </a:lnTo>
                      <a:lnTo>
                        <a:pt x="405" y="652"/>
                      </a:lnTo>
                      <a:lnTo>
                        <a:pt x="413" y="649"/>
                      </a:lnTo>
                      <a:lnTo>
                        <a:pt x="422" y="645"/>
                      </a:lnTo>
                      <a:lnTo>
                        <a:pt x="430" y="640"/>
                      </a:lnTo>
                      <a:lnTo>
                        <a:pt x="442" y="633"/>
                      </a:lnTo>
                      <a:lnTo>
                        <a:pt x="454" y="626"/>
                      </a:lnTo>
                      <a:lnTo>
                        <a:pt x="466" y="619"/>
                      </a:lnTo>
                      <a:lnTo>
                        <a:pt x="478" y="611"/>
                      </a:lnTo>
                      <a:lnTo>
                        <a:pt x="482" y="607"/>
                      </a:lnTo>
                      <a:lnTo>
                        <a:pt x="485" y="602"/>
                      </a:lnTo>
                      <a:lnTo>
                        <a:pt x="490" y="594"/>
                      </a:lnTo>
                      <a:lnTo>
                        <a:pt x="493" y="587"/>
                      </a:lnTo>
                      <a:lnTo>
                        <a:pt x="496" y="580"/>
                      </a:lnTo>
                      <a:lnTo>
                        <a:pt x="496" y="573"/>
                      </a:lnTo>
                      <a:lnTo>
                        <a:pt x="496" y="571"/>
                      </a:lnTo>
                      <a:lnTo>
                        <a:pt x="494" y="569"/>
                      </a:lnTo>
                      <a:lnTo>
                        <a:pt x="492" y="566"/>
                      </a:lnTo>
                      <a:lnTo>
                        <a:pt x="490" y="566"/>
                      </a:lnTo>
                      <a:lnTo>
                        <a:pt x="473" y="551"/>
                      </a:lnTo>
                      <a:lnTo>
                        <a:pt x="457" y="534"/>
                      </a:lnTo>
                      <a:lnTo>
                        <a:pt x="456" y="524"/>
                      </a:lnTo>
                      <a:lnTo>
                        <a:pt x="457" y="513"/>
                      </a:lnTo>
                      <a:lnTo>
                        <a:pt x="459" y="503"/>
                      </a:lnTo>
                      <a:lnTo>
                        <a:pt x="460" y="492"/>
                      </a:lnTo>
                      <a:lnTo>
                        <a:pt x="457" y="479"/>
                      </a:lnTo>
                      <a:close/>
                      <a:moveTo>
                        <a:pt x="682" y="460"/>
                      </a:moveTo>
                      <a:lnTo>
                        <a:pt x="680" y="459"/>
                      </a:lnTo>
                      <a:lnTo>
                        <a:pt x="678" y="458"/>
                      </a:lnTo>
                      <a:lnTo>
                        <a:pt x="674" y="454"/>
                      </a:lnTo>
                      <a:lnTo>
                        <a:pt x="671" y="451"/>
                      </a:lnTo>
                      <a:lnTo>
                        <a:pt x="668" y="449"/>
                      </a:lnTo>
                      <a:lnTo>
                        <a:pt x="666" y="447"/>
                      </a:lnTo>
                      <a:lnTo>
                        <a:pt x="664" y="446"/>
                      </a:lnTo>
                      <a:lnTo>
                        <a:pt x="661" y="444"/>
                      </a:lnTo>
                      <a:lnTo>
                        <a:pt x="657" y="441"/>
                      </a:lnTo>
                      <a:lnTo>
                        <a:pt x="653" y="438"/>
                      </a:lnTo>
                      <a:lnTo>
                        <a:pt x="650" y="434"/>
                      </a:lnTo>
                      <a:lnTo>
                        <a:pt x="648" y="429"/>
                      </a:lnTo>
                      <a:lnTo>
                        <a:pt x="646" y="427"/>
                      </a:lnTo>
                      <a:lnTo>
                        <a:pt x="643" y="427"/>
                      </a:lnTo>
                      <a:lnTo>
                        <a:pt x="640" y="426"/>
                      </a:lnTo>
                      <a:lnTo>
                        <a:pt x="638" y="426"/>
                      </a:lnTo>
                      <a:lnTo>
                        <a:pt x="638" y="428"/>
                      </a:lnTo>
                      <a:lnTo>
                        <a:pt x="633" y="429"/>
                      </a:lnTo>
                      <a:lnTo>
                        <a:pt x="628" y="432"/>
                      </a:lnTo>
                      <a:lnTo>
                        <a:pt x="625" y="432"/>
                      </a:lnTo>
                      <a:lnTo>
                        <a:pt x="623" y="432"/>
                      </a:lnTo>
                      <a:lnTo>
                        <a:pt x="620" y="432"/>
                      </a:lnTo>
                      <a:lnTo>
                        <a:pt x="619" y="433"/>
                      </a:lnTo>
                      <a:lnTo>
                        <a:pt x="610" y="433"/>
                      </a:lnTo>
                      <a:lnTo>
                        <a:pt x="600" y="432"/>
                      </a:lnTo>
                      <a:lnTo>
                        <a:pt x="598" y="432"/>
                      </a:lnTo>
                      <a:lnTo>
                        <a:pt x="594" y="432"/>
                      </a:lnTo>
                      <a:lnTo>
                        <a:pt x="591" y="431"/>
                      </a:lnTo>
                      <a:lnTo>
                        <a:pt x="587" y="431"/>
                      </a:lnTo>
                      <a:lnTo>
                        <a:pt x="579" y="431"/>
                      </a:lnTo>
                      <a:lnTo>
                        <a:pt x="571" y="431"/>
                      </a:lnTo>
                      <a:lnTo>
                        <a:pt x="567" y="431"/>
                      </a:lnTo>
                      <a:lnTo>
                        <a:pt x="564" y="432"/>
                      </a:lnTo>
                      <a:lnTo>
                        <a:pt x="560" y="433"/>
                      </a:lnTo>
                      <a:lnTo>
                        <a:pt x="556" y="437"/>
                      </a:lnTo>
                      <a:lnTo>
                        <a:pt x="550" y="441"/>
                      </a:lnTo>
                      <a:lnTo>
                        <a:pt x="545" y="448"/>
                      </a:lnTo>
                      <a:lnTo>
                        <a:pt x="541" y="454"/>
                      </a:lnTo>
                      <a:lnTo>
                        <a:pt x="538" y="462"/>
                      </a:lnTo>
                      <a:lnTo>
                        <a:pt x="537" y="471"/>
                      </a:lnTo>
                      <a:lnTo>
                        <a:pt x="537" y="478"/>
                      </a:lnTo>
                      <a:lnTo>
                        <a:pt x="537" y="486"/>
                      </a:lnTo>
                      <a:lnTo>
                        <a:pt x="538" y="494"/>
                      </a:lnTo>
                      <a:lnTo>
                        <a:pt x="539" y="506"/>
                      </a:lnTo>
                      <a:lnTo>
                        <a:pt x="543" y="519"/>
                      </a:lnTo>
                      <a:lnTo>
                        <a:pt x="545" y="526"/>
                      </a:lnTo>
                      <a:lnTo>
                        <a:pt x="548" y="531"/>
                      </a:lnTo>
                      <a:lnTo>
                        <a:pt x="552" y="536"/>
                      </a:lnTo>
                      <a:lnTo>
                        <a:pt x="557" y="538"/>
                      </a:lnTo>
                      <a:lnTo>
                        <a:pt x="561" y="539"/>
                      </a:lnTo>
                      <a:lnTo>
                        <a:pt x="566" y="539"/>
                      </a:lnTo>
                      <a:lnTo>
                        <a:pt x="571" y="539"/>
                      </a:lnTo>
                      <a:lnTo>
                        <a:pt x="576" y="538"/>
                      </a:lnTo>
                      <a:lnTo>
                        <a:pt x="586" y="534"/>
                      </a:lnTo>
                      <a:lnTo>
                        <a:pt x="596" y="530"/>
                      </a:lnTo>
                      <a:lnTo>
                        <a:pt x="613" y="517"/>
                      </a:lnTo>
                      <a:lnTo>
                        <a:pt x="631" y="507"/>
                      </a:lnTo>
                      <a:lnTo>
                        <a:pt x="640" y="505"/>
                      </a:lnTo>
                      <a:lnTo>
                        <a:pt x="647" y="504"/>
                      </a:lnTo>
                      <a:lnTo>
                        <a:pt x="655" y="506"/>
                      </a:lnTo>
                      <a:lnTo>
                        <a:pt x="664" y="508"/>
                      </a:lnTo>
                      <a:lnTo>
                        <a:pt x="670" y="512"/>
                      </a:lnTo>
                      <a:lnTo>
                        <a:pt x="674" y="517"/>
                      </a:lnTo>
                      <a:lnTo>
                        <a:pt x="678" y="519"/>
                      </a:lnTo>
                      <a:lnTo>
                        <a:pt x="680" y="521"/>
                      </a:lnTo>
                      <a:lnTo>
                        <a:pt x="684" y="523"/>
                      </a:lnTo>
                      <a:lnTo>
                        <a:pt x="687" y="523"/>
                      </a:lnTo>
                      <a:lnTo>
                        <a:pt x="691" y="518"/>
                      </a:lnTo>
                      <a:lnTo>
                        <a:pt x="694" y="514"/>
                      </a:lnTo>
                      <a:lnTo>
                        <a:pt x="698" y="508"/>
                      </a:lnTo>
                      <a:lnTo>
                        <a:pt x="699" y="503"/>
                      </a:lnTo>
                      <a:lnTo>
                        <a:pt x="700" y="495"/>
                      </a:lnTo>
                      <a:lnTo>
                        <a:pt x="699" y="487"/>
                      </a:lnTo>
                      <a:lnTo>
                        <a:pt x="697" y="480"/>
                      </a:lnTo>
                      <a:lnTo>
                        <a:pt x="693" y="474"/>
                      </a:lnTo>
                      <a:lnTo>
                        <a:pt x="682" y="460"/>
                      </a:lnTo>
                      <a:close/>
                      <a:moveTo>
                        <a:pt x="714" y="471"/>
                      </a:moveTo>
                      <a:lnTo>
                        <a:pt x="711" y="461"/>
                      </a:lnTo>
                      <a:lnTo>
                        <a:pt x="705" y="447"/>
                      </a:lnTo>
                      <a:lnTo>
                        <a:pt x="702" y="441"/>
                      </a:lnTo>
                      <a:lnTo>
                        <a:pt x="700" y="434"/>
                      </a:lnTo>
                      <a:lnTo>
                        <a:pt x="700" y="429"/>
                      </a:lnTo>
                      <a:lnTo>
                        <a:pt x="701" y="425"/>
                      </a:lnTo>
                      <a:lnTo>
                        <a:pt x="705" y="426"/>
                      </a:lnTo>
                      <a:lnTo>
                        <a:pt x="708" y="426"/>
                      </a:lnTo>
                      <a:lnTo>
                        <a:pt x="713" y="419"/>
                      </a:lnTo>
                      <a:lnTo>
                        <a:pt x="715" y="412"/>
                      </a:lnTo>
                      <a:lnTo>
                        <a:pt x="718" y="405"/>
                      </a:lnTo>
                      <a:lnTo>
                        <a:pt x="718" y="398"/>
                      </a:lnTo>
                      <a:lnTo>
                        <a:pt x="719" y="381"/>
                      </a:lnTo>
                      <a:lnTo>
                        <a:pt x="721" y="365"/>
                      </a:lnTo>
                      <a:lnTo>
                        <a:pt x="739" y="360"/>
                      </a:lnTo>
                      <a:lnTo>
                        <a:pt x="754" y="356"/>
                      </a:lnTo>
                      <a:lnTo>
                        <a:pt x="766" y="353"/>
                      </a:lnTo>
                      <a:lnTo>
                        <a:pt x="775" y="347"/>
                      </a:lnTo>
                      <a:lnTo>
                        <a:pt x="780" y="345"/>
                      </a:lnTo>
                      <a:lnTo>
                        <a:pt x="784" y="340"/>
                      </a:lnTo>
                      <a:lnTo>
                        <a:pt x="787" y="335"/>
                      </a:lnTo>
                      <a:lnTo>
                        <a:pt x="791" y="329"/>
                      </a:lnTo>
                      <a:lnTo>
                        <a:pt x="798" y="315"/>
                      </a:lnTo>
                      <a:lnTo>
                        <a:pt x="805" y="295"/>
                      </a:lnTo>
                      <a:lnTo>
                        <a:pt x="825" y="295"/>
                      </a:lnTo>
                      <a:lnTo>
                        <a:pt x="841" y="295"/>
                      </a:lnTo>
                      <a:lnTo>
                        <a:pt x="849" y="295"/>
                      </a:lnTo>
                      <a:lnTo>
                        <a:pt x="855" y="294"/>
                      </a:lnTo>
                      <a:lnTo>
                        <a:pt x="862" y="292"/>
                      </a:lnTo>
                      <a:lnTo>
                        <a:pt x="867" y="289"/>
                      </a:lnTo>
                      <a:lnTo>
                        <a:pt x="873" y="287"/>
                      </a:lnTo>
                      <a:lnTo>
                        <a:pt x="876" y="282"/>
                      </a:lnTo>
                      <a:lnTo>
                        <a:pt x="880" y="277"/>
                      </a:lnTo>
                      <a:lnTo>
                        <a:pt x="883" y="270"/>
                      </a:lnTo>
                      <a:lnTo>
                        <a:pt x="886" y="263"/>
                      </a:lnTo>
                      <a:lnTo>
                        <a:pt x="887" y="254"/>
                      </a:lnTo>
                      <a:lnTo>
                        <a:pt x="888" y="243"/>
                      </a:lnTo>
                      <a:lnTo>
                        <a:pt x="888" y="231"/>
                      </a:lnTo>
                      <a:lnTo>
                        <a:pt x="908" y="227"/>
                      </a:lnTo>
                      <a:lnTo>
                        <a:pt x="926" y="221"/>
                      </a:lnTo>
                      <a:lnTo>
                        <a:pt x="935" y="217"/>
                      </a:lnTo>
                      <a:lnTo>
                        <a:pt x="945" y="213"/>
                      </a:lnTo>
                      <a:lnTo>
                        <a:pt x="953" y="208"/>
                      </a:lnTo>
                      <a:lnTo>
                        <a:pt x="962" y="201"/>
                      </a:lnTo>
                      <a:lnTo>
                        <a:pt x="972" y="193"/>
                      </a:lnTo>
                      <a:lnTo>
                        <a:pt x="980" y="180"/>
                      </a:lnTo>
                      <a:lnTo>
                        <a:pt x="989" y="165"/>
                      </a:lnTo>
                      <a:lnTo>
                        <a:pt x="999" y="151"/>
                      </a:lnTo>
                      <a:lnTo>
                        <a:pt x="1004" y="144"/>
                      </a:lnTo>
                      <a:lnTo>
                        <a:pt x="1009" y="138"/>
                      </a:lnTo>
                      <a:lnTo>
                        <a:pt x="1015" y="132"/>
                      </a:lnTo>
                      <a:lnTo>
                        <a:pt x="1021" y="128"/>
                      </a:lnTo>
                      <a:lnTo>
                        <a:pt x="1028" y="124"/>
                      </a:lnTo>
                      <a:lnTo>
                        <a:pt x="1034" y="122"/>
                      </a:lnTo>
                      <a:lnTo>
                        <a:pt x="1042" y="122"/>
                      </a:lnTo>
                      <a:lnTo>
                        <a:pt x="1049" y="122"/>
                      </a:lnTo>
                      <a:lnTo>
                        <a:pt x="1060" y="124"/>
                      </a:lnTo>
                      <a:lnTo>
                        <a:pt x="1068" y="123"/>
                      </a:lnTo>
                      <a:lnTo>
                        <a:pt x="1076" y="122"/>
                      </a:lnTo>
                      <a:lnTo>
                        <a:pt x="1082" y="118"/>
                      </a:lnTo>
                      <a:lnTo>
                        <a:pt x="1094" y="109"/>
                      </a:lnTo>
                      <a:lnTo>
                        <a:pt x="1108" y="96"/>
                      </a:lnTo>
                      <a:lnTo>
                        <a:pt x="1117" y="84"/>
                      </a:lnTo>
                      <a:lnTo>
                        <a:pt x="1131" y="64"/>
                      </a:lnTo>
                      <a:lnTo>
                        <a:pt x="1138" y="55"/>
                      </a:lnTo>
                      <a:lnTo>
                        <a:pt x="1146" y="49"/>
                      </a:lnTo>
                      <a:lnTo>
                        <a:pt x="1148" y="46"/>
                      </a:lnTo>
                      <a:lnTo>
                        <a:pt x="1150" y="45"/>
                      </a:lnTo>
                      <a:lnTo>
                        <a:pt x="1151" y="45"/>
                      </a:lnTo>
                      <a:lnTo>
                        <a:pt x="1153" y="46"/>
                      </a:lnTo>
                      <a:lnTo>
                        <a:pt x="1156" y="49"/>
                      </a:lnTo>
                      <a:lnTo>
                        <a:pt x="1160" y="52"/>
                      </a:lnTo>
                      <a:lnTo>
                        <a:pt x="1189" y="75"/>
                      </a:lnTo>
                      <a:lnTo>
                        <a:pt x="1188" y="58"/>
                      </a:lnTo>
                      <a:lnTo>
                        <a:pt x="1185" y="46"/>
                      </a:lnTo>
                      <a:lnTo>
                        <a:pt x="1183" y="39"/>
                      </a:lnTo>
                      <a:lnTo>
                        <a:pt x="1182" y="33"/>
                      </a:lnTo>
                      <a:lnTo>
                        <a:pt x="1182" y="31"/>
                      </a:lnTo>
                      <a:lnTo>
                        <a:pt x="1183" y="30"/>
                      </a:lnTo>
                      <a:lnTo>
                        <a:pt x="1185" y="28"/>
                      </a:lnTo>
                      <a:lnTo>
                        <a:pt x="1189" y="25"/>
                      </a:lnTo>
                      <a:lnTo>
                        <a:pt x="1200" y="18"/>
                      </a:lnTo>
                      <a:lnTo>
                        <a:pt x="1217" y="9"/>
                      </a:lnTo>
                      <a:lnTo>
                        <a:pt x="1225" y="4"/>
                      </a:lnTo>
                      <a:lnTo>
                        <a:pt x="1231" y="2"/>
                      </a:lnTo>
                      <a:lnTo>
                        <a:pt x="1236" y="0"/>
                      </a:lnTo>
                      <a:lnTo>
                        <a:pt x="1240" y="0"/>
                      </a:lnTo>
                      <a:lnTo>
                        <a:pt x="1241" y="2"/>
                      </a:lnTo>
                      <a:lnTo>
                        <a:pt x="1241" y="4"/>
                      </a:lnTo>
                      <a:lnTo>
                        <a:pt x="1241" y="7"/>
                      </a:lnTo>
                      <a:lnTo>
                        <a:pt x="1240" y="12"/>
                      </a:lnTo>
                      <a:lnTo>
                        <a:pt x="1229" y="33"/>
                      </a:lnTo>
                      <a:lnTo>
                        <a:pt x="1218" y="55"/>
                      </a:lnTo>
                      <a:lnTo>
                        <a:pt x="1214" y="71"/>
                      </a:lnTo>
                      <a:lnTo>
                        <a:pt x="1213" y="79"/>
                      </a:lnTo>
                      <a:lnTo>
                        <a:pt x="1213" y="81"/>
                      </a:lnTo>
                      <a:lnTo>
                        <a:pt x="1214" y="81"/>
                      </a:lnTo>
                      <a:lnTo>
                        <a:pt x="1216" y="81"/>
                      </a:lnTo>
                      <a:lnTo>
                        <a:pt x="1218" y="78"/>
                      </a:lnTo>
                      <a:lnTo>
                        <a:pt x="1227" y="73"/>
                      </a:lnTo>
                      <a:lnTo>
                        <a:pt x="1236" y="68"/>
                      </a:lnTo>
                      <a:lnTo>
                        <a:pt x="1242" y="65"/>
                      </a:lnTo>
                      <a:lnTo>
                        <a:pt x="1248" y="63"/>
                      </a:lnTo>
                      <a:lnTo>
                        <a:pt x="1254" y="62"/>
                      </a:lnTo>
                      <a:lnTo>
                        <a:pt x="1261" y="62"/>
                      </a:lnTo>
                      <a:lnTo>
                        <a:pt x="1272" y="62"/>
                      </a:lnTo>
                      <a:lnTo>
                        <a:pt x="1282" y="61"/>
                      </a:lnTo>
                      <a:lnTo>
                        <a:pt x="1289" y="59"/>
                      </a:lnTo>
                      <a:lnTo>
                        <a:pt x="1296" y="58"/>
                      </a:lnTo>
                      <a:lnTo>
                        <a:pt x="1310" y="53"/>
                      </a:lnTo>
                      <a:lnTo>
                        <a:pt x="1330" y="45"/>
                      </a:lnTo>
                      <a:lnTo>
                        <a:pt x="1338" y="43"/>
                      </a:lnTo>
                      <a:lnTo>
                        <a:pt x="1344" y="42"/>
                      </a:lnTo>
                      <a:lnTo>
                        <a:pt x="1349" y="44"/>
                      </a:lnTo>
                      <a:lnTo>
                        <a:pt x="1352" y="46"/>
                      </a:lnTo>
                      <a:lnTo>
                        <a:pt x="1354" y="51"/>
                      </a:lnTo>
                      <a:lnTo>
                        <a:pt x="1354" y="57"/>
                      </a:lnTo>
                      <a:lnTo>
                        <a:pt x="1352" y="64"/>
                      </a:lnTo>
                      <a:lnTo>
                        <a:pt x="1350" y="71"/>
                      </a:lnTo>
                      <a:lnTo>
                        <a:pt x="1346" y="78"/>
                      </a:lnTo>
                      <a:lnTo>
                        <a:pt x="1342" y="85"/>
                      </a:lnTo>
                      <a:lnTo>
                        <a:pt x="1336" y="92"/>
                      </a:lnTo>
                      <a:lnTo>
                        <a:pt x="1329" y="99"/>
                      </a:lnTo>
                      <a:lnTo>
                        <a:pt x="1322" y="105"/>
                      </a:lnTo>
                      <a:lnTo>
                        <a:pt x="1314" y="110"/>
                      </a:lnTo>
                      <a:lnTo>
                        <a:pt x="1304" y="112"/>
                      </a:lnTo>
                      <a:lnTo>
                        <a:pt x="1295" y="115"/>
                      </a:lnTo>
                      <a:lnTo>
                        <a:pt x="1288" y="114"/>
                      </a:lnTo>
                      <a:lnTo>
                        <a:pt x="1281" y="112"/>
                      </a:lnTo>
                      <a:lnTo>
                        <a:pt x="1272" y="110"/>
                      </a:lnTo>
                      <a:lnTo>
                        <a:pt x="1265" y="106"/>
                      </a:lnTo>
                      <a:lnTo>
                        <a:pt x="1258" y="103"/>
                      </a:lnTo>
                      <a:lnTo>
                        <a:pt x="1250" y="101"/>
                      </a:lnTo>
                      <a:lnTo>
                        <a:pt x="1242" y="98"/>
                      </a:lnTo>
                      <a:lnTo>
                        <a:pt x="1232" y="98"/>
                      </a:lnTo>
                      <a:lnTo>
                        <a:pt x="1228" y="98"/>
                      </a:lnTo>
                      <a:lnTo>
                        <a:pt x="1223" y="98"/>
                      </a:lnTo>
                      <a:lnTo>
                        <a:pt x="1221" y="99"/>
                      </a:lnTo>
                      <a:lnTo>
                        <a:pt x="1218" y="101"/>
                      </a:lnTo>
                      <a:lnTo>
                        <a:pt x="1216" y="104"/>
                      </a:lnTo>
                      <a:lnTo>
                        <a:pt x="1217" y="109"/>
                      </a:lnTo>
                      <a:lnTo>
                        <a:pt x="1217" y="114"/>
                      </a:lnTo>
                      <a:lnTo>
                        <a:pt x="1217" y="118"/>
                      </a:lnTo>
                      <a:lnTo>
                        <a:pt x="1216" y="121"/>
                      </a:lnTo>
                      <a:lnTo>
                        <a:pt x="1215" y="123"/>
                      </a:lnTo>
                      <a:lnTo>
                        <a:pt x="1213" y="124"/>
                      </a:lnTo>
                      <a:lnTo>
                        <a:pt x="1210" y="127"/>
                      </a:lnTo>
                      <a:lnTo>
                        <a:pt x="1196" y="131"/>
                      </a:lnTo>
                      <a:lnTo>
                        <a:pt x="1193" y="132"/>
                      </a:lnTo>
                      <a:lnTo>
                        <a:pt x="1196" y="137"/>
                      </a:lnTo>
                      <a:lnTo>
                        <a:pt x="1201" y="151"/>
                      </a:lnTo>
                      <a:lnTo>
                        <a:pt x="1202" y="157"/>
                      </a:lnTo>
                      <a:lnTo>
                        <a:pt x="1202" y="162"/>
                      </a:lnTo>
                      <a:lnTo>
                        <a:pt x="1201" y="168"/>
                      </a:lnTo>
                      <a:lnTo>
                        <a:pt x="1200" y="172"/>
                      </a:lnTo>
                      <a:lnTo>
                        <a:pt x="1195" y="182"/>
                      </a:lnTo>
                      <a:lnTo>
                        <a:pt x="1187" y="191"/>
                      </a:lnTo>
                      <a:lnTo>
                        <a:pt x="1178" y="200"/>
                      </a:lnTo>
                      <a:lnTo>
                        <a:pt x="1168" y="207"/>
                      </a:lnTo>
                      <a:lnTo>
                        <a:pt x="1157" y="214"/>
                      </a:lnTo>
                      <a:lnTo>
                        <a:pt x="1147" y="220"/>
                      </a:lnTo>
                      <a:lnTo>
                        <a:pt x="1136" y="224"/>
                      </a:lnTo>
                      <a:lnTo>
                        <a:pt x="1126" y="227"/>
                      </a:lnTo>
                      <a:lnTo>
                        <a:pt x="1114" y="228"/>
                      </a:lnTo>
                      <a:lnTo>
                        <a:pt x="1103" y="228"/>
                      </a:lnTo>
                      <a:lnTo>
                        <a:pt x="1094" y="228"/>
                      </a:lnTo>
                      <a:lnTo>
                        <a:pt x="1083" y="228"/>
                      </a:lnTo>
                      <a:lnTo>
                        <a:pt x="1073" y="230"/>
                      </a:lnTo>
                      <a:lnTo>
                        <a:pt x="1063" y="233"/>
                      </a:lnTo>
                      <a:lnTo>
                        <a:pt x="1057" y="236"/>
                      </a:lnTo>
                      <a:lnTo>
                        <a:pt x="1052" y="242"/>
                      </a:lnTo>
                      <a:lnTo>
                        <a:pt x="1046" y="249"/>
                      </a:lnTo>
                      <a:lnTo>
                        <a:pt x="1039" y="257"/>
                      </a:lnTo>
                      <a:lnTo>
                        <a:pt x="1026" y="274"/>
                      </a:lnTo>
                      <a:lnTo>
                        <a:pt x="1014" y="288"/>
                      </a:lnTo>
                      <a:lnTo>
                        <a:pt x="1008" y="292"/>
                      </a:lnTo>
                      <a:lnTo>
                        <a:pt x="1001" y="294"/>
                      </a:lnTo>
                      <a:lnTo>
                        <a:pt x="994" y="295"/>
                      </a:lnTo>
                      <a:lnTo>
                        <a:pt x="987" y="295"/>
                      </a:lnTo>
                      <a:lnTo>
                        <a:pt x="972" y="295"/>
                      </a:lnTo>
                      <a:lnTo>
                        <a:pt x="956" y="294"/>
                      </a:lnTo>
                      <a:lnTo>
                        <a:pt x="950" y="294"/>
                      </a:lnTo>
                      <a:lnTo>
                        <a:pt x="945" y="294"/>
                      </a:lnTo>
                      <a:lnTo>
                        <a:pt x="940" y="296"/>
                      </a:lnTo>
                      <a:lnTo>
                        <a:pt x="936" y="300"/>
                      </a:lnTo>
                      <a:lnTo>
                        <a:pt x="934" y="306"/>
                      </a:lnTo>
                      <a:lnTo>
                        <a:pt x="934" y="313"/>
                      </a:lnTo>
                      <a:lnTo>
                        <a:pt x="935" y="322"/>
                      </a:lnTo>
                      <a:lnTo>
                        <a:pt x="938" y="334"/>
                      </a:lnTo>
                      <a:lnTo>
                        <a:pt x="941" y="346"/>
                      </a:lnTo>
                      <a:lnTo>
                        <a:pt x="943" y="356"/>
                      </a:lnTo>
                      <a:lnTo>
                        <a:pt x="945" y="366"/>
                      </a:lnTo>
                      <a:lnTo>
                        <a:pt x="945" y="375"/>
                      </a:lnTo>
                      <a:lnTo>
                        <a:pt x="943" y="383"/>
                      </a:lnTo>
                      <a:lnTo>
                        <a:pt x="942" y="391"/>
                      </a:lnTo>
                      <a:lnTo>
                        <a:pt x="940" y="398"/>
                      </a:lnTo>
                      <a:lnTo>
                        <a:pt x="936" y="404"/>
                      </a:lnTo>
                      <a:lnTo>
                        <a:pt x="932" y="408"/>
                      </a:lnTo>
                      <a:lnTo>
                        <a:pt x="926" y="413"/>
                      </a:lnTo>
                      <a:lnTo>
                        <a:pt x="919" y="416"/>
                      </a:lnTo>
                      <a:lnTo>
                        <a:pt x="910" y="419"/>
                      </a:lnTo>
                      <a:lnTo>
                        <a:pt x="902" y="421"/>
                      </a:lnTo>
                      <a:lnTo>
                        <a:pt x="893" y="422"/>
                      </a:lnTo>
                      <a:lnTo>
                        <a:pt x="882" y="424"/>
                      </a:lnTo>
                      <a:lnTo>
                        <a:pt x="871" y="424"/>
                      </a:lnTo>
                      <a:lnTo>
                        <a:pt x="867" y="425"/>
                      </a:lnTo>
                      <a:lnTo>
                        <a:pt x="863" y="427"/>
                      </a:lnTo>
                      <a:lnTo>
                        <a:pt x="860" y="429"/>
                      </a:lnTo>
                      <a:lnTo>
                        <a:pt x="856" y="433"/>
                      </a:lnTo>
                      <a:lnTo>
                        <a:pt x="848" y="442"/>
                      </a:lnTo>
                      <a:lnTo>
                        <a:pt x="840" y="453"/>
                      </a:lnTo>
                      <a:lnTo>
                        <a:pt x="824" y="477"/>
                      </a:lnTo>
                      <a:lnTo>
                        <a:pt x="811" y="492"/>
                      </a:lnTo>
                      <a:lnTo>
                        <a:pt x="808" y="494"/>
                      </a:lnTo>
                      <a:lnTo>
                        <a:pt x="804" y="497"/>
                      </a:lnTo>
                      <a:lnTo>
                        <a:pt x="799" y="499"/>
                      </a:lnTo>
                      <a:lnTo>
                        <a:pt x="793" y="500"/>
                      </a:lnTo>
                      <a:lnTo>
                        <a:pt x="780" y="503"/>
                      </a:lnTo>
                      <a:lnTo>
                        <a:pt x="767" y="503"/>
                      </a:lnTo>
                      <a:lnTo>
                        <a:pt x="754" y="501"/>
                      </a:lnTo>
                      <a:lnTo>
                        <a:pt x="742" y="498"/>
                      </a:lnTo>
                      <a:lnTo>
                        <a:pt x="737" y="495"/>
                      </a:lnTo>
                      <a:lnTo>
                        <a:pt x="733" y="493"/>
                      </a:lnTo>
                      <a:lnTo>
                        <a:pt x="729" y="490"/>
                      </a:lnTo>
                      <a:lnTo>
                        <a:pt x="726" y="486"/>
                      </a:lnTo>
                      <a:lnTo>
                        <a:pt x="714" y="471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3949E163-54D9-4CD4-B97A-C81429A2AF1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9838680" y="3296120"/>
                  <a:ext cx="867001" cy="595664"/>
                </a:xfrm>
                <a:custGeom>
                  <a:avLst/>
                  <a:gdLst>
                    <a:gd name="T0" fmla="*/ 2399 w 3537"/>
                    <a:gd name="T1" fmla="*/ 301 h 2430"/>
                    <a:gd name="T2" fmla="*/ 2395 w 3537"/>
                    <a:gd name="T3" fmla="*/ 399 h 2430"/>
                    <a:gd name="T4" fmla="*/ 2368 w 3537"/>
                    <a:gd name="T5" fmla="*/ 378 h 2430"/>
                    <a:gd name="T6" fmla="*/ 2809 w 3537"/>
                    <a:gd name="T7" fmla="*/ 532 h 2430"/>
                    <a:gd name="T8" fmla="*/ 2830 w 3537"/>
                    <a:gd name="T9" fmla="*/ 543 h 2430"/>
                    <a:gd name="T10" fmla="*/ 1692 w 3537"/>
                    <a:gd name="T11" fmla="*/ 135 h 2430"/>
                    <a:gd name="T12" fmla="*/ 1872 w 3537"/>
                    <a:gd name="T13" fmla="*/ 9 h 2430"/>
                    <a:gd name="T14" fmla="*/ 1948 w 3537"/>
                    <a:gd name="T15" fmla="*/ 17 h 2430"/>
                    <a:gd name="T16" fmla="*/ 1850 w 3537"/>
                    <a:gd name="T17" fmla="*/ 217 h 2430"/>
                    <a:gd name="T18" fmla="*/ 1725 w 3537"/>
                    <a:gd name="T19" fmla="*/ 360 h 2430"/>
                    <a:gd name="T20" fmla="*/ 1598 w 3537"/>
                    <a:gd name="T21" fmla="*/ 239 h 2430"/>
                    <a:gd name="T22" fmla="*/ 2172 w 3537"/>
                    <a:gd name="T23" fmla="*/ 538 h 2430"/>
                    <a:gd name="T24" fmla="*/ 2055 w 3537"/>
                    <a:gd name="T25" fmla="*/ 529 h 2430"/>
                    <a:gd name="T26" fmla="*/ 1932 w 3537"/>
                    <a:gd name="T27" fmla="*/ 622 h 2430"/>
                    <a:gd name="T28" fmla="*/ 1878 w 3537"/>
                    <a:gd name="T29" fmla="*/ 713 h 2430"/>
                    <a:gd name="T30" fmla="*/ 1802 w 3537"/>
                    <a:gd name="T31" fmla="*/ 796 h 2430"/>
                    <a:gd name="T32" fmla="*/ 1755 w 3537"/>
                    <a:gd name="T33" fmla="*/ 690 h 2430"/>
                    <a:gd name="T34" fmla="*/ 1639 w 3537"/>
                    <a:gd name="T35" fmla="*/ 580 h 2430"/>
                    <a:gd name="T36" fmla="*/ 1569 w 3537"/>
                    <a:gd name="T37" fmla="*/ 495 h 2430"/>
                    <a:gd name="T38" fmla="*/ 1435 w 3537"/>
                    <a:gd name="T39" fmla="*/ 345 h 2430"/>
                    <a:gd name="T40" fmla="*/ 1361 w 3537"/>
                    <a:gd name="T41" fmla="*/ 284 h 2430"/>
                    <a:gd name="T42" fmla="*/ 1348 w 3537"/>
                    <a:gd name="T43" fmla="*/ 220 h 2430"/>
                    <a:gd name="T44" fmla="*/ 1212 w 3537"/>
                    <a:gd name="T45" fmla="*/ 171 h 2430"/>
                    <a:gd name="T46" fmla="*/ 927 w 3537"/>
                    <a:gd name="T47" fmla="*/ 217 h 2430"/>
                    <a:gd name="T48" fmla="*/ 860 w 3537"/>
                    <a:gd name="T49" fmla="*/ 313 h 2430"/>
                    <a:gd name="T50" fmla="*/ 836 w 3537"/>
                    <a:gd name="T51" fmla="*/ 796 h 2430"/>
                    <a:gd name="T52" fmla="*/ 738 w 3537"/>
                    <a:gd name="T53" fmla="*/ 925 h 2430"/>
                    <a:gd name="T54" fmla="*/ 734 w 3537"/>
                    <a:gd name="T55" fmla="*/ 1006 h 2430"/>
                    <a:gd name="T56" fmla="*/ 571 w 3537"/>
                    <a:gd name="T57" fmla="*/ 1048 h 2430"/>
                    <a:gd name="T58" fmla="*/ 474 w 3537"/>
                    <a:gd name="T59" fmla="*/ 1115 h 2430"/>
                    <a:gd name="T60" fmla="*/ 300 w 3537"/>
                    <a:gd name="T61" fmla="*/ 1150 h 2430"/>
                    <a:gd name="T62" fmla="*/ 3 w 3537"/>
                    <a:gd name="T63" fmla="*/ 1573 h 2430"/>
                    <a:gd name="T64" fmla="*/ 21 w 3537"/>
                    <a:gd name="T65" fmla="*/ 1675 h 2430"/>
                    <a:gd name="T66" fmla="*/ 2865 w 3537"/>
                    <a:gd name="T67" fmla="*/ 872 h 2430"/>
                    <a:gd name="T68" fmla="*/ 2776 w 3537"/>
                    <a:gd name="T69" fmla="*/ 705 h 2430"/>
                    <a:gd name="T70" fmla="*/ 2777 w 3537"/>
                    <a:gd name="T71" fmla="*/ 648 h 2430"/>
                    <a:gd name="T72" fmla="*/ 2802 w 3537"/>
                    <a:gd name="T73" fmla="*/ 607 h 2430"/>
                    <a:gd name="T74" fmla="*/ 2696 w 3537"/>
                    <a:gd name="T75" fmla="*/ 662 h 2430"/>
                    <a:gd name="T76" fmla="*/ 2605 w 3537"/>
                    <a:gd name="T77" fmla="*/ 733 h 2430"/>
                    <a:gd name="T78" fmla="*/ 2676 w 3537"/>
                    <a:gd name="T79" fmla="*/ 771 h 2430"/>
                    <a:gd name="T80" fmla="*/ 2570 w 3537"/>
                    <a:gd name="T81" fmla="*/ 742 h 2430"/>
                    <a:gd name="T82" fmla="*/ 2564 w 3537"/>
                    <a:gd name="T83" fmla="*/ 649 h 2430"/>
                    <a:gd name="T84" fmla="*/ 2513 w 3537"/>
                    <a:gd name="T85" fmla="*/ 629 h 2430"/>
                    <a:gd name="T86" fmla="*/ 2598 w 3537"/>
                    <a:gd name="T87" fmla="*/ 656 h 2430"/>
                    <a:gd name="T88" fmla="*/ 2640 w 3537"/>
                    <a:gd name="T89" fmla="*/ 637 h 2430"/>
                    <a:gd name="T90" fmla="*/ 2608 w 3537"/>
                    <a:gd name="T91" fmla="*/ 598 h 2430"/>
                    <a:gd name="T92" fmla="*/ 2678 w 3537"/>
                    <a:gd name="T93" fmla="*/ 547 h 2430"/>
                    <a:gd name="T94" fmla="*/ 2660 w 3537"/>
                    <a:gd name="T95" fmla="*/ 488 h 2430"/>
                    <a:gd name="T96" fmla="*/ 2515 w 3537"/>
                    <a:gd name="T97" fmla="*/ 574 h 2430"/>
                    <a:gd name="T98" fmla="*/ 2414 w 3537"/>
                    <a:gd name="T99" fmla="*/ 491 h 2430"/>
                    <a:gd name="T100" fmla="*/ 2303 w 3537"/>
                    <a:gd name="T101" fmla="*/ 321 h 2430"/>
                    <a:gd name="T102" fmla="*/ 2247 w 3537"/>
                    <a:gd name="T103" fmla="*/ 344 h 2430"/>
                    <a:gd name="T104" fmla="*/ 2254 w 3537"/>
                    <a:gd name="T105" fmla="*/ 444 h 2430"/>
                    <a:gd name="T106" fmla="*/ 3308 w 3537"/>
                    <a:gd name="T107" fmla="*/ 569 h 2430"/>
                    <a:gd name="T108" fmla="*/ 3425 w 3537"/>
                    <a:gd name="T109" fmla="*/ 628 h 2430"/>
                    <a:gd name="T110" fmla="*/ 3389 w 3537"/>
                    <a:gd name="T111" fmla="*/ 654 h 2430"/>
                    <a:gd name="T112" fmla="*/ 3429 w 3537"/>
                    <a:gd name="T113" fmla="*/ 663 h 2430"/>
                    <a:gd name="T114" fmla="*/ 3496 w 3537"/>
                    <a:gd name="T115" fmla="*/ 674 h 2430"/>
                    <a:gd name="T116" fmla="*/ 3527 w 3537"/>
                    <a:gd name="T117" fmla="*/ 779 h 2430"/>
                    <a:gd name="T118" fmla="*/ 3398 w 3537"/>
                    <a:gd name="T119" fmla="*/ 940 h 2430"/>
                    <a:gd name="T120" fmla="*/ 3316 w 3537"/>
                    <a:gd name="T121" fmla="*/ 980 h 2430"/>
                    <a:gd name="T122" fmla="*/ 3215 w 3537"/>
                    <a:gd name="T123" fmla="*/ 788 h 2430"/>
                    <a:gd name="T124" fmla="*/ 3234 w 3537"/>
                    <a:gd name="T125" fmla="*/ 667 h 24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37" h="2430">
                      <a:moveTo>
                        <a:pt x="2335" y="364"/>
                      </a:moveTo>
                      <a:lnTo>
                        <a:pt x="2343" y="358"/>
                      </a:lnTo>
                      <a:lnTo>
                        <a:pt x="2352" y="352"/>
                      </a:lnTo>
                      <a:lnTo>
                        <a:pt x="2359" y="346"/>
                      </a:lnTo>
                      <a:lnTo>
                        <a:pt x="2363" y="338"/>
                      </a:lnTo>
                      <a:lnTo>
                        <a:pt x="2369" y="325"/>
                      </a:lnTo>
                      <a:lnTo>
                        <a:pt x="2375" y="313"/>
                      </a:lnTo>
                      <a:lnTo>
                        <a:pt x="2383" y="303"/>
                      </a:lnTo>
                      <a:lnTo>
                        <a:pt x="2390" y="292"/>
                      </a:lnTo>
                      <a:lnTo>
                        <a:pt x="2393" y="292"/>
                      </a:lnTo>
                      <a:lnTo>
                        <a:pt x="2395" y="293"/>
                      </a:lnTo>
                      <a:lnTo>
                        <a:pt x="2399" y="301"/>
                      </a:lnTo>
                      <a:lnTo>
                        <a:pt x="2403" y="311"/>
                      </a:lnTo>
                      <a:lnTo>
                        <a:pt x="2407" y="320"/>
                      </a:lnTo>
                      <a:lnTo>
                        <a:pt x="2407" y="331"/>
                      </a:lnTo>
                      <a:lnTo>
                        <a:pt x="2408" y="342"/>
                      </a:lnTo>
                      <a:lnTo>
                        <a:pt x="2409" y="352"/>
                      </a:lnTo>
                      <a:lnTo>
                        <a:pt x="2409" y="358"/>
                      </a:lnTo>
                      <a:lnTo>
                        <a:pt x="2409" y="365"/>
                      </a:lnTo>
                      <a:lnTo>
                        <a:pt x="2407" y="372"/>
                      </a:lnTo>
                      <a:lnTo>
                        <a:pt x="2404" y="379"/>
                      </a:lnTo>
                      <a:lnTo>
                        <a:pt x="2402" y="386"/>
                      </a:lnTo>
                      <a:lnTo>
                        <a:pt x="2399" y="393"/>
                      </a:lnTo>
                      <a:lnTo>
                        <a:pt x="2395" y="399"/>
                      </a:lnTo>
                      <a:lnTo>
                        <a:pt x="2390" y="404"/>
                      </a:lnTo>
                      <a:lnTo>
                        <a:pt x="2388" y="406"/>
                      </a:lnTo>
                      <a:lnTo>
                        <a:pt x="2386" y="408"/>
                      </a:lnTo>
                      <a:lnTo>
                        <a:pt x="2383" y="408"/>
                      </a:lnTo>
                      <a:lnTo>
                        <a:pt x="2381" y="408"/>
                      </a:lnTo>
                      <a:lnTo>
                        <a:pt x="2379" y="406"/>
                      </a:lnTo>
                      <a:lnTo>
                        <a:pt x="2376" y="405"/>
                      </a:lnTo>
                      <a:lnTo>
                        <a:pt x="2374" y="403"/>
                      </a:lnTo>
                      <a:lnTo>
                        <a:pt x="2373" y="400"/>
                      </a:lnTo>
                      <a:lnTo>
                        <a:pt x="2372" y="392"/>
                      </a:lnTo>
                      <a:lnTo>
                        <a:pt x="2370" y="383"/>
                      </a:lnTo>
                      <a:lnTo>
                        <a:pt x="2368" y="378"/>
                      </a:lnTo>
                      <a:lnTo>
                        <a:pt x="2366" y="373"/>
                      </a:lnTo>
                      <a:lnTo>
                        <a:pt x="2363" y="373"/>
                      </a:lnTo>
                      <a:lnTo>
                        <a:pt x="2360" y="373"/>
                      </a:lnTo>
                      <a:lnTo>
                        <a:pt x="2354" y="373"/>
                      </a:lnTo>
                      <a:lnTo>
                        <a:pt x="2348" y="372"/>
                      </a:lnTo>
                      <a:lnTo>
                        <a:pt x="2342" y="371"/>
                      </a:lnTo>
                      <a:lnTo>
                        <a:pt x="2335" y="364"/>
                      </a:lnTo>
                      <a:close/>
                      <a:moveTo>
                        <a:pt x="2833" y="527"/>
                      </a:moveTo>
                      <a:lnTo>
                        <a:pt x="2829" y="528"/>
                      </a:lnTo>
                      <a:lnTo>
                        <a:pt x="2824" y="528"/>
                      </a:lnTo>
                      <a:lnTo>
                        <a:pt x="2816" y="530"/>
                      </a:lnTo>
                      <a:lnTo>
                        <a:pt x="2809" y="532"/>
                      </a:lnTo>
                      <a:lnTo>
                        <a:pt x="2803" y="535"/>
                      </a:lnTo>
                      <a:lnTo>
                        <a:pt x="2798" y="537"/>
                      </a:lnTo>
                      <a:lnTo>
                        <a:pt x="2796" y="540"/>
                      </a:lnTo>
                      <a:lnTo>
                        <a:pt x="2795" y="541"/>
                      </a:lnTo>
                      <a:lnTo>
                        <a:pt x="2793" y="543"/>
                      </a:lnTo>
                      <a:lnTo>
                        <a:pt x="2793" y="547"/>
                      </a:lnTo>
                      <a:lnTo>
                        <a:pt x="2795" y="548"/>
                      </a:lnTo>
                      <a:lnTo>
                        <a:pt x="2798" y="549"/>
                      </a:lnTo>
                      <a:lnTo>
                        <a:pt x="2803" y="550"/>
                      </a:lnTo>
                      <a:lnTo>
                        <a:pt x="2805" y="550"/>
                      </a:lnTo>
                      <a:lnTo>
                        <a:pt x="2818" y="548"/>
                      </a:lnTo>
                      <a:lnTo>
                        <a:pt x="2830" y="543"/>
                      </a:lnTo>
                      <a:lnTo>
                        <a:pt x="2836" y="541"/>
                      </a:lnTo>
                      <a:lnTo>
                        <a:pt x="2840" y="540"/>
                      </a:lnTo>
                      <a:lnTo>
                        <a:pt x="2844" y="537"/>
                      </a:lnTo>
                      <a:lnTo>
                        <a:pt x="2846" y="535"/>
                      </a:lnTo>
                      <a:lnTo>
                        <a:pt x="2846" y="532"/>
                      </a:lnTo>
                      <a:lnTo>
                        <a:pt x="2846" y="528"/>
                      </a:lnTo>
                      <a:lnTo>
                        <a:pt x="2845" y="527"/>
                      </a:lnTo>
                      <a:lnTo>
                        <a:pt x="2844" y="527"/>
                      </a:lnTo>
                      <a:lnTo>
                        <a:pt x="2833" y="527"/>
                      </a:lnTo>
                      <a:close/>
                      <a:moveTo>
                        <a:pt x="1675" y="143"/>
                      </a:moveTo>
                      <a:lnTo>
                        <a:pt x="1683" y="140"/>
                      </a:lnTo>
                      <a:lnTo>
                        <a:pt x="1692" y="135"/>
                      </a:lnTo>
                      <a:lnTo>
                        <a:pt x="1703" y="128"/>
                      </a:lnTo>
                      <a:lnTo>
                        <a:pt x="1713" y="121"/>
                      </a:lnTo>
                      <a:lnTo>
                        <a:pt x="1733" y="105"/>
                      </a:lnTo>
                      <a:lnTo>
                        <a:pt x="1749" y="90"/>
                      </a:lnTo>
                      <a:lnTo>
                        <a:pt x="1762" y="79"/>
                      </a:lnTo>
                      <a:lnTo>
                        <a:pt x="1773" y="68"/>
                      </a:lnTo>
                      <a:lnTo>
                        <a:pt x="1786" y="59"/>
                      </a:lnTo>
                      <a:lnTo>
                        <a:pt x="1799" y="49"/>
                      </a:lnTo>
                      <a:lnTo>
                        <a:pt x="1825" y="32"/>
                      </a:lnTo>
                      <a:lnTo>
                        <a:pt x="1853" y="16"/>
                      </a:lnTo>
                      <a:lnTo>
                        <a:pt x="1860" y="13"/>
                      </a:lnTo>
                      <a:lnTo>
                        <a:pt x="1872" y="9"/>
                      </a:lnTo>
                      <a:lnTo>
                        <a:pt x="1886" y="6"/>
                      </a:lnTo>
                      <a:lnTo>
                        <a:pt x="1901" y="3"/>
                      </a:lnTo>
                      <a:lnTo>
                        <a:pt x="1917" y="1"/>
                      </a:lnTo>
                      <a:lnTo>
                        <a:pt x="1930" y="0"/>
                      </a:lnTo>
                      <a:lnTo>
                        <a:pt x="1934" y="0"/>
                      </a:lnTo>
                      <a:lnTo>
                        <a:pt x="1939" y="0"/>
                      </a:lnTo>
                      <a:lnTo>
                        <a:pt x="1943" y="1"/>
                      </a:lnTo>
                      <a:lnTo>
                        <a:pt x="1944" y="2"/>
                      </a:lnTo>
                      <a:lnTo>
                        <a:pt x="1946" y="4"/>
                      </a:lnTo>
                      <a:lnTo>
                        <a:pt x="1948" y="7"/>
                      </a:lnTo>
                      <a:lnTo>
                        <a:pt x="1948" y="11"/>
                      </a:lnTo>
                      <a:lnTo>
                        <a:pt x="1948" y="17"/>
                      </a:lnTo>
                      <a:lnTo>
                        <a:pt x="1946" y="32"/>
                      </a:lnTo>
                      <a:lnTo>
                        <a:pt x="1943" y="47"/>
                      </a:lnTo>
                      <a:lnTo>
                        <a:pt x="1932" y="79"/>
                      </a:lnTo>
                      <a:lnTo>
                        <a:pt x="1924" y="98"/>
                      </a:lnTo>
                      <a:lnTo>
                        <a:pt x="1913" y="119"/>
                      </a:lnTo>
                      <a:lnTo>
                        <a:pt x="1903" y="141"/>
                      </a:lnTo>
                      <a:lnTo>
                        <a:pt x="1898" y="153"/>
                      </a:lnTo>
                      <a:lnTo>
                        <a:pt x="1892" y="164"/>
                      </a:lnTo>
                      <a:lnTo>
                        <a:pt x="1885" y="174"/>
                      </a:lnTo>
                      <a:lnTo>
                        <a:pt x="1877" y="184"/>
                      </a:lnTo>
                      <a:lnTo>
                        <a:pt x="1863" y="200"/>
                      </a:lnTo>
                      <a:lnTo>
                        <a:pt x="1850" y="217"/>
                      </a:lnTo>
                      <a:lnTo>
                        <a:pt x="1837" y="234"/>
                      </a:lnTo>
                      <a:lnTo>
                        <a:pt x="1824" y="252"/>
                      </a:lnTo>
                      <a:lnTo>
                        <a:pt x="1799" y="286"/>
                      </a:lnTo>
                      <a:lnTo>
                        <a:pt x="1775" y="320"/>
                      </a:lnTo>
                      <a:lnTo>
                        <a:pt x="1764" y="336"/>
                      </a:lnTo>
                      <a:lnTo>
                        <a:pt x="1756" y="347"/>
                      </a:lnTo>
                      <a:lnTo>
                        <a:pt x="1749" y="357"/>
                      </a:lnTo>
                      <a:lnTo>
                        <a:pt x="1743" y="362"/>
                      </a:lnTo>
                      <a:lnTo>
                        <a:pt x="1739" y="363"/>
                      </a:lnTo>
                      <a:lnTo>
                        <a:pt x="1735" y="363"/>
                      </a:lnTo>
                      <a:lnTo>
                        <a:pt x="1731" y="363"/>
                      </a:lnTo>
                      <a:lnTo>
                        <a:pt x="1725" y="360"/>
                      </a:lnTo>
                      <a:lnTo>
                        <a:pt x="1713" y="354"/>
                      </a:lnTo>
                      <a:lnTo>
                        <a:pt x="1698" y="343"/>
                      </a:lnTo>
                      <a:lnTo>
                        <a:pt x="1658" y="306"/>
                      </a:lnTo>
                      <a:lnTo>
                        <a:pt x="1658" y="306"/>
                      </a:lnTo>
                      <a:lnTo>
                        <a:pt x="1650" y="298"/>
                      </a:lnTo>
                      <a:lnTo>
                        <a:pt x="1642" y="292"/>
                      </a:lnTo>
                      <a:lnTo>
                        <a:pt x="1636" y="286"/>
                      </a:lnTo>
                      <a:lnTo>
                        <a:pt x="1630" y="280"/>
                      </a:lnTo>
                      <a:lnTo>
                        <a:pt x="1621" y="268"/>
                      </a:lnTo>
                      <a:lnTo>
                        <a:pt x="1611" y="257"/>
                      </a:lnTo>
                      <a:lnTo>
                        <a:pt x="1605" y="247"/>
                      </a:lnTo>
                      <a:lnTo>
                        <a:pt x="1598" y="239"/>
                      </a:lnTo>
                      <a:lnTo>
                        <a:pt x="1598" y="234"/>
                      </a:lnTo>
                      <a:lnTo>
                        <a:pt x="1601" y="230"/>
                      </a:lnTo>
                      <a:lnTo>
                        <a:pt x="1610" y="221"/>
                      </a:lnTo>
                      <a:lnTo>
                        <a:pt x="1619" y="213"/>
                      </a:lnTo>
                      <a:lnTo>
                        <a:pt x="1624" y="207"/>
                      </a:lnTo>
                      <a:lnTo>
                        <a:pt x="1629" y="202"/>
                      </a:lnTo>
                      <a:lnTo>
                        <a:pt x="1634" y="200"/>
                      </a:lnTo>
                      <a:lnTo>
                        <a:pt x="1638" y="197"/>
                      </a:lnTo>
                      <a:lnTo>
                        <a:pt x="1675" y="143"/>
                      </a:lnTo>
                      <a:lnTo>
                        <a:pt x="1675" y="143"/>
                      </a:lnTo>
                      <a:close/>
                      <a:moveTo>
                        <a:pt x="2212" y="508"/>
                      </a:moveTo>
                      <a:lnTo>
                        <a:pt x="2172" y="538"/>
                      </a:lnTo>
                      <a:lnTo>
                        <a:pt x="2164" y="540"/>
                      </a:lnTo>
                      <a:lnTo>
                        <a:pt x="2155" y="538"/>
                      </a:lnTo>
                      <a:lnTo>
                        <a:pt x="2147" y="537"/>
                      </a:lnTo>
                      <a:lnTo>
                        <a:pt x="2139" y="536"/>
                      </a:lnTo>
                      <a:lnTo>
                        <a:pt x="2121" y="531"/>
                      </a:lnTo>
                      <a:lnTo>
                        <a:pt x="2105" y="528"/>
                      </a:lnTo>
                      <a:lnTo>
                        <a:pt x="2097" y="525"/>
                      </a:lnTo>
                      <a:lnTo>
                        <a:pt x="2087" y="524"/>
                      </a:lnTo>
                      <a:lnTo>
                        <a:pt x="2079" y="524"/>
                      </a:lnTo>
                      <a:lnTo>
                        <a:pt x="2071" y="524"/>
                      </a:lnTo>
                      <a:lnTo>
                        <a:pt x="2062" y="527"/>
                      </a:lnTo>
                      <a:lnTo>
                        <a:pt x="2055" y="529"/>
                      </a:lnTo>
                      <a:lnTo>
                        <a:pt x="2047" y="532"/>
                      </a:lnTo>
                      <a:lnTo>
                        <a:pt x="2039" y="537"/>
                      </a:lnTo>
                      <a:lnTo>
                        <a:pt x="1993" y="573"/>
                      </a:lnTo>
                      <a:lnTo>
                        <a:pt x="1985" y="577"/>
                      </a:lnTo>
                      <a:lnTo>
                        <a:pt x="1978" y="581"/>
                      </a:lnTo>
                      <a:lnTo>
                        <a:pt x="1970" y="583"/>
                      </a:lnTo>
                      <a:lnTo>
                        <a:pt x="1963" y="585"/>
                      </a:lnTo>
                      <a:lnTo>
                        <a:pt x="1954" y="589"/>
                      </a:lnTo>
                      <a:lnTo>
                        <a:pt x="1947" y="593"/>
                      </a:lnTo>
                      <a:lnTo>
                        <a:pt x="1940" y="597"/>
                      </a:lnTo>
                      <a:lnTo>
                        <a:pt x="1933" y="603"/>
                      </a:lnTo>
                      <a:lnTo>
                        <a:pt x="1932" y="622"/>
                      </a:lnTo>
                      <a:lnTo>
                        <a:pt x="1931" y="643"/>
                      </a:lnTo>
                      <a:lnTo>
                        <a:pt x="1928" y="653"/>
                      </a:lnTo>
                      <a:lnTo>
                        <a:pt x="1926" y="662"/>
                      </a:lnTo>
                      <a:lnTo>
                        <a:pt x="1924" y="672"/>
                      </a:lnTo>
                      <a:lnTo>
                        <a:pt x="1919" y="680"/>
                      </a:lnTo>
                      <a:lnTo>
                        <a:pt x="1913" y="686"/>
                      </a:lnTo>
                      <a:lnTo>
                        <a:pt x="1909" y="690"/>
                      </a:lnTo>
                      <a:lnTo>
                        <a:pt x="1901" y="694"/>
                      </a:lnTo>
                      <a:lnTo>
                        <a:pt x="1896" y="697"/>
                      </a:lnTo>
                      <a:lnTo>
                        <a:pt x="1890" y="702"/>
                      </a:lnTo>
                      <a:lnTo>
                        <a:pt x="1884" y="707"/>
                      </a:lnTo>
                      <a:lnTo>
                        <a:pt x="1878" y="713"/>
                      </a:lnTo>
                      <a:lnTo>
                        <a:pt x="1874" y="721"/>
                      </a:lnTo>
                      <a:lnTo>
                        <a:pt x="1866" y="747"/>
                      </a:lnTo>
                      <a:lnTo>
                        <a:pt x="1856" y="778"/>
                      </a:lnTo>
                      <a:lnTo>
                        <a:pt x="1852" y="783"/>
                      </a:lnTo>
                      <a:lnTo>
                        <a:pt x="1849" y="789"/>
                      </a:lnTo>
                      <a:lnTo>
                        <a:pt x="1844" y="794"/>
                      </a:lnTo>
                      <a:lnTo>
                        <a:pt x="1838" y="799"/>
                      </a:lnTo>
                      <a:lnTo>
                        <a:pt x="1832" y="801"/>
                      </a:lnTo>
                      <a:lnTo>
                        <a:pt x="1825" y="802"/>
                      </a:lnTo>
                      <a:lnTo>
                        <a:pt x="1818" y="802"/>
                      </a:lnTo>
                      <a:lnTo>
                        <a:pt x="1809" y="800"/>
                      </a:lnTo>
                      <a:lnTo>
                        <a:pt x="1802" y="796"/>
                      </a:lnTo>
                      <a:lnTo>
                        <a:pt x="1796" y="794"/>
                      </a:lnTo>
                      <a:lnTo>
                        <a:pt x="1790" y="791"/>
                      </a:lnTo>
                      <a:lnTo>
                        <a:pt x="1785" y="787"/>
                      </a:lnTo>
                      <a:lnTo>
                        <a:pt x="1777" y="779"/>
                      </a:lnTo>
                      <a:lnTo>
                        <a:pt x="1771" y="769"/>
                      </a:lnTo>
                      <a:lnTo>
                        <a:pt x="1767" y="759"/>
                      </a:lnTo>
                      <a:lnTo>
                        <a:pt x="1764" y="748"/>
                      </a:lnTo>
                      <a:lnTo>
                        <a:pt x="1763" y="738"/>
                      </a:lnTo>
                      <a:lnTo>
                        <a:pt x="1760" y="726"/>
                      </a:lnTo>
                      <a:lnTo>
                        <a:pt x="1759" y="714"/>
                      </a:lnTo>
                      <a:lnTo>
                        <a:pt x="1758" y="702"/>
                      </a:lnTo>
                      <a:lnTo>
                        <a:pt x="1755" y="690"/>
                      </a:lnTo>
                      <a:lnTo>
                        <a:pt x="1751" y="680"/>
                      </a:lnTo>
                      <a:lnTo>
                        <a:pt x="1745" y="668"/>
                      </a:lnTo>
                      <a:lnTo>
                        <a:pt x="1738" y="659"/>
                      </a:lnTo>
                      <a:lnTo>
                        <a:pt x="1733" y="654"/>
                      </a:lnTo>
                      <a:lnTo>
                        <a:pt x="1728" y="649"/>
                      </a:lnTo>
                      <a:lnTo>
                        <a:pt x="1722" y="644"/>
                      </a:lnTo>
                      <a:lnTo>
                        <a:pt x="1715" y="641"/>
                      </a:lnTo>
                      <a:lnTo>
                        <a:pt x="1697" y="631"/>
                      </a:lnTo>
                      <a:lnTo>
                        <a:pt x="1681" y="618"/>
                      </a:lnTo>
                      <a:lnTo>
                        <a:pt x="1663" y="604"/>
                      </a:lnTo>
                      <a:lnTo>
                        <a:pt x="1648" y="588"/>
                      </a:lnTo>
                      <a:lnTo>
                        <a:pt x="1639" y="580"/>
                      </a:lnTo>
                      <a:lnTo>
                        <a:pt x="1632" y="570"/>
                      </a:lnTo>
                      <a:lnTo>
                        <a:pt x="1626" y="561"/>
                      </a:lnTo>
                      <a:lnTo>
                        <a:pt x="1621" y="551"/>
                      </a:lnTo>
                      <a:lnTo>
                        <a:pt x="1616" y="542"/>
                      </a:lnTo>
                      <a:lnTo>
                        <a:pt x="1611" y="532"/>
                      </a:lnTo>
                      <a:lnTo>
                        <a:pt x="1609" y="522"/>
                      </a:lnTo>
                      <a:lnTo>
                        <a:pt x="1606" y="512"/>
                      </a:lnTo>
                      <a:lnTo>
                        <a:pt x="1604" y="509"/>
                      </a:lnTo>
                      <a:lnTo>
                        <a:pt x="1602" y="507"/>
                      </a:lnTo>
                      <a:lnTo>
                        <a:pt x="1589" y="503"/>
                      </a:lnTo>
                      <a:lnTo>
                        <a:pt x="1575" y="498"/>
                      </a:lnTo>
                      <a:lnTo>
                        <a:pt x="1569" y="495"/>
                      </a:lnTo>
                      <a:lnTo>
                        <a:pt x="1563" y="491"/>
                      </a:lnTo>
                      <a:lnTo>
                        <a:pt x="1558" y="485"/>
                      </a:lnTo>
                      <a:lnTo>
                        <a:pt x="1555" y="479"/>
                      </a:lnTo>
                      <a:lnTo>
                        <a:pt x="1525" y="438"/>
                      </a:lnTo>
                      <a:lnTo>
                        <a:pt x="1525" y="438"/>
                      </a:lnTo>
                      <a:lnTo>
                        <a:pt x="1477" y="403"/>
                      </a:lnTo>
                      <a:lnTo>
                        <a:pt x="1464" y="391"/>
                      </a:lnTo>
                      <a:lnTo>
                        <a:pt x="1451" y="377"/>
                      </a:lnTo>
                      <a:lnTo>
                        <a:pt x="1447" y="369"/>
                      </a:lnTo>
                      <a:lnTo>
                        <a:pt x="1441" y="360"/>
                      </a:lnTo>
                      <a:lnTo>
                        <a:pt x="1437" y="352"/>
                      </a:lnTo>
                      <a:lnTo>
                        <a:pt x="1435" y="345"/>
                      </a:lnTo>
                      <a:lnTo>
                        <a:pt x="1431" y="330"/>
                      </a:lnTo>
                      <a:lnTo>
                        <a:pt x="1428" y="316"/>
                      </a:lnTo>
                      <a:lnTo>
                        <a:pt x="1424" y="303"/>
                      </a:lnTo>
                      <a:lnTo>
                        <a:pt x="1418" y="290"/>
                      </a:lnTo>
                      <a:lnTo>
                        <a:pt x="1408" y="290"/>
                      </a:lnTo>
                      <a:lnTo>
                        <a:pt x="1397" y="288"/>
                      </a:lnTo>
                      <a:lnTo>
                        <a:pt x="1388" y="288"/>
                      </a:lnTo>
                      <a:lnTo>
                        <a:pt x="1377" y="288"/>
                      </a:lnTo>
                      <a:lnTo>
                        <a:pt x="1371" y="288"/>
                      </a:lnTo>
                      <a:lnTo>
                        <a:pt x="1367" y="287"/>
                      </a:lnTo>
                      <a:lnTo>
                        <a:pt x="1363" y="286"/>
                      </a:lnTo>
                      <a:lnTo>
                        <a:pt x="1361" y="284"/>
                      </a:lnTo>
                      <a:lnTo>
                        <a:pt x="1358" y="281"/>
                      </a:lnTo>
                      <a:lnTo>
                        <a:pt x="1358" y="278"/>
                      </a:lnTo>
                      <a:lnTo>
                        <a:pt x="1357" y="273"/>
                      </a:lnTo>
                      <a:lnTo>
                        <a:pt x="1357" y="267"/>
                      </a:lnTo>
                      <a:lnTo>
                        <a:pt x="1356" y="258"/>
                      </a:lnTo>
                      <a:lnTo>
                        <a:pt x="1356" y="246"/>
                      </a:lnTo>
                      <a:lnTo>
                        <a:pt x="1355" y="241"/>
                      </a:lnTo>
                      <a:lnTo>
                        <a:pt x="1354" y="235"/>
                      </a:lnTo>
                      <a:lnTo>
                        <a:pt x="1353" y="232"/>
                      </a:lnTo>
                      <a:lnTo>
                        <a:pt x="1350" y="227"/>
                      </a:lnTo>
                      <a:lnTo>
                        <a:pt x="1349" y="224"/>
                      </a:lnTo>
                      <a:lnTo>
                        <a:pt x="1348" y="220"/>
                      </a:lnTo>
                      <a:lnTo>
                        <a:pt x="1346" y="217"/>
                      </a:lnTo>
                      <a:lnTo>
                        <a:pt x="1343" y="213"/>
                      </a:lnTo>
                      <a:lnTo>
                        <a:pt x="1336" y="207"/>
                      </a:lnTo>
                      <a:lnTo>
                        <a:pt x="1328" y="201"/>
                      </a:lnTo>
                      <a:lnTo>
                        <a:pt x="1319" y="198"/>
                      </a:lnTo>
                      <a:lnTo>
                        <a:pt x="1307" y="193"/>
                      </a:lnTo>
                      <a:lnTo>
                        <a:pt x="1295" y="189"/>
                      </a:lnTo>
                      <a:lnTo>
                        <a:pt x="1283" y="187"/>
                      </a:lnTo>
                      <a:lnTo>
                        <a:pt x="1257" y="181"/>
                      </a:lnTo>
                      <a:lnTo>
                        <a:pt x="1233" y="176"/>
                      </a:lnTo>
                      <a:lnTo>
                        <a:pt x="1222" y="173"/>
                      </a:lnTo>
                      <a:lnTo>
                        <a:pt x="1212" y="171"/>
                      </a:lnTo>
                      <a:lnTo>
                        <a:pt x="1203" y="167"/>
                      </a:lnTo>
                      <a:lnTo>
                        <a:pt x="1197" y="162"/>
                      </a:lnTo>
                      <a:lnTo>
                        <a:pt x="1173" y="160"/>
                      </a:lnTo>
                      <a:lnTo>
                        <a:pt x="1150" y="159"/>
                      </a:lnTo>
                      <a:lnTo>
                        <a:pt x="1128" y="161"/>
                      </a:lnTo>
                      <a:lnTo>
                        <a:pt x="1106" y="164"/>
                      </a:lnTo>
                      <a:lnTo>
                        <a:pt x="1085" y="168"/>
                      </a:lnTo>
                      <a:lnTo>
                        <a:pt x="1062" y="175"/>
                      </a:lnTo>
                      <a:lnTo>
                        <a:pt x="1040" y="182"/>
                      </a:lnTo>
                      <a:lnTo>
                        <a:pt x="1017" y="191"/>
                      </a:lnTo>
                      <a:lnTo>
                        <a:pt x="981" y="200"/>
                      </a:lnTo>
                      <a:lnTo>
                        <a:pt x="927" y="217"/>
                      </a:lnTo>
                      <a:lnTo>
                        <a:pt x="900" y="226"/>
                      </a:lnTo>
                      <a:lnTo>
                        <a:pt x="877" y="235"/>
                      </a:lnTo>
                      <a:lnTo>
                        <a:pt x="867" y="241"/>
                      </a:lnTo>
                      <a:lnTo>
                        <a:pt x="860" y="246"/>
                      </a:lnTo>
                      <a:lnTo>
                        <a:pt x="855" y="251"/>
                      </a:lnTo>
                      <a:lnTo>
                        <a:pt x="853" y="255"/>
                      </a:lnTo>
                      <a:lnTo>
                        <a:pt x="851" y="259"/>
                      </a:lnTo>
                      <a:lnTo>
                        <a:pt x="850" y="264"/>
                      </a:lnTo>
                      <a:lnTo>
                        <a:pt x="850" y="270"/>
                      </a:lnTo>
                      <a:lnTo>
                        <a:pt x="851" y="275"/>
                      </a:lnTo>
                      <a:lnTo>
                        <a:pt x="854" y="293"/>
                      </a:lnTo>
                      <a:lnTo>
                        <a:pt x="860" y="313"/>
                      </a:lnTo>
                      <a:lnTo>
                        <a:pt x="878" y="362"/>
                      </a:lnTo>
                      <a:lnTo>
                        <a:pt x="900" y="417"/>
                      </a:lnTo>
                      <a:lnTo>
                        <a:pt x="924" y="472"/>
                      </a:lnTo>
                      <a:lnTo>
                        <a:pt x="945" y="524"/>
                      </a:lnTo>
                      <a:lnTo>
                        <a:pt x="954" y="548"/>
                      </a:lnTo>
                      <a:lnTo>
                        <a:pt x="961" y="567"/>
                      </a:lnTo>
                      <a:lnTo>
                        <a:pt x="966" y="583"/>
                      </a:lnTo>
                      <a:lnTo>
                        <a:pt x="969" y="596"/>
                      </a:lnTo>
                      <a:lnTo>
                        <a:pt x="969" y="677"/>
                      </a:lnTo>
                      <a:lnTo>
                        <a:pt x="837" y="677"/>
                      </a:lnTo>
                      <a:lnTo>
                        <a:pt x="837" y="791"/>
                      </a:lnTo>
                      <a:lnTo>
                        <a:pt x="836" y="796"/>
                      </a:lnTo>
                      <a:lnTo>
                        <a:pt x="833" y="802"/>
                      </a:lnTo>
                      <a:lnTo>
                        <a:pt x="830" y="809"/>
                      </a:lnTo>
                      <a:lnTo>
                        <a:pt x="826" y="818"/>
                      </a:lnTo>
                      <a:lnTo>
                        <a:pt x="817" y="834"/>
                      </a:lnTo>
                      <a:lnTo>
                        <a:pt x="805" y="851"/>
                      </a:lnTo>
                      <a:lnTo>
                        <a:pt x="793" y="867"/>
                      </a:lnTo>
                      <a:lnTo>
                        <a:pt x="780" y="881"/>
                      </a:lnTo>
                      <a:lnTo>
                        <a:pt x="769" y="894"/>
                      </a:lnTo>
                      <a:lnTo>
                        <a:pt x="759" y="904"/>
                      </a:lnTo>
                      <a:lnTo>
                        <a:pt x="750" y="911"/>
                      </a:lnTo>
                      <a:lnTo>
                        <a:pt x="743" y="919"/>
                      </a:lnTo>
                      <a:lnTo>
                        <a:pt x="738" y="925"/>
                      </a:lnTo>
                      <a:lnTo>
                        <a:pt x="736" y="931"/>
                      </a:lnTo>
                      <a:lnTo>
                        <a:pt x="733" y="937"/>
                      </a:lnTo>
                      <a:lnTo>
                        <a:pt x="733" y="943"/>
                      </a:lnTo>
                      <a:lnTo>
                        <a:pt x="734" y="947"/>
                      </a:lnTo>
                      <a:lnTo>
                        <a:pt x="737" y="953"/>
                      </a:lnTo>
                      <a:lnTo>
                        <a:pt x="741" y="963"/>
                      </a:lnTo>
                      <a:lnTo>
                        <a:pt x="745" y="973"/>
                      </a:lnTo>
                      <a:lnTo>
                        <a:pt x="746" y="980"/>
                      </a:lnTo>
                      <a:lnTo>
                        <a:pt x="747" y="986"/>
                      </a:lnTo>
                      <a:lnTo>
                        <a:pt x="746" y="993"/>
                      </a:lnTo>
                      <a:lnTo>
                        <a:pt x="744" y="1002"/>
                      </a:lnTo>
                      <a:lnTo>
                        <a:pt x="734" y="1006"/>
                      </a:lnTo>
                      <a:lnTo>
                        <a:pt x="722" y="1012"/>
                      </a:lnTo>
                      <a:lnTo>
                        <a:pt x="709" y="1017"/>
                      </a:lnTo>
                      <a:lnTo>
                        <a:pt x="694" y="1022"/>
                      </a:lnTo>
                      <a:lnTo>
                        <a:pt x="680" y="1025"/>
                      </a:lnTo>
                      <a:lnTo>
                        <a:pt x="666" y="1029"/>
                      </a:lnTo>
                      <a:lnTo>
                        <a:pt x="653" y="1031"/>
                      </a:lnTo>
                      <a:lnTo>
                        <a:pt x="642" y="1031"/>
                      </a:lnTo>
                      <a:lnTo>
                        <a:pt x="627" y="1032"/>
                      </a:lnTo>
                      <a:lnTo>
                        <a:pt x="613" y="1035"/>
                      </a:lnTo>
                      <a:lnTo>
                        <a:pt x="599" y="1038"/>
                      </a:lnTo>
                      <a:lnTo>
                        <a:pt x="585" y="1043"/>
                      </a:lnTo>
                      <a:lnTo>
                        <a:pt x="571" y="1048"/>
                      </a:lnTo>
                      <a:lnTo>
                        <a:pt x="556" y="1052"/>
                      </a:lnTo>
                      <a:lnTo>
                        <a:pt x="542" y="1056"/>
                      </a:lnTo>
                      <a:lnTo>
                        <a:pt x="528" y="1059"/>
                      </a:lnTo>
                      <a:lnTo>
                        <a:pt x="518" y="1060"/>
                      </a:lnTo>
                      <a:lnTo>
                        <a:pt x="510" y="1064"/>
                      </a:lnTo>
                      <a:lnTo>
                        <a:pt x="502" y="1068"/>
                      </a:lnTo>
                      <a:lnTo>
                        <a:pt x="496" y="1072"/>
                      </a:lnTo>
                      <a:lnTo>
                        <a:pt x="491" y="1079"/>
                      </a:lnTo>
                      <a:lnTo>
                        <a:pt x="486" y="1085"/>
                      </a:lnTo>
                      <a:lnTo>
                        <a:pt x="482" y="1093"/>
                      </a:lnTo>
                      <a:lnTo>
                        <a:pt x="478" y="1102"/>
                      </a:lnTo>
                      <a:lnTo>
                        <a:pt x="474" y="1115"/>
                      </a:lnTo>
                      <a:lnTo>
                        <a:pt x="470" y="1125"/>
                      </a:lnTo>
                      <a:lnTo>
                        <a:pt x="465" y="1135"/>
                      </a:lnTo>
                      <a:lnTo>
                        <a:pt x="461" y="1142"/>
                      </a:lnTo>
                      <a:lnTo>
                        <a:pt x="458" y="1145"/>
                      </a:lnTo>
                      <a:lnTo>
                        <a:pt x="455" y="1148"/>
                      </a:lnTo>
                      <a:lnTo>
                        <a:pt x="451" y="1150"/>
                      </a:lnTo>
                      <a:lnTo>
                        <a:pt x="447" y="1152"/>
                      </a:lnTo>
                      <a:lnTo>
                        <a:pt x="442" y="1154"/>
                      </a:lnTo>
                      <a:lnTo>
                        <a:pt x="436" y="1155"/>
                      </a:lnTo>
                      <a:lnTo>
                        <a:pt x="430" y="1155"/>
                      </a:lnTo>
                      <a:lnTo>
                        <a:pt x="423" y="1155"/>
                      </a:lnTo>
                      <a:lnTo>
                        <a:pt x="300" y="1150"/>
                      </a:lnTo>
                      <a:lnTo>
                        <a:pt x="177" y="1287"/>
                      </a:lnTo>
                      <a:lnTo>
                        <a:pt x="108" y="1286"/>
                      </a:lnTo>
                      <a:lnTo>
                        <a:pt x="108" y="1286"/>
                      </a:lnTo>
                      <a:lnTo>
                        <a:pt x="109" y="1453"/>
                      </a:lnTo>
                      <a:lnTo>
                        <a:pt x="87" y="1478"/>
                      </a:lnTo>
                      <a:lnTo>
                        <a:pt x="60" y="1504"/>
                      </a:lnTo>
                      <a:lnTo>
                        <a:pt x="47" y="1517"/>
                      </a:lnTo>
                      <a:lnTo>
                        <a:pt x="34" y="1530"/>
                      </a:lnTo>
                      <a:lnTo>
                        <a:pt x="22" y="1543"/>
                      </a:lnTo>
                      <a:lnTo>
                        <a:pt x="13" y="1554"/>
                      </a:lnTo>
                      <a:lnTo>
                        <a:pt x="7" y="1564"/>
                      </a:lnTo>
                      <a:lnTo>
                        <a:pt x="3" y="1573"/>
                      </a:lnTo>
                      <a:lnTo>
                        <a:pt x="1" y="1581"/>
                      </a:lnTo>
                      <a:lnTo>
                        <a:pt x="0" y="1591"/>
                      </a:lnTo>
                      <a:lnTo>
                        <a:pt x="1" y="1600"/>
                      </a:lnTo>
                      <a:lnTo>
                        <a:pt x="3" y="1609"/>
                      </a:lnTo>
                      <a:lnTo>
                        <a:pt x="7" y="1618"/>
                      </a:lnTo>
                      <a:lnTo>
                        <a:pt x="12" y="1629"/>
                      </a:lnTo>
                      <a:lnTo>
                        <a:pt x="19" y="1639"/>
                      </a:lnTo>
                      <a:lnTo>
                        <a:pt x="22" y="1650"/>
                      </a:lnTo>
                      <a:lnTo>
                        <a:pt x="25" y="1656"/>
                      </a:lnTo>
                      <a:lnTo>
                        <a:pt x="25" y="1662"/>
                      </a:lnTo>
                      <a:lnTo>
                        <a:pt x="23" y="1667"/>
                      </a:lnTo>
                      <a:lnTo>
                        <a:pt x="21" y="1675"/>
                      </a:lnTo>
                      <a:lnTo>
                        <a:pt x="20" y="1678"/>
                      </a:lnTo>
                      <a:lnTo>
                        <a:pt x="18" y="1682"/>
                      </a:lnTo>
                      <a:lnTo>
                        <a:pt x="15" y="2223"/>
                      </a:lnTo>
                      <a:lnTo>
                        <a:pt x="15" y="2223"/>
                      </a:lnTo>
                      <a:lnTo>
                        <a:pt x="561" y="2207"/>
                      </a:lnTo>
                      <a:lnTo>
                        <a:pt x="562" y="2430"/>
                      </a:lnTo>
                      <a:lnTo>
                        <a:pt x="562" y="2430"/>
                      </a:lnTo>
                      <a:lnTo>
                        <a:pt x="684" y="2430"/>
                      </a:lnTo>
                      <a:lnTo>
                        <a:pt x="2079" y="1689"/>
                      </a:lnTo>
                      <a:lnTo>
                        <a:pt x="2079" y="1689"/>
                      </a:lnTo>
                      <a:lnTo>
                        <a:pt x="2839" y="1280"/>
                      </a:lnTo>
                      <a:lnTo>
                        <a:pt x="2865" y="872"/>
                      </a:lnTo>
                      <a:lnTo>
                        <a:pt x="2808" y="816"/>
                      </a:lnTo>
                      <a:lnTo>
                        <a:pt x="2808" y="816"/>
                      </a:lnTo>
                      <a:lnTo>
                        <a:pt x="2802" y="814"/>
                      </a:lnTo>
                      <a:lnTo>
                        <a:pt x="2797" y="809"/>
                      </a:lnTo>
                      <a:lnTo>
                        <a:pt x="2793" y="804"/>
                      </a:lnTo>
                      <a:lnTo>
                        <a:pt x="2791" y="796"/>
                      </a:lnTo>
                      <a:lnTo>
                        <a:pt x="2788" y="779"/>
                      </a:lnTo>
                      <a:lnTo>
                        <a:pt x="2786" y="760"/>
                      </a:lnTo>
                      <a:lnTo>
                        <a:pt x="2784" y="740"/>
                      </a:lnTo>
                      <a:lnTo>
                        <a:pt x="2782" y="720"/>
                      </a:lnTo>
                      <a:lnTo>
                        <a:pt x="2779" y="712"/>
                      </a:lnTo>
                      <a:lnTo>
                        <a:pt x="2776" y="705"/>
                      </a:lnTo>
                      <a:lnTo>
                        <a:pt x="2772" y="697"/>
                      </a:lnTo>
                      <a:lnTo>
                        <a:pt x="2768" y="692"/>
                      </a:lnTo>
                      <a:lnTo>
                        <a:pt x="2759" y="684"/>
                      </a:lnTo>
                      <a:lnTo>
                        <a:pt x="2755" y="677"/>
                      </a:lnTo>
                      <a:lnTo>
                        <a:pt x="2754" y="675"/>
                      </a:lnTo>
                      <a:lnTo>
                        <a:pt x="2754" y="672"/>
                      </a:lnTo>
                      <a:lnTo>
                        <a:pt x="2754" y="669"/>
                      </a:lnTo>
                      <a:lnTo>
                        <a:pt x="2755" y="666"/>
                      </a:lnTo>
                      <a:lnTo>
                        <a:pt x="2758" y="661"/>
                      </a:lnTo>
                      <a:lnTo>
                        <a:pt x="2763" y="656"/>
                      </a:lnTo>
                      <a:lnTo>
                        <a:pt x="2770" y="651"/>
                      </a:lnTo>
                      <a:lnTo>
                        <a:pt x="2777" y="648"/>
                      </a:lnTo>
                      <a:lnTo>
                        <a:pt x="2793" y="641"/>
                      </a:lnTo>
                      <a:lnTo>
                        <a:pt x="2809" y="634"/>
                      </a:lnTo>
                      <a:lnTo>
                        <a:pt x="2816" y="630"/>
                      </a:lnTo>
                      <a:lnTo>
                        <a:pt x="2821" y="627"/>
                      </a:lnTo>
                      <a:lnTo>
                        <a:pt x="2823" y="623"/>
                      </a:lnTo>
                      <a:lnTo>
                        <a:pt x="2823" y="620"/>
                      </a:lnTo>
                      <a:lnTo>
                        <a:pt x="2821" y="611"/>
                      </a:lnTo>
                      <a:lnTo>
                        <a:pt x="2816" y="601"/>
                      </a:lnTo>
                      <a:lnTo>
                        <a:pt x="2811" y="590"/>
                      </a:lnTo>
                      <a:lnTo>
                        <a:pt x="2806" y="584"/>
                      </a:lnTo>
                      <a:lnTo>
                        <a:pt x="2804" y="597"/>
                      </a:lnTo>
                      <a:lnTo>
                        <a:pt x="2802" y="607"/>
                      </a:lnTo>
                      <a:lnTo>
                        <a:pt x="2799" y="613"/>
                      </a:lnTo>
                      <a:lnTo>
                        <a:pt x="2797" y="616"/>
                      </a:lnTo>
                      <a:lnTo>
                        <a:pt x="2793" y="618"/>
                      </a:lnTo>
                      <a:lnTo>
                        <a:pt x="2788" y="620"/>
                      </a:lnTo>
                      <a:lnTo>
                        <a:pt x="2779" y="620"/>
                      </a:lnTo>
                      <a:lnTo>
                        <a:pt x="2768" y="621"/>
                      </a:lnTo>
                      <a:lnTo>
                        <a:pt x="2758" y="622"/>
                      </a:lnTo>
                      <a:lnTo>
                        <a:pt x="2750" y="624"/>
                      </a:lnTo>
                      <a:lnTo>
                        <a:pt x="2741" y="629"/>
                      </a:lnTo>
                      <a:lnTo>
                        <a:pt x="2731" y="634"/>
                      </a:lnTo>
                      <a:lnTo>
                        <a:pt x="2714" y="647"/>
                      </a:lnTo>
                      <a:lnTo>
                        <a:pt x="2696" y="662"/>
                      </a:lnTo>
                      <a:lnTo>
                        <a:pt x="2678" y="676"/>
                      </a:lnTo>
                      <a:lnTo>
                        <a:pt x="2661" y="689"/>
                      </a:lnTo>
                      <a:lnTo>
                        <a:pt x="2651" y="694"/>
                      </a:lnTo>
                      <a:lnTo>
                        <a:pt x="2643" y="699"/>
                      </a:lnTo>
                      <a:lnTo>
                        <a:pt x="2635" y="700"/>
                      </a:lnTo>
                      <a:lnTo>
                        <a:pt x="2625" y="701"/>
                      </a:lnTo>
                      <a:lnTo>
                        <a:pt x="2614" y="699"/>
                      </a:lnTo>
                      <a:lnTo>
                        <a:pt x="2610" y="700"/>
                      </a:lnTo>
                      <a:lnTo>
                        <a:pt x="2610" y="707"/>
                      </a:lnTo>
                      <a:lnTo>
                        <a:pt x="2605" y="728"/>
                      </a:lnTo>
                      <a:lnTo>
                        <a:pt x="2605" y="730"/>
                      </a:lnTo>
                      <a:lnTo>
                        <a:pt x="2605" y="733"/>
                      </a:lnTo>
                      <a:lnTo>
                        <a:pt x="2608" y="736"/>
                      </a:lnTo>
                      <a:lnTo>
                        <a:pt x="2610" y="739"/>
                      </a:lnTo>
                      <a:lnTo>
                        <a:pt x="2617" y="742"/>
                      </a:lnTo>
                      <a:lnTo>
                        <a:pt x="2627" y="746"/>
                      </a:lnTo>
                      <a:lnTo>
                        <a:pt x="2647" y="750"/>
                      </a:lnTo>
                      <a:lnTo>
                        <a:pt x="2661" y="754"/>
                      </a:lnTo>
                      <a:lnTo>
                        <a:pt x="2669" y="758"/>
                      </a:lnTo>
                      <a:lnTo>
                        <a:pt x="2674" y="761"/>
                      </a:lnTo>
                      <a:lnTo>
                        <a:pt x="2677" y="763"/>
                      </a:lnTo>
                      <a:lnTo>
                        <a:pt x="2678" y="766"/>
                      </a:lnTo>
                      <a:lnTo>
                        <a:pt x="2678" y="768"/>
                      </a:lnTo>
                      <a:lnTo>
                        <a:pt x="2676" y="771"/>
                      </a:lnTo>
                      <a:lnTo>
                        <a:pt x="2674" y="772"/>
                      </a:lnTo>
                      <a:lnTo>
                        <a:pt x="2670" y="773"/>
                      </a:lnTo>
                      <a:lnTo>
                        <a:pt x="2649" y="778"/>
                      </a:lnTo>
                      <a:lnTo>
                        <a:pt x="2628" y="781"/>
                      </a:lnTo>
                      <a:lnTo>
                        <a:pt x="2622" y="780"/>
                      </a:lnTo>
                      <a:lnTo>
                        <a:pt x="2614" y="776"/>
                      </a:lnTo>
                      <a:lnTo>
                        <a:pt x="2603" y="772"/>
                      </a:lnTo>
                      <a:lnTo>
                        <a:pt x="2591" y="765"/>
                      </a:lnTo>
                      <a:lnTo>
                        <a:pt x="2582" y="758"/>
                      </a:lnTo>
                      <a:lnTo>
                        <a:pt x="2574" y="749"/>
                      </a:lnTo>
                      <a:lnTo>
                        <a:pt x="2571" y="746"/>
                      </a:lnTo>
                      <a:lnTo>
                        <a:pt x="2570" y="742"/>
                      </a:lnTo>
                      <a:lnTo>
                        <a:pt x="2569" y="739"/>
                      </a:lnTo>
                      <a:lnTo>
                        <a:pt x="2570" y="735"/>
                      </a:lnTo>
                      <a:lnTo>
                        <a:pt x="2575" y="726"/>
                      </a:lnTo>
                      <a:lnTo>
                        <a:pt x="2578" y="716"/>
                      </a:lnTo>
                      <a:lnTo>
                        <a:pt x="2580" y="707"/>
                      </a:lnTo>
                      <a:lnTo>
                        <a:pt x="2581" y="697"/>
                      </a:lnTo>
                      <a:lnTo>
                        <a:pt x="2581" y="688"/>
                      </a:lnTo>
                      <a:lnTo>
                        <a:pt x="2580" y="679"/>
                      </a:lnTo>
                      <a:lnTo>
                        <a:pt x="2577" y="670"/>
                      </a:lnTo>
                      <a:lnTo>
                        <a:pt x="2574" y="662"/>
                      </a:lnTo>
                      <a:lnTo>
                        <a:pt x="2569" y="655"/>
                      </a:lnTo>
                      <a:lnTo>
                        <a:pt x="2564" y="649"/>
                      </a:lnTo>
                      <a:lnTo>
                        <a:pt x="2557" y="643"/>
                      </a:lnTo>
                      <a:lnTo>
                        <a:pt x="2549" y="640"/>
                      </a:lnTo>
                      <a:lnTo>
                        <a:pt x="2541" y="637"/>
                      </a:lnTo>
                      <a:lnTo>
                        <a:pt x="2530" y="636"/>
                      </a:lnTo>
                      <a:lnTo>
                        <a:pt x="2520" y="637"/>
                      </a:lnTo>
                      <a:lnTo>
                        <a:pt x="2507" y="641"/>
                      </a:lnTo>
                      <a:lnTo>
                        <a:pt x="2502" y="642"/>
                      </a:lnTo>
                      <a:lnTo>
                        <a:pt x="2500" y="641"/>
                      </a:lnTo>
                      <a:lnTo>
                        <a:pt x="2501" y="639"/>
                      </a:lnTo>
                      <a:lnTo>
                        <a:pt x="2503" y="636"/>
                      </a:lnTo>
                      <a:lnTo>
                        <a:pt x="2508" y="633"/>
                      </a:lnTo>
                      <a:lnTo>
                        <a:pt x="2513" y="629"/>
                      </a:lnTo>
                      <a:lnTo>
                        <a:pt x="2518" y="628"/>
                      </a:lnTo>
                      <a:lnTo>
                        <a:pt x="2526" y="627"/>
                      </a:lnTo>
                      <a:lnTo>
                        <a:pt x="2536" y="627"/>
                      </a:lnTo>
                      <a:lnTo>
                        <a:pt x="2547" y="626"/>
                      </a:lnTo>
                      <a:lnTo>
                        <a:pt x="2557" y="624"/>
                      </a:lnTo>
                      <a:lnTo>
                        <a:pt x="2567" y="623"/>
                      </a:lnTo>
                      <a:lnTo>
                        <a:pt x="2569" y="623"/>
                      </a:lnTo>
                      <a:lnTo>
                        <a:pt x="2573" y="626"/>
                      </a:lnTo>
                      <a:lnTo>
                        <a:pt x="2576" y="628"/>
                      </a:lnTo>
                      <a:lnTo>
                        <a:pt x="2580" y="633"/>
                      </a:lnTo>
                      <a:lnTo>
                        <a:pt x="2589" y="643"/>
                      </a:lnTo>
                      <a:lnTo>
                        <a:pt x="2598" y="656"/>
                      </a:lnTo>
                      <a:lnTo>
                        <a:pt x="2603" y="661"/>
                      </a:lnTo>
                      <a:lnTo>
                        <a:pt x="2608" y="666"/>
                      </a:lnTo>
                      <a:lnTo>
                        <a:pt x="2612" y="670"/>
                      </a:lnTo>
                      <a:lnTo>
                        <a:pt x="2617" y="673"/>
                      </a:lnTo>
                      <a:lnTo>
                        <a:pt x="2622" y="674"/>
                      </a:lnTo>
                      <a:lnTo>
                        <a:pt x="2627" y="673"/>
                      </a:lnTo>
                      <a:lnTo>
                        <a:pt x="2630" y="670"/>
                      </a:lnTo>
                      <a:lnTo>
                        <a:pt x="2634" y="664"/>
                      </a:lnTo>
                      <a:lnTo>
                        <a:pt x="2637" y="656"/>
                      </a:lnTo>
                      <a:lnTo>
                        <a:pt x="2640" y="649"/>
                      </a:lnTo>
                      <a:lnTo>
                        <a:pt x="2640" y="643"/>
                      </a:lnTo>
                      <a:lnTo>
                        <a:pt x="2640" y="637"/>
                      </a:lnTo>
                      <a:lnTo>
                        <a:pt x="2637" y="634"/>
                      </a:lnTo>
                      <a:lnTo>
                        <a:pt x="2635" y="630"/>
                      </a:lnTo>
                      <a:lnTo>
                        <a:pt x="2630" y="627"/>
                      </a:lnTo>
                      <a:lnTo>
                        <a:pt x="2627" y="623"/>
                      </a:lnTo>
                      <a:lnTo>
                        <a:pt x="2615" y="618"/>
                      </a:lnTo>
                      <a:lnTo>
                        <a:pt x="2603" y="614"/>
                      </a:lnTo>
                      <a:lnTo>
                        <a:pt x="2590" y="608"/>
                      </a:lnTo>
                      <a:lnTo>
                        <a:pt x="2577" y="600"/>
                      </a:lnTo>
                      <a:lnTo>
                        <a:pt x="2585" y="598"/>
                      </a:lnTo>
                      <a:lnTo>
                        <a:pt x="2593" y="598"/>
                      </a:lnTo>
                      <a:lnTo>
                        <a:pt x="2600" y="598"/>
                      </a:lnTo>
                      <a:lnTo>
                        <a:pt x="2608" y="598"/>
                      </a:lnTo>
                      <a:lnTo>
                        <a:pt x="2623" y="601"/>
                      </a:lnTo>
                      <a:lnTo>
                        <a:pt x="2637" y="602"/>
                      </a:lnTo>
                      <a:lnTo>
                        <a:pt x="2644" y="602"/>
                      </a:lnTo>
                      <a:lnTo>
                        <a:pt x="2650" y="602"/>
                      </a:lnTo>
                      <a:lnTo>
                        <a:pt x="2656" y="601"/>
                      </a:lnTo>
                      <a:lnTo>
                        <a:pt x="2662" y="598"/>
                      </a:lnTo>
                      <a:lnTo>
                        <a:pt x="2667" y="595"/>
                      </a:lnTo>
                      <a:lnTo>
                        <a:pt x="2671" y="590"/>
                      </a:lnTo>
                      <a:lnTo>
                        <a:pt x="2675" y="583"/>
                      </a:lnTo>
                      <a:lnTo>
                        <a:pt x="2677" y="575"/>
                      </a:lnTo>
                      <a:lnTo>
                        <a:pt x="2678" y="564"/>
                      </a:lnTo>
                      <a:lnTo>
                        <a:pt x="2678" y="547"/>
                      </a:lnTo>
                      <a:lnTo>
                        <a:pt x="2678" y="527"/>
                      </a:lnTo>
                      <a:lnTo>
                        <a:pt x="2677" y="505"/>
                      </a:lnTo>
                      <a:lnTo>
                        <a:pt x="2676" y="496"/>
                      </a:lnTo>
                      <a:lnTo>
                        <a:pt x="2675" y="488"/>
                      </a:lnTo>
                      <a:lnTo>
                        <a:pt x="2672" y="482"/>
                      </a:lnTo>
                      <a:lnTo>
                        <a:pt x="2671" y="477"/>
                      </a:lnTo>
                      <a:lnTo>
                        <a:pt x="2670" y="476"/>
                      </a:lnTo>
                      <a:lnTo>
                        <a:pt x="2669" y="475"/>
                      </a:lnTo>
                      <a:lnTo>
                        <a:pt x="2668" y="475"/>
                      </a:lnTo>
                      <a:lnTo>
                        <a:pt x="2665" y="476"/>
                      </a:lnTo>
                      <a:lnTo>
                        <a:pt x="2663" y="479"/>
                      </a:lnTo>
                      <a:lnTo>
                        <a:pt x="2660" y="488"/>
                      </a:lnTo>
                      <a:lnTo>
                        <a:pt x="2654" y="501"/>
                      </a:lnTo>
                      <a:lnTo>
                        <a:pt x="2647" y="514"/>
                      </a:lnTo>
                      <a:lnTo>
                        <a:pt x="2637" y="524"/>
                      </a:lnTo>
                      <a:lnTo>
                        <a:pt x="2627" y="536"/>
                      </a:lnTo>
                      <a:lnTo>
                        <a:pt x="2615" y="545"/>
                      </a:lnTo>
                      <a:lnTo>
                        <a:pt x="2602" y="554"/>
                      </a:lnTo>
                      <a:lnTo>
                        <a:pt x="2589" y="561"/>
                      </a:lnTo>
                      <a:lnTo>
                        <a:pt x="2575" y="567"/>
                      </a:lnTo>
                      <a:lnTo>
                        <a:pt x="2560" y="571"/>
                      </a:lnTo>
                      <a:lnTo>
                        <a:pt x="2546" y="574"/>
                      </a:lnTo>
                      <a:lnTo>
                        <a:pt x="2530" y="575"/>
                      </a:lnTo>
                      <a:lnTo>
                        <a:pt x="2515" y="574"/>
                      </a:lnTo>
                      <a:lnTo>
                        <a:pt x="2500" y="571"/>
                      </a:lnTo>
                      <a:lnTo>
                        <a:pt x="2486" y="567"/>
                      </a:lnTo>
                      <a:lnTo>
                        <a:pt x="2471" y="560"/>
                      </a:lnTo>
                      <a:lnTo>
                        <a:pt x="2459" y="550"/>
                      </a:lnTo>
                      <a:lnTo>
                        <a:pt x="2453" y="544"/>
                      </a:lnTo>
                      <a:lnTo>
                        <a:pt x="2448" y="537"/>
                      </a:lnTo>
                      <a:lnTo>
                        <a:pt x="2443" y="529"/>
                      </a:lnTo>
                      <a:lnTo>
                        <a:pt x="2440" y="521"/>
                      </a:lnTo>
                      <a:lnTo>
                        <a:pt x="2435" y="514"/>
                      </a:lnTo>
                      <a:lnTo>
                        <a:pt x="2430" y="505"/>
                      </a:lnTo>
                      <a:lnTo>
                        <a:pt x="2423" y="498"/>
                      </a:lnTo>
                      <a:lnTo>
                        <a:pt x="2414" y="491"/>
                      </a:lnTo>
                      <a:lnTo>
                        <a:pt x="2399" y="483"/>
                      </a:lnTo>
                      <a:lnTo>
                        <a:pt x="2386" y="474"/>
                      </a:lnTo>
                      <a:lnTo>
                        <a:pt x="2374" y="465"/>
                      </a:lnTo>
                      <a:lnTo>
                        <a:pt x="2365" y="457"/>
                      </a:lnTo>
                      <a:lnTo>
                        <a:pt x="2357" y="448"/>
                      </a:lnTo>
                      <a:lnTo>
                        <a:pt x="2350" y="439"/>
                      </a:lnTo>
                      <a:lnTo>
                        <a:pt x="2345" y="430"/>
                      </a:lnTo>
                      <a:lnTo>
                        <a:pt x="2340" y="420"/>
                      </a:lnTo>
                      <a:lnTo>
                        <a:pt x="2326" y="379"/>
                      </a:lnTo>
                      <a:lnTo>
                        <a:pt x="2308" y="327"/>
                      </a:lnTo>
                      <a:lnTo>
                        <a:pt x="2306" y="325"/>
                      </a:lnTo>
                      <a:lnTo>
                        <a:pt x="2303" y="321"/>
                      </a:lnTo>
                      <a:lnTo>
                        <a:pt x="2299" y="320"/>
                      </a:lnTo>
                      <a:lnTo>
                        <a:pt x="2293" y="318"/>
                      </a:lnTo>
                      <a:lnTo>
                        <a:pt x="2281" y="316"/>
                      </a:lnTo>
                      <a:lnTo>
                        <a:pt x="2268" y="316"/>
                      </a:lnTo>
                      <a:lnTo>
                        <a:pt x="2262" y="317"/>
                      </a:lnTo>
                      <a:lnTo>
                        <a:pt x="2256" y="318"/>
                      </a:lnTo>
                      <a:lnTo>
                        <a:pt x="2252" y="320"/>
                      </a:lnTo>
                      <a:lnTo>
                        <a:pt x="2248" y="324"/>
                      </a:lnTo>
                      <a:lnTo>
                        <a:pt x="2245" y="327"/>
                      </a:lnTo>
                      <a:lnTo>
                        <a:pt x="2243" y="332"/>
                      </a:lnTo>
                      <a:lnTo>
                        <a:pt x="2245" y="337"/>
                      </a:lnTo>
                      <a:lnTo>
                        <a:pt x="2247" y="344"/>
                      </a:lnTo>
                      <a:lnTo>
                        <a:pt x="2251" y="357"/>
                      </a:lnTo>
                      <a:lnTo>
                        <a:pt x="2253" y="371"/>
                      </a:lnTo>
                      <a:lnTo>
                        <a:pt x="2255" y="379"/>
                      </a:lnTo>
                      <a:lnTo>
                        <a:pt x="2256" y="385"/>
                      </a:lnTo>
                      <a:lnTo>
                        <a:pt x="2260" y="391"/>
                      </a:lnTo>
                      <a:lnTo>
                        <a:pt x="2263" y="396"/>
                      </a:lnTo>
                      <a:lnTo>
                        <a:pt x="2270" y="403"/>
                      </a:lnTo>
                      <a:lnTo>
                        <a:pt x="2274" y="409"/>
                      </a:lnTo>
                      <a:lnTo>
                        <a:pt x="2275" y="415"/>
                      </a:lnTo>
                      <a:lnTo>
                        <a:pt x="2273" y="419"/>
                      </a:lnTo>
                      <a:lnTo>
                        <a:pt x="2266" y="431"/>
                      </a:lnTo>
                      <a:lnTo>
                        <a:pt x="2254" y="444"/>
                      </a:lnTo>
                      <a:lnTo>
                        <a:pt x="2246" y="458"/>
                      </a:lnTo>
                      <a:lnTo>
                        <a:pt x="2234" y="479"/>
                      </a:lnTo>
                      <a:lnTo>
                        <a:pt x="2228" y="489"/>
                      </a:lnTo>
                      <a:lnTo>
                        <a:pt x="2222" y="498"/>
                      </a:lnTo>
                      <a:lnTo>
                        <a:pt x="2216" y="504"/>
                      </a:lnTo>
                      <a:lnTo>
                        <a:pt x="2212" y="508"/>
                      </a:lnTo>
                      <a:lnTo>
                        <a:pt x="2212" y="508"/>
                      </a:lnTo>
                      <a:close/>
                      <a:moveTo>
                        <a:pt x="3275" y="552"/>
                      </a:moveTo>
                      <a:lnTo>
                        <a:pt x="3279" y="554"/>
                      </a:lnTo>
                      <a:lnTo>
                        <a:pt x="3284" y="556"/>
                      </a:lnTo>
                      <a:lnTo>
                        <a:pt x="3298" y="562"/>
                      </a:lnTo>
                      <a:lnTo>
                        <a:pt x="3308" y="569"/>
                      </a:lnTo>
                      <a:lnTo>
                        <a:pt x="3314" y="573"/>
                      </a:lnTo>
                      <a:lnTo>
                        <a:pt x="3320" y="575"/>
                      </a:lnTo>
                      <a:lnTo>
                        <a:pt x="3328" y="578"/>
                      </a:lnTo>
                      <a:lnTo>
                        <a:pt x="3339" y="580"/>
                      </a:lnTo>
                      <a:lnTo>
                        <a:pt x="3349" y="582"/>
                      </a:lnTo>
                      <a:lnTo>
                        <a:pt x="3359" y="585"/>
                      </a:lnTo>
                      <a:lnTo>
                        <a:pt x="3367" y="589"/>
                      </a:lnTo>
                      <a:lnTo>
                        <a:pt x="3374" y="593"/>
                      </a:lnTo>
                      <a:lnTo>
                        <a:pt x="3389" y="603"/>
                      </a:lnTo>
                      <a:lnTo>
                        <a:pt x="3407" y="613"/>
                      </a:lnTo>
                      <a:lnTo>
                        <a:pt x="3415" y="620"/>
                      </a:lnTo>
                      <a:lnTo>
                        <a:pt x="3425" y="628"/>
                      </a:lnTo>
                      <a:lnTo>
                        <a:pt x="3429" y="633"/>
                      </a:lnTo>
                      <a:lnTo>
                        <a:pt x="3433" y="637"/>
                      </a:lnTo>
                      <a:lnTo>
                        <a:pt x="3435" y="642"/>
                      </a:lnTo>
                      <a:lnTo>
                        <a:pt x="3435" y="647"/>
                      </a:lnTo>
                      <a:lnTo>
                        <a:pt x="3423" y="644"/>
                      </a:lnTo>
                      <a:lnTo>
                        <a:pt x="3410" y="642"/>
                      </a:lnTo>
                      <a:lnTo>
                        <a:pt x="3405" y="642"/>
                      </a:lnTo>
                      <a:lnTo>
                        <a:pt x="3399" y="643"/>
                      </a:lnTo>
                      <a:lnTo>
                        <a:pt x="3396" y="644"/>
                      </a:lnTo>
                      <a:lnTo>
                        <a:pt x="3394" y="647"/>
                      </a:lnTo>
                      <a:lnTo>
                        <a:pt x="3392" y="650"/>
                      </a:lnTo>
                      <a:lnTo>
                        <a:pt x="3389" y="654"/>
                      </a:lnTo>
                      <a:lnTo>
                        <a:pt x="3386" y="661"/>
                      </a:lnTo>
                      <a:lnTo>
                        <a:pt x="3385" y="668"/>
                      </a:lnTo>
                      <a:lnTo>
                        <a:pt x="3386" y="674"/>
                      </a:lnTo>
                      <a:lnTo>
                        <a:pt x="3388" y="679"/>
                      </a:lnTo>
                      <a:lnTo>
                        <a:pt x="3391" y="681"/>
                      </a:lnTo>
                      <a:lnTo>
                        <a:pt x="3392" y="682"/>
                      </a:lnTo>
                      <a:lnTo>
                        <a:pt x="3394" y="683"/>
                      </a:lnTo>
                      <a:lnTo>
                        <a:pt x="3398" y="683"/>
                      </a:lnTo>
                      <a:lnTo>
                        <a:pt x="3403" y="682"/>
                      </a:lnTo>
                      <a:lnTo>
                        <a:pt x="3412" y="679"/>
                      </a:lnTo>
                      <a:lnTo>
                        <a:pt x="3420" y="672"/>
                      </a:lnTo>
                      <a:lnTo>
                        <a:pt x="3429" y="663"/>
                      </a:lnTo>
                      <a:lnTo>
                        <a:pt x="3438" y="654"/>
                      </a:lnTo>
                      <a:lnTo>
                        <a:pt x="3447" y="648"/>
                      </a:lnTo>
                      <a:lnTo>
                        <a:pt x="3452" y="647"/>
                      </a:lnTo>
                      <a:lnTo>
                        <a:pt x="3459" y="648"/>
                      </a:lnTo>
                      <a:lnTo>
                        <a:pt x="3467" y="649"/>
                      </a:lnTo>
                      <a:lnTo>
                        <a:pt x="3475" y="653"/>
                      </a:lnTo>
                      <a:lnTo>
                        <a:pt x="3483" y="657"/>
                      </a:lnTo>
                      <a:lnTo>
                        <a:pt x="3490" y="662"/>
                      </a:lnTo>
                      <a:lnTo>
                        <a:pt x="3493" y="664"/>
                      </a:lnTo>
                      <a:lnTo>
                        <a:pt x="3495" y="668"/>
                      </a:lnTo>
                      <a:lnTo>
                        <a:pt x="3496" y="670"/>
                      </a:lnTo>
                      <a:lnTo>
                        <a:pt x="3496" y="674"/>
                      </a:lnTo>
                      <a:lnTo>
                        <a:pt x="3490" y="706"/>
                      </a:lnTo>
                      <a:lnTo>
                        <a:pt x="3487" y="729"/>
                      </a:lnTo>
                      <a:lnTo>
                        <a:pt x="3488" y="734"/>
                      </a:lnTo>
                      <a:lnTo>
                        <a:pt x="3490" y="739"/>
                      </a:lnTo>
                      <a:lnTo>
                        <a:pt x="3494" y="742"/>
                      </a:lnTo>
                      <a:lnTo>
                        <a:pt x="3499" y="745"/>
                      </a:lnTo>
                      <a:lnTo>
                        <a:pt x="3506" y="747"/>
                      </a:lnTo>
                      <a:lnTo>
                        <a:pt x="3514" y="749"/>
                      </a:lnTo>
                      <a:lnTo>
                        <a:pt x="3524" y="750"/>
                      </a:lnTo>
                      <a:lnTo>
                        <a:pt x="3537" y="750"/>
                      </a:lnTo>
                      <a:lnTo>
                        <a:pt x="3537" y="750"/>
                      </a:lnTo>
                      <a:lnTo>
                        <a:pt x="3527" y="779"/>
                      </a:lnTo>
                      <a:lnTo>
                        <a:pt x="3516" y="809"/>
                      </a:lnTo>
                      <a:lnTo>
                        <a:pt x="3510" y="824"/>
                      </a:lnTo>
                      <a:lnTo>
                        <a:pt x="3505" y="838"/>
                      </a:lnTo>
                      <a:lnTo>
                        <a:pt x="3496" y="852"/>
                      </a:lnTo>
                      <a:lnTo>
                        <a:pt x="3487" y="865"/>
                      </a:lnTo>
                      <a:lnTo>
                        <a:pt x="3476" y="877"/>
                      </a:lnTo>
                      <a:lnTo>
                        <a:pt x="3463" y="887"/>
                      </a:lnTo>
                      <a:lnTo>
                        <a:pt x="3450" y="898"/>
                      </a:lnTo>
                      <a:lnTo>
                        <a:pt x="3438" y="907"/>
                      </a:lnTo>
                      <a:lnTo>
                        <a:pt x="3423" y="918"/>
                      </a:lnTo>
                      <a:lnTo>
                        <a:pt x="3410" y="928"/>
                      </a:lnTo>
                      <a:lnTo>
                        <a:pt x="3398" y="940"/>
                      </a:lnTo>
                      <a:lnTo>
                        <a:pt x="3386" y="953"/>
                      </a:lnTo>
                      <a:lnTo>
                        <a:pt x="3379" y="961"/>
                      </a:lnTo>
                      <a:lnTo>
                        <a:pt x="3372" y="969"/>
                      </a:lnTo>
                      <a:lnTo>
                        <a:pt x="3365" y="974"/>
                      </a:lnTo>
                      <a:lnTo>
                        <a:pt x="3358" y="979"/>
                      </a:lnTo>
                      <a:lnTo>
                        <a:pt x="3352" y="982"/>
                      </a:lnTo>
                      <a:lnTo>
                        <a:pt x="3345" y="984"/>
                      </a:lnTo>
                      <a:lnTo>
                        <a:pt x="3339" y="985"/>
                      </a:lnTo>
                      <a:lnTo>
                        <a:pt x="3333" y="985"/>
                      </a:lnTo>
                      <a:lnTo>
                        <a:pt x="3327" y="984"/>
                      </a:lnTo>
                      <a:lnTo>
                        <a:pt x="3321" y="983"/>
                      </a:lnTo>
                      <a:lnTo>
                        <a:pt x="3316" y="980"/>
                      </a:lnTo>
                      <a:lnTo>
                        <a:pt x="3311" y="977"/>
                      </a:lnTo>
                      <a:lnTo>
                        <a:pt x="3301" y="967"/>
                      </a:lnTo>
                      <a:lnTo>
                        <a:pt x="3292" y="957"/>
                      </a:lnTo>
                      <a:lnTo>
                        <a:pt x="3282" y="944"/>
                      </a:lnTo>
                      <a:lnTo>
                        <a:pt x="3274" y="930"/>
                      </a:lnTo>
                      <a:lnTo>
                        <a:pt x="3267" y="914"/>
                      </a:lnTo>
                      <a:lnTo>
                        <a:pt x="3260" y="899"/>
                      </a:lnTo>
                      <a:lnTo>
                        <a:pt x="3247" y="870"/>
                      </a:lnTo>
                      <a:lnTo>
                        <a:pt x="3238" y="846"/>
                      </a:lnTo>
                      <a:lnTo>
                        <a:pt x="3231" y="829"/>
                      </a:lnTo>
                      <a:lnTo>
                        <a:pt x="3222" y="811"/>
                      </a:lnTo>
                      <a:lnTo>
                        <a:pt x="3215" y="788"/>
                      </a:lnTo>
                      <a:lnTo>
                        <a:pt x="3210" y="766"/>
                      </a:lnTo>
                      <a:lnTo>
                        <a:pt x="3207" y="754"/>
                      </a:lnTo>
                      <a:lnTo>
                        <a:pt x="3206" y="743"/>
                      </a:lnTo>
                      <a:lnTo>
                        <a:pt x="3207" y="733"/>
                      </a:lnTo>
                      <a:lnTo>
                        <a:pt x="3208" y="723"/>
                      </a:lnTo>
                      <a:lnTo>
                        <a:pt x="3212" y="714"/>
                      </a:lnTo>
                      <a:lnTo>
                        <a:pt x="3217" y="706"/>
                      </a:lnTo>
                      <a:lnTo>
                        <a:pt x="3222" y="700"/>
                      </a:lnTo>
                      <a:lnTo>
                        <a:pt x="3231" y="694"/>
                      </a:lnTo>
                      <a:lnTo>
                        <a:pt x="3234" y="684"/>
                      </a:lnTo>
                      <a:lnTo>
                        <a:pt x="3235" y="675"/>
                      </a:lnTo>
                      <a:lnTo>
                        <a:pt x="3234" y="667"/>
                      </a:lnTo>
                      <a:lnTo>
                        <a:pt x="3233" y="660"/>
                      </a:lnTo>
                      <a:lnTo>
                        <a:pt x="3231" y="651"/>
                      </a:lnTo>
                      <a:lnTo>
                        <a:pt x="3228" y="643"/>
                      </a:lnTo>
                      <a:lnTo>
                        <a:pt x="3227" y="635"/>
                      </a:lnTo>
                      <a:lnTo>
                        <a:pt x="3228" y="627"/>
                      </a:lnTo>
                      <a:lnTo>
                        <a:pt x="3231" y="617"/>
                      </a:lnTo>
                      <a:lnTo>
                        <a:pt x="3232" y="616"/>
                      </a:lnTo>
                      <a:lnTo>
                        <a:pt x="3275" y="552"/>
                      </a:lnTo>
                      <a:lnTo>
                        <a:pt x="3275" y="552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9" name="Freeform 33">
                  <a:extLst>
                    <a:ext uri="{FF2B5EF4-FFF2-40B4-BE49-F238E27FC236}">
                      <a16:creationId xmlns:a16="http://schemas.microsoft.com/office/drawing/2014/main" id="{CFBE039B-9059-4926-8ED2-B6732DD3A1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12248" y="3143895"/>
                  <a:ext cx="314738" cy="348574"/>
                </a:xfrm>
                <a:custGeom>
                  <a:avLst/>
                  <a:gdLst>
                    <a:gd name="T0" fmla="*/ 1253 w 1284"/>
                    <a:gd name="T1" fmla="*/ 760 h 1422"/>
                    <a:gd name="T2" fmla="*/ 1274 w 1284"/>
                    <a:gd name="T3" fmla="*/ 815 h 1422"/>
                    <a:gd name="T4" fmla="*/ 1271 w 1284"/>
                    <a:gd name="T5" fmla="*/ 838 h 1422"/>
                    <a:gd name="T6" fmla="*/ 1107 w 1284"/>
                    <a:gd name="T7" fmla="*/ 761 h 1422"/>
                    <a:gd name="T8" fmla="*/ 1080 w 1284"/>
                    <a:gd name="T9" fmla="*/ 851 h 1422"/>
                    <a:gd name="T10" fmla="*/ 992 w 1284"/>
                    <a:gd name="T11" fmla="*/ 785 h 1422"/>
                    <a:gd name="T12" fmla="*/ 946 w 1284"/>
                    <a:gd name="T13" fmla="*/ 778 h 1422"/>
                    <a:gd name="T14" fmla="*/ 976 w 1284"/>
                    <a:gd name="T15" fmla="*/ 824 h 1422"/>
                    <a:gd name="T16" fmla="*/ 850 w 1284"/>
                    <a:gd name="T17" fmla="*/ 852 h 1422"/>
                    <a:gd name="T18" fmla="*/ 859 w 1284"/>
                    <a:gd name="T19" fmla="*/ 868 h 1422"/>
                    <a:gd name="T20" fmla="*/ 914 w 1284"/>
                    <a:gd name="T21" fmla="*/ 812 h 1422"/>
                    <a:gd name="T22" fmla="*/ 328 w 1284"/>
                    <a:gd name="T23" fmla="*/ 636 h 1422"/>
                    <a:gd name="T24" fmla="*/ 421 w 1284"/>
                    <a:gd name="T25" fmla="*/ 652 h 1422"/>
                    <a:gd name="T26" fmla="*/ 250 w 1284"/>
                    <a:gd name="T27" fmla="*/ 940 h 1422"/>
                    <a:gd name="T28" fmla="*/ 30 w 1284"/>
                    <a:gd name="T29" fmla="*/ 1099 h 1422"/>
                    <a:gd name="T30" fmla="*/ 114 w 1284"/>
                    <a:gd name="T31" fmla="*/ 1200 h 1422"/>
                    <a:gd name="T32" fmla="*/ 235 w 1284"/>
                    <a:gd name="T33" fmla="*/ 1346 h 1422"/>
                    <a:gd name="T34" fmla="*/ 319 w 1284"/>
                    <a:gd name="T35" fmla="*/ 1414 h 1422"/>
                    <a:gd name="T36" fmla="*/ 401 w 1284"/>
                    <a:gd name="T37" fmla="*/ 1282 h 1422"/>
                    <a:gd name="T38" fmla="*/ 530 w 1284"/>
                    <a:gd name="T39" fmla="*/ 1149 h 1422"/>
                    <a:gd name="T40" fmla="*/ 687 w 1284"/>
                    <a:gd name="T41" fmla="*/ 1121 h 1422"/>
                    <a:gd name="T42" fmla="*/ 718 w 1284"/>
                    <a:gd name="T43" fmla="*/ 1013 h 1422"/>
                    <a:gd name="T44" fmla="*/ 689 w 1284"/>
                    <a:gd name="T45" fmla="*/ 937 h 1422"/>
                    <a:gd name="T46" fmla="*/ 693 w 1284"/>
                    <a:gd name="T47" fmla="*/ 899 h 1422"/>
                    <a:gd name="T48" fmla="*/ 745 w 1284"/>
                    <a:gd name="T49" fmla="*/ 879 h 1422"/>
                    <a:gd name="T50" fmla="*/ 684 w 1284"/>
                    <a:gd name="T51" fmla="*/ 795 h 1422"/>
                    <a:gd name="T52" fmla="*/ 783 w 1284"/>
                    <a:gd name="T53" fmla="*/ 745 h 1422"/>
                    <a:gd name="T54" fmla="*/ 843 w 1284"/>
                    <a:gd name="T55" fmla="*/ 705 h 1422"/>
                    <a:gd name="T56" fmla="*/ 820 w 1284"/>
                    <a:gd name="T57" fmla="*/ 664 h 1422"/>
                    <a:gd name="T58" fmla="*/ 671 w 1284"/>
                    <a:gd name="T59" fmla="*/ 588 h 1422"/>
                    <a:gd name="T60" fmla="*/ 630 w 1284"/>
                    <a:gd name="T61" fmla="*/ 487 h 1422"/>
                    <a:gd name="T62" fmla="*/ 675 w 1284"/>
                    <a:gd name="T63" fmla="*/ 405 h 1422"/>
                    <a:gd name="T64" fmla="*/ 553 w 1284"/>
                    <a:gd name="T65" fmla="*/ 362 h 1422"/>
                    <a:gd name="T66" fmla="*/ 612 w 1284"/>
                    <a:gd name="T67" fmla="*/ 367 h 1422"/>
                    <a:gd name="T68" fmla="*/ 707 w 1284"/>
                    <a:gd name="T69" fmla="*/ 411 h 1422"/>
                    <a:gd name="T70" fmla="*/ 717 w 1284"/>
                    <a:gd name="T71" fmla="*/ 518 h 1422"/>
                    <a:gd name="T72" fmla="*/ 793 w 1284"/>
                    <a:gd name="T73" fmla="*/ 584 h 1422"/>
                    <a:gd name="T74" fmla="*/ 888 w 1284"/>
                    <a:gd name="T75" fmla="*/ 601 h 1422"/>
                    <a:gd name="T76" fmla="*/ 969 w 1284"/>
                    <a:gd name="T77" fmla="*/ 593 h 1422"/>
                    <a:gd name="T78" fmla="*/ 917 w 1284"/>
                    <a:gd name="T79" fmla="*/ 544 h 1422"/>
                    <a:gd name="T80" fmla="*/ 895 w 1284"/>
                    <a:gd name="T81" fmla="*/ 432 h 1422"/>
                    <a:gd name="T82" fmla="*/ 834 w 1284"/>
                    <a:gd name="T83" fmla="*/ 420 h 1422"/>
                    <a:gd name="T84" fmla="*/ 937 w 1284"/>
                    <a:gd name="T85" fmla="*/ 428 h 1422"/>
                    <a:gd name="T86" fmla="*/ 985 w 1284"/>
                    <a:gd name="T87" fmla="*/ 494 h 1422"/>
                    <a:gd name="T88" fmla="*/ 1032 w 1284"/>
                    <a:gd name="T89" fmla="*/ 558 h 1422"/>
                    <a:gd name="T90" fmla="*/ 1138 w 1284"/>
                    <a:gd name="T91" fmla="*/ 634 h 1422"/>
                    <a:gd name="T92" fmla="*/ 1052 w 1284"/>
                    <a:gd name="T93" fmla="*/ 543 h 1422"/>
                    <a:gd name="T94" fmla="*/ 1040 w 1284"/>
                    <a:gd name="T95" fmla="*/ 371 h 1422"/>
                    <a:gd name="T96" fmla="*/ 990 w 1284"/>
                    <a:gd name="T97" fmla="*/ 299 h 1422"/>
                    <a:gd name="T98" fmla="*/ 986 w 1284"/>
                    <a:gd name="T99" fmla="*/ 164 h 1422"/>
                    <a:gd name="T100" fmla="*/ 1090 w 1284"/>
                    <a:gd name="T101" fmla="*/ 8 h 1422"/>
                    <a:gd name="T102" fmla="*/ 1039 w 1284"/>
                    <a:gd name="T103" fmla="*/ 62 h 1422"/>
                    <a:gd name="T104" fmla="*/ 875 w 1284"/>
                    <a:gd name="T105" fmla="*/ 100 h 1422"/>
                    <a:gd name="T106" fmla="*/ 778 w 1284"/>
                    <a:gd name="T107" fmla="*/ 207 h 1422"/>
                    <a:gd name="T108" fmla="*/ 713 w 1284"/>
                    <a:gd name="T109" fmla="*/ 329 h 1422"/>
                    <a:gd name="T110" fmla="*/ 650 w 1284"/>
                    <a:gd name="T111" fmla="*/ 339 h 1422"/>
                    <a:gd name="T112" fmla="*/ 577 w 1284"/>
                    <a:gd name="T113" fmla="*/ 320 h 1422"/>
                    <a:gd name="T114" fmla="*/ 545 w 1284"/>
                    <a:gd name="T115" fmla="*/ 391 h 1422"/>
                    <a:gd name="T116" fmla="*/ 579 w 1284"/>
                    <a:gd name="T117" fmla="*/ 437 h 1422"/>
                    <a:gd name="T118" fmla="*/ 562 w 1284"/>
                    <a:gd name="T119" fmla="*/ 580 h 1422"/>
                    <a:gd name="T120" fmla="*/ 386 w 1284"/>
                    <a:gd name="T121" fmla="*/ 563 h 1422"/>
                    <a:gd name="T122" fmla="*/ 273 w 1284"/>
                    <a:gd name="T123" fmla="*/ 499 h 1422"/>
                    <a:gd name="T124" fmla="*/ 150 w 1284"/>
                    <a:gd name="T125" fmla="*/ 763 h 1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284" h="1422">
                      <a:moveTo>
                        <a:pt x="1268" y="753"/>
                      </a:moveTo>
                      <a:lnTo>
                        <a:pt x="1265" y="747"/>
                      </a:lnTo>
                      <a:lnTo>
                        <a:pt x="1260" y="741"/>
                      </a:lnTo>
                      <a:lnTo>
                        <a:pt x="1258" y="738"/>
                      </a:lnTo>
                      <a:lnTo>
                        <a:pt x="1256" y="735"/>
                      </a:lnTo>
                      <a:lnTo>
                        <a:pt x="1253" y="733"/>
                      </a:lnTo>
                      <a:lnTo>
                        <a:pt x="1249" y="732"/>
                      </a:lnTo>
                      <a:lnTo>
                        <a:pt x="1247" y="733"/>
                      </a:lnTo>
                      <a:lnTo>
                        <a:pt x="1247" y="733"/>
                      </a:lnTo>
                      <a:lnTo>
                        <a:pt x="1246" y="736"/>
                      </a:lnTo>
                      <a:lnTo>
                        <a:pt x="1245" y="740"/>
                      </a:lnTo>
                      <a:lnTo>
                        <a:pt x="1245" y="743"/>
                      </a:lnTo>
                      <a:lnTo>
                        <a:pt x="1246" y="747"/>
                      </a:lnTo>
                      <a:lnTo>
                        <a:pt x="1250" y="754"/>
                      </a:lnTo>
                      <a:lnTo>
                        <a:pt x="1253" y="760"/>
                      </a:lnTo>
                      <a:lnTo>
                        <a:pt x="1258" y="767"/>
                      </a:lnTo>
                      <a:lnTo>
                        <a:pt x="1265" y="773"/>
                      </a:lnTo>
                      <a:lnTo>
                        <a:pt x="1271" y="778"/>
                      </a:lnTo>
                      <a:lnTo>
                        <a:pt x="1276" y="784"/>
                      </a:lnTo>
                      <a:lnTo>
                        <a:pt x="1279" y="785"/>
                      </a:lnTo>
                      <a:lnTo>
                        <a:pt x="1283" y="785"/>
                      </a:lnTo>
                      <a:lnTo>
                        <a:pt x="1284" y="781"/>
                      </a:lnTo>
                      <a:lnTo>
                        <a:pt x="1284" y="779"/>
                      </a:lnTo>
                      <a:lnTo>
                        <a:pt x="1284" y="776"/>
                      </a:lnTo>
                      <a:lnTo>
                        <a:pt x="1283" y="774"/>
                      </a:lnTo>
                      <a:lnTo>
                        <a:pt x="1280" y="767"/>
                      </a:lnTo>
                      <a:lnTo>
                        <a:pt x="1277" y="760"/>
                      </a:lnTo>
                      <a:lnTo>
                        <a:pt x="1277" y="759"/>
                      </a:lnTo>
                      <a:lnTo>
                        <a:pt x="1268" y="753"/>
                      </a:lnTo>
                      <a:close/>
                      <a:moveTo>
                        <a:pt x="1274" y="815"/>
                      </a:moveTo>
                      <a:lnTo>
                        <a:pt x="1268" y="812"/>
                      </a:lnTo>
                      <a:lnTo>
                        <a:pt x="1263" y="811"/>
                      </a:lnTo>
                      <a:lnTo>
                        <a:pt x="1260" y="809"/>
                      </a:lnTo>
                      <a:lnTo>
                        <a:pt x="1257" y="809"/>
                      </a:lnTo>
                      <a:lnTo>
                        <a:pt x="1254" y="811"/>
                      </a:lnTo>
                      <a:lnTo>
                        <a:pt x="1252" y="812"/>
                      </a:lnTo>
                      <a:lnTo>
                        <a:pt x="1251" y="814"/>
                      </a:lnTo>
                      <a:lnTo>
                        <a:pt x="1251" y="817"/>
                      </a:lnTo>
                      <a:lnTo>
                        <a:pt x="1251" y="824"/>
                      </a:lnTo>
                      <a:lnTo>
                        <a:pt x="1253" y="831"/>
                      </a:lnTo>
                      <a:lnTo>
                        <a:pt x="1256" y="834"/>
                      </a:lnTo>
                      <a:lnTo>
                        <a:pt x="1259" y="837"/>
                      </a:lnTo>
                      <a:lnTo>
                        <a:pt x="1263" y="839"/>
                      </a:lnTo>
                      <a:lnTo>
                        <a:pt x="1267" y="839"/>
                      </a:lnTo>
                      <a:lnTo>
                        <a:pt x="1271" y="838"/>
                      </a:lnTo>
                      <a:lnTo>
                        <a:pt x="1274" y="834"/>
                      </a:lnTo>
                      <a:lnTo>
                        <a:pt x="1277" y="827"/>
                      </a:lnTo>
                      <a:lnTo>
                        <a:pt x="1277" y="820"/>
                      </a:lnTo>
                      <a:lnTo>
                        <a:pt x="1274" y="815"/>
                      </a:lnTo>
                      <a:close/>
                      <a:moveTo>
                        <a:pt x="1055" y="852"/>
                      </a:moveTo>
                      <a:lnTo>
                        <a:pt x="1056" y="842"/>
                      </a:lnTo>
                      <a:lnTo>
                        <a:pt x="1059" y="833"/>
                      </a:lnTo>
                      <a:lnTo>
                        <a:pt x="1060" y="826"/>
                      </a:lnTo>
                      <a:lnTo>
                        <a:pt x="1063" y="819"/>
                      </a:lnTo>
                      <a:lnTo>
                        <a:pt x="1065" y="812"/>
                      </a:lnTo>
                      <a:lnTo>
                        <a:pt x="1069" y="805"/>
                      </a:lnTo>
                      <a:lnTo>
                        <a:pt x="1080" y="792"/>
                      </a:lnTo>
                      <a:lnTo>
                        <a:pt x="1095" y="778"/>
                      </a:lnTo>
                      <a:lnTo>
                        <a:pt x="1102" y="769"/>
                      </a:lnTo>
                      <a:lnTo>
                        <a:pt x="1107" y="761"/>
                      </a:lnTo>
                      <a:lnTo>
                        <a:pt x="1111" y="758"/>
                      </a:lnTo>
                      <a:lnTo>
                        <a:pt x="1116" y="755"/>
                      </a:lnTo>
                      <a:lnTo>
                        <a:pt x="1120" y="753"/>
                      </a:lnTo>
                      <a:lnTo>
                        <a:pt x="1126" y="753"/>
                      </a:lnTo>
                      <a:lnTo>
                        <a:pt x="1126" y="754"/>
                      </a:lnTo>
                      <a:lnTo>
                        <a:pt x="1127" y="753"/>
                      </a:lnTo>
                      <a:lnTo>
                        <a:pt x="1124" y="762"/>
                      </a:lnTo>
                      <a:lnTo>
                        <a:pt x="1119" y="772"/>
                      </a:lnTo>
                      <a:lnTo>
                        <a:pt x="1109" y="788"/>
                      </a:lnTo>
                      <a:lnTo>
                        <a:pt x="1100" y="806"/>
                      </a:lnTo>
                      <a:lnTo>
                        <a:pt x="1093" y="825"/>
                      </a:lnTo>
                      <a:lnTo>
                        <a:pt x="1086" y="840"/>
                      </a:lnTo>
                      <a:lnTo>
                        <a:pt x="1086" y="844"/>
                      </a:lnTo>
                      <a:lnTo>
                        <a:pt x="1085" y="846"/>
                      </a:lnTo>
                      <a:lnTo>
                        <a:pt x="1080" y="851"/>
                      </a:lnTo>
                      <a:lnTo>
                        <a:pt x="1075" y="858"/>
                      </a:lnTo>
                      <a:lnTo>
                        <a:pt x="1066" y="866"/>
                      </a:lnTo>
                      <a:lnTo>
                        <a:pt x="1056" y="878"/>
                      </a:lnTo>
                      <a:lnTo>
                        <a:pt x="1050" y="883"/>
                      </a:lnTo>
                      <a:lnTo>
                        <a:pt x="1044" y="887"/>
                      </a:lnTo>
                      <a:lnTo>
                        <a:pt x="1038" y="891"/>
                      </a:lnTo>
                      <a:lnTo>
                        <a:pt x="1033" y="892"/>
                      </a:lnTo>
                      <a:lnTo>
                        <a:pt x="1033" y="893"/>
                      </a:lnTo>
                      <a:lnTo>
                        <a:pt x="1032" y="892"/>
                      </a:lnTo>
                      <a:lnTo>
                        <a:pt x="1031" y="892"/>
                      </a:lnTo>
                      <a:lnTo>
                        <a:pt x="1032" y="888"/>
                      </a:lnTo>
                      <a:lnTo>
                        <a:pt x="1035" y="885"/>
                      </a:lnTo>
                      <a:lnTo>
                        <a:pt x="1055" y="852"/>
                      </a:lnTo>
                      <a:close/>
                      <a:moveTo>
                        <a:pt x="991" y="791"/>
                      </a:moveTo>
                      <a:lnTo>
                        <a:pt x="992" y="785"/>
                      </a:lnTo>
                      <a:lnTo>
                        <a:pt x="992" y="779"/>
                      </a:lnTo>
                      <a:lnTo>
                        <a:pt x="991" y="773"/>
                      </a:lnTo>
                      <a:lnTo>
                        <a:pt x="990" y="768"/>
                      </a:lnTo>
                      <a:lnTo>
                        <a:pt x="989" y="768"/>
                      </a:lnTo>
                      <a:lnTo>
                        <a:pt x="982" y="766"/>
                      </a:lnTo>
                      <a:lnTo>
                        <a:pt x="973" y="766"/>
                      </a:lnTo>
                      <a:lnTo>
                        <a:pt x="970" y="765"/>
                      </a:lnTo>
                      <a:lnTo>
                        <a:pt x="966" y="765"/>
                      </a:lnTo>
                      <a:lnTo>
                        <a:pt x="962" y="765"/>
                      </a:lnTo>
                      <a:lnTo>
                        <a:pt x="958" y="765"/>
                      </a:lnTo>
                      <a:lnTo>
                        <a:pt x="955" y="766"/>
                      </a:lnTo>
                      <a:lnTo>
                        <a:pt x="951" y="768"/>
                      </a:lnTo>
                      <a:lnTo>
                        <a:pt x="949" y="771"/>
                      </a:lnTo>
                      <a:lnTo>
                        <a:pt x="948" y="774"/>
                      </a:lnTo>
                      <a:lnTo>
                        <a:pt x="946" y="778"/>
                      </a:lnTo>
                      <a:lnTo>
                        <a:pt x="945" y="782"/>
                      </a:lnTo>
                      <a:lnTo>
                        <a:pt x="946" y="785"/>
                      </a:lnTo>
                      <a:lnTo>
                        <a:pt x="948" y="788"/>
                      </a:lnTo>
                      <a:lnTo>
                        <a:pt x="950" y="792"/>
                      </a:lnTo>
                      <a:lnTo>
                        <a:pt x="952" y="794"/>
                      </a:lnTo>
                      <a:lnTo>
                        <a:pt x="956" y="799"/>
                      </a:lnTo>
                      <a:lnTo>
                        <a:pt x="961" y="802"/>
                      </a:lnTo>
                      <a:lnTo>
                        <a:pt x="963" y="808"/>
                      </a:lnTo>
                      <a:lnTo>
                        <a:pt x="966" y="813"/>
                      </a:lnTo>
                      <a:lnTo>
                        <a:pt x="968" y="817"/>
                      </a:lnTo>
                      <a:lnTo>
                        <a:pt x="970" y="820"/>
                      </a:lnTo>
                      <a:lnTo>
                        <a:pt x="971" y="822"/>
                      </a:lnTo>
                      <a:lnTo>
                        <a:pt x="972" y="824"/>
                      </a:lnTo>
                      <a:lnTo>
                        <a:pt x="973" y="824"/>
                      </a:lnTo>
                      <a:lnTo>
                        <a:pt x="976" y="824"/>
                      </a:lnTo>
                      <a:lnTo>
                        <a:pt x="983" y="815"/>
                      </a:lnTo>
                      <a:lnTo>
                        <a:pt x="989" y="806"/>
                      </a:lnTo>
                      <a:lnTo>
                        <a:pt x="991" y="791"/>
                      </a:lnTo>
                      <a:close/>
                      <a:moveTo>
                        <a:pt x="897" y="811"/>
                      </a:moveTo>
                      <a:lnTo>
                        <a:pt x="894" y="812"/>
                      </a:lnTo>
                      <a:lnTo>
                        <a:pt x="890" y="812"/>
                      </a:lnTo>
                      <a:lnTo>
                        <a:pt x="884" y="815"/>
                      </a:lnTo>
                      <a:lnTo>
                        <a:pt x="877" y="821"/>
                      </a:lnTo>
                      <a:lnTo>
                        <a:pt x="871" y="827"/>
                      </a:lnTo>
                      <a:lnTo>
                        <a:pt x="867" y="833"/>
                      </a:lnTo>
                      <a:lnTo>
                        <a:pt x="863" y="837"/>
                      </a:lnTo>
                      <a:lnTo>
                        <a:pt x="859" y="842"/>
                      </a:lnTo>
                      <a:lnTo>
                        <a:pt x="856" y="846"/>
                      </a:lnTo>
                      <a:lnTo>
                        <a:pt x="852" y="851"/>
                      </a:lnTo>
                      <a:lnTo>
                        <a:pt x="850" y="852"/>
                      </a:lnTo>
                      <a:lnTo>
                        <a:pt x="848" y="854"/>
                      </a:lnTo>
                      <a:lnTo>
                        <a:pt x="843" y="855"/>
                      </a:lnTo>
                      <a:lnTo>
                        <a:pt x="840" y="859"/>
                      </a:lnTo>
                      <a:lnTo>
                        <a:pt x="836" y="864"/>
                      </a:lnTo>
                      <a:lnTo>
                        <a:pt x="835" y="867"/>
                      </a:lnTo>
                      <a:lnTo>
                        <a:pt x="835" y="872"/>
                      </a:lnTo>
                      <a:lnTo>
                        <a:pt x="834" y="878"/>
                      </a:lnTo>
                      <a:lnTo>
                        <a:pt x="835" y="884"/>
                      </a:lnTo>
                      <a:lnTo>
                        <a:pt x="836" y="888"/>
                      </a:lnTo>
                      <a:lnTo>
                        <a:pt x="841" y="888"/>
                      </a:lnTo>
                      <a:lnTo>
                        <a:pt x="844" y="886"/>
                      </a:lnTo>
                      <a:lnTo>
                        <a:pt x="847" y="883"/>
                      </a:lnTo>
                      <a:lnTo>
                        <a:pt x="849" y="879"/>
                      </a:lnTo>
                      <a:lnTo>
                        <a:pt x="854" y="874"/>
                      </a:lnTo>
                      <a:lnTo>
                        <a:pt x="859" y="868"/>
                      </a:lnTo>
                      <a:lnTo>
                        <a:pt x="867" y="860"/>
                      </a:lnTo>
                      <a:lnTo>
                        <a:pt x="875" y="852"/>
                      </a:lnTo>
                      <a:lnTo>
                        <a:pt x="883" y="846"/>
                      </a:lnTo>
                      <a:lnTo>
                        <a:pt x="891" y="838"/>
                      </a:lnTo>
                      <a:lnTo>
                        <a:pt x="892" y="838"/>
                      </a:lnTo>
                      <a:lnTo>
                        <a:pt x="894" y="838"/>
                      </a:lnTo>
                      <a:lnTo>
                        <a:pt x="899" y="833"/>
                      </a:lnTo>
                      <a:lnTo>
                        <a:pt x="905" y="828"/>
                      </a:lnTo>
                      <a:lnTo>
                        <a:pt x="908" y="828"/>
                      </a:lnTo>
                      <a:lnTo>
                        <a:pt x="910" y="827"/>
                      </a:lnTo>
                      <a:lnTo>
                        <a:pt x="912" y="825"/>
                      </a:lnTo>
                      <a:lnTo>
                        <a:pt x="914" y="822"/>
                      </a:lnTo>
                      <a:lnTo>
                        <a:pt x="915" y="818"/>
                      </a:lnTo>
                      <a:lnTo>
                        <a:pt x="915" y="812"/>
                      </a:lnTo>
                      <a:lnTo>
                        <a:pt x="914" y="812"/>
                      </a:lnTo>
                      <a:lnTo>
                        <a:pt x="912" y="811"/>
                      </a:lnTo>
                      <a:lnTo>
                        <a:pt x="897" y="811"/>
                      </a:lnTo>
                      <a:close/>
                      <a:moveTo>
                        <a:pt x="150" y="763"/>
                      </a:moveTo>
                      <a:lnTo>
                        <a:pt x="158" y="760"/>
                      </a:lnTo>
                      <a:lnTo>
                        <a:pt x="167" y="755"/>
                      </a:lnTo>
                      <a:lnTo>
                        <a:pt x="178" y="748"/>
                      </a:lnTo>
                      <a:lnTo>
                        <a:pt x="188" y="741"/>
                      </a:lnTo>
                      <a:lnTo>
                        <a:pt x="208" y="725"/>
                      </a:lnTo>
                      <a:lnTo>
                        <a:pt x="224" y="710"/>
                      </a:lnTo>
                      <a:lnTo>
                        <a:pt x="237" y="699"/>
                      </a:lnTo>
                      <a:lnTo>
                        <a:pt x="248" y="688"/>
                      </a:lnTo>
                      <a:lnTo>
                        <a:pt x="261" y="679"/>
                      </a:lnTo>
                      <a:lnTo>
                        <a:pt x="274" y="669"/>
                      </a:lnTo>
                      <a:lnTo>
                        <a:pt x="300" y="652"/>
                      </a:lnTo>
                      <a:lnTo>
                        <a:pt x="328" y="636"/>
                      </a:lnTo>
                      <a:lnTo>
                        <a:pt x="335" y="633"/>
                      </a:lnTo>
                      <a:lnTo>
                        <a:pt x="347" y="629"/>
                      </a:lnTo>
                      <a:lnTo>
                        <a:pt x="361" y="626"/>
                      </a:lnTo>
                      <a:lnTo>
                        <a:pt x="376" y="623"/>
                      </a:lnTo>
                      <a:lnTo>
                        <a:pt x="392" y="621"/>
                      </a:lnTo>
                      <a:lnTo>
                        <a:pt x="405" y="620"/>
                      </a:lnTo>
                      <a:lnTo>
                        <a:pt x="409" y="620"/>
                      </a:lnTo>
                      <a:lnTo>
                        <a:pt x="414" y="620"/>
                      </a:lnTo>
                      <a:lnTo>
                        <a:pt x="418" y="621"/>
                      </a:lnTo>
                      <a:lnTo>
                        <a:pt x="419" y="622"/>
                      </a:lnTo>
                      <a:lnTo>
                        <a:pt x="421" y="624"/>
                      </a:lnTo>
                      <a:lnTo>
                        <a:pt x="423" y="627"/>
                      </a:lnTo>
                      <a:lnTo>
                        <a:pt x="423" y="631"/>
                      </a:lnTo>
                      <a:lnTo>
                        <a:pt x="423" y="637"/>
                      </a:lnTo>
                      <a:lnTo>
                        <a:pt x="421" y="652"/>
                      </a:lnTo>
                      <a:lnTo>
                        <a:pt x="418" y="667"/>
                      </a:lnTo>
                      <a:lnTo>
                        <a:pt x="407" y="699"/>
                      </a:lnTo>
                      <a:lnTo>
                        <a:pt x="399" y="718"/>
                      </a:lnTo>
                      <a:lnTo>
                        <a:pt x="388" y="739"/>
                      </a:lnTo>
                      <a:lnTo>
                        <a:pt x="378" y="761"/>
                      </a:lnTo>
                      <a:lnTo>
                        <a:pt x="373" y="773"/>
                      </a:lnTo>
                      <a:lnTo>
                        <a:pt x="367" y="784"/>
                      </a:lnTo>
                      <a:lnTo>
                        <a:pt x="360" y="794"/>
                      </a:lnTo>
                      <a:lnTo>
                        <a:pt x="352" y="804"/>
                      </a:lnTo>
                      <a:lnTo>
                        <a:pt x="338" y="820"/>
                      </a:lnTo>
                      <a:lnTo>
                        <a:pt x="325" y="837"/>
                      </a:lnTo>
                      <a:lnTo>
                        <a:pt x="312" y="854"/>
                      </a:lnTo>
                      <a:lnTo>
                        <a:pt x="299" y="872"/>
                      </a:lnTo>
                      <a:lnTo>
                        <a:pt x="274" y="906"/>
                      </a:lnTo>
                      <a:lnTo>
                        <a:pt x="250" y="940"/>
                      </a:lnTo>
                      <a:lnTo>
                        <a:pt x="239" y="956"/>
                      </a:lnTo>
                      <a:lnTo>
                        <a:pt x="231" y="967"/>
                      </a:lnTo>
                      <a:lnTo>
                        <a:pt x="224" y="977"/>
                      </a:lnTo>
                      <a:lnTo>
                        <a:pt x="218" y="982"/>
                      </a:lnTo>
                      <a:lnTo>
                        <a:pt x="214" y="983"/>
                      </a:lnTo>
                      <a:lnTo>
                        <a:pt x="210" y="983"/>
                      </a:lnTo>
                      <a:lnTo>
                        <a:pt x="206" y="983"/>
                      </a:lnTo>
                      <a:lnTo>
                        <a:pt x="200" y="980"/>
                      </a:lnTo>
                      <a:lnTo>
                        <a:pt x="188" y="974"/>
                      </a:lnTo>
                      <a:lnTo>
                        <a:pt x="173" y="963"/>
                      </a:lnTo>
                      <a:lnTo>
                        <a:pt x="133" y="926"/>
                      </a:lnTo>
                      <a:lnTo>
                        <a:pt x="133" y="926"/>
                      </a:lnTo>
                      <a:lnTo>
                        <a:pt x="0" y="1058"/>
                      </a:lnTo>
                      <a:lnTo>
                        <a:pt x="0" y="1058"/>
                      </a:lnTo>
                      <a:lnTo>
                        <a:pt x="30" y="1099"/>
                      </a:lnTo>
                      <a:lnTo>
                        <a:pt x="33" y="1105"/>
                      </a:lnTo>
                      <a:lnTo>
                        <a:pt x="38" y="1111"/>
                      </a:lnTo>
                      <a:lnTo>
                        <a:pt x="44" y="1115"/>
                      </a:lnTo>
                      <a:lnTo>
                        <a:pt x="50" y="1118"/>
                      </a:lnTo>
                      <a:lnTo>
                        <a:pt x="64" y="1123"/>
                      </a:lnTo>
                      <a:lnTo>
                        <a:pt x="77" y="1127"/>
                      </a:lnTo>
                      <a:lnTo>
                        <a:pt x="79" y="1129"/>
                      </a:lnTo>
                      <a:lnTo>
                        <a:pt x="81" y="1132"/>
                      </a:lnTo>
                      <a:lnTo>
                        <a:pt x="84" y="1142"/>
                      </a:lnTo>
                      <a:lnTo>
                        <a:pt x="86" y="1152"/>
                      </a:lnTo>
                      <a:lnTo>
                        <a:pt x="91" y="1162"/>
                      </a:lnTo>
                      <a:lnTo>
                        <a:pt x="96" y="1171"/>
                      </a:lnTo>
                      <a:lnTo>
                        <a:pt x="101" y="1181"/>
                      </a:lnTo>
                      <a:lnTo>
                        <a:pt x="107" y="1190"/>
                      </a:lnTo>
                      <a:lnTo>
                        <a:pt x="114" y="1200"/>
                      </a:lnTo>
                      <a:lnTo>
                        <a:pt x="123" y="1208"/>
                      </a:lnTo>
                      <a:lnTo>
                        <a:pt x="138" y="1224"/>
                      </a:lnTo>
                      <a:lnTo>
                        <a:pt x="156" y="1238"/>
                      </a:lnTo>
                      <a:lnTo>
                        <a:pt x="172" y="1251"/>
                      </a:lnTo>
                      <a:lnTo>
                        <a:pt x="190" y="1261"/>
                      </a:lnTo>
                      <a:lnTo>
                        <a:pt x="197" y="1264"/>
                      </a:lnTo>
                      <a:lnTo>
                        <a:pt x="203" y="1269"/>
                      </a:lnTo>
                      <a:lnTo>
                        <a:pt x="208" y="1274"/>
                      </a:lnTo>
                      <a:lnTo>
                        <a:pt x="213" y="1279"/>
                      </a:lnTo>
                      <a:lnTo>
                        <a:pt x="220" y="1288"/>
                      </a:lnTo>
                      <a:lnTo>
                        <a:pt x="226" y="1300"/>
                      </a:lnTo>
                      <a:lnTo>
                        <a:pt x="230" y="1310"/>
                      </a:lnTo>
                      <a:lnTo>
                        <a:pt x="233" y="1322"/>
                      </a:lnTo>
                      <a:lnTo>
                        <a:pt x="234" y="1334"/>
                      </a:lnTo>
                      <a:lnTo>
                        <a:pt x="235" y="1346"/>
                      </a:lnTo>
                      <a:lnTo>
                        <a:pt x="238" y="1358"/>
                      </a:lnTo>
                      <a:lnTo>
                        <a:pt x="239" y="1368"/>
                      </a:lnTo>
                      <a:lnTo>
                        <a:pt x="242" y="1379"/>
                      </a:lnTo>
                      <a:lnTo>
                        <a:pt x="246" y="1389"/>
                      </a:lnTo>
                      <a:lnTo>
                        <a:pt x="252" y="1399"/>
                      </a:lnTo>
                      <a:lnTo>
                        <a:pt x="260" y="1407"/>
                      </a:lnTo>
                      <a:lnTo>
                        <a:pt x="265" y="1411"/>
                      </a:lnTo>
                      <a:lnTo>
                        <a:pt x="271" y="1414"/>
                      </a:lnTo>
                      <a:lnTo>
                        <a:pt x="277" y="1416"/>
                      </a:lnTo>
                      <a:lnTo>
                        <a:pt x="284" y="1420"/>
                      </a:lnTo>
                      <a:lnTo>
                        <a:pt x="293" y="1422"/>
                      </a:lnTo>
                      <a:lnTo>
                        <a:pt x="300" y="1422"/>
                      </a:lnTo>
                      <a:lnTo>
                        <a:pt x="307" y="1421"/>
                      </a:lnTo>
                      <a:lnTo>
                        <a:pt x="313" y="1419"/>
                      </a:lnTo>
                      <a:lnTo>
                        <a:pt x="319" y="1414"/>
                      </a:lnTo>
                      <a:lnTo>
                        <a:pt x="324" y="1409"/>
                      </a:lnTo>
                      <a:lnTo>
                        <a:pt x="327" y="1403"/>
                      </a:lnTo>
                      <a:lnTo>
                        <a:pt x="331" y="1398"/>
                      </a:lnTo>
                      <a:lnTo>
                        <a:pt x="341" y="1367"/>
                      </a:lnTo>
                      <a:lnTo>
                        <a:pt x="349" y="1341"/>
                      </a:lnTo>
                      <a:lnTo>
                        <a:pt x="353" y="1333"/>
                      </a:lnTo>
                      <a:lnTo>
                        <a:pt x="359" y="1327"/>
                      </a:lnTo>
                      <a:lnTo>
                        <a:pt x="365" y="1322"/>
                      </a:lnTo>
                      <a:lnTo>
                        <a:pt x="371" y="1317"/>
                      </a:lnTo>
                      <a:lnTo>
                        <a:pt x="376" y="1314"/>
                      </a:lnTo>
                      <a:lnTo>
                        <a:pt x="384" y="1310"/>
                      </a:lnTo>
                      <a:lnTo>
                        <a:pt x="388" y="1306"/>
                      </a:lnTo>
                      <a:lnTo>
                        <a:pt x="394" y="1300"/>
                      </a:lnTo>
                      <a:lnTo>
                        <a:pt x="399" y="1292"/>
                      </a:lnTo>
                      <a:lnTo>
                        <a:pt x="401" y="1282"/>
                      </a:lnTo>
                      <a:lnTo>
                        <a:pt x="403" y="1273"/>
                      </a:lnTo>
                      <a:lnTo>
                        <a:pt x="406" y="1263"/>
                      </a:lnTo>
                      <a:lnTo>
                        <a:pt x="407" y="1242"/>
                      </a:lnTo>
                      <a:lnTo>
                        <a:pt x="408" y="1223"/>
                      </a:lnTo>
                      <a:lnTo>
                        <a:pt x="415" y="1217"/>
                      </a:lnTo>
                      <a:lnTo>
                        <a:pt x="422" y="1213"/>
                      </a:lnTo>
                      <a:lnTo>
                        <a:pt x="429" y="1209"/>
                      </a:lnTo>
                      <a:lnTo>
                        <a:pt x="438" y="1205"/>
                      </a:lnTo>
                      <a:lnTo>
                        <a:pt x="445" y="1203"/>
                      </a:lnTo>
                      <a:lnTo>
                        <a:pt x="453" y="1201"/>
                      </a:lnTo>
                      <a:lnTo>
                        <a:pt x="460" y="1197"/>
                      </a:lnTo>
                      <a:lnTo>
                        <a:pt x="468" y="1193"/>
                      </a:lnTo>
                      <a:lnTo>
                        <a:pt x="514" y="1157"/>
                      </a:lnTo>
                      <a:lnTo>
                        <a:pt x="522" y="1152"/>
                      </a:lnTo>
                      <a:lnTo>
                        <a:pt x="530" y="1149"/>
                      </a:lnTo>
                      <a:lnTo>
                        <a:pt x="537" y="1147"/>
                      </a:lnTo>
                      <a:lnTo>
                        <a:pt x="546" y="1144"/>
                      </a:lnTo>
                      <a:lnTo>
                        <a:pt x="554" y="1144"/>
                      </a:lnTo>
                      <a:lnTo>
                        <a:pt x="562" y="1144"/>
                      </a:lnTo>
                      <a:lnTo>
                        <a:pt x="572" y="1145"/>
                      </a:lnTo>
                      <a:lnTo>
                        <a:pt x="580" y="1148"/>
                      </a:lnTo>
                      <a:lnTo>
                        <a:pt x="596" y="1151"/>
                      </a:lnTo>
                      <a:lnTo>
                        <a:pt x="614" y="1156"/>
                      </a:lnTo>
                      <a:lnTo>
                        <a:pt x="622" y="1157"/>
                      </a:lnTo>
                      <a:lnTo>
                        <a:pt x="630" y="1158"/>
                      </a:lnTo>
                      <a:lnTo>
                        <a:pt x="639" y="1160"/>
                      </a:lnTo>
                      <a:lnTo>
                        <a:pt x="647" y="1158"/>
                      </a:lnTo>
                      <a:lnTo>
                        <a:pt x="687" y="1128"/>
                      </a:lnTo>
                      <a:lnTo>
                        <a:pt x="687" y="1128"/>
                      </a:lnTo>
                      <a:lnTo>
                        <a:pt x="687" y="1121"/>
                      </a:lnTo>
                      <a:lnTo>
                        <a:pt x="690" y="1115"/>
                      </a:lnTo>
                      <a:lnTo>
                        <a:pt x="694" y="1111"/>
                      </a:lnTo>
                      <a:lnTo>
                        <a:pt x="697" y="1108"/>
                      </a:lnTo>
                      <a:lnTo>
                        <a:pt x="702" y="1104"/>
                      </a:lnTo>
                      <a:lnTo>
                        <a:pt x="706" y="1101"/>
                      </a:lnTo>
                      <a:lnTo>
                        <a:pt x="708" y="1096"/>
                      </a:lnTo>
                      <a:lnTo>
                        <a:pt x="709" y="1089"/>
                      </a:lnTo>
                      <a:lnTo>
                        <a:pt x="709" y="1079"/>
                      </a:lnTo>
                      <a:lnTo>
                        <a:pt x="710" y="1069"/>
                      </a:lnTo>
                      <a:lnTo>
                        <a:pt x="711" y="1058"/>
                      </a:lnTo>
                      <a:lnTo>
                        <a:pt x="714" y="1049"/>
                      </a:lnTo>
                      <a:lnTo>
                        <a:pt x="717" y="1037"/>
                      </a:lnTo>
                      <a:lnTo>
                        <a:pt x="718" y="1026"/>
                      </a:lnTo>
                      <a:lnTo>
                        <a:pt x="720" y="1019"/>
                      </a:lnTo>
                      <a:lnTo>
                        <a:pt x="718" y="1013"/>
                      </a:lnTo>
                      <a:lnTo>
                        <a:pt x="716" y="1007"/>
                      </a:lnTo>
                      <a:lnTo>
                        <a:pt x="714" y="1004"/>
                      </a:lnTo>
                      <a:lnTo>
                        <a:pt x="710" y="1002"/>
                      </a:lnTo>
                      <a:lnTo>
                        <a:pt x="706" y="998"/>
                      </a:lnTo>
                      <a:lnTo>
                        <a:pt x="698" y="993"/>
                      </a:lnTo>
                      <a:lnTo>
                        <a:pt x="691" y="987"/>
                      </a:lnTo>
                      <a:lnTo>
                        <a:pt x="689" y="984"/>
                      </a:lnTo>
                      <a:lnTo>
                        <a:pt x="688" y="979"/>
                      </a:lnTo>
                      <a:lnTo>
                        <a:pt x="688" y="972"/>
                      </a:lnTo>
                      <a:lnTo>
                        <a:pt x="689" y="965"/>
                      </a:lnTo>
                      <a:lnTo>
                        <a:pt x="691" y="956"/>
                      </a:lnTo>
                      <a:lnTo>
                        <a:pt x="693" y="949"/>
                      </a:lnTo>
                      <a:lnTo>
                        <a:pt x="691" y="943"/>
                      </a:lnTo>
                      <a:lnTo>
                        <a:pt x="690" y="939"/>
                      </a:lnTo>
                      <a:lnTo>
                        <a:pt x="689" y="937"/>
                      </a:lnTo>
                      <a:lnTo>
                        <a:pt x="687" y="936"/>
                      </a:lnTo>
                      <a:lnTo>
                        <a:pt x="683" y="936"/>
                      </a:lnTo>
                      <a:lnTo>
                        <a:pt x="680" y="936"/>
                      </a:lnTo>
                      <a:lnTo>
                        <a:pt x="674" y="936"/>
                      </a:lnTo>
                      <a:lnTo>
                        <a:pt x="668" y="937"/>
                      </a:lnTo>
                      <a:lnTo>
                        <a:pt x="667" y="936"/>
                      </a:lnTo>
                      <a:lnTo>
                        <a:pt x="666" y="934"/>
                      </a:lnTo>
                      <a:lnTo>
                        <a:pt x="664" y="932"/>
                      </a:lnTo>
                      <a:lnTo>
                        <a:pt x="666" y="928"/>
                      </a:lnTo>
                      <a:lnTo>
                        <a:pt x="667" y="923"/>
                      </a:lnTo>
                      <a:lnTo>
                        <a:pt x="670" y="918"/>
                      </a:lnTo>
                      <a:lnTo>
                        <a:pt x="673" y="913"/>
                      </a:lnTo>
                      <a:lnTo>
                        <a:pt x="676" y="910"/>
                      </a:lnTo>
                      <a:lnTo>
                        <a:pt x="684" y="904"/>
                      </a:lnTo>
                      <a:lnTo>
                        <a:pt x="693" y="899"/>
                      </a:lnTo>
                      <a:lnTo>
                        <a:pt x="696" y="897"/>
                      </a:lnTo>
                      <a:lnTo>
                        <a:pt x="700" y="894"/>
                      </a:lnTo>
                      <a:lnTo>
                        <a:pt x="703" y="891"/>
                      </a:lnTo>
                      <a:lnTo>
                        <a:pt x="706" y="887"/>
                      </a:lnTo>
                      <a:lnTo>
                        <a:pt x="707" y="883"/>
                      </a:lnTo>
                      <a:lnTo>
                        <a:pt x="708" y="877"/>
                      </a:lnTo>
                      <a:lnTo>
                        <a:pt x="708" y="871"/>
                      </a:lnTo>
                      <a:lnTo>
                        <a:pt x="707" y="862"/>
                      </a:lnTo>
                      <a:lnTo>
                        <a:pt x="714" y="867"/>
                      </a:lnTo>
                      <a:lnTo>
                        <a:pt x="723" y="875"/>
                      </a:lnTo>
                      <a:lnTo>
                        <a:pt x="729" y="879"/>
                      </a:lnTo>
                      <a:lnTo>
                        <a:pt x="734" y="881"/>
                      </a:lnTo>
                      <a:lnTo>
                        <a:pt x="738" y="883"/>
                      </a:lnTo>
                      <a:lnTo>
                        <a:pt x="743" y="881"/>
                      </a:lnTo>
                      <a:lnTo>
                        <a:pt x="745" y="879"/>
                      </a:lnTo>
                      <a:lnTo>
                        <a:pt x="748" y="877"/>
                      </a:lnTo>
                      <a:lnTo>
                        <a:pt x="750" y="874"/>
                      </a:lnTo>
                      <a:lnTo>
                        <a:pt x="751" y="871"/>
                      </a:lnTo>
                      <a:lnTo>
                        <a:pt x="751" y="865"/>
                      </a:lnTo>
                      <a:lnTo>
                        <a:pt x="751" y="858"/>
                      </a:lnTo>
                      <a:lnTo>
                        <a:pt x="749" y="851"/>
                      </a:lnTo>
                      <a:lnTo>
                        <a:pt x="745" y="845"/>
                      </a:lnTo>
                      <a:lnTo>
                        <a:pt x="742" y="839"/>
                      </a:lnTo>
                      <a:lnTo>
                        <a:pt x="737" y="835"/>
                      </a:lnTo>
                      <a:lnTo>
                        <a:pt x="733" y="829"/>
                      </a:lnTo>
                      <a:lnTo>
                        <a:pt x="727" y="824"/>
                      </a:lnTo>
                      <a:lnTo>
                        <a:pt x="720" y="819"/>
                      </a:lnTo>
                      <a:lnTo>
                        <a:pt x="713" y="814"/>
                      </a:lnTo>
                      <a:lnTo>
                        <a:pt x="696" y="805"/>
                      </a:lnTo>
                      <a:lnTo>
                        <a:pt x="684" y="795"/>
                      </a:lnTo>
                      <a:lnTo>
                        <a:pt x="683" y="793"/>
                      </a:lnTo>
                      <a:lnTo>
                        <a:pt x="684" y="788"/>
                      </a:lnTo>
                      <a:lnTo>
                        <a:pt x="686" y="782"/>
                      </a:lnTo>
                      <a:lnTo>
                        <a:pt x="689" y="775"/>
                      </a:lnTo>
                      <a:lnTo>
                        <a:pt x="691" y="769"/>
                      </a:lnTo>
                      <a:lnTo>
                        <a:pt x="696" y="765"/>
                      </a:lnTo>
                      <a:lnTo>
                        <a:pt x="700" y="761"/>
                      </a:lnTo>
                      <a:lnTo>
                        <a:pt x="703" y="761"/>
                      </a:lnTo>
                      <a:lnTo>
                        <a:pt x="708" y="761"/>
                      </a:lnTo>
                      <a:lnTo>
                        <a:pt x="714" y="762"/>
                      </a:lnTo>
                      <a:lnTo>
                        <a:pt x="722" y="761"/>
                      </a:lnTo>
                      <a:lnTo>
                        <a:pt x="730" y="760"/>
                      </a:lnTo>
                      <a:lnTo>
                        <a:pt x="748" y="756"/>
                      </a:lnTo>
                      <a:lnTo>
                        <a:pt x="765" y="752"/>
                      </a:lnTo>
                      <a:lnTo>
                        <a:pt x="783" y="745"/>
                      </a:lnTo>
                      <a:lnTo>
                        <a:pt x="797" y="738"/>
                      </a:lnTo>
                      <a:lnTo>
                        <a:pt x="802" y="734"/>
                      </a:lnTo>
                      <a:lnTo>
                        <a:pt x="805" y="730"/>
                      </a:lnTo>
                      <a:lnTo>
                        <a:pt x="808" y="727"/>
                      </a:lnTo>
                      <a:lnTo>
                        <a:pt x="808" y="723"/>
                      </a:lnTo>
                      <a:lnTo>
                        <a:pt x="808" y="719"/>
                      </a:lnTo>
                      <a:lnTo>
                        <a:pt x="808" y="715"/>
                      </a:lnTo>
                      <a:lnTo>
                        <a:pt x="809" y="712"/>
                      </a:lnTo>
                      <a:lnTo>
                        <a:pt x="811" y="708"/>
                      </a:lnTo>
                      <a:lnTo>
                        <a:pt x="814" y="706"/>
                      </a:lnTo>
                      <a:lnTo>
                        <a:pt x="817" y="705"/>
                      </a:lnTo>
                      <a:lnTo>
                        <a:pt x="821" y="703"/>
                      </a:lnTo>
                      <a:lnTo>
                        <a:pt x="825" y="702"/>
                      </a:lnTo>
                      <a:lnTo>
                        <a:pt x="835" y="702"/>
                      </a:lnTo>
                      <a:lnTo>
                        <a:pt x="843" y="705"/>
                      </a:lnTo>
                      <a:lnTo>
                        <a:pt x="851" y="707"/>
                      </a:lnTo>
                      <a:lnTo>
                        <a:pt x="857" y="712"/>
                      </a:lnTo>
                      <a:lnTo>
                        <a:pt x="862" y="715"/>
                      </a:lnTo>
                      <a:lnTo>
                        <a:pt x="864" y="716"/>
                      </a:lnTo>
                      <a:lnTo>
                        <a:pt x="867" y="718"/>
                      </a:lnTo>
                      <a:lnTo>
                        <a:pt x="868" y="716"/>
                      </a:lnTo>
                      <a:lnTo>
                        <a:pt x="868" y="710"/>
                      </a:lnTo>
                      <a:lnTo>
                        <a:pt x="864" y="702"/>
                      </a:lnTo>
                      <a:lnTo>
                        <a:pt x="859" y="693"/>
                      </a:lnTo>
                      <a:lnTo>
                        <a:pt x="851" y="682"/>
                      </a:lnTo>
                      <a:lnTo>
                        <a:pt x="848" y="677"/>
                      </a:lnTo>
                      <a:lnTo>
                        <a:pt x="843" y="674"/>
                      </a:lnTo>
                      <a:lnTo>
                        <a:pt x="837" y="670"/>
                      </a:lnTo>
                      <a:lnTo>
                        <a:pt x="831" y="667"/>
                      </a:lnTo>
                      <a:lnTo>
                        <a:pt x="820" y="664"/>
                      </a:lnTo>
                      <a:lnTo>
                        <a:pt x="807" y="662"/>
                      </a:lnTo>
                      <a:lnTo>
                        <a:pt x="801" y="660"/>
                      </a:lnTo>
                      <a:lnTo>
                        <a:pt x="796" y="656"/>
                      </a:lnTo>
                      <a:lnTo>
                        <a:pt x="793" y="652"/>
                      </a:lnTo>
                      <a:lnTo>
                        <a:pt x="789" y="646"/>
                      </a:lnTo>
                      <a:lnTo>
                        <a:pt x="785" y="637"/>
                      </a:lnTo>
                      <a:lnTo>
                        <a:pt x="782" y="629"/>
                      </a:lnTo>
                      <a:lnTo>
                        <a:pt x="776" y="623"/>
                      </a:lnTo>
                      <a:lnTo>
                        <a:pt x="769" y="620"/>
                      </a:lnTo>
                      <a:lnTo>
                        <a:pt x="754" y="614"/>
                      </a:lnTo>
                      <a:lnTo>
                        <a:pt x="736" y="609"/>
                      </a:lnTo>
                      <a:lnTo>
                        <a:pt x="716" y="604"/>
                      </a:lnTo>
                      <a:lnTo>
                        <a:pt x="691" y="598"/>
                      </a:lnTo>
                      <a:lnTo>
                        <a:pt x="681" y="595"/>
                      </a:lnTo>
                      <a:lnTo>
                        <a:pt x="671" y="588"/>
                      </a:lnTo>
                      <a:lnTo>
                        <a:pt x="668" y="584"/>
                      </a:lnTo>
                      <a:lnTo>
                        <a:pt x="666" y="581"/>
                      </a:lnTo>
                      <a:lnTo>
                        <a:pt x="663" y="576"/>
                      </a:lnTo>
                      <a:lnTo>
                        <a:pt x="662" y="570"/>
                      </a:lnTo>
                      <a:lnTo>
                        <a:pt x="662" y="541"/>
                      </a:lnTo>
                      <a:lnTo>
                        <a:pt x="663" y="515"/>
                      </a:lnTo>
                      <a:lnTo>
                        <a:pt x="662" y="510"/>
                      </a:lnTo>
                      <a:lnTo>
                        <a:pt x="661" y="504"/>
                      </a:lnTo>
                      <a:lnTo>
                        <a:pt x="659" y="501"/>
                      </a:lnTo>
                      <a:lnTo>
                        <a:pt x="655" y="497"/>
                      </a:lnTo>
                      <a:lnTo>
                        <a:pt x="650" y="494"/>
                      </a:lnTo>
                      <a:lnTo>
                        <a:pt x="644" y="491"/>
                      </a:lnTo>
                      <a:lnTo>
                        <a:pt x="637" y="490"/>
                      </a:lnTo>
                      <a:lnTo>
                        <a:pt x="629" y="490"/>
                      </a:lnTo>
                      <a:lnTo>
                        <a:pt x="630" y="487"/>
                      </a:lnTo>
                      <a:lnTo>
                        <a:pt x="631" y="483"/>
                      </a:lnTo>
                      <a:lnTo>
                        <a:pt x="635" y="481"/>
                      </a:lnTo>
                      <a:lnTo>
                        <a:pt x="637" y="479"/>
                      </a:lnTo>
                      <a:lnTo>
                        <a:pt x="644" y="476"/>
                      </a:lnTo>
                      <a:lnTo>
                        <a:pt x="651" y="474"/>
                      </a:lnTo>
                      <a:lnTo>
                        <a:pt x="660" y="471"/>
                      </a:lnTo>
                      <a:lnTo>
                        <a:pt x="667" y="468"/>
                      </a:lnTo>
                      <a:lnTo>
                        <a:pt x="669" y="465"/>
                      </a:lnTo>
                      <a:lnTo>
                        <a:pt x="671" y="463"/>
                      </a:lnTo>
                      <a:lnTo>
                        <a:pt x="674" y="459"/>
                      </a:lnTo>
                      <a:lnTo>
                        <a:pt x="675" y="456"/>
                      </a:lnTo>
                      <a:lnTo>
                        <a:pt x="677" y="443"/>
                      </a:lnTo>
                      <a:lnTo>
                        <a:pt x="677" y="430"/>
                      </a:lnTo>
                      <a:lnTo>
                        <a:pt x="676" y="418"/>
                      </a:lnTo>
                      <a:lnTo>
                        <a:pt x="675" y="405"/>
                      </a:lnTo>
                      <a:lnTo>
                        <a:pt x="674" y="400"/>
                      </a:lnTo>
                      <a:lnTo>
                        <a:pt x="671" y="397"/>
                      </a:lnTo>
                      <a:lnTo>
                        <a:pt x="667" y="393"/>
                      </a:lnTo>
                      <a:lnTo>
                        <a:pt x="661" y="391"/>
                      </a:lnTo>
                      <a:lnTo>
                        <a:pt x="646" y="387"/>
                      </a:lnTo>
                      <a:lnTo>
                        <a:pt x="628" y="385"/>
                      </a:lnTo>
                      <a:lnTo>
                        <a:pt x="608" y="383"/>
                      </a:lnTo>
                      <a:lnTo>
                        <a:pt x="589" y="382"/>
                      </a:lnTo>
                      <a:lnTo>
                        <a:pt x="581" y="379"/>
                      </a:lnTo>
                      <a:lnTo>
                        <a:pt x="574" y="378"/>
                      </a:lnTo>
                      <a:lnTo>
                        <a:pt x="567" y="376"/>
                      </a:lnTo>
                      <a:lnTo>
                        <a:pt x="562" y="372"/>
                      </a:lnTo>
                      <a:lnTo>
                        <a:pt x="559" y="369"/>
                      </a:lnTo>
                      <a:lnTo>
                        <a:pt x="555" y="365"/>
                      </a:lnTo>
                      <a:lnTo>
                        <a:pt x="553" y="362"/>
                      </a:lnTo>
                      <a:lnTo>
                        <a:pt x="550" y="357"/>
                      </a:lnTo>
                      <a:lnTo>
                        <a:pt x="548" y="347"/>
                      </a:lnTo>
                      <a:lnTo>
                        <a:pt x="547" y="339"/>
                      </a:lnTo>
                      <a:lnTo>
                        <a:pt x="548" y="333"/>
                      </a:lnTo>
                      <a:lnTo>
                        <a:pt x="552" y="329"/>
                      </a:lnTo>
                      <a:lnTo>
                        <a:pt x="553" y="329"/>
                      </a:lnTo>
                      <a:lnTo>
                        <a:pt x="555" y="329"/>
                      </a:lnTo>
                      <a:lnTo>
                        <a:pt x="557" y="330"/>
                      </a:lnTo>
                      <a:lnTo>
                        <a:pt x="560" y="333"/>
                      </a:lnTo>
                      <a:lnTo>
                        <a:pt x="569" y="345"/>
                      </a:lnTo>
                      <a:lnTo>
                        <a:pt x="577" y="354"/>
                      </a:lnTo>
                      <a:lnTo>
                        <a:pt x="584" y="360"/>
                      </a:lnTo>
                      <a:lnTo>
                        <a:pt x="593" y="365"/>
                      </a:lnTo>
                      <a:lnTo>
                        <a:pt x="601" y="366"/>
                      </a:lnTo>
                      <a:lnTo>
                        <a:pt x="612" y="367"/>
                      </a:lnTo>
                      <a:lnTo>
                        <a:pt x="623" y="367"/>
                      </a:lnTo>
                      <a:lnTo>
                        <a:pt x="639" y="367"/>
                      </a:lnTo>
                      <a:lnTo>
                        <a:pt x="651" y="370"/>
                      </a:lnTo>
                      <a:lnTo>
                        <a:pt x="666" y="373"/>
                      </a:lnTo>
                      <a:lnTo>
                        <a:pt x="679" y="378"/>
                      </a:lnTo>
                      <a:lnTo>
                        <a:pt x="693" y="382"/>
                      </a:lnTo>
                      <a:lnTo>
                        <a:pt x="697" y="384"/>
                      </a:lnTo>
                      <a:lnTo>
                        <a:pt x="703" y="387"/>
                      </a:lnTo>
                      <a:lnTo>
                        <a:pt x="710" y="391"/>
                      </a:lnTo>
                      <a:lnTo>
                        <a:pt x="715" y="392"/>
                      </a:lnTo>
                      <a:lnTo>
                        <a:pt x="715" y="393"/>
                      </a:lnTo>
                      <a:lnTo>
                        <a:pt x="715" y="398"/>
                      </a:lnTo>
                      <a:lnTo>
                        <a:pt x="713" y="403"/>
                      </a:lnTo>
                      <a:lnTo>
                        <a:pt x="710" y="408"/>
                      </a:lnTo>
                      <a:lnTo>
                        <a:pt x="707" y="411"/>
                      </a:lnTo>
                      <a:lnTo>
                        <a:pt x="704" y="415"/>
                      </a:lnTo>
                      <a:lnTo>
                        <a:pt x="703" y="419"/>
                      </a:lnTo>
                      <a:lnTo>
                        <a:pt x="702" y="424"/>
                      </a:lnTo>
                      <a:lnTo>
                        <a:pt x="703" y="431"/>
                      </a:lnTo>
                      <a:lnTo>
                        <a:pt x="704" y="442"/>
                      </a:lnTo>
                      <a:lnTo>
                        <a:pt x="704" y="455"/>
                      </a:lnTo>
                      <a:lnTo>
                        <a:pt x="703" y="468"/>
                      </a:lnTo>
                      <a:lnTo>
                        <a:pt x="703" y="478"/>
                      </a:lnTo>
                      <a:lnTo>
                        <a:pt x="703" y="487"/>
                      </a:lnTo>
                      <a:lnTo>
                        <a:pt x="704" y="494"/>
                      </a:lnTo>
                      <a:lnTo>
                        <a:pt x="706" y="501"/>
                      </a:lnTo>
                      <a:lnTo>
                        <a:pt x="708" y="507"/>
                      </a:lnTo>
                      <a:lnTo>
                        <a:pt x="710" y="511"/>
                      </a:lnTo>
                      <a:lnTo>
                        <a:pt x="714" y="515"/>
                      </a:lnTo>
                      <a:lnTo>
                        <a:pt x="717" y="518"/>
                      </a:lnTo>
                      <a:lnTo>
                        <a:pt x="721" y="522"/>
                      </a:lnTo>
                      <a:lnTo>
                        <a:pt x="730" y="527"/>
                      </a:lnTo>
                      <a:lnTo>
                        <a:pt x="741" y="530"/>
                      </a:lnTo>
                      <a:lnTo>
                        <a:pt x="753" y="534"/>
                      </a:lnTo>
                      <a:lnTo>
                        <a:pt x="765" y="537"/>
                      </a:lnTo>
                      <a:lnTo>
                        <a:pt x="770" y="538"/>
                      </a:lnTo>
                      <a:lnTo>
                        <a:pt x="773" y="541"/>
                      </a:lnTo>
                      <a:lnTo>
                        <a:pt x="776" y="543"/>
                      </a:lnTo>
                      <a:lnTo>
                        <a:pt x="777" y="545"/>
                      </a:lnTo>
                      <a:lnTo>
                        <a:pt x="780" y="553"/>
                      </a:lnTo>
                      <a:lnTo>
                        <a:pt x="782" y="560"/>
                      </a:lnTo>
                      <a:lnTo>
                        <a:pt x="784" y="568"/>
                      </a:lnTo>
                      <a:lnTo>
                        <a:pt x="788" y="576"/>
                      </a:lnTo>
                      <a:lnTo>
                        <a:pt x="790" y="581"/>
                      </a:lnTo>
                      <a:lnTo>
                        <a:pt x="793" y="584"/>
                      </a:lnTo>
                      <a:lnTo>
                        <a:pt x="797" y="588"/>
                      </a:lnTo>
                      <a:lnTo>
                        <a:pt x="802" y="590"/>
                      </a:lnTo>
                      <a:lnTo>
                        <a:pt x="821" y="604"/>
                      </a:lnTo>
                      <a:lnTo>
                        <a:pt x="847" y="623"/>
                      </a:lnTo>
                      <a:lnTo>
                        <a:pt x="859" y="631"/>
                      </a:lnTo>
                      <a:lnTo>
                        <a:pt x="871" y="639"/>
                      </a:lnTo>
                      <a:lnTo>
                        <a:pt x="876" y="640"/>
                      </a:lnTo>
                      <a:lnTo>
                        <a:pt x="881" y="641"/>
                      </a:lnTo>
                      <a:lnTo>
                        <a:pt x="883" y="640"/>
                      </a:lnTo>
                      <a:lnTo>
                        <a:pt x="887" y="639"/>
                      </a:lnTo>
                      <a:lnTo>
                        <a:pt x="890" y="631"/>
                      </a:lnTo>
                      <a:lnTo>
                        <a:pt x="891" y="624"/>
                      </a:lnTo>
                      <a:lnTo>
                        <a:pt x="891" y="616"/>
                      </a:lnTo>
                      <a:lnTo>
                        <a:pt x="889" y="609"/>
                      </a:lnTo>
                      <a:lnTo>
                        <a:pt x="888" y="601"/>
                      </a:lnTo>
                      <a:lnTo>
                        <a:pt x="888" y="594"/>
                      </a:lnTo>
                      <a:lnTo>
                        <a:pt x="888" y="587"/>
                      </a:lnTo>
                      <a:lnTo>
                        <a:pt x="891" y="580"/>
                      </a:lnTo>
                      <a:lnTo>
                        <a:pt x="894" y="576"/>
                      </a:lnTo>
                      <a:lnTo>
                        <a:pt x="897" y="574"/>
                      </a:lnTo>
                      <a:lnTo>
                        <a:pt x="901" y="573"/>
                      </a:lnTo>
                      <a:lnTo>
                        <a:pt x="904" y="573"/>
                      </a:lnTo>
                      <a:lnTo>
                        <a:pt x="914" y="574"/>
                      </a:lnTo>
                      <a:lnTo>
                        <a:pt x="924" y="577"/>
                      </a:lnTo>
                      <a:lnTo>
                        <a:pt x="943" y="587"/>
                      </a:lnTo>
                      <a:lnTo>
                        <a:pt x="957" y="595"/>
                      </a:lnTo>
                      <a:lnTo>
                        <a:pt x="961" y="596"/>
                      </a:lnTo>
                      <a:lnTo>
                        <a:pt x="964" y="596"/>
                      </a:lnTo>
                      <a:lnTo>
                        <a:pt x="966" y="595"/>
                      </a:lnTo>
                      <a:lnTo>
                        <a:pt x="969" y="593"/>
                      </a:lnTo>
                      <a:lnTo>
                        <a:pt x="972" y="587"/>
                      </a:lnTo>
                      <a:lnTo>
                        <a:pt x="976" y="577"/>
                      </a:lnTo>
                      <a:lnTo>
                        <a:pt x="977" y="558"/>
                      </a:lnTo>
                      <a:lnTo>
                        <a:pt x="977" y="544"/>
                      </a:lnTo>
                      <a:lnTo>
                        <a:pt x="976" y="540"/>
                      </a:lnTo>
                      <a:lnTo>
                        <a:pt x="973" y="537"/>
                      </a:lnTo>
                      <a:lnTo>
                        <a:pt x="971" y="536"/>
                      </a:lnTo>
                      <a:lnTo>
                        <a:pt x="968" y="536"/>
                      </a:lnTo>
                      <a:lnTo>
                        <a:pt x="958" y="538"/>
                      </a:lnTo>
                      <a:lnTo>
                        <a:pt x="948" y="542"/>
                      </a:lnTo>
                      <a:lnTo>
                        <a:pt x="937" y="545"/>
                      </a:lnTo>
                      <a:lnTo>
                        <a:pt x="928" y="548"/>
                      </a:lnTo>
                      <a:lnTo>
                        <a:pt x="923" y="548"/>
                      </a:lnTo>
                      <a:lnTo>
                        <a:pt x="919" y="547"/>
                      </a:lnTo>
                      <a:lnTo>
                        <a:pt x="917" y="544"/>
                      </a:lnTo>
                      <a:lnTo>
                        <a:pt x="915" y="540"/>
                      </a:lnTo>
                      <a:lnTo>
                        <a:pt x="911" y="530"/>
                      </a:lnTo>
                      <a:lnTo>
                        <a:pt x="909" y="520"/>
                      </a:lnTo>
                      <a:lnTo>
                        <a:pt x="908" y="509"/>
                      </a:lnTo>
                      <a:lnTo>
                        <a:pt x="907" y="497"/>
                      </a:lnTo>
                      <a:lnTo>
                        <a:pt x="907" y="475"/>
                      </a:lnTo>
                      <a:lnTo>
                        <a:pt x="909" y="453"/>
                      </a:lnTo>
                      <a:lnTo>
                        <a:pt x="910" y="443"/>
                      </a:lnTo>
                      <a:lnTo>
                        <a:pt x="909" y="437"/>
                      </a:lnTo>
                      <a:lnTo>
                        <a:pt x="908" y="433"/>
                      </a:lnTo>
                      <a:lnTo>
                        <a:pt x="907" y="432"/>
                      </a:lnTo>
                      <a:lnTo>
                        <a:pt x="905" y="431"/>
                      </a:lnTo>
                      <a:lnTo>
                        <a:pt x="904" y="430"/>
                      </a:lnTo>
                      <a:lnTo>
                        <a:pt x="899" y="431"/>
                      </a:lnTo>
                      <a:lnTo>
                        <a:pt x="895" y="432"/>
                      </a:lnTo>
                      <a:lnTo>
                        <a:pt x="889" y="436"/>
                      </a:lnTo>
                      <a:lnTo>
                        <a:pt x="883" y="441"/>
                      </a:lnTo>
                      <a:lnTo>
                        <a:pt x="859" y="463"/>
                      </a:lnTo>
                      <a:lnTo>
                        <a:pt x="843" y="477"/>
                      </a:lnTo>
                      <a:lnTo>
                        <a:pt x="841" y="477"/>
                      </a:lnTo>
                      <a:lnTo>
                        <a:pt x="838" y="477"/>
                      </a:lnTo>
                      <a:lnTo>
                        <a:pt x="837" y="475"/>
                      </a:lnTo>
                      <a:lnTo>
                        <a:pt x="835" y="471"/>
                      </a:lnTo>
                      <a:lnTo>
                        <a:pt x="834" y="464"/>
                      </a:lnTo>
                      <a:lnTo>
                        <a:pt x="832" y="453"/>
                      </a:lnTo>
                      <a:lnTo>
                        <a:pt x="831" y="433"/>
                      </a:lnTo>
                      <a:lnTo>
                        <a:pt x="831" y="422"/>
                      </a:lnTo>
                      <a:lnTo>
                        <a:pt x="831" y="420"/>
                      </a:lnTo>
                      <a:lnTo>
                        <a:pt x="832" y="420"/>
                      </a:lnTo>
                      <a:lnTo>
                        <a:pt x="834" y="420"/>
                      </a:lnTo>
                      <a:lnTo>
                        <a:pt x="844" y="419"/>
                      </a:lnTo>
                      <a:lnTo>
                        <a:pt x="852" y="416"/>
                      </a:lnTo>
                      <a:lnTo>
                        <a:pt x="861" y="411"/>
                      </a:lnTo>
                      <a:lnTo>
                        <a:pt x="867" y="405"/>
                      </a:lnTo>
                      <a:lnTo>
                        <a:pt x="872" y="400"/>
                      </a:lnTo>
                      <a:lnTo>
                        <a:pt x="878" y="396"/>
                      </a:lnTo>
                      <a:lnTo>
                        <a:pt x="883" y="392"/>
                      </a:lnTo>
                      <a:lnTo>
                        <a:pt x="889" y="391"/>
                      </a:lnTo>
                      <a:lnTo>
                        <a:pt x="895" y="393"/>
                      </a:lnTo>
                      <a:lnTo>
                        <a:pt x="902" y="397"/>
                      </a:lnTo>
                      <a:lnTo>
                        <a:pt x="909" y="403"/>
                      </a:lnTo>
                      <a:lnTo>
                        <a:pt x="916" y="409"/>
                      </a:lnTo>
                      <a:lnTo>
                        <a:pt x="924" y="416"/>
                      </a:lnTo>
                      <a:lnTo>
                        <a:pt x="931" y="422"/>
                      </a:lnTo>
                      <a:lnTo>
                        <a:pt x="937" y="428"/>
                      </a:lnTo>
                      <a:lnTo>
                        <a:pt x="943" y="430"/>
                      </a:lnTo>
                      <a:lnTo>
                        <a:pt x="939" y="449"/>
                      </a:lnTo>
                      <a:lnTo>
                        <a:pt x="934" y="466"/>
                      </a:lnTo>
                      <a:lnTo>
                        <a:pt x="934" y="471"/>
                      </a:lnTo>
                      <a:lnTo>
                        <a:pt x="932" y="475"/>
                      </a:lnTo>
                      <a:lnTo>
                        <a:pt x="934" y="479"/>
                      </a:lnTo>
                      <a:lnTo>
                        <a:pt x="935" y="483"/>
                      </a:lnTo>
                      <a:lnTo>
                        <a:pt x="936" y="487"/>
                      </a:lnTo>
                      <a:lnTo>
                        <a:pt x="939" y="490"/>
                      </a:lnTo>
                      <a:lnTo>
                        <a:pt x="943" y="492"/>
                      </a:lnTo>
                      <a:lnTo>
                        <a:pt x="948" y="495"/>
                      </a:lnTo>
                      <a:lnTo>
                        <a:pt x="956" y="497"/>
                      </a:lnTo>
                      <a:lnTo>
                        <a:pt x="965" y="497"/>
                      </a:lnTo>
                      <a:lnTo>
                        <a:pt x="975" y="496"/>
                      </a:lnTo>
                      <a:lnTo>
                        <a:pt x="985" y="494"/>
                      </a:lnTo>
                      <a:lnTo>
                        <a:pt x="995" y="490"/>
                      </a:lnTo>
                      <a:lnTo>
                        <a:pt x="1003" y="485"/>
                      </a:lnTo>
                      <a:lnTo>
                        <a:pt x="1006" y="483"/>
                      </a:lnTo>
                      <a:lnTo>
                        <a:pt x="1009" y="481"/>
                      </a:lnTo>
                      <a:lnTo>
                        <a:pt x="1011" y="477"/>
                      </a:lnTo>
                      <a:lnTo>
                        <a:pt x="1012" y="475"/>
                      </a:lnTo>
                      <a:lnTo>
                        <a:pt x="1019" y="476"/>
                      </a:lnTo>
                      <a:lnTo>
                        <a:pt x="1023" y="478"/>
                      </a:lnTo>
                      <a:lnTo>
                        <a:pt x="1026" y="481"/>
                      </a:lnTo>
                      <a:lnTo>
                        <a:pt x="1030" y="483"/>
                      </a:lnTo>
                      <a:lnTo>
                        <a:pt x="1029" y="505"/>
                      </a:lnTo>
                      <a:lnTo>
                        <a:pt x="1028" y="530"/>
                      </a:lnTo>
                      <a:lnTo>
                        <a:pt x="1029" y="542"/>
                      </a:lnTo>
                      <a:lnTo>
                        <a:pt x="1031" y="553"/>
                      </a:lnTo>
                      <a:lnTo>
                        <a:pt x="1032" y="558"/>
                      </a:lnTo>
                      <a:lnTo>
                        <a:pt x="1035" y="563"/>
                      </a:lnTo>
                      <a:lnTo>
                        <a:pt x="1038" y="568"/>
                      </a:lnTo>
                      <a:lnTo>
                        <a:pt x="1042" y="571"/>
                      </a:lnTo>
                      <a:lnTo>
                        <a:pt x="1062" y="593"/>
                      </a:lnTo>
                      <a:lnTo>
                        <a:pt x="1092" y="622"/>
                      </a:lnTo>
                      <a:lnTo>
                        <a:pt x="1107" y="637"/>
                      </a:lnTo>
                      <a:lnTo>
                        <a:pt x="1123" y="649"/>
                      </a:lnTo>
                      <a:lnTo>
                        <a:pt x="1129" y="654"/>
                      </a:lnTo>
                      <a:lnTo>
                        <a:pt x="1135" y="657"/>
                      </a:lnTo>
                      <a:lnTo>
                        <a:pt x="1140" y="660"/>
                      </a:lnTo>
                      <a:lnTo>
                        <a:pt x="1144" y="661"/>
                      </a:lnTo>
                      <a:lnTo>
                        <a:pt x="1144" y="654"/>
                      </a:lnTo>
                      <a:lnTo>
                        <a:pt x="1143" y="647"/>
                      </a:lnTo>
                      <a:lnTo>
                        <a:pt x="1140" y="640"/>
                      </a:lnTo>
                      <a:lnTo>
                        <a:pt x="1138" y="634"/>
                      </a:lnTo>
                      <a:lnTo>
                        <a:pt x="1133" y="622"/>
                      </a:lnTo>
                      <a:lnTo>
                        <a:pt x="1129" y="609"/>
                      </a:lnTo>
                      <a:lnTo>
                        <a:pt x="1119" y="598"/>
                      </a:lnTo>
                      <a:lnTo>
                        <a:pt x="1110" y="590"/>
                      </a:lnTo>
                      <a:lnTo>
                        <a:pt x="1100" y="584"/>
                      </a:lnTo>
                      <a:lnTo>
                        <a:pt x="1090" y="581"/>
                      </a:lnTo>
                      <a:lnTo>
                        <a:pt x="1084" y="577"/>
                      </a:lnTo>
                      <a:lnTo>
                        <a:pt x="1078" y="576"/>
                      </a:lnTo>
                      <a:lnTo>
                        <a:pt x="1071" y="573"/>
                      </a:lnTo>
                      <a:lnTo>
                        <a:pt x="1065" y="568"/>
                      </a:lnTo>
                      <a:lnTo>
                        <a:pt x="1060" y="562"/>
                      </a:lnTo>
                      <a:lnTo>
                        <a:pt x="1057" y="555"/>
                      </a:lnTo>
                      <a:lnTo>
                        <a:pt x="1055" y="551"/>
                      </a:lnTo>
                      <a:lnTo>
                        <a:pt x="1053" y="548"/>
                      </a:lnTo>
                      <a:lnTo>
                        <a:pt x="1052" y="543"/>
                      </a:lnTo>
                      <a:lnTo>
                        <a:pt x="1052" y="537"/>
                      </a:lnTo>
                      <a:lnTo>
                        <a:pt x="1052" y="525"/>
                      </a:lnTo>
                      <a:lnTo>
                        <a:pt x="1053" y="517"/>
                      </a:lnTo>
                      <a:lnTo>
                        <a:pt x="1057" y="505"/>
                      </a:lnTo>
                      <a:lnTo>
                        <a:pt x="1059" y="495"/>
                      </a:lnTo>
                      <a:lnTo>
                        <a:pt x="1063" y="483"/>
                      </a:lnTo>
                      <a:lnTo>
                        <a:pt x="1065" y="470"/>
                      </a:lnTo>
                      <a:lnTo>
                        <a:pt x="1057" y="456"/>
                      </a:lnTo>
                      <a:lnTo>
                        <a:pt x="1050" y="441"/>
                      </a:lnTo>
                      <a:lnTo>
                        <a:pt x="1046" y="426"/>
                      </a:lnTo>
                      <a:lnTo>
                        <a:pt x="1043" y="413"/>
                      </a:lnTo>
                      <a:lnTo>
                        <a:pt x="1043" y="412"/>
                      </a:lnTo>
                      <a:lnTo>
                        <a:pt x="1043" y="411"/>
                      </a:lnTo>
                      <a:lnTo>
                        <a:pt x="1042" y="391"/>
                      </a:lnTo>
                      <a:lnTo>
                        <a:pt x="1040" y="371"/>
                      </a:lnTo>
                      <a:lnTo>
                        <a:pt x="1040" y="362"/>
                      </a:lnTo>
                      <a:lnTo>
                        <a:pt x="1042" y="351"/>
                      </a:lnTo>
                      <a:lnTo>
                        <a:pt x="1043" y="342"/>
                      </a:lnTo>
                      <a:lnTo>
                        <a:pt x="1045" y="331"/>
                      </a:lnTo>
                      <a:lnTo>
                        <a:pt x="1048" y="319"/>
                      </a:lnTo>
                      <a:lnTo>
                        <a:pt x="1049" y="307"/>
                      </a:lnTo>
                      <a:lnTo>
                        <a:pt x="1048" y="306"/>
                      </a:lnTo>
                      <a:lnTo>
                        <a:pt x="1043" y="305"/>
                      </a:lnTo>
                      <a:lnTo>
                        <a:pt x="1037" y="304"/>
                      </a:lnTo>
                      <a:lnTo>
                        <a:pt x="1030" y="304"/>
                      </a:lnTo>
                      <a:lnTo>
                        <a:pt x="1015" y="304"/>
                      </a:lnTo>
                      <a:lnTo>
                        <a:pt x="1005" y="305"/>
                      </a:lnTo>
                      <a:lnTo>
                        <a:pt x="998" y="304"/>
                      </a:lnTo>
                      <a:lnTo>
                        <a:pt x="993" y="301"/>
                      </a:lnTo>
                      <a:lnTo>
                        <a:pt x="990" y="299"/>
                      </a:lnTo>
                      <a:lnTo>
                        <a:pt x="988" y="294"/>
                      </a:lnTo>
                      <a:lnTo>
                        <a:pt x="984" y="284"/>
                      </a:lnTo>
                      <a:lnTo>
                        <a:pt x="981" y="272"/>
                      </a:lnTo>
                      <a:lnTo>
                        <a:pt x="975" y="267"/>
                      </a:lnTo>
                      <a:lnTo>
                        <a:pt x="969" y="263"/>
                      </a:lnTo>
                      <a:lnTo>
                        <a:pt x="965" y="258"/>
                      </a:lnTo>
                      <a:lnTo>
                        <a:pt x="962" y="252"/>
                      </a:lnTo>
                      <a:lnTo>
                        <a:pt x="959" y="246"/>
                      </a:lnTo>
                      <a:lnTo>
                        <a:pt x="958" y="240"/>
                      </a:lnTo>
                      <a:lnTo>
                        <a:pt x="959" y="233"/>
                      </a:lnTo>
                      <a:lnTo>
                        <a:pt x="963" y="224"/>
                      </a:lnTo>
                      <a:lnTo>
                        <a:pt x="969" y="210"/>
                      </a:lnTo>
                      <a:lnTo>
                        <a:pt x="973" y="194"/>
                      </a:lnTo>
                      <a:lnTo>
                        <a:pt x="979" y="179"/>
                      </a:lnTo>
                      <a:lnTo>
                        <a:pt x="986" y="164"/>
                      </a:lnTo>
                      <a:lnTo>
                        <a:pt x="996" y="146"/>
                      </a:lnTo>
                      <a:lnTo>
                        <a:pt x="1006" y="129"/>
                      </a:lnTo>
                      <a:lnTo>
                        <a:pt x="1018" y="113"/>
                      </a:lnTo>
                      <a:lnTo>
                        <a:pt x="1030" y="98"/>
                      </a:lnTo>
                      <a:lnTo>
                        <a:pt x="1056" y="66"/>
                      </a:lnTo>
                      <a:lnTo>
                        <a:pt x="1080" y="34"/>
                      </a:lnTo>
                      <a:lnTo>
                        <a:pt x="1086" y="29"/>
                      </a:lnTo>
                      <a:lnTo>
                        <a:pt x="1095" y="21"/>
                      </a:lnTo>
                      <a:lnTo>
                        <a:pt x="1099" y="17"/>
                      </a:lnTo>
                      <a:lnTo>
                        <a:pt x="1102" y="13"/>
                      </a:lnTo>
                      <a:lnTo>
                        <a:pt x="1102" y="12"/>
                      </a:lnTo>
                      <a:lnTo>
                        <a:pt x="1102" y="10"/>
                      </a:lnTo>
                      <a:lnTo>
                        <a:pt x="1102" y="9"/>
                      </a:lnTo>
                      <a:lnTo>
                        <a:pt x="1100" y="8"/>
                      </a:lnTo>
                      <a:lnTo>
                        <a:pt x="1090" y="8"/>
                      </a:lnTo>
                      <a:lnTo>
                        <a:pt x="1077" y="9"/>
                      </a:lnTo>
                      <a:lnTo>
                        <a:pt x="1071" y="9"/>
                      </a:lnTo>
                      <a:lnTo>
                        <a:pt x="1065" y="8"/>
                      </a:lnTo>
                      <a:lnTo>
                        <a:pt x="1064" y="7"/>
                      </a:lnTo>
                      <a:lnTo>
                        <a:pt x="1062" y="4"/>
                      </a:lnTo>
                      <a:lnTo>
                        <a:pt x="1060" y="2"/>
                      </a:lnTo>
                      <a:lnTo>
                        <a:pt x="1059" y="0"/>
                      </a:lnTo>
                      <a:lnTo>
                        <a:pt x="1057" y="6"/>
                      </a:lnTo>
                      <a:lnTo>
                        <a:pt x="1055" y="20"/>
                      </a:lnTo>
                      <a:lnTo>
                        <a:pt x="1053" y="35"/>
                      </a:lnTo>
                      <a:lnTo>
                        <a:pt x="1051" y="43"/>
                      </a:lnTo>
                      <a:lnTo>
                        <a:pt x="1049" y="50"/>
                      </a:lnTo>
                      <a:lnTo>
                        <a:pt x="1046" y="55"/>
                      </a:lnTo>
                      <a:lnTo>
                        <a:pt x="1043" y="59"/>
                      </a:lnTo>
                      <a:lnTo>
                        <a:pt x="1039" y="62"/>
                      </a:lnTo>
                      <a:lnTo>
                        <a:pt x="1031" y="68"/>
                      </a:lnTo>
                      <a:lnTo>
                        <a:pt x="1024" y="78"/>
                      </a:lnTo>
                      <a:lnTo>
                        <a:pt x="1019" y="82"/>
                      </a:lnTo>
                      <a:lnTo>
                        <a:pt x="1015" y="87"/>
                      </a:lnTo>
                      <a:lnTo>
                        <a:pt x="1010" y="90"/>
                      </a:lnTo>
                      <a:lnTo>
                        <a:pt x="1005" y="93"/>
                      </a:lnTo>
                      <a:lnTo>
                        <a:pt x="996" y="95"/>
                      </a:lnTo>
                      <a:lnTo>
                        <a:pt x="985" y="96"/>
                      </a:lnTo>
                      <a:lnTo>
                        <a:pt x="963" y="95"/>
                      </a:lnTo>
                      <a:lnTo>
                        <a:pt x="939" y="93"/>
                      </a:lnTo>
                      <a:lnTo>
                        <a:pt x="922" y="95"/>
                      </a:lnTo>
                      <a:lnTo>
                        <a:pt x="899" y="99"/>
                      </a:lnTo>
                      <a:lnTo>
                        <a:pt x="889" y="100"/>
                      </a:lnTo>
                      <a:lnTo>
                        <a:pt x="879" y="100"/>
                      </a:lnTo>
                      <a:lnTo>
                        <a:pt x="875" y="100"/>
                      </a:lnTo>
                      <a:lnTo>
                        <a:pt x="871" y="99"/>
                      </a:lnTo>
                      <a:lnTo>
                        <a:pt x="869" y="96"/>
                      </a:lnTo>
                      <a:lnTo>
                        <a:pt x="868" y="94"/>
                      </a:lnTo>
                      <a:lnTo>
                        <a:pt x="863" y="88"/>
                      </a:lnTo>
                      <a:lnTo>
                        <a:pt x="858" y="83"/>
                      </a:lnTo>
                      <a:lnTo>
                        <a:pt x="854" y="79"/>
                      </a:lnTo>
                      <a:lnTo>
                        <a:pt x="848" y="76"/>
                      </a:lnTo>
                      <a:lnTo>
                        <a:pt x="838" y="72"/>
                      </a:lnTo>
                      <a:lnTo>
                        <a:pt x="830" y="67"/>
                      </a:lnTo>
                      <a:lnTo>
                        <a:pt x="830" y="67"/>
                      </a:lnTo>
                      <a:lnTo>
                        <a:pt x="800" y="131"/>
                      </a:lnTo>
                      <a:lnTo>
                        <a:pt x="797" y="151"/>
                      </a:lnTo>
                      <a:lnTo>
                        <a:pt x="793" y="171"/>
                      </a:lnTo>
                      <a:lnTo>
                        <a:pt x="785" y="189"/>
                      </a:lnTo>
                      <a:lnTo>
                        <a:pt x="778" y="207"/>
                      </a:lnTo>
                      <a:lnTo>
                        <a:pt x="771" y="224"/>
                      </a:lnTo>
                      <a:lnTo>
                        <a:pt x="763" y="241"/>
                      </a:lnTo>
                      <a:lnTo>
                        <a:pt x="757" y="259"/>
                      </a:lnTo>
                      <a:lnTo>
                        <a:pt x="751" y="277"/>
                      </a:lnTo>
                      <a:lnTo>
                        <a:pt x="749" y="279"/>
                      </a:lnTo>
                      <a:lnTo>
                        <a:pt x="745" y="283"/>
                      </a:lnTo>
                      <a:lnTo>
                        <a:pt x="744" y="284"/>
                      </a:lnTo>
                      <a:lnTo>
                        <a:pt x="743" y="286"/>
                      </a:lnTo>
                      <a:lnTo>
                        <a:pt x="740" y="288"/>
                      </a:lnTo>
                      <a:lnTo>
                        <a:pt x="734" y="296"/>
                      </a:lnTo>
                      <a:lnTo>
                        <a:pt x="729" y="303"/>
                      </a:lnTo>
                      <a:lnTo>
                        <a:pt x="727" y="307"/>
                      </a:lnTo>
                      <a:lnTo>
                        <a:pt x="720" y="317"/>
                      </a:lnTo>
                      <a:lnTo>
                        <a:pt x="713" y="325"/>
                      </a:lnTo>
                      <a:lnTo>
                        <a:pt x="713" y="329"/>
                      </a:lnTo>
                      <a:lnTo>
                        <a:pt x="710" y="330"/>
                      </a:lnTo>
                      <a:lnTo>
                        <a:pt x="706" y="333"/>
                      </a:lnTo>
                      <a:lnTo>
                        <a:pt x="700" y="338"/>
                      </a:lnTo>
                      <a:lnTo>
                        <a:pt x="698" y="339"/>
                      </a:lnTo>
                      <a:lnTo>
                        <a:pt x="697" y="342"/>
                      </a:lnTo>
                      <a:lnTo>
                        <a:pt x="695" y="343"/>
                      </a:lnTo>
                      <a:lnTo>
                        <a:pt x="691" y="343"/>
                      </a:lnTo>
                      <a:lnTo>
                        <a:pt x="689" y="344"/>
                      </a:lnTo>
                      <a:lnTo>
                        <a:pt x="687" y="346"/>
                      </a:lnTo>
                      <a:lnTo>
                        <a:pt x="676" y="346"/>
                      </a:lnTo>
                      <a:lnTo>
                        <a:pt x="673" y="344"/>
                      </a:lnTo>
                      <a:lnTo>
                        <a:pt x="666" y="343"/>
                      </a:lnTo>
                      <a:lnTo>
                        <a:pt x="659" y="342"/>
                      </a:lnTo>
                      <a:lnTo>
                        <a:pt x="653" y="342"/>
                      </a:lnTo>
                      <a:lnTo>
                        <a:pt x="650" y="339"/>
                      </a:lnTo>
                      <a:lnTo>
                        <a:pt x="646" y="338"/>
                      </a:lnTo>
                      <a:lnTo>
                        <a:pt x="640" y="336"/>
                      </a:lnTo>
                      <a:lnTo>
                        <a:pt x="633" y="334"/>
                      </a:lnTo>
                      <a:lnTo>
                        <a:pt x="627" y="333"/>
                      </a:lnTo>
                      <a:lnTo>
                        <a:pt x="620" y="332"/>
                      </a:lnTo>
                      <a:lnTo>
                        <a:pt x="615" y="330"/>
                      </a:lnTo>
                      <a:lnTo>
                        <a:pt x="613" y="326"/>
                      </a:lnTo>
                      <a:lnTo>
                        <a:pt x="608" y="326"/>
                      </a:lnTo>
                      <a:lnTo>
                        <a:pt x="602" y="325"/>
                      </a:lnTo>
                      <a:lnTo>
                        <a:pt x="601" y="323"/>
                      </a:lnTo>
                      <a:lnTo>
                        <a:pt x="599" y="321"/>
                      </a:lnTo>
                      <a:lnTo>
                        <a:pt x="596" y="320"/>
                      </a:lnTo>
                      <a:lnTo>
                        <a:pt x="594" y="320"/>
                      </a:lnTo>
                      <a:lnTo>
                        <a:pt x="586" y="320"/>
                      </a:lnTo>
                      <a:lnTo>
                        <a:pt x="577" y="320"/>
                      </a:lnTo>
                      <a:lnTo>
                        <a:pt x="560" y="324"/>
                      </a:lnTo>
                      <a:lnTo>
                        <a:pt x="549" y="325"/>
                      </a:lnTo>
                      <a:lnTo>
                        <a:pt x="547" y="327"/>
                      </a:lnTo>
                      <a:lnTo>
                        <a:pt x="543" y="329"/>
                      </a:lnTo>
                      <a:lnTo>
                        <a:pt x="541" y="332"/>
                      </a:lnTo>
                      <a:lnTo>
                        <a:pt x="540" y="336"/>
                      </a:lnTo>
                      <a:lnTo>
                        <a:pt x="537" y="337"/>
                      </a:lnTo>
                      <a:lnTo>
                        <a:pt x="536" y="339"/>
                      </a:lnTo>
                      <a:lnTo>
                        <a:pt x="536" y="342"/>
                      </a:lnTo>
                      <a:lnTo>
                        <a:pt x="536" y="345"/>
                      </a:lnTo>
                      <a:lnTo>
                        <a:pt x="536" y="353"/>
                      </a:lnTo>
                      <a:lnTo>
                        <a:pt x="537" y="362"/>
                      </a:lnTo>
                      <a:lnTo>
                        <a:pt x="540" y="379"/>
                      </a:lnTo>
                      <a:lnTo>
                        <a:pt x="542" y="390"/>
                      </a:lnTo>
                      <a:lnTo>
                        <a:pt x="545" y="391"/>
                      </a:lnTo>
                      <a:lnTo>
                        <a:pt x="546" y="395"/>
                      </a:lnTo>
                      <a:lnTo>
                        <a:pt x="547" y="396"/>
                      </a:lnTo>
                      <a:lnTo>
                        <a:pt x="549" y="396"/>
                      </a:lnTo>
                      <a:lnTo>
                        <a:pt x="549" y="398"/>
                      </a:lnTo>
                      <a:lnTo>
                        <a:pt x="552" y="399"/>
                      </a:lnTo>
                      <a:lnTo>
                        <a:pt x="553" y="402"/>
                      </a:lnTo>
                      <a:lnTo>
                        <a:pt x="555" y="403"/>
                      </a:lnTo>
                      <a:lnTo>
                        <a:pt x="556" y="405"/>
                      </a:lnTo>
                      <a:lnTo>
                        <a:pt x="560" y="408"/>
                      </a:lnTo>
                      <a:lnTo>
                        <a:pt x="562" y="412"/>
                      </a:lnTo>
                      <a:lnTo>
                        <a:pt x="565" y="417"/>
                      </a:lnTo>
                      <a:lnTo>
                        <a:pt x="569" y="423"/>
                      </a:lnTo>
                      <a:lnTo>
                        <a:pt x="573" y="430"/>
                      </a:lnTo>
                      <a:lnTo>
                        <a:pt x="575" y="433"/>
                      </a:lnTo>
                      <a:lnTo>
                        <a:pt x="579" y="437"/>
                      </a:lnTo>
                      <a:lnTo>
                        <a:pt x="583" y="464"/>
                      </a:lnTo>
                      <a:lnTo>
                        <a:pt x="590" y="505"/>
                      </a:lnTo>
                      <a:lnTo>
                        <a:pt x="592" y="516"/>
                      </a:lnTo>
                      <a:lnTo>
                        <a:pt x="593" y="527"/>
                      </a:lnTo>
                      <a:lnTo>
                        <a:pt x="592" y="536"/>
                      </a:lnTo>
                      <a:lnTo>
                        <a:pt x="590" y="545"/>
                      </a:lnTo>
                      <a:lnTo>
                        <a:pt x="588" y="553"/>
                      </a:lnTo>
                      <a:lnTo>
                        <a:pt x="586" y="560"/>
                      </a:lnTo>
                      <a:lnTo>
                        <a:pt x="583" y="562"/>
                      </a:lnTo>
                      <a:lnTo>
                        <a:pt x="580" y="564"/>
                      </a:lnTo>
                      <a:lnTo>
                        <a:pt x="577" y="565"/>
                      </a:lnTo>
                      <a:lnTo>
                        <a:pt x="574" y="567"/>
                      </a:lnTo>
                      <a:lnTo>
                        <a:pt x="572" y="571"/>
                      </a:lnTo>
                      <a:lnTo>
                        <a:pt x="568" y="576"/>
                      </a:lnTo>
                      <a:lnTo>
                        <a:pt x="562" y="580"/>
                      </a:lnTo>
                      <a:lnTo>
                        <a:pt x="555" y="583"/>
                      </a:lnTo>
                      <a:lnTo>
                        <a:pt x="539" y="589"/>
                      </a:lnTo>
                      <a:lnTo>
                        <a:pt x="519" y="593"/>
                      </a:lnTo>
                      <a:lnTo>
                        <a:pt x="499" y="596"/>
                      </a:lnTo>
                      <a:lnTo>
                        <a:pt x="479" y="597"/>
                      </a:lnTo>
                      <a:lnTo>
                        <a:pt x="462" y="598"/>
                      </a:lnTo>
                      <a:lnTo>
                        <a:pt x="449" y="598"/>
                      </a:lnTo>
                      <a:lnTo>
                        <a:pt x="442" y="598"/>
                      </a:lnTo>
                      <a:lnTo>
                        <a:pt x="434" y="597"/>
                      </a:lnTo>
                      <a:lnTo>
                        <a:pt x="427" y="596"/>
                      </a:lnTo>
                      <a:lnTo>
                        <a:pt x="421" y="594"/>
                      </a:lnTo>
                      <a:lnTo>
                        <a:pt x="411" y="588"/>
                      </a:lnTo>
                      <a:lnTo>
                        <a:pt x="401" y="581"/>
                      </a:lnTo>
                      <a:lnTo>
                        <a:pt x="393" y="573"/>
                      </a:lnTo>
                      <a:lnTo>
                        <a:pt x="386" y="563"/>
                      </a:lnTo>
                      <a:lnTo>
                        <a:pt x="379" y="553"/>
                      </a:lnTo>
                      <a:lnTo>
                        <a:pt x="373" y="542"/>
                      </a:lnTo>
                      <a:lnTo>
                        <a:pt x="368" y="532"/>
                      </a:lnTo>
                      <a:lnTo>
                        <a:pt x="362" y="522"/>
                      </a:lnTo>
                      <a:lnTo>
                        <a:pt x="356" y="512"/>
                      </a:lnTo>
                      <a:lnTo>
                        <a:pt x="349" y="504"/>
                      </a:lnTo>
                      <a:lnTo>
                        <a:pt x="341" y="497"/>
                      </a:lnTo>
                      <a:lnTo>
                        <a:pt x="333" y="491"/>
                      </a:lnTo>
                      <a:lnTo>
                        <a:pt x="327" y="489"/>
                      </a:lnTo>
                      <a:lnTo>
                        <a:pt x="322" y="488"/>
                      </a:lnTo>
                      <a:lnTo>
                        <a:pt x="317" y="487"/>
                      </a:lnTo>
                      <a:lnTo>
                        <a:pt x="309" y="487"/>
                      </a:lnTo>
                      <a:lnTo>
                        <a:pt x="300" y="488"/>
                      </a:lnTo>
                      <a:lnTo>
                        <a:pt x="288" y="492"/>
                      </a:lnTo>
                      <a:lnTo>
                        <a:pt x="273" y="499"/>
                      </a:lnTo>
                      <a:lnTo>
                        <a:pt x="257" y="508"/>
                      </a:lnTo>
                      <a:lnTo>
                        <a:pt x="240" y="516"/>
                      </a:lnTo>
                      <a:lnTo>
                        <a:pt x="224" y="524"/>
                      </a:lnTo>
                      <a:lnTo>
                        <a:pt x="208" y="531"/>
                      </a:lnTo>
                      <a:lnTo>
                        <a:pt x="197" y="535"/>
                      </a:lnTo>
                      <a:lnTo>
                        <a:pt x="186" y="540"/>
                      </a:lnTo>
                      <a:lnTo>
                        <a:pt x="174" y="544"/>
                      </a:lnTo>
                      <a:lnTo>
                        <a:pt x="164" y="549"/>
                      </a:lnTo>
                      <a:lnTo>
                        <a:pt x="153" y="555"/>
                      </a:lnTo>
                      <a:lnTo>
                        <a:pt x="144" y="561"/>
                      </a:lnTo>
                      <a:lnTo>
                        <a:pt x="134" y="567"/>
                      </a:lnTo>
                      <a:lnTo>
                        <a:pt x="125" y="570"/>
                      </a:lnTo>
                      <a:lnTo>
                        <a:pt x="117" y="574"/>
                      </a:lnTo>
                      <a:lnTo>
                        <a:pt x="118" y="657"/>
                      </a:lnTo>
                      <a:lnTo>
                        <a:pt x="150" y="763"/>
                      </a:lnTo>
                      <a:lnTo>
                        <a:pt x="150" y="763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Freeform 40">
                  <a:extLst>
                    <a:ext uri="{FF2B5EF4-FFF2-40B4-BE49-F238E27FC236}">
                      <a16:creationId xmlns:a16="http://schemas.microsoft.com/office/drawing/2014/main" id="{763E38BE-1AA9-4A40-AE72-828341B9FE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350394" y="2654127"/>
                  <a:ext cx="1065551" cy="957475"/>
                </a:xfrm>
                <a:custGeom>
                  <a:avLst/>
                  <a:gdLst>
                    <a:gd name="T0" fmla="*/ 2465 w 4346"/>
                    <a:gd name="T1" fmla="*/ 3734 h 3906"/>
                    <a:gd name="T2" fmla="*/ 2604 w 4346"/>
                    <a:gd name="T3" fmla="*/ 3654 h 3906"/>
                    <a:gd name="T4" fmla="*/ 2732 w 4346"/>
                    <a:gd name="T5" fmla="*/ 3582 h 3906"/>
                    <a:gd name="T6" fmla="*/ 2817 w 4346"/>
                    <a:gd name="T7" fmla="*/ 3437 h 3906"/>
                    <a:gd name="T8" fmla="*/ 2851 w 4346"/>
                    <a:gd name="T9" fmla="*/ 2932 h 3906"/>
                    <a:gd name="T10" fmla="*/ 3031 w 4346"/>
                    <a:gd name="T11" fmla="*/ 2801 h 3906"/>
                    <a:gd name="T12" fmla="*/ 3298 w 4346"/>
                    <a:gd name="T13" fmla="*/ 2812 h 3906"/>
                    <a:gd name="T14" fmla="*/ 3348 w 4346"/>
                    <a:gd name="T15" fmla="*/ 2892 h 3906"/>
                    <a:gd name="T16" fmla="*/ 3426 w 4346"/>
                    <a:gd name="T17" fmla="*/ 2964 h 3906"/>
                    <a:gd name="T18" fmla="*/ 3612 w 4346"/>
                    <a:gd name="T19" fmla="*/ 2887 h 3906"/>
                    <a:gd name="T20" fmla="*/ 3633 w 4346"/>
                    <a:gd name="T21" fmla="*/ 2573 h 3906"/>
                    <a:gd name="T22" fmla="*/ 3816 w 4346"/>
                    <a:gd name="T23" fmla="*/ 2487 h 3906"/>
                    <a:gd name="T24" fmla="*/ 3917 w 4346"/>
                    <a:gd name="T25" fmla="*/ 2580 h 3906"/>
                    <a:gd name="T26" fmla="*/ 4088 w 4346"/>
                    <a:gd name="T27" fmla="*/ 2570 h 3906"/>
                    <a:gd name="T28" fmla="*/ 4089 w 4346"/>
                    <a:gd name="T29" fmla="*/ 2429 h 3906"/>
                    <a:gd name="T30" fmla="*/ 4056 w 4346"/>
                    <a:gd name="T31" fmla="*/ 2378 h 3906"/>
                    <a:gd name="T32" fmla="*/ 4110 w 4346"/>
                    <a:gd name="T33" fmla="*/ 2319 h 3906"/>
                    <a:gd name="T34" fmla="*/ 4175 w 4346"/>
                    <a:gd name="T35" fmla="*/ 2341 h 3906"/>
                    <a:gd name="T36" fmla="*/ 4236 w 4346"/>
                    <a:gd name="T37" fmla="*/ 2316 h 3906"/>
                    <a:gd name="T38" fmla="*/ 4309 w 4346"/>
                    <a:gd name="T39" fmla="*/ 2170 h 3906"/>
                    <a:gd name="T40" fmla="*/ 4323 w 4346"/>
                    <a:gd name="T41" fmla="*/ 2002 h 3906"/>
                    <a:gd name="T42" fmla="*/ 4240 w 4346"/>
                    <a:gd name="T43" fmla="*/ 1841 h 3906"/>
                    <a:gd name="T44" fmla="*/ 4240 w 4346"/>
                    <a:gd name="T45" fmla="*/ 1683 h 3906"/>
                    <a:gd name="T46" fmla="*/ 4283 w 4346"/>
                    <a:gd name="T47" fmla="*/ 1540 h 3906"/>
                    <a:gd name="T48" fmla="*/ 4116 w 4346"/>
                    <a:gd name="T49" fmla="*/ 1260 h 3906"/>
                    <a:gd name="T50" fmla="*/ 4227 w 4346"/>
                    <a:gd name="T51" fmla="*/ 1149 h 3906"/>
                    <a:gd name="T52" fmla="*/ 4180 w 4346"/>
                    <a:gd name="T53" fmla="*/ 934 h 3906"/>
                    <a:gd name="T54" fmla="*/ 3944 w 4346"/>
                    <a:gd name="T55" fmla="*/ 949 h 3906"/>
                    <a:gd name="T56" fmla="*/ 3755 w 4346"/>
                    <a:gd name="T57" fmla="*/ 931 h 3906"/>
                    <a:gd name="T58" fmla="*/ 3689 w 4346"/>
                    <a:gd name="T59" fmla="*/ 867 h 3906"/>
                    <a:gd name="T60" fmla="*/ 3590 w 4346"/>
                    <a:gd name="T61" fmla="*/ 923 h 3906"/>
                    <a:gd name="T62" fmla="*/ 3212 w 4346"/>
                    <a:gd name="T63" fmla="*/ 594 h 3906"/>
                    <a:gd name="T64" fmla="*/ 3287 w 4346"/>
                    <a:gd name="T65" fmla="*/ 524 h 3906"/>
                    <a:gd name="T66" fmla="*/ 3126 w 4346"/>
                    <a:gd name="T67" fmla="*/ 85 h 3906"/>
                    <a:gd name="T68" fmla="*/ 3040 w 4346"/>
                    <a:gd name="T69" fmla="*/ 210 h 3906"/>
                    <a:gd name="T70" fmla="*/ 1114 w 4346"/>
                    <a:gd name="T71" fmla="*/ 1421 h 3906"/>
                    <a:gd name="T72" fmla="*/ 1363 w 4346"/>
                    <a:gd name="T73" fmla="*/ 1301 h 3906"/>
                    <a:gd name="T74" fmla="*/ 1489 w 4346"/>
                    <a:gd name="T75" fmla="*/ 1325 h 3906"/>
                    <a:gd name="T76" fmla="*/ 1652 w 4346"/>
                    <a:gd name="T77" fmla="*/ 1306 h 3906"/>
                    <a:gd name="T78" fmla="*/ 1806 w 4346"/>
                    <a:gd name="T79" fmla="*/ 1374 h 3906"/>
                    <a:gd name="T80" fmla="*/ 1792 w 4346"/>
                    <a:gd name="T81" fmla="*/ 1616 h 3906"/>
                    <a:gd name="T82" fmla="*/ 1711 w 4346"/>
                    <a:gd name="T83" fmla="*/ 1787 h 3906"/>
                    <a:gd name="T84" fmla="*/ 1768 w 4346"/>
                    <a:gd name="T85" fmla="*/ 1924 h 3906"/>
                    <a:gd name="T86" fmla="*/ 1711 w 4346"/>
                    <a:gd name="T87" fmla="*/ 2174 h 3906"/>
                    <a:gd name="T88" fmla="*/ 1511 w 4346"/>
                    <a:gd name="T89" fmla="*/ 2278 h 3906"/>
                    <a:gd name="T90" fmla="*/ 1594 w 4346"/>
                    <a:gd name="T91" fmla="*/ 2378 h 3906"/>
                    <a:gd name="T92" fmla="*/ 1475 w 4346"/>
                    <a:gd name="T93" fmla="*/ 2469 h 3906"/>
                    <a:gd name="T94" fmla="*/ 1466 w 4346"/>
                    <a:gd name="T95" fmla="*/ 2554 h 3906"/>
                    <a:gd name="T96" fmla="*/ 1457 w 4346"/>
                    <a:gd name="T97" fmla="*/ 2698 h 3906"/>
                    <a:gd name="T98" fmla="*/ 1612 w 4346"/>
                    <a:gd name="T99" fmla="*/ 2864 h 3906"/>
                    <a:gd name="T100" fmla="*/ 1882 w 4346"/>
                    <a:gd name="T101" fmla="*/ 2773 h 3906"/>
                    <a:gd name="T102" fmla="*/ 1998 w 4346"/>
                    <a:gd name="T103" fmla="*/ 3048 h 3906"/>
                    <a:gd name="T104" fmla="*/ 1918 w 4346"/>
                    <a:gd name="T105" fmla="*/ 3181 h 3906"/>
                    <a:gd name="T106" fmla="*/ 1776 w 4346"/>
                    <a:gd name="T107" fmla="*/ 3194 h 3906"/>
                    <a:gd name="T108" fmla="*/ 1594 w 4346"/>
                    <a:gd name="T109" fmla="*/ 3199 h 3906"/>
                    <a:gd name="T110" fmla="*/ 1501 w 4346"/>
                    <a:gd name="T111" fmla="*/ 3472 h 3906"/>
                    <a:gd name="T112" fmla="*/ 1596 w 4346"/>
                    <a:gd name="T113" fmla="*/ 3629 h 3906"/>
                    <a:gd name="T114" fmla="*/ 1810 w 4346"/>
                    <a:gd name="T115" fmla="*/ 3700 h 3906"/>
                    <a:gd name="T116" fmla="*/ 2005 w 4346"/>
                    <a:gd name="T117" fmla="*/ 3751 h 39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4346" h="3906">
                      <a:moveTo>
                        <a:pt x="2099" y="3905"/>
                      </a:moveTo>
                      <a:lnTo>
                        <a:pt x="2168" y="3906"/>
                      </a:lnTo>
                      <a:lnTo>
                        <a:pt x="2291" y="3769"/>
                      </a:lnTo>
                      <a:lnTo>
                        <a:pt x="2414" y="3774"/>
                      </a:lnTo>
                      <a:lnTo>
                        <a:pt x="2421" y="3774"/>
                      </a:lnTo>
                      <a:lnTo>
                        <a:pt x="2427" y="3774"/>
                      </a:lnTo>
                      <a:lnTo>
                        <a:pt x="2433" y="3773"/>
                      </a:lnTo>
                      <a:lnTo>
                        <a:pt x="2438" y="3771"/>
                      </a:lnTo>
                      <a:lnTo>
                        <a:pt x="2442" y="3769"/>
                      </a:lnTo>
                      <a:lnTo>
                        <a:pt x="2446" y="3767"/>
                      </a:lnTo>
                      <a:lnTo>
                        <a:pt x="2449" y="3764"/>
                      </a:lnTo>
                      <a:lnTo>
                        <a:pt x="2452" y="3761"/>
                      </a:lnTo>
                      <a:lnTo>
                        <a:pt x="2456" y="3754"/>
                      </a:lnTo>
                      <a:lnTo>
                        <a:pt x="2461" y="3744"/>
                      </a:lnTo>
                      <a:lnTo>
                        <a:pt x="2465" y="3734"/>
                      </a:lnTo>
                      <a:lnTo>
                        <a:pt x="2469" y="3721"/>
                      </a:lnTo>
                      <a:lnTo>
                        <a:pt x="2473" y="3712"/>
                      </a:lnTo>
                      <a:lnTo>
                        <a:pt x="2477" y="3704"/>
                      </a:lnTo>
                      <a:lnTo>
                        <a:pt x="2482" y="3698"/>
                      </a:lnTo>
                      <a:lnTo>
                        <a:pt x="2487" y="3691"/>
                      </a:lnTo>
                      <a:lnTo>
                        <a:pt x="2493" y="3687"/>
                      </a:lnTo>
                      <a:lnTo>
                        <a:pt x="2501" y="3683"/>
                      </a:lnTo>
                      <a:lnTo>
                        <a:pt x="2509" y="3679"/>
                      </a:lnTo>
                      <a:lnTo>
                        <a:pt x="2519" y="3678"/>
                      </a:lnTo>
                      <a:lnTo>
                        <a:pt x="2533" y="3675"/>
                      </a:lnTo>
                      <a:lnTo>
                        <a:pt x="2547" y="3671"/>
                      </a:lnTo>
                      <a:lnTo>
                        <a:pt x="2562" y="3667"/>
                      </a:lnTo>
                      <a:lnTo>
                        <a:pt x="2576" y="3662"/>
                      </a:lnTo>
                      <a:lnTo>
                        <a:pt x="2590" y="3657"/>
                      </a:lnTo>
                      <a:lnTo>
                        <a:pt x="2604" y="3654"/>
                      </a:lnTo>
                      <a:lnTo>
                        <a:pt x="2618" y="3651"/>
                      </a:lnTo>
                      <a:lnTo>
                        <a:pt x="2633" y="3650"/>
                      </a:lnTo>
                      <a:lnTo>
                        <a:pt x="2644" y="3650"/>
                      </a:lnTo>
                      <a:lnTo>
                        <a:pt x="2657" y="3648"/>
                      </a:lnTo>
                      <a:lnTo>
                        <a:pt x="2671" y="3644"/>
                      </a:lnTo>
                      <a:lnTo>
                        <a:pt x="2685" y="3641"/>
                      </a:lnTo>
                      <a:lnTo>
                        <a:pt x="2700" y="3636"/>
                      </a:lnTo>
                      <a:lnTo>
                        <a:pt x="2713" y="3631"/>
                      </a:lnTo>
                      <a:lnTo>
                        <a:pt x="2725" y="3625"/>
                      </a:lnTo>
                      <a:lnTo>
                        <a:pt x="2735" y="3621"/>
                      </a:lnTo>
                      <a:lnTo>
                        <a:pt x="2737" y="3612"/>
                      </a:lnTo>
                      <a:lnTo>
                        <a:pt x="2738" y="3605"/>
                      </a:lnTo>
                      <a:lnTo>
                        <a:pt x="2737" y="3599"/>
                      </a:lnTo>
                      <a:lnTo>
                        <a:pt x="2736" y="3592"/>
                      </a:lnTo>
                      <a:lnTo>
                        <a:pt x="2732" y="3582"/>
                      </a:lnTo>
                      <a:lnTo>
                        <a:pt x="2728" y="3572"/>
                      </a:lnTo>
                      <a:lnTo>
                        <a:pt x="2725" y="3566"/>
                      </a:lnTo>
                      <a:lnTo>
                        <a:pt x="2724" y="3562"/>
                      </a:lnTo>
                      <a:lnTo>
                        <a:pt x="2724" y="3556"/>
                      </a:lnTo>
                      <a:lnTo>
                        <a:pt x="2727" y="3550"/>
                      </a:lnTo>
                      <a:lnTo>
                        <a:pt x="2729" y="3544"/>
                      </a:lnTo>
                      <a:lnTo>
                        <a:pt x="2734" y="3538"/>
                      </a:lnTo>
                      <a:lnTo>
                        <a:pt x="2741" y="3530"/>
                      </a:lnTo>
                      <a:lnTo>
                        <a:pt x="2750" y="3523"/>
                      </a:lnTo>
                      <a:lnTo>
                        <a:pt x="2760" y="3513"/>
                      </a:lnTo>
                      <a:lnTo>
                        <a:pt x="2771" y="3500"/>
                      </a:lnTo>
                      <a:lnTo>
                        <a:pt x="2784" y="3486"/>
                      </a:lnTo>
                      <a:lnTo>
                        <a:pt x="2796" y="3470"/>
                      </a:lnTo>
                      <a:lnTo>
                        <a:pt x="2808" y="3453"/>
                      </a:lnTo>
                      <a:lnTo>
                        <a:pt x="2817" y="3437"/>
                      </a:lnTo>
                      <a:lnTo>
                        <a:pt x="2821" y="3428"/>
                      </a:lnTo>
                      <a:lnTo>
                        <a:pt x="2824" y="3421"/>
                      </a:lnTo>
                      <a:lnTo>
                        <a:pt x="2827" y="3415"/>
                      </a:lnTo>
                      <a:lnTo>
                        <a:pt x="2828" y="3410"/>
                      </a:lnTo>
                      <a:lnTo>
                        <a:pt x="2828" y="3296"/>
                      </a:lnTo>
                      <a:lnTo>
                        <a:pt x="2960" y="3296"/>
                      </a:lnTo>
                      <a:lnTo>
                        <a:pt x="2960" y="3215"/>
                      </a:lnTo>
                      <a:lnTo>
                        <a:pt x="2957" y="3202"/>
                      </a:lnTo>
                      <a:lnTo>
                        <a:pt x="2952" y="3186"/>
                      </a:lnTo>
                      <a:lnTo>
                        <a:pt x="2945" y="3167"/>
                      </a:lnTo>
                      <a:lnTo>
                        <a:pt x="2936" y="3143"/>
                      </a:lnTo>
                      <a:lnTo>
                        <a:pt x="2915" y="3091"/>
                      </a:lnTo>
                      <a:lnTo>
                        <a:pt x="2891" y="3036"/>
                      </a:lnTo>
                      <a:lnTo>
                        <a:pt x="2869" y="2981"/>
                      </a:lnTo>
                      <a:lnTo>
                        <a:pt x="2851" y="2932"/>
                      </a:lnTo>
                      <a:lnTo>
                        <a:pt x="2845" y="2912"/>
                      </a:lnTo>
                      <a:lnTo>
                        <a:pt x="2842" y="2894"/>
                      </a:lnTo>
                      <a:lnTo>
                        <a:pt x="2841" y="2889"/>
                      </a:lnTo>
                      <a:lnTo>
                        <a:pt x="2841" y="2883"/>
                      </a:lnTo>
                      <a:lnTo>
                        <a:pt x="2842" y="2878"/>
                      </a:lnTo>
                      <a:lnTo>
                        <a:pt x="2844" y="2874"/>
                      </a:lnTo>
                      <a:lnTo>
                        <a:pt x="2846" y="2870"/>
                      </a:lnTo>
                      <a:lnTo>
                        <a:pt x="2851" y="2865"/>
                      </a:lnTo>
                      <a:lnTo>
                        <a:pt x="2858" y="2860"/>
                      </a:lnTo>
                      <a:lnTo>
                        <a:pt x="2868" y="2854"/>
                      </a:lnTo>
                      <a:lnTo>
                        <a:pt x="2891" y="2845"/>
                      </a:lnTo>
                      <a:lnTo>
                        <a:pt x="2918" y="2836"/>
                      </a:lnTo>
                      <a:lnTo>
                        <a:pt x="2972" y="2819"/>
                      </a:lnTo>
                      <a:lnTo>
                        <a:pt x="3008" y="2810"/>
                      </a:lnTo>
                      <a:lnTo>
                        <a:pt x="3031" y="2801"/>
                      </a:lnTo>
                      <a:lnTo>
                        <a:pt x="3053" y="2794"/>
                      </a:lnTo>
                      <a:lnTo>
                        <a:pt x="3076" y="2787"/>
                      </a:lnTo>
                      <a:lnTo>
                        <a:pt x="3097" y="2783"/>
                      </a:lnTo>
                      <a:lnTo>
                        <a:pt x="3119" y="2780"/>
                      </a:lnTo>
                      <a:lnTo>
                        <a:pt x="3141" y="2778"/>
                      </a:lnTo>
                      <a:lnTo>
                        <a:pt x="3164" y="2779"/>
                      </a:lnTo>
                      <a:lnTo>
                        <a:pt x="3188" y="2781"/>
                      </a:lnTo>
                      <a:lnTo>
                        <a:pt x="3194" y="2786"/>
                      </a:lnTo>
                      <a:lnTo>
                        <a:pt x="3203" y="2790"/>
                      </a:lnTo>
                      <a:lnTo>
                        <a:pt x="3213" y="2792"/>
                      </a:lnTo>
                      <a:lnTo>
                        <a:pt x="3224" y="2795"/>
                      </a:lnTo>
                      <a:lnTo>
                        <a:pt x="3248" y="2800"/>
                      </a:lnTo>
                      <a:lnTo>
                        <a:pt x="3274" y="2806"/>
                      </a:lnTo>
                      <a:lnTo>
                        <a:pt x="3286" y="2808"/>
                      </a:lnTo>
                      <a:lnTo>
                        <a:pt x="3298" y="2812"/>
                      </a:lnTo>
                      <a:lnTo>
                        <a:pt x="3310" y="2817"/>
                      </a:lnTo>
                      <a:lnTo>
                        <a:pt x="3319" y="2820"/>
                      </a:lnTo>
                      <a:lnTo>
                        <a:pt x="3327" y="2826"/>
                      </a:lnTo>
                      <a:lnTo>
                        <a:pt x="3334" y="2832"/>
                      </a:lnTo>
                      <a:lnTo>
                        <a:pt x="3337" y="2836"/>
                      </a:lnTo>
                      <a:lnTo>
                        <a:pt x="3339" y="2839"/>
                      </a:lnTo>
                      <a:lnTo>
                        <a:pt x="3340" y="2843"/>
                      </a:lnTo>
                      <a:lnTo>
                        <a:pt x="3341" y="2846"/>
                      </a:lnTo>
                      <a:lnTo>
                        <a:pt x="3344" y="2851"/>
                      </a:lnTo>
                      <a:lnTo>
                        <a:pt x="3345" y="2854"/>
                      </a:lnTo>
                      <a:lnTo>
                        <a:pt x="3346" y="2860"/>
                      </a:lnTo>
                      <a:lnTo>
                        <a:pt x="3347" y="2865"/>
                      </a:lnTo>
                      <a:lnTo>
                        <a:pt x="3347" y="2877"/>
                      </a:lnTo>
                      <a:lnTo>
                        <a:pt x="3348" y="2886"/>
                      </a:lnTo>
                      <a:lnTo>
                        <a:pt x="3348" y="2892"/>
                      </a:lnTo>
                      <a:lnTo>
                        <a:pt x="3349" y="2897"/>
                      </a:lnTo>
                      <a:lnTo>
                        <a:pt x="3349" y="2900"/>
                      </a:lnTo>
                      <a:lnTo>
                        <a:pt x="3352" y="2903"/>
                      </a:lnTo>
                      <a:lnTo>
                        <a:pt x="3354" y="2905"/>
                      </a:lnTo>
                      <a:lnTo>
                        <a:pt x="3358" y="2906"/>
                      </a:lnTo>
                      <a:lnTo>
                        <a:pt x="3362" y="2907"/>
                      </a:lnTo>
                      <a:lnTo>
                        <a:pt x="3368" y="2907"/>
                      </a:lnTo>
                      <a:lnTo>
                        <a:pt x="3379" y="2907"/>
                      </a:lnTo>
                      <a:lnTo>
                        <a:pt x="3388" y="2907"/>
                      </a:lnTo>
                      <a:lnTo>
                        <a:pt x="3399" y="2909"/>
                      </a:lnTo>
                      <a:lnTo>
                        <a:pt x="3409" y="2909"/>
                      </a:lnTo>
                      <a:lnTo>
                        <a:pt x="3415" y="2922"/>
                      </a:lnTo>
                      <a:lnTo>
                        <a:pt x="3419" y="2935"/>
                      </a:lnTo>
                      <a:lnTo>
                        <a:pt x="3422" y="2949"/>
                      </a:lnTo>
                      <a:lnTo>
                        <a:pt x="3426" y="2964"/>
                      </a:lnTo>
                      <a:lnTo>
                        <a:pt x="3428" y="2971"/>
                      </a:lnTo>
                      <a:lnTo>
                        <a:pt x="3432" y="2979"/>
                      </a:lnTo>
                      <a:lnTo>
                        <a:pt x="3438" y="2988"/>
                      </a:lnTo>
                      <a:lnTo>
                        <a:pt x="3442" y="2996"/>
                      </a:lnTo>
                      <a:lnTo>
                        <a:pt x="3455" y="3010"/>
                      </a:lnTo>
                      <a:lnTo>
                        <a:pt x="3468" y="3022"/>
                      </a:lnTo>
                      <a:lnTo>
                        <a:pt x="3516" y="3057"/>
                      </a:lnTo>
                      <a:lnTo>
                        <a:pt x="3516" y="3057"/>
                      </a:lnTo>
                      <a:lnTo>
                        <a:pt x="3649" y="2925"/>
                      </a:lnTo>
                      <a:lnTo>
                        <a:pt x="3649" y="2925"/>
                      </a:lnTo>
                      <a:lnTo>
                        <a:pt x="3641" y="2917"/>
                      </a:lnTo>
                      <a:lnTo>
                        <a:pt x="3633" y="2911"/>
                      </a:lnTo>
                      <a:lnTo>
                        <a:pt x="3627" y="2905"/>
                      </a:lnTo>
                      <a:lnTo>
                        <a:pt x="3621" y="2899"/>
                      </a:lnTo>
                      <a:lnTo>
                        <a:pt x="3612" y="2887"/>
                      </a:lnTo>
                      <a:lnTo>
                        <a:pt x="3602" y="2876"/>
                      </a:lnTo>
                      <a:lnTo>
                        <a:pt x="3596" y="2866"/>
                      </a:lnTo>
                      <a:lnTo>
                        <a:pt x="3589" y="2858"/>
                      </a:lnTo>
                      <a:lnTo>
                        <a:pt x="3589" y="2853"/>
                      </a:lnTo>
                      <a:lnTo>
                        <a:pt x="3592" y="2849"/>
                      </a:lnTo>
                      <a:lnTo>
                        <a:pt x="3601" y="2840"/>
                      </a:lnTo>
                      <a:lnTo>
                        <a:pt x="3610" y="2832"/>
                      </a:lnTo>
                      <a:lnTo>
                        <a:pt x="3615" y="2826"/>
                      </a:lnTo>
                      <a:lnTo>
                        <a:pt x="3620" y="2821"/>
                      </a:lnTo>
                      <a:lnTo>
                        <a:pt x="3625" y="2819"/>
                      </a:lnTo>
                      <a:lnTo>
                        <a:pt x="3629" y="2816"/>
                      </a:lnTo>
                      <a:lnTo>
                        <a:pt x="3666" y="2762"/>
                      </a:lnTo>
                      <a:lnTo>
                        <a:pt x="3666" y="2762"/>
                      </a:lnTo>
                      <a:lnTo>
                        <a:pt x="3634" y="2656"/>
                      </a:lnTo>
                      <a:lnTo>
                        <a:pt x="3633" y="2573"/>
                      </a:lnTo>
                      <a:lnTo>
                        <a:pt x="3641" y="2569"/>
                      </a:lnTo>
                      <a:lnTo>
                        <a:pt x="3650" y="2566"/>
                      </a:lnTo>
                      <a:lnTo>
                        <a:pt x="3660" y="2560"/>
                      </a:lnTo>
                      <a:lnTo>
                        <a:pt x="3669" y="2554"/>
                      </a:lnTo>
                      <a:lnTo>
                        <a:pt x="3680" y="2548"/>
                      </a:lnTo>
                      <a:lnTo>
                        <a:pt x="3690" y="2543"/>
                      </a:lnTo>
                      <a:lnTo>
                        <a:pt x="3702" y="2539"/>
                      </a:lnTo>
                      <a:lnTo>
                        <a:pt x="3713" y="2534"/>
                      </a:lnTo>
                      <a:lnTo>
                        <a:pt x="3724" y="2530"/>
                      </a:lnTo>
                      <a:lnTo>
                        <a:pt x="3740" y="2523"/>
                      </a:lnTo>
                      <a:lnTo>
                        <a:pt x="3756" y="2515"/>
                      </a:lnTo>
                      <a:lnTo>
                        <a:pt x="3773" y="2507"/>
                      </a:lnTo>
                      <a:lnTo>
                        <a:pt x="3789" y="2498"/>
                      </a:lnTo>
                      <a:lnTo>
                        <a:pt x="3804" y="2491"/>
                      </a:lnTo>
                      <a:lnTo>
                        <a:pt x="3816" y="2487"/>
                      </a:lnTo>
                      <a:lnTo>
                        <a:pt x="3825" y="2486"/>
                      </a:lnTo>
                      <a:lnTo>
                        <a:pt x="3833" y="2486"/>
                      </a:lnTo>
                      <a:lnTo>
                        <a:pt x="3838" y="2487"/>
                      </a:lnTo>
                      <a:lnTo>
                        <a:pt x="3843" y="2488"/>
                      </a:lnTo>
                      <a:lnTo>
                        <a:pt x="3849" y="2490"/>
                      </a:lnTo>
                      <a:lnTo>
                        <a:pt x="3857" y="2496"/>
                      </a:lnTo>
                      <a:lnTo>
                        <a:pt x="3865" y="2503"/>
                      </a:lnTo>
                      <a:lnTo>
                        <a:pt x="3872" y="2511"/>
                      </a:lnTo>
                      <a:lnTo>
                        <a:pt x="3878" y="2521"/>
                      </a:lnTo>
                      <a:lnTo>
                        <a:pt x="3884" y="2531"/>
                      </a:lnTo>
                      <a:lnTo>
                        <a:pt x="3889" y="2541"/>
                      </a:lnTo>
                      <a:lnTo>
                        <a:pt x="3895" y="2552"/>
                      </a:lnTo>
                      <a:lnTo>
                        <a:pt x="3902" y="2562"/>
                      </a:lnTo>
                      <a:lnTo>
                        <a:pt x="3909" y="2572"/>
                      </a:lnTo>
                      <a:lnTo>
                        <a:pt x="3917" y="2580"/>
                      </a:lnTo>
                      <a:lnTo>
                        <a:pt x="3927" y="2587"/>
                      </a:lnTo>
                      <a:lnTo>
                        <a:pt x="3937" y="2593"/>
                      </a:lnTo>
                      <a:lnTo>
                        <a:pt x="3943" y="2595"/>
                      </a:lnTo>
                      <a:lnTo>
                        <a:pt x="3950" y="2596"/>
                      </a:lnTo>
                      <a:lnTo>
                        <a:pt x="3958" y="2597"/>
                      </a:lnTo>
                      <a:lnTo>
                        <a:pt x="3965" y="2597"/>
                      </a:lnTo>
                      <a:lnTo>
                        <a:pt x="3978" y="2597"/>
                      </a:lnTo>
                      <a:lnTo>
                        <a:pt x="3995" y="2596"/>
                      </a:lnTo>
                      <a:lnTo>
                        <a:pt x="4015" y="2595"/>
                      </a:lnTo>
                      <a:lnTo>
                        <a:pt x="4035" y="2592"/>
                      </a:lnTo>
                      <a:lnTo>
                        <a:pt x="4055" y="2588"/>
                      </a:lnTo>
                      <a:lnTo>
                        <a:pt x="4071" y="2582"/>
                      </a:lnTo>
                      <a:lnTo>
                        <a:pt x="4078" y="2579"/>
                      </a:lnTo>
                      <a:lnTo>
                        <a:pt x="4084" y="2575"/>
                      </a:lnTo>
                      <a:lnTo>
                        <a:pt x="4088" y="2570"/>
                      </a:lnTo>
                      <a:lnTo>
                        <a:pt x="4090" y="2566"/>
                      </a:lnTo>
                      <a:lnTo>
                        <a:pt x="4093" y="2564"/>
                      </a:lnTo>
                      <a:lnTo>
                        <a:pt x="4096" y="2563"/>
                      </a:lnTo>
                      <a:lnTo>
                        <a:pt x="4099" y="2561"/>
                      </a:lnTo>
                      <a:lnTo>
                        <a:pt x="4102" y="2559"/>
                      </a:lnTo>
                      <a:lnTo>
                        <a:pt x="4104" y="2552"/>
                      </a:lnTo>
                      <a:lnTo>
                        <a:pt x="4106" y="2544"/>
                      </a:lnTo>
                      <a:lnTo>
                        <a:pt x="4108" y="2535"/>
                      </a:lnTo>
                      <a:lnTo>
                        <a:pt x="4109" y="2526"/>
                      </a:lnTo>
                      <a:lnTo>
                        <a:pt x="4108" y="2515"/>
                      </a:lnTo>
                      <a:lnTo>
                        <a:pt x="4106" y="2504"/>
                      </a:lnTo>
                      <a:lnTo>
                        <a:pt x="4099" y="2463"/>
                      </a:lnTo>
                      <a:lnTo>
                        <a:pt x="4095" y="2436"/>
                      </a:lnTo>
                      <a:lnTo>
                        <a:pt x="4091" y="2432"/>
                      </a:lnTo>
                      <a:lnTo>
                        <a:pt x="4089" y="2429"/>
                      </a:lnTo>
                      <a:lnTo>
                        <a:pt x="4085" y="2422"/>
                      </a:lnTo>
                      <a:lnTo>
                        <a:pt x="4081" y="2416"/>
                      </a:lnTo>
                      <a:lnTo>
                        <a:pt x="4078" y="2411"/>
                      </a:lnTo>
                      <a:lnTo>
                        <a:pt x="4076" y="2407"/>
                      </a:lnTo>
                      <a:lnTo>
                        <a:pt x="4072" y="2404"/>
                      </a:lnTo>
                      <a:lnTo>
                        <a:pt x="4071" y="2402"/>
                      </a:lnTo>
                      <a:lnTo>
                        <a:pt x="4069" y="2401"/>
                      </a:lnTo>
                      <a:lnTo>
                        <a:pt x="4068" y="2398"/>
                      </a:lnTo>
                      <a:lnTo>
                        <a:pt x="4065" y="2397"/>
                      </a:lnTo>
                      <a:lnTo>
                        <a:pt x="4065" y="2395"/>
                      </a:lnTo>
                      <a:lnTo>
                        <a:pt x="4063" y="2395"/>
                      </a:lnTo>
                      <a:lnTo>
                        <a:pt x="4062" y="2394"/>
                      </a:lnTo>
                      <a:lnTo>
                        <a:pt x="4061" y="2390"/>
                      </a:lnTo>
                      <a:lnTo>
                        <a:pt x="4058" y="2389"/>
                      </a:lnTo>
                      <a:lnTo>
                        <a:pt x="4056" y="2378"/>
                      </a:lnTo>
                      <a:lnTo>
                        <a:pt x="4053" y="2361"/>
                      </a:lnTo>
                      <a:lnTo>
                        <a:pt x="4052" y="2352"/>
                      </a:lnTo>
                      <a:lnTo>
                        <a:pt x="4052" y="2344"/>
                      </a:lnTo>
                      <a:lnTo>
                        <a:pt x="4052" y="2341"/>
                      </a:lnTo>
                      <a:lnTo>
                        <a:pt x="4052" y="2338"/>
                      </a:lnTo>
                      <a:lnTo>
                        <a:pt x="4053" y="2336"/>
                      </a:lnTo>
                      <a:lnTo>
                        <a:pt x="4056" y="2335"/>
                      </a:lnTo>
                      <a:lnTo>
                        <a:pt x="4057" y="2331"/>
                      </a:lnTo>
                      <a:lnTo>
                        <a:pt x="4059" y="2328"/>
                      </a:lnTo>
                      <a:lnTo>
                        <a:pt x="4063" y="2326"/>
                      </a:lnTo>
                      <a:lnTo>
                        <a:pt x="4065" y="2324"/>
                      </a:lnTo>
                      <a:lnTo>
                        <a:pt x="4076" y="2323"/>
                      </a:lnTo>
                      <a:lnTo>
                        <a:pt x="4093" y="2319"/>
                      </a:lnTo>
                      <a:lnTo>
                        <a:pt x="4102" y="2319"/>
                      </a:lnTo>
                      <a:lnTo>
                        <a:pt x="4110" y="2319"/>
                      </a:lnTo>
                      <a:lnTo>
                        <a:pt x="4112" y="2319"/>
                      </a:lnTo>
                      <a:lnTo>
                        <a:pt x="4115" y="2320"/>
                      </a:lnTo>
                      <a:lnTo>
                        <a:pt x="4117" y="2322"/>
                      </a:lnTo>
                      <a:lnTo>
                        <a:pt x="4118" y="2324"/>
                      </a:lnTo>
                      <a:lnTo>
                        <a:pt x="4124" y="2325"/>
                      </a:lnTo>
                      <a:lnTo>
                        <a:pt x="4129" y="2325"/>
                      </a:lnTo>
                      <a:lnTo>
                        <a:pt x="4131" y="2329"/>
                      </a:lnTo>
                      <a:lnTo>
                        <a:pt x="4136" y="2331"/>
                      </a:lnTo>
                      <a:lnTo>
                        <a:pt x="4143" y="2332"/>
                      </a:lnTo>
                      <a:lnTo>
                        <a:pt x="4149" y="2333"/>
                      </a:lnTo>
                      <a:lnTo>
                        <a:pt x="4156" y="2335"/>
                      </a:lnTo>
                      <a:lnTo>
                        <a:pt x="4162" y="2337"/>
                      </a:lnTo>
                      <a:lnTo>
                        <a:pt x="4166" y="2338"/>
                      </a:lnTo>
                      <a:lnTo>
                        <a:pt x="4169" y="2341"/>
                      </a:lnTo>
                      <a:lnTo>
                        <a:pt x="4175" y="2341"/>
                      </a:lnTo>
                      <a:lnTo>
                        <a:pt x="4182" y="2342"/>
                      </a:lnTo>
                      <a:lnTo>
                        <a:pt x="4189" y="2343"/>
                      </a:lnTo>
                      <a:lnTo>
                        <a:pt x="4192" y="2345"/>
                      </a:lnTo>
                      <a:lnTo>
                        <a:pt x="4203" y="2345"/>
                      </a:lnTo>
                      <a:lnTo>
                        <a:pt x="4205" y="2343"/>
                      </a:lnTo>
                      <a:lnTo>
                        <a:pt x="4207" y="2342"/>
                      </a:lnTo>
                      <a:lnTo>
                        <a:pt x="4211" y="2342"/>
                      </a:lnTo>
                      <a:lnTo>
                        <a:pt x="4213" y="2341"/>
                      </a:lnTo>
                      <a:lnTo>
                        <a:pt x="4214" y="2338"/>
                      </a:lnTo>
                      <a:lnTo>
                        <a:pt x="4216" y="2337"/>
                      </a:lnTo>
                      <a:lnTo>
                        <a:pt x="4222" y="2332"/>
                      </a:lnTo>
                      <a:lnTo>
                        <a:pt x="4226" y="2329"/>
                      </a:lnTo>
                      <a:lnTo>
                        <a:pt x="4229" y="2328"/>
                      </a:lnTo>
                      <a:lnTo>
                        <a:pt x="4229" y="2324"/>
                      </a:lnTo>
                      <a:lnTo>
                        <a:pt x="4236" y="2316"/>
                      </a:lnTo>
                      <a:lnTo>
                        <a:pt x="4243" y="2306"/>
                      </a:lnTo>
                      <a:lnTo>
                        <a:pt x="4245" y="2302"/>
                      </a:lnTo>
                      <a:lnTo>
                        <a:pt x="4250" y="2295"/>
                      </a:lnTo>
                      <a:lnTo>
                        <a:pt x="4256" y="2287"/>
                      </a:lnTo>
                      <a:lnTo>
                        <a:pt x="4259" y="2285"/>
                      </a:lnTo>
                      <a:lnTo>
                        <a:pt x="4260" y="2283"/>
                      </a:lnTo>
                      <a:lnTo>
                        <a:pt x="4261" y="2282"/>
                      </a:lnTo>
                      <a:lnTo>
                        <a:pt x="4265" y="2278"/>
                      </a:lnTo>
                      <a:lnTo>
                        <a:pt x="4267" y="2276"/>
                      </a:lnTo>
                      <a:lnTo>
                        <a:pt x="4273" y="2258"/>
                      </a:lnTo>
                      <a:lnTo>
                        <a:pt x="4279" y="2240"/>
                      </a:lnTo>
                      <a:lnTo>
                        <a:pt x="4287" y="2223"/>
                      </a:lnTo>
                      <a:lnTo>
                        <a:pt x="4294" y="2206"/>
                      </a:lnTo>
                      <a:lnTo>
                        <a:pt x="4301" y="2188"/>
                      </a:lnTo>
                      <a:lnTo>
                        <a:pt x="4309" y="2170"/>
                      </a:lnTo>
                      <a:lnTo>
                        <a:pt x="4313" y="2150"/>
                      </a:lnTo>
                      <a:lnTo>
                        <a:pt x="4316" y="2130"/>
                      </a:lnTo>
                      <a:lnTo>
                        <a:pt x="4346" y="2066"/>
                      </a:lnTo>
                      <a:lnTo>
                        <a:pt x="4346" y="2066"/>
                      </a:lnTo>
                      <a:lnTo>
                        <a:pt x="4331" y="2045"/>
                      </a:lnTo>
                      <a:lnTo>
                        <a:pt x="4328" y="2038"/>
                      </a:lnTo>
                      <a:lnTo>
                        <a:pt x="4326" y="2032"/>
                      </a:lnTo>
                      <a:lnTo>
                        <a:pt x="4327" y="2026"/>
                      </a:lnTo>
                      <a:lnTo>
                        <a:pt x="4326" y="2021"/>
                      </a:lnTo>
                      <a:lnTo>
                        <a:pt x="4325" y="2015"/>
                      </a:lnTo>
                      <a:lnTo>
                        <a:pt x="4324" y="2009"/>
                      </a:lnTo>
                      <a:lnTo>
                        <a:pt x="4324" y="2008"/>
                      </a:lnTo>
                      <a:lnTo>
                        <a:pt x="4324" y="2006"/>
                      </a:lnTo>
                      <a:lnTo>
                        <a:pt x="4323" y="2005"/>
                      </a:lnTo>
                      <a:lnTo>
                        <a:pt x="4323" y="2002"/>
                      </a:lnTo>
                      <a:lnTo>
                        <a:pt x="4319" y="1992"/>
                      </a:lnTo>
                      <a:lnTo>
                        <a:pt x="4317" y="1979"/>
                      </a:lnTo>
                      <a:lnTo>
                        <a:pt x="4314" y="1970"/>
                      </a:lnTo>
                      <a:lnTo>
                        <a:pt x="4311" y="1963"/>
                      </a:lnTo>
                      <a:lnTo>
                        <a:pt x="4307" y="1955"/>
                      </a:lnTo>
                      <a:lnTo>
                        <a:pt x="4303" y="1948"/>
                      </a:lnTo>
                      <a:lnTo>
                        <a:pt x="4293" y="1932"/>
                      </a:lnTo>
                      <a:lnTo>
                        <a:pt x="4285" y="1915"/>
                      </a:lnTo>
                      <a:lnTo>
                        <a:pt x="4277" y="1897"/>
                      </a:lnTo>
                      <a:lnTo>
                        <a:pt x="4267" y="1881"/>
                      </a:lnTo>
                      <a:lnTo>
                        <a:pt x="4260" y="1869"/>
                      </a:lnTo>
                      <a:lnTo>
                        <a:pt x="4253" y="1857"/>
                      </a:lnTo>
                      <a:lnTo>
                        <a:pt x="4249" y="1851"/>
                      </a:lnTo>
                      <a:lnTo>
                        <a:pt x="4245" y="1845"/>
                      </a:lnTo>
                      <a:lnTo>
                        <a:pt x="4240" y="1841"/>
                      </a:lnTo>
                      <a:lnTo>
                        <a:pt x="4236" y="1837"/>
                      </a:lnTo>
                      <a:lnTo>
                        <a:pt x="4225" y="1823"/>
                      </a:lnTo>
                      <a:lnTo>
                        <a:pt x="4214" y="1811"/>
                      </a:lnTo>
                      <a:lnTo>
                        <a:pt x="4210" y="1805"/>
                      </a:lnTo>
                      <a:lnTo>
                        <a:pt x="4206" y="1798"/>
                      </a:lnTo>
                      <a:lnTo>
                        <a:pt x="4204" y="1790"/>
                      </a:lnTo>
                      <a:lnTo>
                        <a:pt x="4203" y="1781"/>
                      </a:lnTo>
                      <a:lnTo>
                        <a:pt x="4203" y="1764"/>
                      </a:lnTo>
                      <a:lnTo>
                        <a:pt x="4203" y="1746"/>
                      </a:lnTo>
                      <a:lnTo>
                        <a:pt x="4204" y="1731"/>
                      </a:lnTo>
                      <a:lnTo>
                        <a:pt x="4205" y="1715"/>
                      </a:lnTo>
                      <a:lnTo>
                        <a:pt x="4212" y="1705"/>
                      </a:lnTo>
                      <a:lnTo>
                        <a:pt x="4220" y="1696"/>
                      </a:lnTo>
                      <a:lnTo>
                        <a:pt x="4231" y="1689"/>
                      </a:lnTo>
                      <a:lnTo>
                        <a:pt x="4240" y="1683"/>
                      </a:lnTo>
                      <a:lnTo>
                        <a:pt x="4245" y="1677"/>
                      </a:lnTo>
                      <a:lnTo>
                        <a:pt x="4250" y="1670"/>
                      </a:lnTo>
                      <a:lnTo>
                        <a:pt x="4252" y="1664"/>
                      </a:lnTo>
                      <a:lnTo>
                        <a:pt x="4254" y="1657"/>
                      </a:lnTo>
                      <a:lnTo>
                        <a:pt x="4259" y="1643"/>
                      </a:lnTo>
                      <a:lnTo>
                        <a:pt x="4261" y="1630"/>
                      </a:lnTo>
                      <a:lnTo>
                        <a:pt x="4264" y="1617"/>
                      </a:lnTo>
                      <a:lnTo>
                        <a:pt x="4267" y="1603"/>
                      </a:lnTo>
                      <a:lnTo>
                        <a:pt x="4269" y="1597"/>
                      </a:lnTo>
                      <a:lnTo>
                        <a:pt x="4272" y="1591"/>
                      </a:lnTo>
                      <a:lnTo>
                        <a:pt x="4276" y="1584"/>
                      </a:lnTo>
                      <a:lnTo>
                        <a:pt x="4279" y="1578"/>
                      </a:lnTo>
                      <a:lnTo>
                        <a:pt x="4283" y="1560"/>
                      </a:lnTo>
                      <a:lnTo>
                        <a:pt x="4284" y="1546"/>
                      </a:lnTo>
                      <a:lnTo>
                        <a:pt x="4283" y="1540"/>
                      </a:lnTo>
                      <a:lnTo>
                        <a:pt x="4281" y="1532"/>
                      </a:lnTo>
                      <a:lnTo>
                        <a:pt x="4279" y="1524"/>
                      </a:lnTo>
                      <a:lnTo>
                        <a:pt x="4276" y="1515"/>
                      </a:lnTo>
                      <a:lnTo>
                        <a:pt x="4273" y="1507"/>
                      </a:lnTo>
                      <a:lnTo>
                        <a:pt x="4271" y="1499"/>
                      </a:lnTo>
                      <a:lnTo>
                        <a:pt x="4271" y="1492"/>
                      </a:lnTo>
                      <a:lnTo>
                        <a:pt x="4270" y="1484"/>
                      </a:lnTo>
                      <a:lnTo>
                        <a:pt x="4270" y="1477"/>
                      </a:lnTo>
                      <a:lnTo>
                        <a:pt x="4270" y="1468"/>
                      </a:lnTo>
                      <a:lnTo>
                        <a:pt x="4269" y="1461"/>
                      </a:lnTo>
                      <a:lnTo>
                        <a:pt x="4266" y="1453"/>
                      </a:lnTo>
                      <a:lnTo>
                        <a:pt x="4108" y="1447"/>
                      </a:lnTo>
                      <a:lnTo>
                        <a:pt x="4100" y="1354"/>
                      </a:lnTo>
                      <a:lnTo>
                        <a:pt x="4109" y="1304"/>
                      </a:lnTo>
                      <a:lnTo>
                        <a:pt x="4116" y="1260"/>
                      </a:lnTo>
                      <a:lnTo>
                        <a:pt x="4119" y="1249"/>
                      </a:lnTo>
                      <a:lnTo>
                        <a:pt x="4123" y="1238"/>
                      </a:lnTo>
                      <a:lnTo>
                        <a:pt x="4126" y="1229"/>
                      </a:lnTo>
                      <a:lnTo>
                        <a:pt x="4131" y="1218"/>
                      </a:lnTo>
                      <a:lnTo>
                        <a:pt x="4137" y="1208"/>
                      </a:lnTo>
                      <a:lnTo>
                        <a:pt x="4144" y="1198"/>
                      </a:lnTo>
                      <a:lnTo>
                        <a:pt x="4152" y="1188"/>
                      </a:lnTo>
                      <a:lnTo>
                        <a:pt x="4162" y="1178"/>
                      </a:lnTo>
                      <a:lnTo>
                        <a:pt x="4169" y="1171"/>
                      </a:lnTo>
                      <a:lnTo>
                        <a:pt x="4178" y="1165"/>
                      </a:lnTo>
                      <a:lnTo>
                        <a:pt x="4186" y="1161"/>
                      </a:lnTo>
                      <a:lnTo>
                        <a:pt x="4197" y="1157"/>
                      </a:lnTo>
                      <a:lnTo>
                        <a:pt x="4206" y="1154"/>
                      </a:lnTo>
                      <a:lnTo>
                        <a:pt x="4217" y="1151"/>
                      </a:lnTo>
                      <a:lnTo>
                        <a:pt x="4227" y="1149"/>
                      </a:lnTo>
                      <a:lnTo>
                        <a:pt x="4239" y="1148"/>
                      </a:lnTo>
                      <a:lnTo>
                        <a:pt x="4284" y="1143"/>
                      </a:lnTo>
                      <a:lnTo>
                        <a:pt x="4326" y="1138"/>
                      </a:lnTo>
                      <a:lnTo>
                        <a:pt x="4327" y="1136"/>
                      </a:lnTo>
                      <a:lnTo>
                        <a:pt x="4328" y="1132"/>
                      </a:lnTo>
                      <a:lnTo>
                        <a:pt x="4327" y="1129"/>
                      </a:lnTo>
                      <a:lnTo>
                        <a:pt x="4326" y="1125"/>
                      </a:lnTo>
                      <a:lnTo>
                        <a:pt x="4323" y="1116"/>
                      </a:lnTo>
                      <a:lnTo>
                        <a:pt x="4316" y="1105"/>
                      </a:lnTo>
                      <a:lnTo>
                        <a:pt x="4297" y="1079"/>
                      </a:lnTo>
                      <a:lnTo>
                        <a:pt x="4274" y="1051"/>
                      </a:lnTo>
                      <a:lnTo>
                        <a:pt x="4226" y="997"/>
                      </a:lnTo>
                      <a:lnTo>
                        <a:pt x="4198" y="962"/>
                      </a:lnTo>
                      <a:lnTo>
                        <a:pt x="4189" y="949"/>
                      </a:lnTo>
                      <a:lnTo>
                        <a:pt x="4180" y="934"/>
                      </a:lnTo>
                      <a:lnTo>
                        <a:pt x="4171" y="920"/>
                      </a:lnTo>
                      <a:lnTo>
                        <a:pt x="4162" y="908"/>
                      </a:lnTo>
                      <a:lnTo>
                        <a:pt x="4153" y="910"/>
                      </a:lnTo>
                      <a:lnTo>
                        <a:pt x="4143" y="912"/>
                      </a:lnTo>
                      <a:lnTo>
                        <a:pt x="4132" y="917"/>
                      </a:lnTo>
                      <a:lnTo>
                        <a:pt x="4120" y="921"/>
                      </a:lnTo>
                      <a:lnTo>
                        <a:pt x="4109" y="927"/>
                      </a:lnTo>
                      <a:lnTo>
                        <a:pt x="4097" y="932"/>
                      </a:lnTo>
                      <a:lnTo>
                        <a:pt x="4085" y="936"/>
                      </a:lnTo>
                      <a:lnTo>
                        <a:pt x="4075" y="938"/>
                      </a:lnTo>
                      <a:lnTo>
                        <a:pt x="3990" y="951"/>
                      </a:lnTo>
                      <a:lnTo>
                        <a:pt x="3981" y="949"/>
                      </a:lnTo>
                      <a:lnTo>
                        <a:pt x="3970" y="949"/>
                      </a:lnTo>
                      <a:lnTo>
                        <a:pt x="3958" y="949"/>
                      </a:lnTo>
                      <a:lnTo>
                        <a:pt x="3944" y="949"/>
                      </a:lnTo>
                      <a:lnTo>
                        <a:pt x="3918" y="950"/>
                      </a:lnTo>
                      <a:lnTo>
                        <a:pt x="3896" y="952"/>
                      </a:lnTo>
                      <a:lnTo>
                        <a:pt x="3877" y="952"/>
                      </a:lnTo>
                      <a:lnTo>
                        <a:pt x="3858" y="952"/>
                      </a:lnTo>
                      <a:lnTo>
                        <a:pt x="3840" y="953"/>
                      </a:lnTo>
                      <a:lnTo>
                        <a:pt x="3821" y="956"/>
                      </a:lnTo>
                      <a:lnTo>
                        <a:pt x="3813" y="956"/>
                      </a:lnTo>
                      <a:lnTo>
                        <a:pt x="3804" y="956"/>
                      </a:lnTo>
                      <a:lnTo>
                        <a:pt x="3797" y="956"/>
                      </a:lnTo>
                      <a:lnTo>
                        <a:pt x="3789" y="953"/>
                      </a:lnTo>
                      <a:lnTo>
                        <a:pt x="3783" y="951"/>
                      </a:lnTo>
                      <a:lnTo>
                        <a:pt x="3776" y="949"/>
                      </a:lnTo>
                      <a:lnTo>
                        <a:pt x="3770" y="945"/>
                      </a:lnTo>
                      <a:lnTo>
                        <a:pt x="3766" y="940"/>
                      </a:lnTo>
                      <a:lnTo>
                        <a:pt x="3755" y="931"/>
                      </a:lnTo>
                      <a:lnTo>
                        <a:pt x="3747" y="919"/>
                      </a:lnTo>
                      <a:lnTo>
                        <a:pt x="3740" y="906"/>
                      </a:lnTo>
                      <a:lnTo>
                        <a:pt x="3733" y="892"/>
                      </a:lnTo>
                      <a:lnTo>
                        <a:pt x="3729" y="884"/>
                      </a:lnTo>
                      <a:lnTo>
                        <a:pt x="3724" y="875"/>
                      </a:lnTo>
                      <a:lnTo>
                        <a:pt x="3720" y="866"/>
                      </a:lnTo>
                      <a:lnTo>
                        <a:pt x="3714" y="859"/>
                      </a:lnTo>
                      <a:lnTo>
                        <a:pt x="3711" y="857"/>
                      </a:lnTo>
                      <a:lnTo>
                        <a:pt x="3708" y="854"/>
                      </a:lnTo>
                      <a:lnTo>
                        <a:pt x="3706" y="854"/>
                      </a:lnTo>
                      <a:lnTo>
                        <a:pt x="3702" y="854"/>
                      </a:lnTo>
                      <a:lnTo>
                        <a:pt x="3699" y="855"/>
                      </a:lnTo>
                      <a:lnTo>
                        <a:pt x="3695" y="858"/>
                      </a:lnTo>
                      <a:lnTo>
                        <a:pt x="3693" y="862"/>
                      </a:lnTo>
                      <a:lnTo>
                        <a:pt x="3689" y="867"/>
                      </a:lnTo>
                      <a:lnTo>
                        <a:pt x="3677" y="893"/>
                      </a:lnTo>
                      <a:lnTo>
                        <a:pt x="3657" y="930"/>
                      </a:lnTo>
                      <a:lnTo>
                        <a:pt x="3652" y="938"/>
                      </a:lnTo>
                      <a:lnTo>
                        <a:pt x="3646" y="945"/>
                      </a:lnTo>
                      <a:lnTo>
                        <a:pt x="3641" y="952"/>
                      </a:lnTo>
                      <a:lnTo>
                        <a:pt x="3635" y="957"/>
                      </a:lnTo>
                      <a:lnTo>
                        <a:pt x="3629" y="959"/>
                      </a:lnTo>
                      <a:lnTo>
                        <a:pt x="3625" y="960"/>
                      </a:lnTo>
                      <a:lnTo>
                        <a:pt x="3622" y="959"/>
                      </a:lnTo>
                      <a:lnTo>
                        <a:pt x="3620" y="958"/>
                      </a:lnTo>
                      <a:lnTo>
                        <a:pt x="3617" y="956"/>
                      </a:lnTo>
                      <a:lnTo>
                        <a:pt x="3616" y="953"/>
                      </a:lnTo>
                      <a:lnTo>
                        <a:pt x="3607" y="941"/>
                      </a:lnTo>
                      <a:lnTo>
                        <a:pt x="3595" y="928"/>
                      </a:lnTo>
                      <a:lnTo>
                        <a:pt x="3590" y="923"/>
                      </a:lnTo>
                      <a:lnTo>
                        <a:pt x="3586" y="916"/>
                      </a:lnTo>
                      <a:lnTo>
                        <a:pt x="3583" y="910"/>
                      </a:lnTo>
                      <a:lnTo>
                        <a:pt x="3582" y="904"/>
                      </a:lnTo>
                      <a:lnTo>
                        <a:pt x="3582" y="894"/>
                      </a:lnTo>
                      <a:lnTo>
                        <a:pt x="3585" y="887"/>
                      </a:lnTo>
                      <a:lnTo>
                        <a:pt x="3587" y="881"/>
                      </a:lnTo>
                      <a:lnTo>
                        <a:pt x="3592" y="877"/>
                      </a:lnTo>
                      <a:lnTo>
                        <a:pt x="3595" y="872"/>
                      </a:lnTo>
                      <a:lnTo>
                        <a:pt x="3600" y="867"/>
                      </a:lnTo>
                      <a:lnTo>
                        <a:pt x="3605" y="861"/>
                      </a:lnTo>
                      <a:lnTo>
                        <a:pt x="3608" y="854"/>
                      </a:lnTo>
                      <a:lnTo>
                        <a:pt x="3607" y="851"/>
                      </a:lnTo>
                      <a:lnTo>
                        <a:pt x="3602" y="844"/>
                      </a:lnTo>
                      <a:lnTo>
                        <a:pt x="3214" y="602"/>
                      </a:lnTo>
                      <a:lnTo>
                        <a:pt x="3212" y="594"/>
                      </a:lnTo>
                      <a:lnTo>
                        <a:pt x="3210" y="583"/>
                      </a:lnTo>
                      <a:lnTo>
                        <a:pt x="3210" y="574"/>
                      </a:lnTo>
                      <a:lnTo>
                        <a:pt x="3210" y="564"/>
                      </a:lnTo>
                      <a:lnTo>
                        <a:pt x="3216" y="558"/>
                      </a:lnTo>
                      <a:lnTo>
                        <a:pt x="3221" y="555"/>
                      </a:lnTo>
                      <a:lnTo>
                        <a:pt x="3227" y="553"/>
                      </a:lnTo>
                      <a:lnTo>
                        <a:pt x="3236" y="551"/>
                      </a:lnTo>
                      <a:lnTo>
                        <a:pt x="3251" y="548"/>
                      </a:lnTo>
                      <a:lnTo>
                        <a:pt x="3266" y="544"/>
                      </a:lnTo>
                      <a:lnTo>
                        <a:pt x="3272" y="542"/>
                      </a:lnTo>
                      <a:lnTo>
                        <a:pt x="3277" y="540"/>
                      </a:lnTo>
                      <a:lnTo>
                        <a:pt x="3280" y="536"/>
                      </a:lnTo>
                      <a:lnTo>
                        <a:pt x="3284" y="532"/>
                      </a:lnTo>
                      <a:lnTo>
                        <a:pt x="3286" y="529"/>
                      </a:lnTo>
                      <a:lnTo>
                        <a:pt x="3287" y="524"/>
                      </a:lnTo>
                      <a:lnTo>
                        <a:pt x="3288" y="521"/>
                      </a:lnTo>
                      <a:lnTo>
                        <a:pt x="3288" y="516"/>
                      </a:lnTo>
                      <a:lnTo>
                        <a:pt x="3288" y="505"/>
                      </a:lnTo>
                      <a:lnTo>
                        <a:pt x="3287" y="496"/>
                      </a:lnTo>
                      <a:lnTo>
                        <a:pt x="3285" y="485"/>
                      </a:lnTo>
                      <a:lnTo>
                        <a:pt x="3283" y="475"/>
                      </a:lnTo>
                      <a:lnTo>
                        <a:pt x="3208" y="0"/>
                      </a:lnTo>
                      <a:lnTo>
                        <a:pt x="3208" y="0"/>
                      </a:lnTo>
                      <a:lnTo>
                        <a:pt x="3199" y="8"/>
                      </a:lnTo>
                      <a:lnTo>
                        <a:pt x="3188" y="16"/>
                      </a:lnTo>
                      <a:lnTo>
                        <a:pt x="3179" y="26"/>
                      </a:lnTo>
                      <a:lnTo>
                        <a:pt x="3167" y="35"/>
                      </a:lnTo>
                      <a:lnTo>
                        <a:pt x="3152" y="55"/>
                      </a:lnTo>
                      <a:lnTo>
                        <a:pt x="3136" y="75"/>
                      </a:lnTo>
                      <a:lnTo>
                        <a:pt x="3126" y="85"/>
                      </a:lnTo>
                      <a:lnTo>
                        <a:pt x="3118" y="94"/>
                      </a:lnTo>
                      <a:lnTo>
                        <a:pt x="3111" y="105"/>
                      </a:lnTo>
                      <a:lnTo>
                        <a:pt x="3104" y="116"/>
                      </a:lnTo>
                      <a:lnTo>
                        <a:pt x="3099" y="120"/>
                      </a:lnTo>
                      <a:lnTo>
                        <a:pt x="3093" y="126"/>
                      </a:lnTo>
                      <a:lnTo>
                        <a:pt x="3089" y="132"/>
                      </a:lnTo>
                      <a:lnTo>
                        <a:pt x="3085" y="139"/>
                      </a:lnTo>
                      <a:lnTo>
                        <a:pt x="3077" y="153"/>
                      </a:lnTo>
                      <a:lnTo>
                        <a:pt x="3070" y="165"/>
                      </a:lnTo>
                      <a:lnTo>
                        <a:pt x="3065" y="169"/>
                      </a:lnTo>
                      <a:lnTo>
                        <a:pt x="3062" y="174"/>
                      </a:lnTo>
                      <a:lnTo>
                        <a:pt x="3058" y="180"/>
                      </a:lnTo>
                      <a:lnTo>
                        <a:pt x="3055" y="187"/>
                      </a:lnTo>
                      <a:lnTo>
                        <a:pt x="3049" y="199"/>
                      </a:lnTo>
                      <a:lnTo>
                        <a:pt x="3040" y="210"/>
                      </a:lnTo>
                      <a:lnTo>
                        <a:pt x="3031" y="221"/>
                      </a:lnTo>
                      <a:lnTo>
                        <a:pt x="3022" y="233"/>
                      </a:lnTo>
                      <a:lnTo>
                        <a:pt x="3011" y="245"/>
                      </a:lnTo>
                      <a:lnTo>
                        <a:pt x="3003" y="258"/>
                      </a:lnTo>
                      <a:lnTo>
                        <a:pt x="2972" y="296"/>
                      </a:lnTo>
                      <a:lnTo>
                        <a:pt x="0" y="191"/>
                      </a:lnTo>
                      <a:lnTo>
                        <a:pt x="0" y="191"/>
                      </a:lnTo>
                      <a:lnTo>
                        <a:pt x="240" y="474"/>
                      </a:lnTo>
                      <a:lnTo>
                        <a:pt x="240" y="740"/>
                      </a:lnTo>
                      <a:lnTo>
                        <a:pt x="264" y="740"/>
                      </a:lnTo>
                      <a:lnTo>
                        <a:pt x="276" y="712"/>
                      </a:lnTo>
                      <a:lnTo>
                        <a:pt x="636" y="712"/>
                      </a:lnTo>
                      <a:lnTo>
                        <a:pt x="636" y="660"/>
                      </a:lnTo>
                      <a:lnTo>
                        <a:pt x="1178" y="885"/>
                      </a:lnTo>
                      <a:lnTo>
                        <a:pt x="1114" y="1421"/>
                      </a:lnTo>
                      <a:lnTo>
                        <a:pt x="1321" y="1466"/>
                      </a:lnTo>
                      <a:lnTo>
                        <a:pt x="1323" y="1457"/>
                      </a:lnTo>
                      <a:lnTo>
                        <a:pt x="1321" y="1448"/>
                      </a:lnTo>
                      <a:lnTo>
                        <a:pt x="1317" y="1436"/>
                      </a:lnTo>
                      <a:lnTo>
                        <a:pt x="1315" y="1424"/>
                      </a:lnTo>
                      <a:lnTo>
                        <a:pt x="1313" y="1411"/>
                      </a:lnTo>
                      <a:lnTo>
                        <a:pt x="1312" y="1396"/>
                      </a:lnTo>
                      <a:lnTo>
                        <a:pt x="1312" y="1383"/>
                      </a:lnTo>
                      <a:lnTo>
                        <a:pt x="1313" y="1378"/>
                      </a:lnTo>
                      <a:lnTo>
                        <a:pt x="1314" y="1373"/>
                      </a:lnTo>
                      <a:lnTo>
                        <a:pt x="1315" y="1368"/>
                      </a:lnTo>
                      <a:lnTo>
                        <a:pt x="1317" y="1365"/>
                      </a:lnTo>
                      <a:lnTo>
                        <a:pt x="1336" y="1340"/>
                      </a:lnTo>
                      <a:lnTo>
                        <a:pt x="1354" y="1314"/>
                      </a:lnTo>
                      <a:lnTo>
                        <a:pt x="1363" y="1301"/>
                      </a:lnTo>
                      <a:lnTo>
                        <a:pt x="1373" y="1288"/>
                      </a:lnTo>
                      <a:lnTo>
                        <a:pt x="1382" y="1276"/>
                      </a:lnTo>
                      <a:lnTo>
                        <a:pt x="1393" y="1266"/>
                      </a:lnTo>
                      <a:lnTo>
                        <a:pt x="1396" y="1266"/>
                      </a:lnTo>
                      <a:lnTo>
                        <a:pt x="1400" y="1267"/>
                      </a:lnTo>
                      <a:lnTo>
                        <a:pt x="1402" y="1269"/>
                      </a:lnTo>
                      <a:lnTo>
                        <a:pt x="1406" y="1271"/>
                      </a:lnTo>
                      <a:lnTo>
                        <a:pt x="1412" y="1279"/>
                      </a:lnTo>
                      <a:lnTo>
                        <a:pt x="1419" y="1286"/>
                      </a:lnTo>
                      <a:lnTo>
                        <a:pt x="1424" y="1294"/>
                      </a:lnTo>
                      <a:lnTo>
                        <a:pt x="1431" y="1301"/>
                      </a:lnTo>
                      <a:lnTo>
                        <a:pt x="1440" y="1308"/>
                      </a:lnTo>
                      <a:lnTo>
                        <a:pt x="1448" y="1312"/>
                      </a:lnTo>
                      <a:lnTo>
                        <a:pt x="1468" y="1319"/>
                      </a:lnTo>
                      <a:lnTo>
                        <a:pt x="1489" y="1325"/>
                      </a:lnTo>
                      <a:lnTo>
                        <a:pt x="1501" y="1326"/>
                      </a:lnTo>
                      <a:lnTo>
                        <a:pt x="1511" y="1327"/>
                      </a:lnTo>
                      <a:lnTo>
                        <a:pt x="1522" y="1326"/>
                      </a:lnTo>
                      <a:lnTo>
                        <a:pt x="1533" y="1323"/>
                      </a:lnTo>
                      <a:lnTo>
                        <a:pt x="1553" y="1315"/>
                      </a:lnTo>
                      <a:lnTo>
                        <a:pt x="1571" y="1306"/>
                      </a:lnTo>
                      <a:lnTo>
                        <a:pt x="1581" y="1302"/>
                      </a:lnTo>
                      <a:lnTo>
                        <a:pt x="1591" y="1299"/>
                      </a:lnTo>
                      <a:lnTo>
                        <a:pt x="1602" y="1296"/>
                      </a:lnTo>
                      <a:lnTo>
                        <a:pt x="1614" y="1295"/>
                      </a:lnTo>
                      <a:lnTo>
                        <a:pt x="1621" y="1295"/>
                      </a:lnTo>
                      <a:lnTo>
                        <a:pt x="1628" y="1296"/>
                      </a:lnTo>
                      <a:lnTo>
                        <a:pt x="1635" y="1297"/>
                      </a:lnTo>
                      <a:lnTo>
                        <a:pt x="1641" y="1300"/>
                      </a:lnTo>
                      <a:lnTo>
                        <a:pt x="1652" y="1306"/>
                      </a:lnTo>
                      <a:lnTo>
                        <a:pt x="1665" y="1312"/>
                      </a:lnTo>
                      <a:lnTo>
                        <a:pt x="1677" y="1315"/>
                      </a:lnTo>
                      <a:lnTo>
                        <a:pt x="1690" y="1316"/>
                      </a:lnTo>
                      <a:lnTo>
                        <a:pt x="1703" y="1316"/>
                      </a:lnTo>
                      <a:lnTo>
                        <a:pt x="1716" y="1316"/>
                      </a:lnTo>
                      <a:lnTo>
                        <a:pt x="1729" y="1315"/>
                      </a:lnTo>
                      <a:lnTo>
                        <a:pt x="1743" y="1315"/>
                      </a:lnTo>
                      <a:lnTo>
                        <a:pt x="1756" y="1315"/>
                      </a:lnTo>
                      <a:lnTo>
                        <a:pt x="1768" y="1316"/>
                      </a:lnTo>
                      <a:lnTo>
                        <a:pt x="1773" y="1319"/>
                      </a:lnTo>
                      <a:lnTo>
                        <a:pt x="1778" y="1323"/>
                      </a:lnTo>
                      <a:lnTo>
                        <a:pt x="1784" y="1328"/>
                      </a:lnTo>
                      <a:lnTo>
                        <a:pt x="1789" y="1336"/>
                      </a:lnTo>
                      <a:lnTo>
                        <a:pt x="1798" y="1354"/>
                      </a:lnTo>
                      <a:lnTo>
                        <a:pt x="1806" y="1374"/>
                      </a:lnTo>
                      <a:lnTo>
                        <a:pt x="1822" y="1416"/>
                      </a:lnTo>
                      <a:lnTo>
                        <a:pt x="1832" y="1448"/>
                      </a:lnTo>
                      <a:lnTo>
                        <a:pt x="1840" y="1472"/>
                      </a:lnTo>
                      <a:lnTo>
                        <a:pt x="1845" y="1491"/>
                      </a:lnTo>
                      <a:lnTo>
                        <a:pt x="1846" y="1498"/>
                      </a:lnTo>
                      <a:lnTo>
                        <a:pt x="1846" y="1504"/>
                      </a:lnTo>
                      <a:lnTo>
                        <a:pt x="1845" y="1510"/>
                      </a:lnTo>
                      <a:lnTo>
                        <a:pt x="1844" y="1515"/>
                      </a:lnTo>
                      <a:lnTo>
                        <a:pt x="1831" y="1539"/>
                      </a:lnTo>
                      <a:lnTo>
                        <a:pt x="1808" y="1577"/>
                      </a:lnTo>
                      <a:lnTo>
                        <a:pt x="1804" y="1589"/>
                      </a:lnTo>
                      <a:lnTo>
                        <a:pt x="1801" y="1599"/>
                      </a:lnTo>
                      <a:lnTo>
                        <a:pt x="1797" y="1604"/>
                      </a:lnTo>
                      <a:lnTo>
                        <a:pt x="1795" y="1610"/>
                      </a:lnTo>
                      <a:lnTo>
                        <a:pt x="1792" y="1616"/>
                      </a:lnTo>
                      <a:lnTo>
                        <a:pt x="1789" y="1622"/>
                      </a:lnTo>
                      <a:lnTo>
                        <a:pt x="1785" y="1627"/>
                      </a:lnTo>
                      <a:lnTo>
                        <a:pt x="1777" y="1640"/>
                      </a:lnTo>
                      <a:lnTo>
                        <a:pt x="1770" y="1652"/>
                      </a:lnTo>
                      <a:lnTo>
                        <a:pt x="1763" y="1659"/>
                      </a:lnTo>
                      <a:lnTo>
                        <a:pt x="1756" y="1669"/>
                      </a:lnTo>
                      <a:lnTo>
                        <a:pt x="1748" y="1680"/>
                      </a:lnTo>
                      <a:lnTo>
                        <a:pt x="1739" y="1693"/>
                      </a:lnTo>
                      <a:lnTo>
                        <a:pt x="1725" y="1719"/>
                      </a:lnTo>
                      <a:lnTo>
                        <a:pt x="1715" y="1741"/>
                      </a:lnTo>
                      <a:lnTo>
                        <a:pt x="1710" y="1752"/>
                      </a:lnTo>
                      <a:lnTo>
                        <a:pt x="1708" y="1763"/>
                      </a:lnTo>
                      <a:lnTo>
                        <a:pt x="1706" y="1772"/>
                      </a:lnTo>
                      <a:lnTo>
                        <a:pt x="1708" y="1781"/>
                      </a:lnTo>
                      <a:lnTo>
                        <a:pt x="1711" y="1787"/>
                      </a:lnTo>
                      <a:lnTo>
                        <a:pt x="1715" y="1792"/>
                      </a:lnTo>
                      <a:lnTo>
                        <a:pt x="1721" y="1797"/>
                      </a:lnTo>
                      <a:lnTo>
                        <a:pt x="1726" y="1802"/>
                      </a:lnTo>
                      <a:lnTo>
                        <a:pt x="1739" y="1810"/>
                      </a:lnTo>
                      <a:lnTo>
                        <a:pt x="1752" y="1818"/>
                      </a:lnTo>
                      <a:lnTo>
                        <a:pt x="1759" y="1823"/>
                      </a:lnTo>
                      <a:lnTo>
                        <a:pt x="1764" y="1829"/>
                      </a:lnTo>
                      <a:lnTo>
                        <a:pt x="1769" y="1835"/>
                      </a:lnTo>
                      <a:lnTo>
                        <a:pt x="1772" y="1843"/>
                      </a:lnTo>
                      <a:lnTo>
                        <a:pt x="1773" y="1850"/>
                      </a:lnTo>
                      <a:lnTo>
                        <a:pt x="1775" y="1860"/>
                      </a:lnTo>
                      <a:lnTo>
                        <a:pt x="1775" y="1869"/>
                      </a:lnTo>
                      <a:lnTo>
                        <a:pt x="1775" y="1880"/>
                      </a:lnTo>
                      <a:lnTo>
                        <a:pt x="1772" y="1902"/>
                      </a:lnTo>
                      <a:lnTo>
                        <a:pt x="1768" y="1924"/>
                      </a:lnTo>
                      <a:lnTo>
                        <a:pt x="1758" y="1970"/>
                      </a:lnTo>
                      <a:lnTo>
                        <a:pt x="1749" y="2008"/>
                      </a:lnTo>
                      <a:lnTo>
                        <a:pt x="1750" y="2003"/>
                      </a:lnTo>
                      <a:lnTo>
                        <a:pt x="1749" y="2006"/>
                      </a:lnTo>
                      <a:lnTo>
                        <a:pt x="1750" y="2006"/>
                      </a:lnTo>
                      <a:lnTo>
                        <a:pt x="1744" y="2027"/>
                      </a:lnTo>
                      <a:lnTo>
                        <a:pt x="1737" y="2048"/>
                      </a:lnTo>
                      <a:lnTo>
                        <a:pt x="1734" y="2059"/>
                      </a:lnTo>
                      <a:lnTo>
                        <a:pt x="1731" y="2069"/>
                      </a:lnTo>
                      <a:lnTo>
                        <a:pt x="1728" y="2081"/>
                      </a:lnTo>
                      <a:lnTo>
                        <a:pt x="1726" y="2093"/>
                      </a:lnTo>
                      <a:lnTo>
                        <a:pt x="1722" y="2128"/>
                      </a:lnTo>
                      <a:lnTo>
                        <a:pt x="1717" y="2155"/>
                      </a:lnTo>
                      <a:lnTo>
                        <a:pt x="1715" y="2166"/>
                      </a:lnTo>
                      <a:lnTo>
                        <a:pt x="1711" y="2174"/>
                      </a:lnTo>
                      <a:lnTo>
                        <a:pt x="1706" y="2183"/>
                      </a:lnTo>
                      <a:lnTo>
                        <a:pt x="1702" y="2188"/>
                      </a:lnTo>
                      <a:lnTo>
                        <a:pt x="1695" y="2194"/>
                      </a:lnTo>
                      <a:lnTo>
                        <a:pt x="1688" y="2199"/>
                      </a:lnTo>
                      <a:lnTo>
                        <a:pt x="1679" y="2203"/>
                      </a:lnTo>
                      <a:lnTo>
                        <a:pt x="1669" y="2207"/>
                      </a:lnTo>
                      <a:lnTo>
                        <a:pt x="1644" y="2216"/>
                      </a:lnTo>
                      <a:lnTo>
                        <a:pt x="1612" y="2225"/>
                      </a:lnTo>
                      <a:lnTo>
                        <a:pt x="1600" y="2229"/>
                      </a:lnTo>
                      <a:lnTo>
                        <a:pt x="1584" y="2236"/>
                      </a:lnTo>
                      <a:lnTo>
                        <a:pt x="1567" y="2243"/>
                      </a:lnTo>
                      <a:lnTo>
                        <a:pt x="1549" y="2252"/>
                      </a:lnTo>
                      <a:lnTo>
                        <a:pt x="1533" y="2262"/>
                      </a:lnTo>
                      <a:lnTo>
                        <a:pt x="1517" y="2272"/>
                      </a:lnTo>
                      <a:lnTo>
                        <a:pt x="1511" y="2278"/>
                      </a:lnTo>
                      <a:lnTo>
                        <a:pt x="1506" y="2283"/>
                      </a:lnTo>
                      <a:lnTo>
                        <a:pt x="1501" y="2289"/>
                      </a:lnTo>
                      <a:lnTo>
                        <a:pt x="1498" y="2293"/>
                      </a:lnTo>
                      <a:lnTo>
                        <a:pt x="1497" y="2298"/>
                      </a:lnTo>
                      <a:lnTo>
                        <a:pt x="1498" y="2303"/>
                      </a:lnTo>
                      <a:lnTo>
                        <a:pt x="1501" y="2308"/>
                      </a:lnTo>
                      <a:lnTo>
                        <a:pt x="1504" y="2312"/>
                      </a:lnTo>
                      <a:lnTo>
                        <a:pt x="1516" y="2322"/>
                      </a:lnTo>
                      <a:lnTo>
                        <a:pt x="1531" y="2331"/>
                      </a:lnTo>
                      <a:lnTo>
                        <a:pt x="1563" y="2349"/>
                      </a:lnTo>
                      <a:lnTo>
                        <a:pt x="1584" y="2363"/>
                      </a:lnTo>
                      <a:lnTo>
                        <a:pt x="1588" y="2366"/>
                      </a:lnTo>
                      <a:lnTo>
                        <a:pt x="1591" y="2371"/>
                      </a:lnTo>
                      <a:lnTo>
                        <a:pt x="1593" y="2375"/>
                      </a:lnTo>
                      <a:lnTo>
                        <a:pt x="1594" y="2378"/>
                      </a:lnTo>
                      <a:lnTo>
                        <a:pt x="1594" y="2382"/>
                      </a:lnTo>
                      <a:lnTo>
                        <a:pt x="1593" y="2385"/>
                      </a:lnTo>
                      <a:lnTo>
                        <a:pt x="1591" y="2389"/>
                      </a:lnTo>
                      <a:lnTo>
                        <a:pt x="1589" y="2392"/>
                      </a:lnTo>
                      <a:lnTo>
                        <a:pt x="1583" y="2399"/>
                      </a:lnTo>
                      <a:lnTo>
                        <a:pt x="1575" y="2407"/>
                      </a:lnTo>
                      <a:lnTo>
                        <a:pt x="1565" y="2412"/>
                      </a:lnTo>
                      <a:lnTo>
                        <a:pt x="1555" y="2418"/>
                      </a:lnTo>
                      <a:lnTo>
                        <a:pt x="1531" y="2430"/>
                      </a:lnTo>
                      <a:lnTo>
                        <a:pt x="1508" y="2442"/>
                      </a:lnTo>
                      <a:lnTo>
                        <a:pt x="1498" y="2448"/>
                      </a:lnTo>
                      <a:lnTo>
                        <a:pt x="1489" y="2454"/>
                      </a:lnTo>
                      <a:lnTo>
                        <a:pt x="1482" y="2460"/>
                      </a:lnTo>
                      <a:lnTo>
                        <a:pt x="1477" y="2464"/>
                      </a:lnTo>
                      <a:lnTo>
                        <a:pt x="1475" y="2469"/>
                      </a:lnTo>
                      <a:lnTo>
                        <a:pt x="1473" y="2474"/>
                      </a:lnTo>
                      <a:lnTo>
                        <a:pt x="1471" y="2477"/>
                      </a:lnTo>
                      <a:lnTo>
                        <a:pt x="1471" y="2481"/>
                      </a:lnTo>
                      <a:lnTo>
                        <a:pt x="1473" y="2487"/>
                      </a:lnTo>
                      <a:lnTo>
                        <a:pt x="1476" y="2493"/>
                      </a:lnTo>
                      <a:lnTo>
                        <a:pt x="1480" y="2498"/>
                      </a:lnTo>
                      <a:lnTo>
                        <a:pt x="1483" y="2506"/>
                      </a:lnTo>
                      <a:lnTo>
                        <a:pt x="1486" y="2511"/>
                      </a:lnTo>
                      <a:lnTo>
                        <a:pt x="1487" y="2520"/>
                      </a:lnTo>
                      <a:lnTo>
                        <a:pt x="1486" y="2523"/>
                      </a:lnTo>
                      <a:lnTo>
                        <a:pt x="1484" y="2528"/>
                      </a:lnTo>
                      <a:lnTo>
                        <a:pt x="1483" y="2533"/>
                      </a:lnTo>
                      <a:lnTo>
                        <a:pt x="1481" y="2536"/>
                      </a:lnTo>
                      <a:lnTo>
                        <a:pt x="1474" y="2546"/>
                      </a:lnTo>
                      <a:lnTo>
                        <a:pt x="1466" y="2554"/>
                      </a:lnTo>
                      <a:lnTo>
                        <a:pt x="1448" y="2569"/>
                      </a:lnTo>
                      <a:lnTo>
                        <a:pt x="1433" y="2580"/>
                      </a:lnTo>
                      <a:lnTo>
                        <a:pt x="1428" y="2588"/>
                      </a:lnTo>
                      <a:lnTo>
                        <a:pt x="1416" y="2595"/>
                      </a:lnTo>
                      <a:lnTo>
                        <a:pt x="1404" y="2603"/>
                      </a:lnTo>
                      <a:lnTo>
                        <a:pt x="1393" y="2612"/>
                      </a:lnTo>
                      <a:lnTo>
                        <a:pt x="1382" y="2621"/>
                      </a:lnTo>
                      <a:lnTo>
                        <a:pt x="1381" y="2622"/>
                      </a:lnTo>
                      <a:lnTo>
                        <a:pt x="1381" y="2625"/>
                      </a:lnTo>
                      <a:lnTo>
                        <a:pt x="1393" y="2638"/>
                      </a:lnTo>
                      <a:lnTo>
                        <a:pt x="1406" y="2649"/>
                      </a:lnTo>
                      <a:lnTo>
                        <a:pt x="1419" y="2661"/>
                      </a:lnTo>
                      <a:lnTo>
                        <a:pt x="1433" y="2673"/>
                      </a:lnTo>
                      <a:lnTo>
                        <a:pt x="1446" y="2686"/>
                      </a:lnTo>
                      <a:lnTo>
                        <a:pt x="1457" y="2698"/>
                      </a:lnTo>
                      <a:lnTo>
                        <a:pt x="1462" y="2705"/>
                      </a:lnTo>
                      <a:lnTo>
                        <a:pt x="1468" y="2712"/>
                      </a:lnTo>
                      <a:lnTo>
                        <a:pt x="1473" y="2719"/>
                      </a:lnTo>
                      <a:lnTo>
                        <a:pt x="1476" y="2727"/>
                      </a:lnTo>
                      <a:lnTo>
                        <a:pt x="1494" y="2764"/>
                      </a:lnTo>
                      <a:lnTo>
                        <a:pt x="1517" y="2806"/>
                      </a:lnTo>
                      <a:lnTo>
                        <a:pt x="1530" y="2826"/>
                      </a:lnTo>
                      <a:lnTo>
                        <a:pt x="1543" y="2846"/>
                      </a:lnTo>
                      <a:lnTo>
                        <a:pt x="1556" y="2863"/>
                      </a:lnTo>
                      <a:lnTo>
                        <a:pt x="1568" y="2877"/>
                      </a:lnTo>
                      <a:lnTo>
                        <a:pt x="1574" y="2877"/>
                      </a:lnTo>
                      <a:lnTo>
                        <a:pt x="1581" y="2876"/>
                      </a:lnTo>
                      <a:lnTo>
                        <a:pt x="1588" y="2873"/>
                      </a:lnTo>
                      <a:lnTo>
                        <a:pt x="1596" y="2871"/>
                      </a:lnTo>
                      <a:lnTo>
                        <a:pt x="1612" y="2864"/>
                      </a:lnTo>
                      <a:lnTo>
                        <a:pt x="1630" y="2853"/>
                      </a:lnTo>
                      <a:lnTo>
                        <a:pt x="1663" y="2832"/>
                      </a:lnTo>
                      <a:lnTo>
                        <a:pt x="1688" y="2814"/>
                      </a:lnTo>
                      <a:lnTo>
                        <a:pt x="1699" y="2806"/>
                      </a:lnTo>
                      <a:lnTo>
                        <a:pt x="1711" y="2800"/>
                      </a:lnTo>
                      <a:lnTo>
                        <a:pt x="1723" y="2794"/>
                      </a:lnTo>
                      <a:lnTo>
                        <a:pt x="1735" y="2790"/>
                      </a:lnTo>
                      <a:lnTo>
                        <a:pt x="1745" y="2786"/>
                      </a:lnTo>
                      <a:lnTo>
                        <a:pt x="1757" y="2783"/>
                      </a:lnTo>
                      <a:lnTo>
                        <a:pt x="1769" y="2781"/>
                      </a:lnTo>
                      <a:lnTo>
                        <a:pt x="1781" y="2779"/>
                      </a:lnTo>
                      <a:lnTo>
                        <a:pt x="1804" y="2777"/>
                      </a:lnTo>
                      <a:lnTo>
                        <a:pt x="1829" y="2775"/>
                      </a:lnTo>
                      <a:lnTo>
                        <a:pt x="1855" y="2774"/>
                      </a:lnTo>
                      <a:lnTo>
                        <a:pt x="1882" y="2773"/>
                      </a:lnTo>
                      <a:lnTo>
                        <a:pt x="2063" y="2760"/>
                      </a:lnTo>
                      <a:lnTo>
                        <a:pt x="2064" y="2761"/>
                      </a:lnTo>
                      <a:lnTo>
                        <a:pt x="2064" y="2800"/>
                      </a:lnTo>
                      <a:lnTo>
                        <a:pt x="2063" y="2834"/>
                      </a:lnTo>
                      <a:lnTo>
                        <a:pt x="2060" y="2866"/>
                      </a:lnTo>
                      <a:lnTo>
                        <a:pt x="2056" y="2897"/>
                      </a:lnTo>
                      <a:lnTo>
                        <a:pt x="2053" y="2911"/>
                      </a:lnTo>
                      <a:lnTo>
                        <a:pt x="2050" y="2926"/>
                      </a:lnTo>
                      <a:lnTo>
                        <a:pt x="2045" y="2942"/>
                      </a:lnTo>
                      <a:lnTo>
                        <a:pt x="2040" y="2957"/>
                      </a:lnTo>
                      <a:lnTo>
                        <a:pt x="2027" y="2990"/>
                      </a:lnTo>
                      <a:lnTo>
                        <a:pt x="2010" y="3025"/>
                      </a:lnTo>
                      <a:lnTo>
                        <a:pt x="2005" y="3032"/>
                      </a:lnTo>
                      <a:lnTo>
                        <a:pt x="2003" y="3041"/>
                      </a:lnTo>
                      <a:lnTo>
                        <a:pt x="1998" y="3048"/>
                      </a:lnTo>
                      <a:lnTo>
                        <a:pt x="1993" y="3056"/>
                      </a:lnTo>
                      <a:lnTo>
                        <a:pt x="1989" y="3064"/>
                      </a:lnTo>
                      <a:lnTo>
                        <a:pt x="1986" y="3072"/>
                      </a:lnTo>
                      <a:lnTo>
                        <a:pt x="1982" y="3091"/>
                      </a:lnTo>
                      <a:lnTo>
                        <a:pt x="1978" y="3110"/>
                      </a:lnTo>
                      <a:lnTo>
                        <a:pt x="1974" y="3128"/>
                      </a:lnTo>
                      <a:lnTo>
                        <a:pt x="1971" y="3146"/>
                      </a:lnTo>
                      <a:lnTo>
                        <a:pt x="1967" y="3155"/>
                      </a:lnTo>
                      <a:lnTo>
                        <a:pt x="1965" y="3162"/>
                      </a:lnTo>
                      <a:lnTo>
                        <a:pt x="1960" y="3170"/>
                      </a:lnTo>
                      <a:lnTo>
                        <a:pt x="1956" y="3177"/>
                      </a:lnTo>
                      <a:lnTo>
                        <a:pt x="1954" y="3177"/>
                      </a:lnTo>
                      <a:lnTo>
                        <a:pt x="1953" y="3179"/>
                      </a:lnTo>
                      <a:lnTo>
                        <a:pt x="1936" y="3180"/>
                      </a:lnTo>
                      <a:lnTo>
                        <a:pt x="1918" y="3181"/>
                      </a:lnTo>
                      <a:lnTo>
                        <a:pt x="1899" y="3181"/>
                      </a:lnTo>
                      <a:lnTo>
                        <a:pt x="1882" y="3180"/>
                      </a:lnTo>
                      <a:lnTo>
                        <a:pt x="1871" y="3180"/>
                      </a:lnTo>
                      <a:lnTo>
                        <a:pt x="1862" y="3181"/>
                      </a:lnTo>
                      <a:lnTo>
                        <a:pt x="1855" y="3183"/>
                      </a:lnTo>
                      <a:lnTo>
                        <a:pt x="1848" y="3186"/>
                      </a:lnTo>
                      <a:lnTo>
                        <a:pt x="1835" y="3190"/>
                      </a:lnTo>
                      <a:lnTo>
                        <a:pt x="1824" y="3196"/>
                      </a:lnTo>
                      <a:lnTo>
                        <a:pt x="1819" y="3199"/>
                      </a:lnTo>
                      <a:lnTo>
                        <a:pt x="1813" y="3201"/>
                      </a:lnTo>
                      <a:lnTo>
                        <a:pt x="1808" y="3202"/>
                      </a:lnTo>
                      <a:lnTo>
                        <a:pt x="1801" y="3202"/>
                      </a:lnTo>
                      <a:lnTo>
                        <a:pt x="1793" y="3201"/>
                      </a:lnTo>
                      <a:lnTo>
                        <a:pt x="1785" y="3199"/>
                      </a:lnTo>
                      <a:lnTo>
                        <a:pt x="1776" y="3194"/>
                      </a:lnTo>
                      <a:lnTo>
                        <a:pt x="1765" y="3189"/>
                      </a:lnTo>
                      <a:lnTo>
                        <a:pt x="1756" y="3184"/>
                      </a:lnTo>
                      <a:lnTo>
                        <a:pt x="1745" y="3181"/>
                      </a:lnTo>
                      <a:lnTo>
                        <a:pt x="1735" y="3177"/>
                      </a:lnTo>
                      <a:lnTo>
                        <a:pt x="1722" y="3176"/>
                      </a:lnTo>
                      <a:lnTo>
                        <a:pt x="1709" y="3175"/>
                      </a:lnTo>
                      <a:lnTo>
                        <a:pt x="1696" y="3175"/>
                      </a:lnTo>
                      <a:lnTo>
                        <a:pt x="1682" y="3175"/>
                      </a:lnTo>
                      <a:lnTo>
                        <a:pt x="1668" y="3177"/>
                      </a:lnTo>
                      <a:lnTo>
                        <a:pt x="1655" y="3179"/>
                      </a:lnTo>
                      <a:lnTo>
                        <a:pt x="1641" y="3182"/>
                      </a:lnTo>
                      <a:lnTo>
                        <a:pt x="1628" y="3186"/>
                      </a:lnTo>
                      <a:lnTo>
                        <a:pt x="1616" y="3189"/>
                      </a:lnTo>
                      <a:lnTo>
                        <a:pt x="1604" y="3194"/>
                      </a:lnTo>
                      <a:lnTo>
                        <a:pt x="1594" y="3199"/>
                      </a:lnTo>
                      <a:lnTo>
                        <a:pt x="1583" y="3204"/>
                      </a:lnTo>
                      <a:lnTo>
                        <a:pt x="1575" y="3210"/>
                      </a:lnTo>
                      <a:lnTo>
                        <a:pt x="1567" y="3220"/>
                      </a:lnTo>
                      <a:lnTo>
                        <a:pt x="1558" y="3232"/>
                      </a:lnTo>
                      <a:lnTo>
                        <a:pt x="1551" y="3245"/>
                      </a:lnTo>
                      <a:lnTo>
                        <a:pt x="1544" y="3259"/>
                      </a:lnTo>
                      <a:lnTo>
                        <a:pt x="1538" y="3275"/>
                      </a:lnTo>
                      <a:lnTo>
                        <a:pt x="1534" y="3293"/>
                      </a:lnTo>
                      <a:lnTo>
                        <a:pt x="1529" y="3311"/>
                      </a:lnTo>
                      <a:lnTo>
                        <a:pt x="1526" y="3329"/>
                      </a:lnTo>
                      <a:lnTo>
                        <a:pt x="1518" y="3366"/>
                      </a:lnTo>
                      <a:lnTo>
                        <a:pt x="1513" y="3402"/>
                      </a:lnTo>
                      <a:lnTo>
                        <a:pt x="1508" y="3435"/>
                      </a:lnTo>
                      <a:lnTo>
                        <a:pt x="1503" y="3463"/>
                      </a:lnTo>
                      <a:lnTo>
                        <a:pt x="1501" y="3472"/>
                      </a:lnTo>
                      <a:lnTo>
                        <a:pt x="1500" y="3483"/>
                      </a:lnTo>
                      <a:lnTo>
                        <a:pt x="1498" y="3492"/>
                      </a:lnTo>
                      <a:lnTo>
                        <a:pt x="1500" y="3500"/>
                      </a:lnTo>
                      <a:lnTo>
                        <a:pt x="1501" y="3510"/>
                      </a:lnTo>
                      <a:lnTo>
                        <a:pt x="1503" y="3519"/>
                      </a:lnTo>
                      <a:lnTo>
                        <a:pt x="1506" y="3529"/>
                      </a:lnTo>
                      <a:lnTo>
                        <a:pt x="1510" y="3537"/>
                      </a:lnTo>
                      <a:lnTo>
                        <a:pt x="1514" y="3545"/>
                      </a:lnTo>
                      <a:lnTo>
                        <a:pt x="1520" y="3553"/>
                      </a:lnTo>
                      <a:lnTo>
                        <a:pt x="1526" y="3563"/>
                      </a:lnTo>
                      <a:lnTo>
                        <a:pt x="1531" y="3570"/>
                      </a:lnTo>
                      <a:lnTo>
                        <a:pt x="1545" y="3586"/>
                      </a:lnTo>
                      <a:lnTo>
                        <a:pt x="1561" y="3601"/>
                      </a:lnTo>
                      <a:lnTo>
                        <a:pt x="1578" y="3616"/>
                      </a:lnTo>
                      <a:lnTo>
                        <a:pt x="1596" y="3629"/>
                      </a:lnTo>
                      <a:lnTo>
                        <a:pt x="1614" y="3641"/>
                      </a:lnTo>
                      <a:lnTo>
                        <a:pt x="1631" y="3652"/>
                      </a:lnTo>
                      <a:lnTo>
                        <a:pt x="1667" y="3672"/>
                      </a:lnTo>
                      <a:lnTo>
                        <a:pt x="1696" y="3688"/>
                      </a:lnTo>
                      <a:lnTo>
                        <a:pt x="1703" y="3698"/>
                      </a:lnTo>
                      <a:lnTo>
                        <a:pt x="1708" y="3707"/>
                      </a:lnTo>
                      <a:lnTo>
                        <a:pt x="1714" y="3712"/>
                      </a:lnTo>
                      <a:lnTo>
                        <a:pt x="1718" y="3717"/>
                      </a:lnTo>
                      <a:lnTo>
                        <a:pt x="1723" y="3720"/>
                      </a:lnTo>
                      <a:lnTo>
                        <a:pt x="1728" y="3721"/>
                      </a:lnTo>
                      <a:lnTo>
                        <a:pt x="1732" y="3722"/>
                      </a:lnTo>
                      <a:lnTo>
                        <a:pt x="1737" y="3721"/>
                      </a:lnTo>
                      <a:lnTo>
                        <a:pt x="1759" y="3712"/>
                      </a:lnTo>
                      <a:lnTo>
                        <a:pt x="1789" y="3702"/>
                      </a:lnTo>
                      <a:lnTo>
                        <a:pt x="1810" y="3700"/>
                      </a:lnTo>
                      <a:lnTo>
                        <a:pt x="1832" y="3698"/>
                      </a:lnTo>
                      <a:lnTo>
                        <a:pt x="1855" y="3698"/>
                      </a:lnTo>
                      <a:lnTo>
                        <a:pt x="1878" y="3700"/>
                      </a:lnTo>
                      <a:lnTo>
                        <a:pt x="1902" y="3701"/>
                      </a:lnTo>
                      <a:lnTo>
                        <a:pt x="1925" y="3703"/>
                      </a:lnTo>
                      <a:lnTo>
                        <a:pt x="1949" y="3704"/>
                      </a:lnTo>
                      <a:lnTo>
                        <a:pt x="1970" y="3704"/>
                      </a:lnTo>
                      <a:lnTo>
                        <a:pt x="1977" y="3705"/>
                      </a:lnTo>
                      <a:lnTo>
                        <a:pt x="1983" y="3709"/>
                      </a:lnTo>
                      <a:lnTo>
                        <a:pt x="1989" y="3712"/>
                      </a:lnTo>
                      <a:lnTo>
                        <a:pt x="1993" y="3718"/>
                      </a:lnTo>
                      <a:lnTo>
                        <a:pt x="1997" y="3725"/>
                      </a:lnTo>
                      <a:lnTo>
                        <a:pt x="2000" y="3734"/>
                      </a:lnTo>
                      <a:lnTo>
                        <a:pt x="2003" y="3742"/>
                      </a:lnTo>
                      <a:lnTo>
                        <a:pt x="2005" y="3751"/>
                      </a:lnTo>
                      <a:lnTo>
                        <a:pt x="2009" y="3771"/>
                      </a:lnTo>
                      <a:lnTo>
                        <a:pt x="2011" y="3791"/>
                      </a:lnTo>
                      <a:lnTo>
                        <a:pt x="2012" y="3809"/>
                      </a:lnTo>
                      <a:lnTo>
                        <a:pt x="2013" y="3824"/>
                      </a:lnTo>
                      <a:lnTo>
                        <a:pt x="2016" y="3826"/>
                      </a:lnTo>
                      <a:lnTo>
                        <a:pt x="2017" y="3829"/>
                      </a:lnTo>
                      <a:lnTo>
                        <a:pt x="2026" y="3832"/>
                      </a:lnTo>
                      <a:lnTo>
                        <a:pt x="2036" y="3834"/>
                      </a:lnTo>
                      <a:lnTo>
                        <a:pt x="2046" y="3835"/>
                      </a:lnTo>
                      <a:lnTo>
                        <a:pt x="2056" y="3836"/>
                      </a:lnTo>
                      <a:lnTo>
                        <a:pt x="2077" y="3836"/>
                      </a:lnTo>
                      <a:lnTo>
                        <a:pt x="2098" y="3836"/>
                      </a:lnTo>
                      <a:lnTo>
                        <a:pt x="2099" y="3905"/>
                      </a:lnTo>
                      <a:lnTo>
                        <a:pt x="2099" y="3905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42">
                  <a:extLst>
                    <a:ext uri="{FF2B5EF4-FFF2-40B4-BE49-F238E27FC236}">
                      <a16:creationId xmlns:a16="http://schemas.microsoft.com/office/drawing/2014/main" id="{379B3F3F-1A05-4FB3-8F18-4797CB51A77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136504" y="2410713"/>
                  <a:ext cx="796406" cy="779511"/>
                </a:xfrm>
                <a:custGeom>
                  <a:avLst/>
                  <a:gdLst>
                    <a:gd name="T0" fmla="*/ 2283 w 3249"/>
                    <a:gd name="T1" fmla="*/ 2366 h 3179"/>
                    <a:gd name="T2" fmla="*/ 2048 w 3249"/>
                    <a:gd name="T3" fmla="*/ 2605 h 3179"/>
                    <a:gd name="T4" fmla="*/ 1996 w 3249"/>
                    <a:gd name="T5" fmla="*/ 2698 h 3179"/>
                    <a:gd name="T6" fmla="*/ 2394 w 3249"/>
                    <a:gd name="T7" fmla="*/ 1506 h 3179"/>
                    <a:gd name="T8" fmla="*/ 58 w 3249"/>
                    <a:gd name="T9" fmla="*/ 1536 h 3179"/>
                    <a:gd name="T10" fmla="*/ 433 w 3249"/>
                    <a:gd name="T11" fmla="*/ 1944 h 3179"/>
                    <a:gd name="T12" fmla="*/ 710 w 3249"/>
                    <a:gd name="T13" fmla="*/ 1942 h 3179"/>
                    <a:gd name="T14" fmla="*/ 989 w 3249"/>
                    <a:gd name="T15" fmla="*/ 2149 h 3179"/>
                    <a:gd name="T16" fmla="*/ 1059 w 3249"/>
                    <a:gd name="T17" fmla="*/ 2595 h 3179"/>
                    <a:gd name="T18" fmla="*/ 1103 w 3249"/>
                    <a:gd name="T19" fmla="*/ 2955 h 3179"/>
                    <a:gd name="T20" fmla="*/ 1203 w 3249"/>
                    <a:gd name="T21" fmla="*/ 3057 h 3179"/>
                    <a:gd name="T22" fmla="*/ 1372 w 3249"/>
                    <a:gd name="T23" fmla="*/ 2958 h 3179"/>
                    <a:gd name="T24" fmla="*/ 1529 w 3249"/>
                    <a:gd name="T25" fmla="*/ 3142 h 3179"/>
                    <a:gd name="T26" fmla="*/ 1670 w 3249"/>
                    <a:gd name="T27" fmla="*/ 3098 h 3179"/>
                    <a:gd name="T28" fmla="*/ 1533 w 3249"/>
                    <a:gd name="T29" fmla="*/ 3031 h 3179"/>
                    <a:gd name="T30" fmla="*/ 1699 w 3249"/>
                    <a:gd name="T31" fmla="*/ 2865 h 3179"/>
                    <a:gd name="T32" fmla="*/ 1975 w 3249"/>
                    <a:gd name="T33" fmla="*/ 2586 h 3179"/>
                    <a:gd name="T34" fmla="*/ 1783 w 3249"/>
                    <a:gd name="T35" fmla="*/ 2622 h 3179"/>
                    <a:gd name="T36" fmla="*/ 1857 w 3249"/>
                    <a:gd name="T37" fmla="*/ 2359 h 3179"/>
                    <a:gd name="T38" fmla="*/ 1743 w 3249"/>
                    <a:gd name="T39" fmla="*/ 2385 h 3179"/>
                    <a:gd name="T40" fmla="*/ 1636 w 3249"/>
                    <a:gd name="T41" fmla="*/ 2281 h 3179"/>
                    <a:gd name="T42" fmla="*/ 1833 w 3249"/>
                    <a:gd name="T43" fmla="*/ 2331 h 3179"/>
                    <a:gd name="T44" fmla="*/ 1970 w 3249"/>
                    <a:gd name="T45" fmla="*/ 2288 h 3179"/>
                    <a:gd name="T46" fmla="*/ 2333 w 3249"/>
                    <a:gd name="T47" fmla="*/ 2139 h 3179"/>
                    <a:gd name="T48" fmla="*/ 2432 w 3249"/>
                    <a:gd name="T49" fmla="*/ 2135 h 3179"/>
                    <a:gd name="T50" fmla="*/ 2614 w 3249"/>
                    <a:gd name="T51" fmla="*/ 2103 h 3179"/>
                    <a:gd name="T52" fmla="*/ 2780 w 3249"/>
                    <a:gd name="T53" fmla="*/ 1966 h 3179"/>
                    <a:gd name="T54" fmla="*/ 2914 w 3249"/>
                    <a:gd name="T55" fmla="*/ 1898 h 3179"/>
                    <a:gd name="T56" fmla="*/ 2955 w 3249"/>
                    <a:gd name="T57" fmla="*/ 2021 h 3179"/>
                    <a:gd name="T58" fmla="*/ 3026 w 3249"/>
                    <a:gd name="T59" fmla="*/ 1825 h 3179"/>
                    <a:gd name="T60" fmla="*/ 3232 w 3249"/>
                    <a:gd name="T61" fmla="*/ 1695 h 3179"/>
                    <a:gd name="T62" fmla="*/ 3149 w 3249"/>
                    <a:gd name="T63" fmla="*/ 1539 h 3179"/>
                    <a:gd name="T64" fmla="*/ 3060 w 3249"/>
                    <a:gd name="T65" fmla="*/ 1343 h 3179"/>
                    <a:gd name="T66" fmla="*/ 2930 w 3249"/>
                    <a:gd name="T67" fmla="*/ 1376 h 3179"/>
                    <a:gd name="T68" fmla="*/ 2779 w 3249"/>
                    <a:gd name="T69" fmla="*/ 1528 h 3179"/>
                    <a:gd name="T70" fmla="*/ 2772 w 3249"/>
                    <a:gd name="T71" fmla="*/ 1695 h 3179"/>
                    <a:gd name="T72" fmla="*/ 2741 w 3249"/>
                    <a:gd name="T73" fmla="*/ 1809 h 3179"/>
                    <a:gd name="T74" fmla="*/ 2685 w 3249"/>
                    <a:gd name="T75" fmla="*/ 1760 h 3179"/>
                    <a:gd name="T76" fmla="*/ 2786 w 3249"/>
                    <a:gd name="T77" fmla="*/ 1615 h 3179"/>
                    <a:gd name="T78" fmla="*/ 2640 w 3249"/>
                    <a:gd name="T79" fmla="*/ 1553 h 3179"/>
                    <a:gd name="T80" fmla="*/ 2530 w 3249"/>
                    <a:gd name="T81" fmla="*/ 1660 h 3179"/>
                    <a:gd name="T82" fmla="*/ 2377 w 3249"/>
                    <a:gd name="T83" fmla="*/ 1697 h 3179"/>
                    <a:gd name="T84" fmla="*/ 2295 w 3249"/>
                    <a:gd name="T85" fmla="*/ 1437 h 3179"/>
                    <a:gd name="T86" fmla="*/ 2526 w 3249"/>
                    <a:gd name="T87" fmla="*/ 1448 h 3179"/>
                    <a:gd name="T88" fmla="*/ 2215 w 3249"/>
                    <a:gd name="T89" fmla="*/ 1383 h 3179"/>
                    <a:gd name="T90" fmla="*/ 2143 w 3249"/>
                    <a:gd name="T91" fmla="*/ 1256 h 3179"/>
                    <a:gd name="T92" fmla="*/ 2129 w 3249"/>
                    <a:gd name="T93" fmla="*/ 1224 h 3179"/>
                    <a:gd name="T94" fmla="*/ 2058 w 3249"/>
                    <a:gd name="T95" fmla="*/ 1171 h 3179"/>
                    <a:gd name="T96" fmla="*/ 2079 w 3249"/>
                    <a:gd name="T97" fmla="*/ 987 h 3179"/>
                    <a:gd name="T98" fmla="*/ 2021 w 3249"/>
                    <a:gd name="T99" fmla="*/ 853 h 3179"/>
                    <a:gd name="T100" fmla="*/ 2186 w 3249"/>
                    <a:gd name="T101" fmla="*/ 975 h 3179"/>
                    <a:gd name="T102" fmla="*/ 2280 w 3249"/>
                    <a:gd name="T103" fmla="*/ 1243 h 3179"/>
                    <a:gd name="T104" fmla="*/ 2208 w 3249"/>
                    <a:gd name="T105" fmla="*/ 817 h 3179"/>
                    <a:gd name="T106" fmla="*/ 2091 w 3249"/>
                    <a:gd name="T107" fmla="*/ 525 h 3179"/>
                    <a:gd name="T108" fmla="*/ 1914 w 3249"/>
                    <a:gd name="T109" fmla="*/ 491 h 3179"/>
                    <a:gd name="T110" fmla="*/ 2077 w 3249"/>
                    <a:gd name="T111" fmla="*/ 438 h 3179"/>
                    <a:gd name="T112" fmla="*/ 2126 w 3249"/>
                    <a:gd name="T113" fmla="*/ 104 h 3179"/>
                    <a:gd name="T114" fmla="*/ 1898 w 3249"/>
                    <a:gd name="T115" fmla="*/ 140 h 3179"/>
                    <a:gd name="T116" fmla="*/ 1522 w 3249"/>
                    <a:gd name="T117" fmla="*/ 48 h 3179"/>
                    <a:gd name="T118" fmla="*/ 963 w 3249"/>
                    <a:gd name="T119" fmla="*/ 329 h 3179"/>
                    <a:gd name="T120" fmla="*/ 568 w 3249"/>
                    <a:gd name="T121" fmla="*/ 458 h 3179"/>
                    <a:gd name="T122" fmla="*/ 266 w 3249"/>
                    <a:gd name="T123" fmla="*/ 1006 h 3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3249" h="3179">
                      <a:moveTo>
                        <a:pt x="2225" y="2274"/>
                      </a:moveTo>
                      <a:lnTo>
                        <a:pt x="2221" y="2274"/>
                      </a:lnTo>
                      <a:lnTo>
                        <a:pt x="2216" y="2273"/>
                      </a:lnTo>
                      <a:lnTo>
                        <a:pt x="2210" y="2271"/>
                      </a:lnTo>
                      <a:lnTo>
                        <a:pt x="2204" y="2271"/>
                      </a:lnTo>
                      <a:lnTo>
                        <a:pt x="2201" y="2271"/>
                      </a:lnTo>
                      <a:lnTo>
                        <a:pt x="2197" y="2271"/>
                      </a:lnTo>
                      <a:lnTo>
                        <a:pt x="2195" y="2272"/>
                      </a:lnTo>
                      <a:lnTo>
                        <a:pt x="2192" y="2273"/>
                      </a:lnTo>
                      <a:lnTo>
                        <a:pt x="2190" y="2275"/>
                      </a:lnTo>
                      <a:lnTo>
                        <a:pt x="2190" y="2276"/>
                      </a:lnTo>
                      <a:lnTo>
                        <a:pt x="2189" y="2280"/>
                      </a:lnTo>
                      <a:lnTo>
                        <a:pt x="2188" y="2282"/>
                      </a:lnTo>
                      <a:lnTo>
                        <a:pt x="2188" y="2289"/>
                      </a:lnTo>
                      <a:lnTo>
                        <a:pt x="2189" y="2291"/>
                      </a:lnTo>
                      <a:lnTo>
                        <a:pt x="2190" y="2292"/>
                      </a:lnTo>
                      <a:lnTo>
                        <a:pt x="2193" y="2295"/>
                      </a:lnTo>
                      <a:lnTo>
                        <a:pt x="2199" y="2296"/>
                      </a:lnTo>
                      <a:lnTo>
                        <a:pt x="2202" y="2296"/>
                      </a:lnTo>
                      <a:lnTo>
                        <a:pt x="2205" y="2296"/>
                      </a:lnTo>
                      <a:lnTo>
                        <a:pt x="2211" y="2296"/>
                      </a:lnTo>
                      <a:lnTo>
                        <a:pt x="2215" y="2298"/>
                      </a:lnTo>
                      <a:lnTo>
                        <a:pt x="2218" y="2298"/>
                      </a:lnTo>
                      <a:lnTo>
                        <a:pt x="2223" y="2296"/>
                      </a:lnTo>
                      <a:lnTo>
                        <a:pt x="2226" y="2295"/>
                      </a:lnTo>
                      <a:lnTo>
                        <a:pt x="2228" y="2293"/>
                      </a:lnTo>
                      <a:lnTo>
                        <a:pt x="2230" y="2291"/>
                      </a:lnTo>
                      <a:lnTo>
                        <a:pt x="2232" y="2287"/>
                      </a:lnTo>
                      <a:lnTo>
                        <a:pt x="2231" y="2285"/>
                      </a:lnTo>
                      <a:lnTo>
                        <a:pt x="2225" y="2274"/>
                      </a:lnTo>
                      <a:close/>
                      <a:moveTo>
                        <a:pt x="2286" y="2371"/>
                      </a:moveTo>
                      <a:lnTo>
                        <a:pt x="2285" y="2368"/>
                      </a:lnTo>
                      <a:lnTo>
                        <a:pt x="2283" y="2367"/>
                      </a:lnTo>
                      <a:lnTo>
                        <a:pt x="2283" y="2366"/>
                      </a:lnTo>
                      <a:lnTo>
                        <a:pt x="2282" y="2365"/>
                      </a:lnTo>
                      <a:lnTo>
                        <a:pt x="2280" y="2364"/>
                      </a:lnTo>
                      <a:lnTo>
                        <a:pt x="2279" y="2364"/>
                      </a:lnTo>
                      <a:lnTo>
                        <a:pt x="2278" y="2362"/>
                      </a:lnTo>
                      <a:lnTo>
                        <a:pt x="2277" y="2364"/>
                      </a:lnTo>
                      <a:lnTo>
                        <a:pt x="2275" y="2362"/>
                      </a:lnTo>
                      <a:lnTo>
                        <a:pt x="2271" y="2361"/>
                      </a:lnTo>
                      <a:lnTo>
                        <a:pt x="2269" y="2360"/>
                      </a:lnTo>
                      <a:lnTo>
                        <a:pt x="2266" y="2361"/>
                      </a:lnTo>
                      <a:lnTo>
                        <a:pt x="2264" y="2365"/>
                      </a:lnTo>
                      <a:lnTo>
                        <a:pt x="2260" y="2368"/>
                      </a:lnTo>
                      <a:lnTo>
                        <a:pt x="2258" y="2372"/>
                      </a:lnTo>
                      <a:lnTo>
                        <a:pt x="2257" y="2375"/>
                      </a:lnTo>
                      <a:lnTo>
                        <a:pt x="2257" y="2378"/>
                      </a:lnTo>
                      <a:lnTo>
                        <a:pt x="2256" y="2383"/>
                      </a:lnTo>
                      <a:lnTo>
                        <a:pt x="2257" y="2386"/>
                      </a:lnTo>
                      <a:lnTo>
                        <a:pt x="2257" y="2390"/>
                      </a:lnTo>
                      <a:lnTo>
                        <a:pt x="2257" y="2399"/>
                      </a:lnTo>
                      <a:lnTo>
                        <a:pt x="2258" y="2400"/>
                      </a:lnTo>
                      <a:lnTo>
                        <a:pt x="2259" y="2401"/>
                      </a:lnTo>
                      <a:lnTo>
                        <a:pt x="2263" y="2401"/>
                      </a:lnTo>
                      <a:lnTo>
                        <a:pt x="2265" y="2401"/>
                      </a:lnTo>
                      <a:lnTo>
                        <a:pt x="2269" y="2403"/>
                      </a:lnTo>
                      <a:lnTo>
                        <a:pt x="2271" y="2401"/>
                      </a:lnTo>
                      <a:lnTo>
                        <a:pt x="2276" y="2400"/>
                      </a:lnTo>
                      <a:lnTo>
                        <a:pt x="2280" y="2397"/>
                      </a:lnTo>
                      <a:lnTo>
                        <a:pt x="2283" y="2394"/>
                      </a:lnTo>
                      <a:lnTo>
                        <a:pt x="2285" y="2392"/>
                      </a:lnTo>
                      <a:lnTo>
                        <a:pt x="2288" y="2390"/>
                      </a:lnTo>
                      <a:lnTo>
                        <a:pt x="2290" y="2387"/>
                      </a:lnTo>
                      <a:lnTo>
                        <a:pt x="2286" y="2371"/>
                      </a:lnTo>
                      <a:close/>
                      <a:moveTo>
                        <a:pt x="2040" y="2632"/>
                      </a:moveTo>
                      <a:lnTo>
                        <a:pt x="2043" y="2618"/>
                      </a:lnTo>
                      <a:lnTo>
                        <a:pt x="2048" y="2605"/>
                      </a:lnTo>
                      <a:lnTo>
                        <a:pt x="2050" y="2603"/>
                      </a:lnTo>
                      <a:lnTo>
                        <a:pt x="2052" y="2598"/>
                      </a:lnTo>
                      <a:lnTo>
                        <a:pt x="2055" y="2592"/>
                      </a:lnTo>
                      <a:lnTo>
                        <a:pt x="2056" y="2589"/>
                      </a:lnTo>
                      <a:lnTo>
                        <a:pt x="2056" y="2583"/>
                      </a:lnTo>
                      <a:lnTo>
                        <a:pt x="2056" y="2578"/>
                      </a:lnTo>
                      <a:lnTo>
                        <a:pt x="2055" y="2575"/>
                      </a:lnTo>
                      <a:lnTo>
                        <a:pt x="2052" y="2570"/>
                      </a:lnTo>
                      <a:lnTo>
                        <a:pt x="2049" y="2571"/>
                      </a:lnTo>
                      <a:lnTo>
                        <a:pt x="2045" y="2571"/>
                      </a:lnTo>
                      <a:lnTo>
                        <a:pt x="2042" y="2573"/>
                      </a:lnTo>
                      <a:lnTo>
                        <a:pt x="2040" y="2576"/>
                      </a:lnTo>
                      <a:lnTo>
                        <a:pt x="2035" y="2581"/>
                      </a:lnTo>
                      <a:lnTo>
                        <a:pt x="2030" y="2586"/>
                      </a:lnTo>
                      <a:lnTo>
                        <a:pt x="2020" y="2598"/>
                      </a:lnTo>
                      <a:lnTo>
                        <a:pt x="2009" y="2608"/>
                      </a:lnTo>
                      <a:lnTo>
                        <a:pt x="2007" y="2610"/>
                      </a:lnTo>
                      <a:lnTo>
                        <a:pt x="2004" y="2611"/>
                      </a:lnTo>
                      <a:lnTo>
                        <a:pt x="2002" y="2614"/>
                      </a:lnTo>
                      <a:lnTo>
                        <a:pt x="2000" y="2615"/>
                      </a:lnTo>
                      <a:lnTo>
                        <a:pt x="1993" y="2624"/>
                      </a:lnTo>
                      <a:lnTo>
                        <a:pt x="1985" y="2634"/>
                      </a:lnTo>
                      <a:lnTo>
                        <a:pt x="1982" y="2638"/>
                      </a:lnTo>
                      <a:lnTo>
                        <a:pt x="1980" y="2647"/>
                      </a:lnTo>
                      <a:lnTo>
                        <a:pt x="1980" y="2656"/>
                      </a:lnTo>
                      <a:lnTo>
                        <a:pt x="1980" y="2665"/>
                      </a:lnTo>
                      <a:lnTo>
                        <a:pt x="1981" y="2675"/>
                      </a:lnTo>
                      <a:lnTo>
                        <a:pt x="1983" y="2684"/>
                      </a:lnTo>
                      <a:lnTo>
                        <a:pt x="1984" y="2688"/>
                      </a:lnTo>
                      <a:lnTo>
                        <a:pt x="1987" y="2690"/>
                      </a:lnTo>
                      <a:lnTo>
                        <a:pt x="1989" y="2693"/>
                      </a:lnTo>
                      <a:lnTo>
                        <a:pt x="1993" y="2694"/>
                      </a:lnTo>
                      <a:lnTo>
                        <a:pt x="1994" y="2697"/>
                      </a:lnTo>
                      <a:lnTo>
                        <a:pt x="1996" y="2698"/>
                      </a:lnTo>
                      <a:lnTo>
                        <a:pt x="2000" y="2698"/>
                      </a:lnTo>
                      <a:lnTo>
                        <a:pt x="2004" y="2698"/>
                      </a:lnTo>
                      <a:lnTo>
                        <a:pt x="2011" y="2695"/>
                      </a:lnTo>
                      <a:lnTo>
                        <a:pt x="2017" y="2690"/>
                      </a:lnTo>
                      <a:lnTo>
                        <a:pt x="2023" y="2682"/>
                      </a:lnTo>
                      <a:lnTo>
                        <a:pt x="2028" y="2674"/>
                      </a:lnTo>
                      <a:lnTo>
                        <a:pt x="2031" y="2664"/>
                      </a:lnTo>
                      <a:lnTo>
                        <a:pt x="2032" y="2654"/>
                      </a:lnTo>
                      <a:lnTo>
                        <a:pt x="2034" y="2654"/>
                      </a:lnTo>
                      <a:lnTo>
                        <a:pt x="2040" y="2632"/>
                      </a:lnTo>
                      <a:close/>
                      <a:moveTo>
                        <a:pt x="2439" y="1471"/>
                      </a:moveTo>
                      <a:lnTo>
                        <a:pt x="2433" y="1469"/>
                      </a:lnTo>
                      <a:lnTo>
                        <a:pt x="2429" y="1466"/>
                      </a:lnTo>
                      <a:lnTo>
                        <a:pt x="2425" y="1462"/>
                      </a:lnTo>
                      <a:lnTo>
                        <a:pt x="2420" y="1458"/>
                      </a:lnTo>
                      <a:lnTo>
                        <a:pt x="2411" y="1450"/>
                      </a:lnTo>
                      <a:lnTo>
                        <a:pt x="2402" y="1444"/>
                      </a:lnTo>
                      <a:lnTo>
                        <a:pt x="2405" y="1454"/>
                      </a:lnTo>
                      <a:lnTo>
                        <a:pt x="2411" y="1464"/>
                      </a:lnTo>
                      <a:lnTo>
                        <a:pt x="2413" y="1470"/>
                      </a:lnTo>
                      <a:lnTo>
                        <a:pt x="2416" y="1477"/>
                      </a:lnTo>
                      <a:lnTo>
                        <a:pt x="2417" y="1481"/>
                      </a:lnTo>
                      <a:lnTo>
                        <a:pt x="2417" y="1483"/>
                      </a:lnTo>
                      <a:lnTo>
                        <a:pt x="2417" y="1487"/>
                      </a:lnTo>
                      <a:lnTo>
                        <a:pt x="2416" y="1489"/>
                      </a:lnTo>
                      <a:lnTo>
                        <a:pt x="2413" y="1491"/>
                      </a:lnTo>
                      <a:lnTo>
                        <a:pt x="2411" y="1493"/>
                      </a:lnTo>
                      <a:lnTo>
                        <a:pt x="2409" y="1494"/>
                      </a:lnTo>
                      <a:lnTo>
                        <a:pt x="2406" y="1495"/>
                      </a:lnTo>
                      <a:lnTo>
                        <a:pt x="2403" y="1495"/>
                      </a:lnTo>
                      <a:lnTo>
                        <a:pt x="2399" y="1495"/>
                      </a:lnTo>
                      <a:lnTo>
                        <a:pt x="2397" y="1497"/>
                      </a:lnTo>
                      <a:lnTo>
                        <a:pt x="2394" y="1500"/>
                      </a:lnTo>
                      <a:lnTo>
                        <a:pt x="2394" y="1506"/>
                      </a:lnTo>
                      <a:lnTo>
                        <a:pt x="2393" y="1512"/>
                      </a:lnTo>
                      <a:lnTo>
                        <a:pt x="2394" y="1517"/>
                      </a:lnTo>
                      <a:lnTo>
                        <a:pt x="2397" y="1522"/>
                      </a:lnTo>
                      <a:lnTo>
                        <a:pt x="2398" y="1524"/>
                      </a:lnTo>
                      <a:lnTo>
                        <a:pt x="2400" y="1526"/>
                      </a:lnTo>
                      <a:lnTo>
                        <a:pt x="2403" y="1527"/>
                      </a:lnTo>
                      <a:lnTo>
                        <a:pt x="2406" y="1527"/>
                      </a:lnTo>
                      <a:lnTo>
                        <a:pt x="2412" y="1527"/>
                      </a:lnTo>
                      <a:lnTo>
                        <a:pt x="2418" y="1526"/>
                      </a:lnTo>
                      <a:lnTo>
                        <a:pt x="2427" y="1520"/>
                      </a:lnTo>
                      <a:lnTo>
                        <a:pt x="2437" y="1514"/>
                      </a:lnTo>
                      <a:lnTo>
                        <a:pt x="2440" y="1513"/>
                      </a:lnTo>
                      <a:lnTo>
                        <a:pt x="2444" y="1512"/>
                      </a:lnTo>
                      <a:lnTo>
                        <a:pt x="2447" y="1510"/>
                      </a:lnTo>
                      <a:lnTo>
                        <a:pt x="2450" y="1507"/>
                      </a:lnTo>
                      <a:lnTo>
                        <a:pt x="2450" y="1500"/>
                      </a:lnTo>
                      <a:lnTo>
                        <a:pt x="2447" y="1493"/>
                      </a:lnTo>
                      <a:lnTo>
                        <a:pt x="2445" y="1483"/>
                      </a:lnTo>
                      <a:lnTo>
                        <a:pt x="2443" y="1475"/>
                      </a:lnTo>
                      <a:lnTo>
                        <a:pt x="2439" y="1471"/>
                      </a:lnTo>
                      <a:close/>
                      <a:moveTo>
                        <a:pt x="0" y="992"/>
                      </a:moveTo>
                      <a:lnTo>
                        <a:pt x="75" y="1467"/>
                      </a:lnTo>
                      <a:lnTo>
                        <a:pt x="77" y="1477"/>
                      </a:lnTo>
                      <a:lnTo>
                        <a:pt x="79" y="1488"/>
                      </a:lnTo>
                      <a:lnTo>
                        <a:pt x="80" y="1497"/>
                      </a:lnTo>
                      <a:lnTo>
                        <a:pt x="80" y="1508"/>
                      </a:lnTo>
                      <a:lnTo>
                        <a:pt x="80" y="1513"/>
                      </a:lnTo>
                      <a:lnTo>
                        <a:pt x="79" y="1516"/>
                      </a:lnTo>
                      <a:lnTo>
                        <a:pt x="78" y="1521"/>
                      </a:lnTo>
                      <a:lnTo>
                        <a:pt x="76" y="1524"/>
                      </a:lnTo>
                      <a:lnTo>
                        <a:pt x="72" y="1528"/>
                      </a:lnTo>
                      <a:lnTo>
                        <a:pt x="69" y="1532"/>
                      </a:lnTo>
                      <a:lnTo>
                        <a:pt x="64" y="1534"/>
                      </a:lnTo>
                      <a:lnTo>
                        <a:pt x="58" y="1536"/>
                      </a:lnTo>
                      <a:lnTo>
                        <a:pt x="43" y="1540"/>
                      </a:lnTo>
                      <a:lnTo>
                        <a:pt x="28" y="1543"/>
                      </a:lnTo>
                      <a:lnTo>
                        <a:pt x="19" y="1545"/>
                      </a:lnTo>
                      <a:lnTo>
                        <a:pt x="13" y="1547"/>
                      </a:lnTo>
                      <a:lnTo>
                        <a:pt x="8" y="1550"/>
                      </a:lnTo>
                      <a:lnTo>
                        <a:pt x="2" y="1556"/>
                      </a:lnTo>
                      <a:lnTo>
                        <a:pt x="2" y="1566"/>
                      </a:lnTo>
                      <a:lnTo>
                        <a:pt x="2" y="1575"/>
                      </a:lnTo>
                      <a:lnTo>
                        <a:pt x="4" y="1586"/>
                      </a:lnTo>
                      <a:lnTo>
                        <a:pt x="6" y="1594"/>
                      </a:lnTo>
                      <a:lnTo>
                        <a:pt x="394" y="1836"/>
                      </a:lnTo>
                      <a:lnTo>
                        <a:pt x="399" y="1843"/>
                      </a:lnTo>
                      <a:lnTo>
                        <a:pt x="400" y="1846"/>
                      </a:lnTo>
                      <a:lnTo>
                        <a:pt x="397" y="1853"/>
                      </a:lnTo>
                      <a:lnTo>
                        <a:pt x="392" y="1859"/>
                      </a:lnTo>
                      <a:lnTo>
                        <a:pt x="387" y="1864"/>
                      </a:lnTo>
                      <a:lnTo>
                        <a:pt x="384" y="1869"/>
                      </a:lnTo>
                      <a:lnTo>
                        <a:pt x="379" y="1873"/>
                      </a:lnTo>
                      <a:lnTo>
                        <a:pt x="377" y="1879"/>
                      </a:lnTo>
                      <a:lnTo>
                        <a:pt x="374" y="1886"/>
                      </a:lnTo>
                      <a:lnTo>
                        <a:pt x="374" y="1896"/>
                      </a:lnTo>
                      <a:lnTo>
                        <a:pt x="375" y="1902"/>
                      </a:lnTo>
                      <a:lnTo>
                        <a:pt x="378" y="1908"/>
                      </a:lnTo>
                      <a:lnTo>
                        <a:pt x="382" y="1915"/>
                      </a:lnTo>
                      <a:lnTo>
                        <a:pt x="387" y="1920"/>
                      </a:lnTo>
                      <a:lnTo>
                        <a:pt x="399" y="1933"/>
                      </a:lnTo>
                      <a:lnTo>
                        <a:pt x="408" y="1945"/>
                      </a:lnTo>
                      <a:lnTo>
                        <a:pt x="409" y="1948"/>
                      </a:lnTo>
                      <a:lnTo>
                        <a:pt x="412" y="1950"/>
                      </a:lnTo>
                      <a:lnTo>
                        <a:pt x="414" y="1951"/>
                      </a:lnTo>
                      <a:lnTo>
                        <a:pt x="417" y="1952"/>
                      </a:lnTo>
                      <a:lnTo>
                        <a:pt x="421" y="1951"/>
                      </a:lnTo>
                      <a:lnTo>
                        <a:pt x="427" y="1949"/>
                      </a:lnTo>
                      <a:lnTo>
                        <a:pt x="433" y="1944"/>
                      </a:lnTo>
                      <a:lnTo>
                        <a:pt x="438" y="1937"/>
                      </a:lnTo>
                      <a:lnTo>
                        <a:pt x="444" y="1930"/>
                      </a:lnTo>
                      <a:lnTo>
                        <a:pt x="449" y="1922"/>
                      </a:lnTo>
                      <a:lnTo>
                        <a:pt x="469" y="1885"/>
                      </a:lnTo>
                      <a:lnTo>
                        <a:pt x="481" y="1859"/>
                      </a:lnTo>
                      <a:lnTo>
                        <a:pt x="485" y="1854"/>
                      </a:lnTo>
                      <a:lnTo>
                        <a:pt x="487" y="1850"/>
                      </a:lnTo>
                      <a:lnTo>
                        <a:pt x="491" y="1847"/>
                      </a:lnTo>
                      <a:lnTo>
                        <a:pt x="494" y="1846"/>
                      </a:lnTo>
                      <a:lnTo>
                        <a:pt x="498" y="1846"/>
                      </a:lnTo>
                      <a:lnTo>
                        <a:pt x="500" y="1846"/>
                      </a:lnTo>
                      <a:lnTo>
                        <a:pt x="503" y="1849"/>
                      </a:lnTo>
                      <a:lnTo>
                        <a:pt x="506" y="1851"/>
                      </a:lnTo>
                      <a:lnTo>
                        <a:pt x="512" y="1858"/>
                      </a:lnTo>
                      <a:lnTo>
                        <a:pt x="516" y="1867"/>
                      </a:lnTo>
                      <a:lnTo>
                        <a:pt x="521" y="1876"/>
                      </a:lnTo>
                      <a:lnTo>
                        <a:pt x="525" y="1884"/>
                      </a:lnTo>
                      <a:lnTo>
                        <a:pt x="532" y="1898"/>
                      </a:lnTo>
                      <a:lnTo>
                        <a:pt x="539" y="1911"/>
                      </a:lnTo>
                      <a:lnTo>
                        <a:pt x="547" y="1923"/>
                      </a:lnTo>
                      <a:lnTo>
                        <a:pt x="558" y="1932"/>
                      </a:lnTo>
                      <a:lnTo>
                        <a:pt x="562" y="1937"/>
                      </a:lnTo>
                      <a:lnTo>
                        <a:pt x="568" y="1941"/>
                      </a:lnTo>
                      <a:lnTo>
                        <a:pt x="575" y="1943"/>
                      </a:lnTo>
                      <a:lnTo>
                        <a:pt x="581" y="1945"/>
                      </a:lnTo>
                      <a:lnTo>
                        <a:pt x="589" y="1948"/>
                      </a:lnTo>
                      <a:lnTo>
                        <a:pt x="596" y="1948"/>
                      </a:lnTo>
                      <a:lnTo>
                        <a:pt x="605" y="1948"/>
                      </a:lnTo>
                      <a:lnTo>
                        <a:pt x="613" y="1948"/>
                      </a:lnTo>
                      <a:lnTo>
                        <a:pt x="632" y="1945"/>
                      </a:lnTo>
                      <a:lnTo>
                        <a:pt x="650" y="1944"/>
                      </a:lnTo>
                      <a:lnTo>
                        <a:pt x="669" y="1944"/>
                      </a:lnTo>
                      <a:lnTo>
                        <a:pt x="688" y="1944"/>
                      </a:lnTo>
                      <a:lnTo>
                        <a:pt x="710" y="1942"/>
                      </a:lnTo>
                      <a:lnTo>
                        <a:pt x="736" y="1941"/>
                      </a:lnTo>
                      <a:lnTo>
                        <a:pt x="750" y="1941"/>
                      </a:lnTo>
                      <a:lnTo>
                        <a:pt x="762" y="1941"/>
                      </a:lnTo>
                      <a:lnTo>
                        <a:pt x="773" y="1941"/>
                      </a:lnTo>
                      <a:lnTo>
                        <a:pt x="782" y="1943"/>
                      </a:lnTo>
                      <a:lnTo>
                        <a:pt x="867" y="1930"/>
                      </a:lnTo>
                      <a:lnTo>
                        <a:pt x="877" y="1928"/>
                      </a:lnTo>
                      <a:lnTo>
                        <a:pt x="889" y="1924"/>
                      </a:lnTo>
                      <a:lnTo>
                        <a:pt x="901" y="1919"/>
                      </a:lnTo>
                      <a:lnTo>
                        <a:pt x="912" y="1913"/>
                      </a:lnTo>
                      <a:lnTo>
                        <a:pt x="924" y="1909"/>
                      </a:lnTo>
                      <a:lnTo>
                        <a:pt x="935" y="1904"/>
                      </a:lnTo>
                      <a:lnTo>
                        <a:pt x="945" y="1902"/>
                      </a:lnTo>
                      <a:lnTo>
                        <a:pt x="954" y="1900"/>
                      </a:lnTo>
                      <a:lnTo>
                        <a:pt x="963" y="1912"/>
                      </a:lnTo>
                      <a:lnTo>
                        <a:pt x="972" y="1926"/>
                      </a:lnTo>
                      <a:lnTo>
                        <a:pt x="981" y="1941"/>
                      </a:lnTo>
                      <a:lnTo>
                        <a:pt x="990" y="1954"/>
                      </a:lnTo>
                      <a:lnTo>
                        <a:pt x="1018" y="1989"/>
                      </a:lnTo>
                      <a:lnTo>
                        <a:pt x="1066" y="2043"/>
                      </a:lnTo>
                      <a:lnTo>
                        <a:pt x="1089" y="2071"/>
                      </a:lnTo>
                      <a:lnTo>
                        <a:pt x="1108" y="2097"/>
                      </a:lnTo>
                      <a:lnTo>
                        <a:pt x="1115" y="2108"/>
                      </a:lnTo>
                      <a:lnTo>
                        <a:pt x="1118" y="2117"/>
                      </a:lnTo>
                      <a:lnTo>
                        <a:pt x="1119" y="2121"/>
                      </a:lnTo>
                      <a:lnTo>
                        <a:pt x="1120" y="2124"/>
                      </a:lnTo>
                      <a:lnTo>
                        <a:pt x="1119" y="2128"/>
                      </a:lnTo>
                      <a:lnTo>
                        <a:pt x="1118" y="2130"/>
                      </a:lnTo>
                      <a:lnTo>
                        <a:pt x="1076" y="2135"/>
                      </a:lnTo>
                      <a:lnTo>
                        <a:pt x="1031" y="2140"/>
                      </a:lnTo>
                      <a:lnTo>
                        <a:pt x="1019" y="2141"/>
                      </a:lnTo>
                      <a:lnTo>
                        <a:pt x="1009" y="2143"/>
                      </a:lnTo>
                      <a:lnTo>
                        <a:pt x="998" y="2146"/>
                      </a:lnTo>
                      <a:lnTo>
                        <a:pt x="989" y="2149"/>
                      </a:lnTo>
                      <a:lnTo>
                        <a:pt x="978" y="2153"/>
                      </a:lnTo>
                      <a:lnTo>
                        <a:pt x="970" y="2157"/>
                      </a:lnTo>
                      <a:lnTo>
                        <a:pt x="961" y="2163"/>
                      </a:lnTo>
                      <a:lnTo>
                        <a:pt x="954" y="2170"/>
                      </a:lnTo>
                      <a:lnTo>
                        <a:pt x="944" y="2180"/>
                      </a:lnTo>
                      <a:lnTo>
                        <a:pt x="936" y="2190"/>
                      </a:lnTo>
                      <a:lnTo>
                        <a:pt x="929" y="2200"/>
                      </a:lnTo>
                      <a:lnTo>
                        <a:pt x="923" y="2210"/>
                      </a:lnTo>
                      <a:lnTo>
                        <a:pt x="918" y="2221"/>
                      </a:lnTo>
                      <a:lnTo>
                        <a:pt x="915" y="2230"/>
                      </a:lnTo>
                      <a:lnTo>
                        <a:pt x="911" y="2241"/>
                      </a:lnTo>
                      <a:lnTo>
                        <a:pt x="908" y="2252"/>
                      </a:lnTo>
                      <a:lnTo>
                        <a:pt x="901" y="2296"/>
                      </a:lnTo>
                      <a:lnTo>
                        <a:pt x="892" y="2346"/>
                      </a:lnTo>
                      <a:lnTo>
                        <a:pt x="900" y="2439"/>
                      </a:lnTo>
                      <a:lnTo>
                        <a:pt x="1058" y="2445"/>
                      </a:lnTo>
                      <a:lnTo>
                        <a:pt x="1061" y="2453"/>
                      </a:lnTo>
                      <a:lnTo>
                        <a:pt x="1062" y="2460"/>
                      </a:lnTo>
                      <a:lnTo>
                        <a:pt x="1062" y="2469"/>
                      </a:lnTo>
                      <a:lnTo>
                        <a:pt x="1062" y="2476"/>
                      </a:lnTo>
                      <a:lnTo>
                        <a:pt x="1063" y="2484"/>
                      </a:lnTo>
                      <a:lnTo>
                        <a:pt x="1063" y="2491"/>
                      </a:lnTo>
                      <a:lnTo>
                        <a:pt x="1065" y="2499"/>
                      </a:lnTo>
                      <a:lnTo>
                        <a:pt x="1068" y="2507"/>
                      </a:lnTo>
                      <a:lnTo>
                        <a:pt x="1071" y="2516"/>
                      </a:lnTo>
                      <a:lnTo>
                        <a:pt x="1073" y="2524"/>
                      </a:lnTo>
                      <a:lnTo>
                        <a:pt x="1075" y="2532"/>
                      </a:lnTo>
                      <a:lnTo>
                        <a:pt x="1076" y="2538"/>
                      </a:lnTo>
                      <a:lnTo>
                        <a:pt x="1075" y="2552"/>
                      </a:lnTo>
                      <a:lnTo>
                        <a:pt x="1071" y="2570"/>
                      </a:lnTo>
                      <a:lnTo>
                        <a:pt x="1068" y="2576"/>
                      </a:lnTo>
                      <a:lnTo>
                        <a:pt x="1064" y="2583"/>
                      </a:lnTo>
                      <a:lnTo>
                        <a:pt x="1061" y="2589"/>
                      </a:lnTo>
                      <a:lnTo>
                        <a:pt x="1059" y="2595"/>
                      </a:lnTo>
                      <a:lnTo>
                        <a:pt x="1056" y="2609"/>
                      </a:lnTo>
                      <a:lnTo>
                        <a:pt x="1053" y="2622"/>
                      </a:lnTo>
                      <a:lnTo>
                        <a:pt x="1051" y="2635"/>
                      </a:lnTo>
                      <a:lnTo>
                        <a:pt x="1046" y="2649"/>
                      </a:lnTo>
                      <a:lnTo>
                        <a:pt x="1044" y="2656"/>
                      </a:lnTo>
                      <a:lnTo>
                        <a:pt x="1042" y="2662"/>
                      </a:lnTo>
                      <a:lnTo>
                        <a:pt x="1037" y="2669"/>
                      </a:lnTo>
                      <a:lnTo>
                        <a:pt x="1032" y="2675"/>
                      </a:lnTo>
                      <a:lnTo>
                        <a:pt x="1023" y="2681"/>
                      </a:lnTo>
                      <a:lnTo>
                        <a:pt x="1012" y="2688"/>
                      </a:lnTo>
                      <a:lnTo>
                        <a:pt x="1004" y="2697"/>
                      </a:lnTo>
                      <a:lnTo>
                        <a:pt x="997" y="2707"/>
                      </a:lnTo>
                      <a:lnTo>
                        <a:pt x="996" y="2723"/>
                      </a:lnTo>
                      <a:lnTo>
                        <a:pt x="995" y="2738"/>
                      </a:lnTo>
                      <a:lnTo>
                        <a:pt x="995" y="2756"/>
                      </a:lnTo>
                      <a:lnTo>
                        <a:pt x="995" y="2773"/>
                      </a:lnTo>
                      <a:lnTo>
                        <a:pt x="996" y="2782"/>
                      </a:lnTo>
                      <a:lnTo>
                        <a:pt x="998" y="2790"/>
                      </a:lnTo>
                      <a:lnTo>
                        <a:pt x="1002" y="2797"/>
                      </a:lnTo>
                      <a:lnTo>
                        <a:pt x="1006" y="2803"/>
                      </a:lnTo>
                      <a:lnTo>
                        <a:pt x="1017" y="2815"/>
                      </a:lnTo>
                      <a:lnTo>
                        <a:pt x="1028" y="2829"/>
                      </a:lnTo>
                      <a:lnTo>
                        <a:pt x="1032" y="2833"/>
                      </a:lnTo>
                      <a:lnTo>
                        <a:pt x="1037" y="2837"/>
                      </a:lnTo>
                      <a:lnTo>
                        <a:pt x="1041" y="2843"/>
                      </a:lnTo>
                      <a:lnTo>
                        <a:pt x="1045" y="2849"/>
                      </a:lnTo>
                      <a:lnTo>
                        <a:pt x="1052" y="2861"/>
                      </a:lnTo>
                      <a:lnTo>
                        <a:pt x="1059" y="2873"/>
                      </a:lnTo>
                      <a:lnTo>
                        <a:pt x="1069" y="2889"/>
                      </a:lnTo>
                      <a:lnTo>
                        <a:pt x="1077" y="2907"/>
                      </a:lnTo>
                      <a:lnTo>
                        <a:pt x="1085" y="2924"/>
                      </a:lnTo>
                      <a:lnTo>
                        <a:pt x="1095" y="2940"/>
                      </a:lnTo>
                      <a:lnTo>
                        <a:pt x="1099" y="2947"/>
                      </a:lnTo>
                      <a:lnTo>
                        <a:pt x="1103" y="2955"/>
                      </a:lnTo>
                      <a:lnTo>
                        <a:pt x="1106" y="2962"/>
                      </a:lnTo>
                      <a:lnTo>
                        <a:pt x="1109" y="2971"/>
                      </a:lnTo>
                      <a:lnTo>
                        <a:pt x="1111" y="2984"/>
                      </a:lnTo>
                      <a:lnTo>
                        <a:pt x="1115" y="2994"/>
                      </a:lnTo>
                      <a:lnTo>
                        <a:pt x="1115" y="2997"/>
                      </a:lnTo>
                      <a:lnTo>
                        <a:pt x="1116" y="2998"/>
                      </a:lnTo>
                      <a:lnTo>
                        <a:pt x="1116" y="3000"/>
                      </a:lnTo>
                      <a:lnTo>
                        <a:pt x="1116" y="3001"/>
                      </a:lnTo>
                      <a:lnTo>
                        <a:pt x="1117" y="3007"/>
                      </a:lnTo>
                      <a:lnTo>
                        <a:pt x="1118" y="3013"/>
                      </a:lnTo>
                      <a:lnTo>
                        <a:pt x="1119" y="3018"/>
                      </a:lnTo>
                      <a:lnTo>
                        <a:pt x="1118" y="3024"/>
                      </a:lnTo>
                      <a:lnTo>
                        <a:pt x="1120" y="3030"/>
                      </a:lnTo>
                      <a:lnTo>
                        <a:pt x="1123" y="3037"/>
                      </a:lnTo>
                      <a:lnTo>
                        <a:pt x="1138" y="3058"/>
                      </a:lnTo>
                      <a:lnTo>
                        <a:pt x="1138" y="3058"/>
                      </a:lnTo>
                      <a:lnTo>
                        <a:pt x="1136" y="3056"/>
                      </a:lnTo>
                      <a:lnTo>
                        <a:pt x="1135" y="3053"/>
                      </a:lnTo>
                      <a:lnTo>
                        <a:pt x="1133" y="3050"/>
                      </a:lnTo>
                      <a:lnTo>
                        <a:pt x="1133" y="3046"/>
                      </a:lnTo>
                      <a:lnTo>
                        <a:pt x="1135" y="3041"/>
                      </a:lnTo>
                      <a:lnTo>
                        <a:pt x="1137" y="3036"/>
                      </a:lnTo>
                      <a:lnTo>
                        <a:pt x="1140" y="3028"/>
                      </a:lnTo>
                      <a:lnTo>
                        <a:pt x="1144" y="3020"/>
                      </a:lnTo>
                      <a:lnTo>
                        <a:pt x="1146" y="3018"/>
                      </a:lnTo>
                      <a:lnTo>
                        <a:pt x="1149" y="3015"/>
                      </a:lnTo>
                      <a:lnTo>
                        <a:pt x="1151" y="3015"/>
                      </a:lnTo>
                      <a:lnTo>
                        <a:pt x="1153" y="3015"/>
                      </a:lnTo>
                      <a:lnTo>
                        <a:pt x="1157" y="3018"/>
                      </a:lnTo>
                      <a:lnTo>
                        <a:pt x="1162" y="3023"/>
                      </a:lnTo>
                      <a:lnTo>
                        <a:pt x="1169" y="3033"/>
                      </a:lnTo>
                      <a:lnTo>
                        <a:pt x="1177" y="3043"/>
                      </a:lnTo>
                      <a:lnTo>
                        <a:pt x="1189" y="3051"/>
                      </a:lnTo>
                      <a:lnTo>
                        <a:pt x="1203" y="3057"/>
                      </a:lnTo>
                      <a:lnTo>
                        <a:pt x="1210" y="3059"/>
                      </a:lnTo>
                      <a:lnTo>
                        <a:pt x="1217" y="3060"/>
                      </a:lnTo>
                      <a:lnTo>
                        <a:pt x="1224" y="3060"/>
                      </a:lnTo>
                      <a:lnTo>
                        <a:pt x="1230" y="3059"/>
                      </a:lnTo>
                      <a:lnTo>
                        <a:pt x="1239" y="3057"/>
                      </a:lnTo>
                      <a:lnTo>
                        <a:pt x="1247" y="3054"/>
                      </a:lnTo>
                      <a:lnTo>
                        <a:pt x="1256" y="3050"/>
                      </a:lnTo>
                      <a:lnTo>
                        <a:pt x="1262" y="3044"/>
                      </a:lnTo>
                      <a:lnTo>
                        <a:pt x="1265" y="3039"/>
                      </a:lnTo>
                      <a:lnTo>
                        <a:pt x="1269" y="3038"/>
                      </a:lnTo>
                      <a:lnTo>
                        <a:pt x="1272" y="3037"/>
                      </a:lnTo>
                      <a:lnTo>
                        <a:pt x="1277" y="3037"/>
                      </a:lnTo>
                      <a:lnTo>
                        <a:pt x="1285" y="3039"/>
                      </a:lnTo>
                      <a:lnTo>
                        <a:pt x="1294" y="3040"/>
                      </a:lnTo>
                      <a:lnTo>
                        <a:pt x="1303" y="3040"/>
                      </a:lnTo>
                      <a:lnTo>
                        <a:pt x="1309" y="3039"/>
                      </a:lnTo>
                      <a:lnTo>
                        <a:pt x="1314" y="3037"/>
                      </a:lnTo>
                      <a:lnTo>
                        <a:pt x="1318" y="3033"/>
                      </a:lnTo>
                      <a:lnTo>
                        <a:pt x="1321" y="3030"/>
                      </a:lnTo>
                      <a:lnTo>
                        <a:pt x="1323" y="3026"/>
                      </a:lnTo>
                      <a:lnTo>
                        <a:pt x="1324" y="3021"/>
                      </a:lnTo>
                      <a:lnTo>
                        <a:pt x="1325" y="3017"/>
                      </a:lnTo>
                      <a:lnTo>
                        <a:pt x="1321" y="2995"/>
                      </a:lnTo>
                      <a:lnTo>
                        <a:pt x="1318" y="2975"/>
                      </a:lnTo>
                      <a:lnTo>
                        <a:pt x="1324" y="2974"/>
                      </a:lnTo>
                      <a:lnTo>
                        <a:pt x="1329" y="2972"/>
                      </a:lnTo>
                      <a:lnTo>
                        <a:pt x="1331" y="2970"/>
                      </a:lnTo>
                      <a:lnTo>
                        <a:pt x="1333" y="2966"/>
                      </a:lnTo>
                      <a:lnTo>
                        <a:pt x="1334" y="2959"/>
                      </a:lnTo>
                      <a:lnTo>
                        <a:pt x="1334" y="2948"/>
                      </a:lnTo>
                      <a:lnTo>
                        <a:pt x="1346" y="2948"/>
                      </a:lnTo>
                      <a:lnTo>
                        <a:pt x="1356" y="2951"/>
                      </a:lnTo>
                      <a:lnTo>
                        <a:pt x="1365" y="2954"/>
                      </a:lnTo>
                      <a:lnTo>
                        <a:pt x="1372" y="2958"/>
                      </a:lnTo>
                      <a:lnTo>
                        <a:pt x="1384" y="2966"/>
                      </a:lnTo>
                      <a:lnTo>
                        <a:pt x="1394" y="2973"/>
                      </a:lnTo>
                      <a:lnTo>
                        <a:pt x="1399" y="2975"/>
                      </a:lnTo>
                      <a:lnTo>
                        <a:pt x="1404" y="2977"/>
                      </a:lnTo>
                      <a:lnTo>
                        <a:pt x="1410" y="2977"/>
                      </a:lnTo>
                      <a:lnTo>
                        <a:pt x="1415" y="2975"/>
                      </a:lnTo>
                      <a:lnTo>
                        <a:pt x="1421" y="2971"/>
                      </a:lnTo>
                      <a:lnTo>
                        <a:pt x="1430" y="2965"/>
                      </a:lnTo>
                      <a:lnTo>
                        <a:pt x="1439" y="2957"/>
                      </a:lnTo>
                      <a:lnTo>
                        <a:pt x="1450" y="2945"/>
                      </a:lnTo>
                      <a:lnTo>
                        <a:pt x="1495" y="2893"/>
                      </a:lnTo>
                      <a:lnTo>
                        <a:pt x="1495" y="2891"/>
                      </a:lnTo>
                      <a:lnTo>
                        <a:pt x="1500" y="2895"/>
                      </a:lnTo>
                      <a:lnTo>
                        <a:pt x="1505" y="2900"/>
                      </a:lnTo>
                      <a:lnTo>
                        <a:pt x="1508" y="2900"/>
                      </a:lnTo>
                      <a:lnTo>
                        <a:pt x="1511" y="2901"/>
                      </a:lnTo>
                      <a:lnTo>
                        <a:pt x="1511" y="2939"/>
                      </a:lnTo>
                      <a:lnTo>
                        <a:pt x="1512" y="2985"/>
                      </a:lnTo>
                      <a:lnTo>
                        <a:pt x="1513" y="3007"/>
                      </a:lnTo>
                      <a:lnTo>
                        <a:pt x="1517" y="3028"/>
                      </a:lnTo>
                      <a:lnTo>
                        <a:pt x="1519" y="3038"/>
                      </a:lnTo>
                      <a:lnTo>
                        <a:pt x="1522" y="3047"/>
                      </a:lnTo>
                      <a:lnTo>
                        <a:pt x="1526" y="3054"/>
                      </a:lnTo>
                      <a:lnTo>
                        <a:pt x="1529" y="3061"/>
                      </a:lnTo>
                      <a:lnTo>
                        <a:pt x="1535" y="3070"/>
                      </a:lnTo>
                      <a:lnTo>
                        <a:pt x="1538" y="3077"/>
                      </a:lnTo>
                      <a:lnTo>
                        <a:pt x="1538" y="3085"/>
                      </a:lnTo>
                      <a:lnTo>
                        <a:pt x="1538" y="3093"/>
                      </a:lnTo>
                      <a:lnTo>
                        <a:pt x="1533" y="3107"/>
                      </a:lnTo>
                      <a:lnTo>
                        <a:pt x="1528" y="3122"/>
                      </a:lnTo>
                      <a:lnTo>
                        <a:pt x="1527" y="3127"/>
                      </a:lnTo>
                      <a:lnTo>
                        <a:pt x="1526" y="3132"/>
                      </a:lnTo>
                      <a:lnTo>
                        <a:pt x="1527" y="3137"/>
                      </a:lnTo>
                      <a:lnTo>
                        <a:pt x="1529" y="3142"/>
                      </a:lnTo>
                      <a:lnTo>
                        <a:pt x="1535" y="3144"/>
                      </a:lnTo>
                      <a:lnTo>
                        <a:pt x="1544" y="3146"/>
                      </a:lnTo>
                      <a:lnTo>
                        <a:pt x="1554" y="3149"/>
                      </a:lnTo>
                      <a:lnTo>
                        <a:pt x="1569" y="3149"/>
                      </a:lnTo>
                      <a:lnTo>
                        <a:pt x="1572" y="3146"/>
                      </a:lnTo>
                      <a:lnTo>
                        <a:pt x="1574" y="3145"/>
                      </a:lnTo>
                      <a:lnTo>
                        <a:pt x="1574" y="3139"/>
                      </a:lnTo>
                      <a:lnTo>
                        <a:pt x="1575" y="3135"/>
                      </a:lnTo>
                      <a:lnTo>
                        <a:pt x="1579" y="3132"/>
                      </a:lnTo>
                      <a:lnTo>
                        <a:pt x="1581" y="3130"/>
                      </a:lnTo>
                      <a:lnTo>
                        <a:pt x="1585" y="3130"/>
                      </a:lnTo>
                      <a:lnTo>
                        <a:pt x="1589" y="3130"/>
                      </a:lnTo>
                      <a:lnTo>
                        <a:pt x="1594" y="3131"/>
                      </a:lnTo>
                      <a:lnTo>
                        <a:pt x="1599" y="3132"/>
                      </a:lnTo>
                      <a:lnTo>
                        <a:pt x="1619" y="3142"/>
                      </a:lnTo>
                      <a:lnTo>
                        <a:pt x="1632" y="3150"/>
                      </a:lnTo>
                      <a:lnTo>
                        <a:pt x="1649" y="3164"/>
                      </a:lnTo>
                      <a:lnTo>
                        <a:pt x="1667" y="3176"/>
                      </a:lnTo>
                      <a:lnTo>
                        <a:pt x="1672" y="3178"/>
                      </a:lnTo>
                      <a:lnTo>
                        <a:pt x="1676" y="3179"/>
                      </a:lnTo>
                      <a:lnTo>
                        <a:pt x="1680" y="3179"/>
                      </a:lnTo>
                      <a:lnTo>
                        <a:pt x="1685" y="3178"/>
                      </a:lnTo>
                      <a:lnTo>
                        <a:pt x="1689" y="3176"/>
                      </a:lnTo>
                      <a:lnTo>
                        <a:pt x="1695" y="3172"/>
                      </a:lnTo>
                      <a:lnTo>
                        <a:pt x="1700" y="3168"/>
                      </a:lnTo>
                      <a:lnTo>
                        <a:pt x="1705" y="3160"/>
                      </a:lnTo>
                      <a:lnTo>
                        <a:pt x="1702" y="3157"/>
                      </a:lnTo>
                      <a:lnTo>
                        <a:pt x="1699" y="3156"/>
                      </a:lnTo>
                      <a:lnTo>
                        <a:pt x="1695" y="3155"/>
                      </a:lnTo>
                      <a:lnTo>
                        <a:pt x="1692" y="3153"/>
                      </a:lnTo>
                      <a:lnTo>
                        <a:pt x="1683" y="3155"/>
                      </a:lnTo>
                      <a:lnTo>
                        <a:pt x="1674" y="3155"/>
                      </a:lnTo>
                      <a:lnTo>
                        <a:pt x="1672" y="3106"/>
                      </a:lnTo>
                      <a:lnTo>
                        <a:pt x="1670" y="3098"/>
                      </a:lnTo>
                      <a:lnTo>
                        <a:pt x="1668" y="3093"/>
                      </a:lnTo>
                      <a:lnTo>
                        <a:pt x="1665" y="3091"/>
                      </a:lnTo>
                      <a:lnTo>
                        <a:pt x="1660" y="3091"/>
                      </a:lnTo>
                      <a:lnTo>
                        <a:pt x="1655" y="3091"/>
                      </a:lnTo>
                      <a:lnTo>
                        <a:pt x="1649" y="3092"/>
                      </a:lnTo>
                      <a:lnTo>
                        <a:pt x="1643" y="3091"/>
                      </a:lnTo>
                      <a:lnTo>
                        <a:pt x="1636" y="3089"/>
                      </a:lnTo>
                      <a:lnTo>
                        <a:pt x="1633" y="3087"/>
                      </a:lnTo>
                      <a:lnTo>
                        <a:pt x="1627" y="3086"/>
                      </a:lnTo>
                      <a:lnTo>
                        <a:pt x="1621" y="3086"/>
                      </a:lnTo>
                      <a:lnTo>
                        <a:pt x="1614" y="3086"/>
                      </a:lnTo>
                      <a:lnTo>
                        <a:pt x="1599" y="3087"/>
                      </a:lnTo>
                      <a:lnTo>
                        <a:pt x="1584" y="3089"/>
                      </a:lnTo>
                      <a:lnTo>
                        <a:pt x="1576" y="3089"/>
                      </a:lnTo>
                      <a:lnTo>
                        <a:pt x="1569" y="3087"/>
                      </a:lnTo>
                      <a:lnTo>
                        <a:pt x="1565" y="3086"/>
                      </a:lnTo>
                      <a:lnTo>
                        <a:pt x="1560" y="3085"/>
                      </a:lnTo>
                      <a:lnTo>
                        <a:pt x="1557" y="3081"/>
                      </a:lnTo>
                      <a:lnTo>
                        <a:pt x="1555" y="3078"/>
                      </a:lnTo>
                      <a:lnTo>
                        <a:pt x="1557" y="3072"/>
                      </a:lnTo>
                      <a:lnTo>
                        <a:pt x="1559" y="3065"/>
                      </a:lnTo>
                      <a:lnTo>
                        <a:pt x="1564" y="3053"/>
                      </a:lnTo>
                      <a:lnTo>
                        <a:pt x="1571" y="3034"/>
                      </a:lnTo>
                      <a:lnTo>
                        <a:pt x="1573" y="3025"/>
                      </a:lnTo>
                      <a:lnTo>
                        <a:pt x="1574" y="3019"/>
                      </a:lnTo>
                      <a:lnTo>
                        <a:pt x="1573" y="3017"/>
                      </a:lnTo>
                      <a:lnTo>
                        <a:pt x="1572" y="3015"/>
                      </a:lnTo>
                      <a:lnTo>
                        <a:pt x="1569" y="3015"/>
                      </a:lnTo>
                      <a:lnTo>
                        <a:pt x="1566" y="3018"/>
                      </a:lnTo>
                      <a:lnTo>
                        <a:pt x="1553" y="3025"/>
                      </a:lnTo>
                      <a:lnTo>
                        <a:pt x="1542" y="3030"/>
                      </a:lnTo>
                      <a:lnTo>
                        <a:pt x="1539" y="3031"/>
                      </a:lnTo>
                      <a:lnTo>
                        <a:pt x="1535" y="3031"/>
                      </a:lnTo>
                      <a:lnTo>
                        <a:pt x="1533" y="3031"/>
                      </a:lnTo>
                      <a:lnTo>
                        <a:pt x="1531" y="3028"/>
                      </a:lnTo>
                      <a:lnTo>
                        <a:pt x="1528" y="3024"/>
                      </a:lnTo>
                      <a:lnTo>
                        <a:pt x="1527" y="3015"/>
                      </a:lnTo>
                      <a:lnTo>
                        <a:pt x="1527" y="3005"/>
                      </a:lnTo>
                      <a:lnTo>
                        <a:pt x="1528" y="2992"/>
                      </a:lnTo>
                      <a:lnTo>
                        <a:pt x="1529" y="2964"/>
                      </a:lnTo>
                      <a:lnTo>
                        <a:pt x="1534" y="2929"/>
                      </a:lnTo>
                      <a:lnTo>
                        <a:pt x="1537" y="2913"/>
                      </a:lnTo>
                      <a:lnTo>
                        <a:pt x="1541" y="2898"/>
                      </a:lnTo>
                      <a:lnTo>
                        <a:pt x="1545" y="2891"/>
                      </a:lnTo>
                      <a:lnTo>
                        <a:pt x="1547" y="2885"/>
                      </a:lnTo>
                      <a:lnTo>
                        <a:pt x="1551" y="2880"/>
                      </a:lnTo>
                      <a:lnTo>
                        <a:pt x="1555" y="2876"/>
                      </a:lnTo>
                      <a:lnTo>
                        <a:pt x="1569" y="2866"/>
                      </a:lnTo>
                      <a:lnTo>
                        <a:pt x="1582" y="2858"/>
                      </a:lnTo>
                      <a:lnTo>
                        <a:pt x="1589" y="2853"/>
                      </a:lnTo>
                      <a:lnTo>
                        <a:pt x="1595" y="2847"/>
                      </a:lnTo>
                      <a:lnTo>
                        <a:pt x="1601" y="2840"/>
                      </a:lnTo>
                      <a:lnTo>
                        <a:pt x="1607" y="2830"/>
                      </a:lnTo>
                      <a:lnTo>
                        <a:pt x="1608" y="2829"/>
                      </a:lnTo>
                      <a:lnTo>
                        <a:pt x="1611" y="2828"/>
                      </a:lnTo>
                      <a:lnTo>
                        <a:pt x="1613" y="2827"/>
                      </a:lnTo>
                      <a:lnTo>
                        <a:pt x="1616" y="2827"/>
                      </a:lnTo>
                      <a:lnTo>
                        <a:pt x="1625" y="2828"/>
                      </a:lnTo>
                      <a:lnTo>
                        <a:pt x="1634" y="2830"/>
                      </a:lnTo>
                      <a:lnTo>
                        <a:pt x="1654" y="2835"/>
                      </a:lnTo>
                      <a:lnTo>
                        <a:pt x="1672" y="2837"/>
                      </a:lnTo>
                      <a:lnTo>
                        <a:pt x="1679" y="2837"/>
                      </a:lnTo>
                      <a:lnTo>
                        <a:pt x="1682" y="2840"/>
                      </a:lnTo>
                      <a:lnTo>
                        <a:pt x="1683" y="2843"/>
                      </a:lnTo>
                      <a:lnTo>
                        <a:pt x="1683" y="2848"/>
                      </a:lnTo>
                      <a:lnTo>
                        <a:pt x="1680" y="2856"/>
                      </a:lnTo>
                      <a:lnTo>
                        <a:pt x="1678" y="2866"/>
                      </a:lnTo>
                      <a:lnTo>
                        <a:pt x="1699" y="2865"/>
                      </a:lnTo>
                      <a:lnTo>
                        <a:pt x="1718" y="2865"/>
                      </a:lnTo>
                      <a:lnTo>
                        <a:pt x="1735" y="2865"/>
                      </a:lnTo>
                      <a:lnTo>
                        <a:pt x="1750" y="2862"/>
                      </a:lnTo>
                      <a:lnTo>
                        <a:pt x="1752" y="2859"/>
                      </a:lnTo>
                      <a:lnTo>
                        <a:pt x="1754" y="2854"/>
                      </a:lnTo>
                      <a:lnTo>
                        <a:pt x="1757" y="2850"/>
                      </a:lnTo>
                      <a:lnTo>
                        <a:pt x="1761" y="2847"/>
                      </a:lnTo>
                      <a:lnTo>
                        <a:pt x="1765" y="2845"/>
                      </a:lnTo>
                      <a:lnTo>
                        <a:pt x="1769" y="2843"/>
                      </a:lnTo>
                      <a:lnTo>
                        <a:pt x="1773" y="2842"/>
                      </a:lnTo>
                      <a:lnTo>
                        <a:pt x="1777" y="2841"/>
                      </a:lnTo>
                      <a:lnTo>
                        <a:pt x="1781" y="2835"/>
                      </a:lnTo>
                      <a:lnTo>
                        <a:pt x="1783" y="2827"/>
                      </a:lnTo>
                      <a:lnTo>
                        <a:pt x="1783" y="2820"/>
                      </a:lnTo>
                      <a:lnTo>
                        <a:pt x="1786" y="2815"/>
                      </a:lnTo>
                      <a:lnTo>
                        <a:pt x="1787" y="2807"/>
                      </a:lnTo>
                      <a:lnTo>
                        <a:pt x="1790" y="2797"/>
                      </a:lnTo>
                      <a:lnTo>
                        <a:pt x="1794" y="2789"/>
                      </a:lnTo>
                      <a:lnTo>
                        <a:pt x="1800" y="2780"/>
                      </a:lnTo>
                      <a:lnTo>
                        <a:pt x="1806" y="2771"/>
                      </a:lnTo>
                      <a:lnTo>
                        <a:pt x="1812" y="2763"/>
                      </a:lnTo>
                      <a:lnTo>
                        <a:pt x="1819" y="2757"/>
                      </a:lnTo>
                      <a:lnTo>
                        <a:pt x="1824" y="2751"/>
                      </a:lnTo>
                      <a:lnTo>
                        <a:pt x="1846" y="2737"/>
                      </a:lnTo>
                      <a:lnTo>
                        <a:pt x="1866" y="2724"/>
                      </a:lnTo>
                      <a:lnTo>
                        <a:pt x="1886" y="2710"/>
                      </a:lnTo>
                      <a:lnTo>
                        <a:pt x="1904" y="2695"/>
                      </a:lnTo>
                      <a:lnTo>
                        <a:pt x="1914" y="2688"/>
                      </a:lnTo>
                      <a:lnTo>
                        <a:pt x="1920" y="2680"/>
                      </a:lnTo>
                      <a:lnTo>
                        <a:pt x="1924" y="2672"/>
                      </a:lnTo>
                      <a:lnTo>
                        <a:pt x="1929" y="2664"/>
                      </a:lnTo>
                      <a:lnTo>
                        <a:pt x="1936" y="2649"/>
                      </a:lnTo>
                      <a:lnTo>
                        <a:pt x="1944" y="2632"/>
                      </a:lnTo>
                      <a:lnTo>
                        <a:pt x="1975" y="2586"/>
                      </a:lnTo>
                      <a:lnTo>
                        <a:pt x="1980" y="2577"/>
                      </a:lnTo>
                      <a:lnTo>
                        <a:pt x="1984" y="2566"/>
                      </a:lnTo>
                      <a:lnTo>
                        <a:pt x="1987" y="2556"/>
                      </a:lnTo>
                      <a:lnTo>
                        <a:pt x="1989" y="2545"/>
                      </a:lnTo>
                      <a:lnTo>
                        <a:pt x="1993" y="2522"/>
                      </a:lnTo>
                      <a:lnTo>
                        <a:pt x="1996" y="2500"/>
                      </a:lnTo>
                      <a:lnTo>
                        <a:pt x="1996" y="2497"/>
                      </a:lnTo>
                      <a:lnTo>
                        <a:pt x="1995" y="2493"/>
                      </a:lnTo>
                      <a:lnTo>
                        <a:pt x="1993" y="2491"/>
                      </a:lnTo>
                      <a:lnTo>
                        <a:pt x="1989" y="2489"/>
                      </a:lnTo>
                      <a:lnTo>
                        <a:pt x="1980" y="2484"/>
                      </a:lnTo>
                      <a:lnTo>
                        <a:pt x="1968" y="2479"/>
                      </a:lnTo>
                      <a:lnTo>
                        <a:pt x="1942" y="2472"/>
                      </a:lnTo>
                      <a:lnTo>
                        <a:pt x="1921" y="2464"/>
                      </a:lnTo>
                      <a:lnTo>
                        <a:pt x="1916" y="2462"/>
                      </a:lnTo>
                      <a:lnTo>
                        <a:pt x="1913" y="2462"/>
                      </a:lnTo>
                      <a:lnTo>
                        <a:pt x="1908" y="2462"/>
                      </a:lnTo>
                      <a:lnTo>
                        <a:pt x="1906" y="2462"/>
                      </a:lnTo>
                      <a:lnTo>
                        <a:pt x="1900" y="2466"/>
                      </a:lnTo>
                      <a:lnTo>
                        <a:pt x="1895" y="2472"/>
                      </a:lnTo>
                      <a:lnTo>
                        <a:pt x="1888" y="2489"/>
                      </a:lnTo>
                      <a:lnTo>
                        <a:pt x="1879" y="2503"/>
                      </a:lnTo>
                      <a:lnTo>
                        <a:pt x="1864" y="2524"/>
                      </a:lnTo>
                      <a:lnTo>
                        <a:pt x="1851" y="2546"/>
                      </a:lnTo>
                      <a:lnTo>
                        <a:pt x="1844" y="2558"/>
                      </a:lnTo>
                      <a:lnTo>
                        <a:pt x="1837" y="2569"/>
                      </a:lnTo>
                      <a:lnTo>
                        <a:pt x="1830" y="2578"/>
                      </a:lnTo>
                      <a:lnTo>
                        <a:pt x="1821" y="2586"/>
                      </a:lnTo>
                      <a:lnTo>
                        <a:pt x="1809" y="2602"/>
                      </a:lnTo>
                      <a:lnTo>
                        <a:pt x="1794" y="2618"/>
                      </a:lnTo>
                      <a:lnTo>
                        <a:pt x="1792" y="2621"/>
                      </a:lnTo>
                      <a:lnTo>
                        <a:pt x="1788" y="2622"/>
                      </a:lnTo>
                      <a:lnTo>
                        <a:pt x="1786" y="2623"/>
                      </a:lnTo>
                      <a:lnTo>
                        <a:pt x="1783" y="2622"/>
                      </a:lnTo>
                      <a:lnTo>
                        <a:pt x="1782" y="2619"/>
                      </a:lnTo>
                      <a:lnTo>
                        <a:pt x="1781" y="2615"/>
                      </a:lnTo>
                      <a:lnTo>
                        <a:pt x="1780" y="2608"/>
                      </a:lnTo>
                      <a:lnTo>
                        <a:pt x="1781" y="2598"/>
                      </a:lnTo>
                      <a:lnTo>
                        <a:pt x="1787" y="2582"/>
                      </a:lnTo>
                      <a:lnTo>
                        <a:pt x="1793" y="2566"/>
                      </a:lnTo>
                      <a:lnTo>
                        <a:pt x="1787" y="2555"/>
                      </a:lnTo>
                      <a:lnTo>
                        <a:pt x="1781" y="2543"/>
                      </a:lnTo>
                      <a:lnTo>
                        <a:pt x="1781" y="2535"/>
                      </a:lnTo>
                      <a:lnTo>
                        <a:pt x="1782" y="2524"/>
                      </a:lnTo>
                      <a:lnTo>
                        <a:pt x="1784" y="2513"/>
                      </a:lnTo>
                      <a:lnTo>
                        <a:pt x="1787" y="2502"/>
                      </a:lnTo>
                      <a:lnTo>
                        <a:pt x="1790" y="2490"/>
                      </a:lnTo>
                      <a:lnTo>
                        <a:pt x="1795" y="2480"/>
                      </a:lnTo>
                      <a:lnTo>
                        <a:pt x="1797" y="2476"/>
                      </a:lnTo>
                      <a:lnTo>
                        <a:pt x="1800" y="2472"/>
                      </a:lnTo>
                      <a:lnTo>
                        <a:pt x="1803" y="2470"/>
                      </a:lnTo>
                      <a:lnTo>
                        <a:pt x="1806" y="2467"/>
                      </a:lnTo>
                      <a:lnTo>
                        <a:pt x="1817" y="2462"/>
                      </a:lnTo>
                      <a:lnTo>
                        <a:pt x="1828" y="2454"/>
                      </a:lnTo>
                      <a:lnTo>
                        <a:pt x="1837" y="2447"/>
                      </a:lnTo>
                      <a:lnTo>
                        <a:pt x="1847" y="2439"/>
                      </a:lnTo>
                      <a:lnTo>
                        <a:pt x="1855" y="2430"/>
                      </a:lnTo>
                      <a:lnTo>
                        <a:pt x="1862" y="2420"/>
                      </a:lnTo>
                      <a:lnTo>
                        <a:pt x="1868" y="2408"/>
                      </a:lnTo>
                      <a:lnTo>
                        <a:pt x="1871" y="2397"/>
                      </a:lnTo>
                      <a:lnTo>
                        <a:pt x="1874" y="2388"/>
                      </a:lnTo>
                      <a:lnTo>
                        <a:pt x="1875" y="2383"/>
                      </a:lnTo>
                      <a:lnTo>
                        <a:pt x="1875" y="2378"/>
                      </a:lnTo>
                      <a:lnTo>
                        <a:pt x="1874" y="2375"/>
                      </a:lnTo>
                      <a:lnTo>
                        <a:pt x="1869" y="2371"/>
                      </a:lnTo>
                      <a:lnTo>
                        <a:pt x="1861" y="2361"/>
                      </a:lnTo>
                      <a:lnTo>
                        <a:pt x="1860" y="2360"/>
                      </a:lnTo>
                      <a:lnTo>
                        <a:pt x="1857" y="2359"/>
                      </a:lnTo>
                      <a:lnTo>
                        <a:pt x="1856" y="2359"/>
                      </a:lnTo>
                      <a:lnTo>
                        <a:pt x="1854" y="2360"/>
                      </a:lnTo>
                      <a:lnTo>
                        <a:pt x="1848" y="2361"/>
                      </a:lnTo>
                      <a:lnTo>
                        <a:pt x="1842" y="2366"/>
                      </a:lnTo>
                      <a:lnTo>
                        <a:pt x="1828" y="2377"/>
                      </a:lnTo>
                      <a:lnTo>
                        <a:pt x="1813" y="2390"/>
                      </a:lnTo>
                      <a:lnTo>
                        <a:pt x="1799" y="2403"/>
                      </a:lnTo>
                      <a:lnTo>
                        <a:pt x="1787" y="2412"/>
                      </a:lnTo>
                      <a:lnTo>
                        <a:pt x="1782" y="2414"/>
                      </a:lnTo>
                      <a:lnTo>
                        <a:pt x="1779" y="2414"/>
                      </a:lnTo>
                      <a:lnTo>
                        <a:pt x="1777" y="2414"/>
                      </a:lnTo>
                      <a:lnTo>
                        <a:pt x="1777" y="2413"/>
                      </a:lnTo>
                      <a:lnTo>
                        <a:pt x="1776" y="2411"/>
                      </a:lnTo>
                      <a:lnTo>
                        <a:pt x="1776" y="2408"/>
                      </a:lnTo>
                      <a:lnTo>
                        <a:pt x="1779" y="2399"/>
                      </a:lnTo>
                      <a:lnTo>
                        <a:pt x="1782" y="2391"/>
                      </a:lnTo>
                      <a:lnTo>
                        <a:pt x="1786" y="2383"/>
                      </a:lnTo>
                      <a:lnTo>
                        <a:pt x="1789" y="2375"/>
                      </a:lnTo>
                      <a:lnTo>
                        <a:pt x="1790" y="2373"/>
                      </a:lnTo>
                      <a:lnTo>
                        <a:pt x="1790" y="2371"/>
                      </a:lnTo>
                      <a:lnTo>
                        <a:pt x="1790" y="2368"/>
                      </a:lnTo>
                      <a:lnTo>
                        <a:pt x="1788" y="2366"/>
                      </a:lnTo>
                      <a:lnTo>
                        <a:pt x="1786" y="2365"/>
                      </a:lnTo>
                      <a:lnTo>
                        <a:pt x="1782" y="2364"/>
                      </a:lnTo>
                      <a:lnTo>
                        <a:pt x="1777" y="2364"/>
                      </a:lnTo>
                      <a:lnTo>
                        <a:pt x="1772" y="2364"/>
                      </a:lnTo>
                      <a:lnTo>
                        <a:pt x="1766" y="2364"/>
                      </a:lnTo>
                      <a:lnTo>
                        <a:pt x="1761" y="2365"/>
                      </a:lnTo>
                      <a:lnTo>
                        <a:pt x="1757" y="2367"/>
                      </a:lnTo>
                      <a:lnTo>
                        <a:pt x="1754" y="2370"/>
                      </a:lnTo>
                      <a:lnTo>
                        <a:pt x="1750" y="2373"/>
                      </a:lnTo>
                      <a:lnTo>
                        <a:pt x="1748" y="2377"/>
                      </a:lnTo>
                      <a:lnTo>
                        <a:pt x="1746" y="2380"/>
                      </a:lnTo>
                      <a:lnTo>
                        <a:pt x="1743" y="2385"/>
                      </a:lnTo>
                      <a:lnTo>
                        <a:pt x="1741" y="2394"/>
                      </a:lnTo>
                      <a:lnTo>
                        <a:pt x="1739" y="2405"/>
                      </a:lnTo>
                      <a:lnTo>
                        <a:pt x="1739" y="2417"/>
                      </a:lnTo>
                      <a:lnTo>
                        <a:pt x="1739" y="2426"/>
                      </a:lnTo>
                      <a:lnTo>
                        <a:pt x="1732" y="2395"/>
                      </a:lnTo>
                      <a:lnTo>
                        <a:pt x="1728" y="2365"/>
                      </a:lnTo>
                      <a:lnTo>
                        <a:pt x="1726" y="2358"/>
                      </a:lnTo>
                      <a:lnTo>
                        <a:pt x="1723" y="2351"/>
                      </a:lnTo>
                      <a:lnTo>
                        <a:pt x="1721" y="2345"/>
                      </a:lnTo>
                      <a:lnTo>
                        <a:pt x="1716" y="2338"/>
                      </a:lnTo>
                      <a:lnTo>
                        <a:pt x="1712" y="2332"/>
                      </a:lnTo>
                      <a:lnTo>
                        <a:pt x="1706" y="2327"/>
                      </a:lnTo>
                      <a:lnTo>
                        <a:pt x="1699" y="2322"/>
                      </a:lnTo>
                      <a:lnTo>
                        <a:pt x="1689" y="2318"/>
                      </a:lnTo>
                      <a:lnTo>
                        <a:pt x="1670" y="2321"/>
                      </a:lnTo>
                      <a:lnTo>
                        <a:pt x="1659" y="2322"/>
                      </a:lnTo>
                      <a:lnTo>
                        <a:pt x="1655" y="2318"/>
                      </a:lnTo>
                      <a:lnTo>
                        <a:pt x="1651" y="2314"/>
                      </a:lnTo>
                      <a:lnTo>
                        <a:pt x="1646" y="2312"/>
                      </a:lnTo>
                      <a:lnTo>
                        <a:pt x="1641" y="2309"/>
                      </a:lnTo>
                      <a:lnTo>
                        <a:pt x="1635" y="2307"/>
                      </a:lnTo>
                      <a:lnTo>
                        <a:pt x="1631" y="2304"/>
                      </a:lnTo>
                      <a:lnTo>
                        <a:pt x="1627" y="2300"/>
                      </a:lnTo>
                      <a:lnTo>
                        <a:pt x="1625" y="2294"/>
                      </a:lnTo>
                      <a:lnTo>
                        <a:pt x="1623" y="2286"/>
                      </a:lnTo>
                      <a:lnTo>
                        <a:pt x="1625" y="2276"/>
                      </a:lnTo>
                      <a:lnTo>
                        <a:pt x="1626" y="2268"/>
                      </a:lnTo>
                      <a:lnTo>
                        <a:pt x="1628" y="2261"/>
                      </a:lnTo>
                      <a:lnTo>
                        <a:pt x="1629" y="2259"/>
                      </a:lnTo>
                      <a:lnTo>
                        <a:pt x="1631" y="2258"/>
                      </a:lnTo>
                      <a:lnTo>
                        <a:pt x="1632" y="2258"/>
                      </a:lnTo>
                      <a:lnTo>
                        <a:pt x="1633" y="2259"/>
                      </a:lnTo>
                      <a:lnTo>
                        <a:pt x="1635" y="2266"/>
                      </a:lnTo>
                      <a:lnTo>
                        <a:pt x="1636" y="2281"/>
                      </a:lnTo>
                      <a:lnTo>
                        <a:pt x="1636" y="2288"/>
                      </a:lnTo>
                      <a:lnTo>
                        <a:pt x="1638" y="2293"/>
                      </a:lnTo>
                      <a:lnTo>
                        <a:pt x="1641" y="2296"/>
                      </a:lnTo>
                      <a:lnTo>
                        <a:pt x="1643" y="2299"/>
                      </a:lnTo>
                      <a:lnTo>
                        <a:pt x="1648" y="2301"/>
                      </a:lnTo>
                      <a:lnTo>
                        <a:pt x="1653" y="2301"/>
                      </a:lnTo>
                      <a:lnTo>
                        <a:pt x="1658" y="2301"/>
                      </a:lnTo>
                      <a:lnTo>
                        <a:pt x="1662" y="2301"/>
                      </a:lnTo>
                      <a:lnTo>
                        <a:pt x="1674" y="2300"/>
                      </a:lnTo>
                      <a:lnTo>
                        <a:pt x="1685" y="2299"/>
                      </a:lnTo>
                      <a:lnTo>
                        <a:pt x="1690" y="2299"/>
                      </a:lnTo>
                      <a:lnTo>
                        <a:pt x="1695" y="2299"/>
                      </a:lnTo>
                      <a:lnTo>
                        <a:pt x="1699" y="2300"/>
                      </a:lnTo>
                      <a:lnTo>
                        <a:pt x="1702" y="2302"/>
                      </a:lnTo>
                      <a:lnTo>
                        <a:pt x="1714" y="2311"/>
                      </a:lnTo>
                      <a:lnTo>
                        <a:pt x="1726" y="2319"/>
                      </a:lnTo>
                      <a:lnTo>
                        <a:pt x="1732" y="2320"/>
                      </a:lnTo>
                      <a:lnTo>
                        <a:pt x="1737" y="2320"/>
                      </a:lnTo>
                      <a:lnTo>
                        <a:pt x="1745" y="2319"/>
                      </a:lnTo>
                      <a:lnTo>
                        <a:pt x="1750" y="2314"/>
                      </a:lnTo>
                      <a:lnTo>
                        <a:pt x="1752" y="2321"/>
                      </a:lnTo>
                      <a:lnTo>
                        <a:pt x="1752" y="2333"/>
                      </a:lnTo>
                      <a:lnTo>
                        <a:pt x="1755" y="2340"/>
                      </a:lnTo>
                      <a:lnTo>
                        <a:pt x="1760" y="2345"/>
                      </a:lnTo>
                      <a:lnTo>
                        <a:pt x="1766" y="2348"/>
                      </a:lnTo>
                      <a:lnTo>
                        <a:pt x="1773" y="2351"/>
                      </a:lnTo>
                      <a:lnTo>
                        <a:pt x="1780" y="2351"/>
                      </a:lnTo>
                      <a:lnTo>
                        <a:pt x="1787" y="2351"/>
                      </a:lnTo>
                      <a:lnTo>
                        <a:pt x="1794" y="2350"/>
                      </a:lnTo>
                      <a:lnTo>
                        <a:pt x="1802" y="2347"/>
                      </a:lnTo>
                      <a:lnTo>
                        <a:pt x="1810" y="2345"/>
                      </a:lnTo>
                      <a:lnTo>
                        <a:pt x="1819" y="2340"/>
                      </a:lnTo>
                      <a:lnTo>
                        <a:pt x="1826" y="2335"/>
                      </a:lnTo>
                      <a:lnTo>
                        <a:pt x="1833" y="2331"/>
                      </a:lnTo>
                      <a:lnTo>
                        <a:pt x="1839" y="2325"/>
                      </a:lnTo>
                      <a:lnTo>
                        <a:pt x="1844" y="2319"/>
                      </a:lnTo>
                      <a:lnTo>
                        <a:pt x="1849" y="2313"/>
                      </a:lnTo>
                      <a:lnTo>
                        <a:pt x="1853" y="2307"/>
                      </a:lnTo>
                      <a:lnTo>
                        <a:pt x="1856" y="2301"/>
                      </a:lnTo>
                      <a:lnTo>
                        <a:pt x="1860" y="2298"/>
                      </a:lnTo>
                      <a:lnTo>
                        <a:pt x="1863" y="2295"/>
                      </a:lnTo>
                      <a:lnTo>
                        <a:pt x="1867" y="2294"/>
                      </a:lnTo>
                      <a:lnTo>
                        <a:pt x="1871" y="2295"/>
                      </a:lnTo>
                      <a:lnTo>
                        <a:pt x="1876" y="2295"/>
                      </a:lnTo>
                      <a:lnTo>
                        <a:pt x="1880" y="2298"/>
                      </a:lnTo>
                      <a:lnTo>
                        <a:pt x="1884" y="2300"/>
                      </a:lnTo>
                      <a:lnTo>
                        <a:pt x="1894" y="2305"/>
                      </a:lnTo>
                      <a:lnTo>
                        <a:pt x="1902" y="2309"/>
                      </a:lnTo>
                      <a:lnTo>
                        <a:pt x="1907" y="2311"/>
                      </a:lnTo>
                      <a:lnTo>
                        <a:pt x="1911" y="2311"/>
                      </a:lnTo>
                      <a:lnTo>
                        <a:pt x="1916" y="2311"/>
                      </a:lnTo>
                      <a:lnTo>
                        <a:pt x="1920" y="2309"/>
                      </a:lnTo>
                      <a:lnTo>
                        <a:pt x="1924" y="2306"/>
                      </a:lnTo>
                      <a:lnTo>
                        <a:pt x="1928" y="2301"/>
                      </a:lnTo>
                      <a:lnTo>
                        <a:pt x="1930" y="2295"/>
                      </a:lnTo>
                      <a:lnTo>
                        <a:pt x="1931" y="2291"/>
                      </a:lnTo>
                      <a:lnTo>
                        <a:pt x="1933" y="2285"/>
                      </a:lnTo>
                      <a:lnTo>
                        <a:pt x="1935" y="2280"/>
                      </a:lnTo>
                      <a:lnTo>
                        <a:pt x="1937" y="2275"/>
                      </a:lnTo>
                      <a:lnTo>
                        <a:pt x="1942" y="2272"/>
                      </a:lnTo>
                      <a:lnTo>
                        <a:pt x="1946" y="2272"/>
                      </a:lnTo>
                      <a:lnTo>
                        <a:pt x="1948" y="2272"/>
                      </a:lnTo>
                      <a:lnTo>
                        <a:pt x="1951" y="2272"/>
                      </a:lnTo>
                      <a:lnTo>
                        <a:pt x="1954" y="2274"/>
                      </a:lnTo>
                      <a:lnTo>
                        <a:pt x="1958" y="2279"/>
                      </a:lnTo>
                      <a:lnTo>
                        <a:pt x="1963" y="2284"/>
                      </a:lnTo>
                      <a:lnTo>
                        <a:pt x="1967" y="2287"/>
                      </a:lnTo>
                      <a:lnTo>
                        <a:pt x="1970" y="2288"/>
                      </a:lnTo>
                      <a:lnTo>
                        <a:pt x="1973" y="2288"/>
                      </a:lnTo>
                      <a:lnTo>
                        <a:pt x="1974" y="2286"/>
                      </a:lnTo>
                      <a:lnTo>
                        <a:pt x="1975" y="2284"/>
                      </a:lnTo>
                      <a:lnTo>
                        <a:pt x="1977" y="2279"/>
                      </a:lnTo>
                      <a:lnTo>
                        <a:pt x="1990" y="2280"/>
                      </a:lnTo>
                      <a:lnTo>
                        <a:pt x="2005" y="2280"/>
                      </a:lnTo>
                      <a:lnTo>
                        <a:pt x="2024" y="2279"/>
                      </a:lnTo>
                      <a:lnTo>
                        <a:pt x="2044" y="2276"/>
                      </a:lnTo>
                      <a:lnTo>
                        <a:pt x="2064" y="2273"/>
                      </a:lnTo>
                      <a:lnTo>
                        <a:pt x="2082" y="2269"/>
                      </a:lnTo>
                      <a:lnTo>
                        <a:pt x="2098" y="2265"/>
                      </a:lnTo>
                      <a:lnTo>
                        <a:pt x="2110" y="2260"/>
                      </a:lnTo>
                      <a:lnTo>
                        <a:pt x="2117" y="2256"/>
                      </a:lnTo>
                      <a:lnTo>
                        <a:pt x="2124" y="2252"/>
                      </a:lnTo>
                      <a:lnTo>
                        <a:pt x="2131" y="2247"/>
                      </a:lnTo>
                      <a:lnTo>
                        <a:pt x="2138" y="2240"/>
                      </a:lnTo>
                      <a:lnTo>
                        <a:pt x="2152" y="2227"/>
                      </a:lnTo>
                      <a:lnTo>
                        <a:pt x="2166" y="2213"/>
                      </a:lnTo>
                      <a:lnTo>
                        <a:pt x="2181" y="2200"/>
                      </a:lnTo>
                      <a:lnTo>
                        <a:pt x="2196" y="2189"/>
                      </a:lnTo>
                      <a:lnTo>
                        <a:pt x="2203" y="2185"/>
                      </a:lnTo>
                      <a:lnTo>
                        <a:pt x="2211" y="2181"/>
                      </a:lnTo>
                      <a:lnTo>
                        <a:pt x="2219" y="2179"/>
                      </a:lnTo>
                      <a:lnTo>
                        <a:pt x="2228" y="2179"/>
                      </a:lnTo>
                      <a:lnTo>
                        <a:pt x="2242" y="2185"/>
                      </a:lnTo>
                      <a:lnTo>
                        <a:pt x="2260" y="2192"/>
                      </a:lnTo>
                      <a:lnTo>
                        <a:pt x="2268" y="2190"/>
                      </a:lnTo>
                      <a:lnTo>
                        <a:pt x="2276" y="2189"/>
                      </a:lnTo>
                      <a:lnTo>
                        <a:pt x="2283" y="2186"/>
                      </a:lnTo>
                      <a:lnTo>
                        <a:pt x="2289" y="2182"/>
                      </a:lnTo>
                      <a:lnTo>
                        <a:pt x="2302" y="2172"/>
                      </a:lnTo>
                      <a:lnTo>
                        <a:pt x="2313" y="2160"/>
                      </a:lnTo>
                      <a:lnTo>
                        <a:pt x="2324" y="2148"/>
                      </a:lnTo>
                      <a:lnTo>
                        <a:pt x="2333" y="2139"/>
                      </a:lnTo>
                      <a:lnTo>
                        <a:pt x="2338" y="2134"/>
                      </a:lnTo>
                      <a:lnTo>
                        <a:pt x="2343" y="2131"/>
                      </a:lnTo>
                      <a:lnTo>
                        <a:pt x="2347" y="2129"/>
                      </a:lnTo>
                      <a:lnTo>
                        <a:pt x="2351" y="2128"/>
                      </a:lnTo>
                      <a:lnTo>
                        <a:pt x="2351" y="2136"/>
                      </a:lnTo>
                      <a:lnTo>
                        <a:pt x="2349" y="2143"/>
                      </a:lnTo>
                      <a:lnTo>
                        <a:pt x="2344" y="2152"/>
                      </a:lnTo>
                      <a:lnTo>
                        <a:pt x="2340" y="2160"/>
                      </a:lnTo>
                      <a:lnTo>
                        <a:pt x="2331" y="2175"/>
                      </a:lnTo>
                      <a:lnTo>
                        <a:pt x="2323" y="2190"/>
                      </a:lnTo>
                      <a:lnTo>
                        <a:pt x="2320" y="2197"/>
                      </a:lnTo>
                      <a:lnTo>
                        <a:pt x="2318" y="2205"/>
                      </a:lnTo>
                      <a:lnTo>
                        <a:pt x="2318" y="2208"/>
                      </a:lnTo>
                      <a:lnTo>
                        <a:pt x="2318" y="2212"/>
                      </a:lnTo>
                      <a:lnTo>
                        <a:pt x="2319" y="2213"/>
                      </a:lnTo>
                      <a:lnTo>
                        <a:pt x="2320" y="2214"/>
                      </a:lnTo>
                      <a:lnTo>
                        <a:pt x="2323" y="2214"/>
                      </a:lnTo>
                      <a:lnTo>
                        <a:pt x="2326" y="2213"/>
                      </a:lnTo>
                      <a:lnTo>
                        <a:pt x="2342" y="2202"/>
                      </a:lnTo>
                      <a:lnTo>
                        <a:pt x="2358" y="2193"/>
                      </a:lnTo>
                      <a:lnTo>
                        <a:pt x="2369" y="2189"/>
                      </a:lnTo>
                      <a:lnTo>
                        <a:pt x="2377" y="2186"/>
                      </a:lnTo>
                      <a:lnTo>
                        <a:pt x="2379" y="2183"/>
                      </a:lnTo>
                      <a:lnTo>
                        <a:pt x="2383" y="2180"/>
                      </a:lnTo>
                      <a:lnTo>
                        <a:pt x="2385" y="2176"/>
                      </a:lnTo>
                      <a:lnTo>
                        <a:pt x="2387" y="2169"/>
                      </a:lnTo>
                      <a:lnTo>
                        <a:pt x="2392" y="2159"/>
                      </a:lnTo>
                      <a:lnTo>
                        <a:pt x="2397" y="2153"/>
                      </a:lnTo>
                      <a:lnTo>
                        <a:pt x="2402" y="2148"/>
                      </a:lnTo>
                      <a:lnTo>
                        <a:pt x="2406" y="2146"/>
                      </a:lnTo>
                      <a:lnTo>
                        <a:pt x="2412" y="2144"/>
                      </a:lnTo>
                      <a:lnTo>
                        <a:pt x="2418" y="2143"/>
                      </a:lnTo>
                      <a:lnTo>
                        <a:pt x="2425" y="2140"/>
                      </a:lnTo>
                      <a:lnTo>
                        <a:pt x="2432" y="2135"/>
                      </a:lnTo>
                      <a:lnTo>
                        <a:pt x="2436" y="2131"/>
                      </a:lnTo>
                      <a:lnTo>
                        <a:pt x="2441" y="2128"/>
                      </a:lnTo>
                      <a:lnTo>
                        <a:pt x="2446" y="2126"/>
                      </a:lnTo>
                      <a:lnTo>
                        <a:pt x="2452" y="2124"/>
                      </a:lnTo>
                      <a:lnTo>
                        <a:pt x="2464" y="2122"/>
                      </a:lnTo>
                      <a:lnTo>
                        <a:pt x="2477" y="2120"/>
                      </a:lnTo>
                      <a:lnTo>
                        <a:pt x="2488" y="2119"/>
                      </a:lnTo>
                      <a:lnTo>
                        <a:pt x="2500" y="2117"/>
                      </a:lnTo>
                      <a:lnTo>
                        <a:pt x="2505" y="2116"/>
                      </a:lnTo>
                      <a:lnTo>
                        <a:pt x="2510" y="2114"/>
                      </a:lnTo>
                      <a:lnTo>
                        <a:pt x="2513" y="2113"/>
                      </a:lnTo>
                      <a:lnTo>
                        <a:pt x="2517" y="2109"/>
                      </a:lnTo>
                      <a:lnTo>
                        <a:pt x="2525" y="2098"/>
                      </a:lnTo>
                      <a:lnTo>
                        <a:pt x="2528" y="2093"/>
                      </a:lnTo>
                      <a:lnTo>
                        <a:pt x="2532" y="2090"/>
                      </a:lnTo>
                      <a:lnTo>
                        <a:pt x="2535" y="2089"/>
                      </a:lnTo>
                      <a:lnTo>
                        <a:pt x="2543" y="2088"/>
                      </a:lnTo>
                      <a:lnTo>
                        <a:pt x="2552" y="2088"/>
                      </a:lnTo>
                      <a:lnTo>
                        <a:pt x="2551" y="2100"/>
                      </a:lnTo>
                      <a:lnTo>
                        <a:pt x="2547" y="2115"/>
                      </a:lnTo>
                      <a:lnTo>
                        <a:pt x="2546" y="2122"/>
                      </a:lnTo>
                      <a:lnTo>
                        <a:pt x="2547" y="2128"/>
                      </a:lnTo>
                      <a:lnTo>
                        <a:pt x="2547" y="2131"/>
                      </a:lnTo>
                      <a:lnTo>
                        <a:pt x="2550" y="2134"/>
                      </a:lnTo>
                      <a:lnTo>
                        <a:pt x="2552" y="2135"/>
                      </a:lnTo>
                      <a:lnTo>
                        <a:pt x="2554" y="2136"/>
                      </a:lnTo>
                      <a:lnTo>
                        <a:pt x="2560" y="2136"/>
                      </a:lnTo>
                      <a:lnTo>
                        <a:pt x="2567" y="2135"/>
                      </a:lnTo>
                      <a:lnTo>
                        <a:pt x="2575" y="2131"/>
                      </a:lnTo>
                      <a:lnTo>
                        <a:pt x="2582" y="2128"/>
                      </a:lnTo>
                      <a:lnTo>
                        <a:pt x="2595" y="2117"/>
                      </a:lnTo>
                      <a:lnTo>
                        <a:pt x="2605" y="2108"/>
                      </a:lnTo>
                      <a:lnTo>
                        <a:pt x="2610" y="2104"/>
                      </a:lnTo>
                      <a:lnTo>
                        <a:pt x="2614" y="2103"/>
                      </a:lnTo>
                      <a:lnTo>
                        <a:pt x="2618" y="2102"/>
                      </a:lnTo>
                      <a:lnTo>
                        <a:pt x="2621" y="2102"/>
                      </a:lnTo>
                      <a:lnTo>
                        <a:pt x="2626" y="2104"/>
                      </a:lnTo>
                      <a:lnTo>
                        <a:pt x="2631" y="2109"/>
                      </a:lnTo>
                      <a:lnTo>
                        <a:pt x="2635" y="2114"/>
                      </a:lnTo>
                      <a:lnTo>
                        <a:pt x="2640" y="2117"/>
                      </a:lnTo>
                      <a:lnTo>
                        <a:pt x="2642" y="2119"/>
                      </a:lnTo>
                      <a:lnTo>
                        <a:pt x="2645" y="2120"/>
                      </a:lnTo>
                      <a:lnTo>
                        <a:pt x="2648" y="2120"/>
                      </a:lnTo>
                      <a:lnTo>
                        <a:pt x="2651" y="2119"/>
                      </a:lnTo>
                      <a:lnTo>
                        <a:pt x="2661" y="2114"/>
                      </a:lnTo>
                      <a:lnTo>
                        <a:pt x="2672" y="2107"/>
                      </a:lnTo>
                      <a:lnTo>
                        <a:pt x="2677" y="2104"/>
                      </a:lnTo>
                      <a:lnTo>
                        <a:pt x="2682" y="2102"/>
                      </a:lnTo>
                      <a:lnTo>
                        <a:pt x="2687" y="2100"/>
                      </a:lnTo>
                      <a:lnTo>
                        <a:pt x="2693" y="2100"/>
                      </a:lnTo>
                      <a:lnTo>
                        <a:pt x="2699" y="2098"/>
                      </a:lnTo>
                      <a:lnTo>
                        <a:pt x="2704" y="2096"/>
                      </a:lnTo>
                      <a:lnTo>
                        <a:pt x="2709" y="2093"/>
                      </a:lnTo>
                      <a:lnTo>
                        <a:pt x="2714" y="2088"/>
                      </a:lnTo>
                      <a:lnTo>
                        <a:pt x="2722" y="2076"/>
                      </a:lnTo>
                      <a:lnTo>
                        <a:pt x="2732" y="2061"/>
                      </a:lnTo>
                      <a:lnTo>
                        <a:pt x="2740" y="2045"/>
                      </a:lnTo>
                      <a:lnTo>
                        <a:pt x="2748" y="2031"/>
                      </a:lnTo>
                      <a:lnTo>
                        <a:pt x="2752" y="2024"/>
                      </a:lnTo>
                      <a:lnTo>
                        <a:pt x="2756" y="2017"/>
                      </a:lnTo>
                      <a:lnTo>
                        <a:pt x="2761" y="2012"/>
                      </a:lnTo>
                      <a:lnTo>
                        <a:pt x="2766" y="2008"/>
                      </a:lnTo>
                      <a:lnTo>
                        <a:pt x="2771" y="2003"/>
                      </a:lnTo>
                      <a:lnTo>
                        <a:pt x="2774" y="1998"/>
                      </a:lnTo>
                      <a:lnTo>
                        <a:pt x="2776" y="1994"/>
                      </a:lnTo>
                      <a:lnTo>
                        <a:pt x="2778" y="1988"/>
                      </a:lnTo>
                      <a:lnTo>
                        <a:pt x="2780" y="1977"/>
                      </a:lnTo>
                      <a:lnTo>
                        <a:pt x="2780" y="1966"/>
                      </a:lnTo>
                      <a:lnTo>
                        <a:pt x="2780" y="1956"/>
                      </a:lnTo>
                      <a:lnTo>
                        <a:pt x="2781" y="1945"/>
                      </a:lnTo>
                      <a:lnTo>
                        <a:pt x="2783" y="1941"/>
                      </a:lnTo>
                      <a:lnTo>
                        <a:pt x="2787" y="1936"/>
                      </a:lnTo>
                      <a:lnTo>
                        <a:pt x="2791" y="1931"/>
                      </a:lnTo>
                      <a:lnTo>
                        <a:pt x="2796" y="1926"/>
                      </a:lnTo>
                      <a:lnTo>
                        <a:pt x="2801" y="1923"/>
                      </a:lnTo>
                      <a:lnTo>
                        <a:pt x="2803" y="1917"/>
                      </a:lnTo>
                      <a:lnTo>
                        <a:pt x="2807" y="1911"/>
                      </a:lnTo>
                      <a:lnTo>
                        <a:pt x="2809" y="1906"/>
                      </a:lnTo>
                      <a:lnTo>
                        <a:pt x="2813" y="1896"/>
                      </a:lnTo>
                      <a:lnTo>
                        <a:pt x="2814" y="1891"/>
                      </a:lnTo>
                      <a:lnTo>
                        <a:pt x="2815" y="1890"/>
                      </a:lnTo>
                      <a:lnTo>
                        <a:pt x="2818" y="1889"/>
                      </a:lnTo>
                      <a:lnTo>
                        <a:pt x="2819" y="1886"/>
                      </a:lnTo>
                      <a:lnTo>
                        <a:pt x="2820" y="1884"/>
                      </a:lnTo>
                      <a:lnTo>
                        <a:pt x="2822" y="1883"/>
                      </a:lnTo>
                      <a:lnTo>
                        <a:pt x="2826" y="1880"/>
                      </a:lnTo>
                      <a:lnTo>
                        <a:pt x="2832" y="1879"/>
                      </a:lnTo>
                      <a:lnTo>
                        <a:pt x="2840" y="1878"/>
                      </a:lnTo>
                      <a:lnTo>
                        <a:pt x="2855" y="1877"/>
                      </a:lnTo>
                      <a:lnTo>
                        <a:pt x="2868" y="1877"/>
                      </a:lnTo>
                      <a:lnTo>
                        <a:pt x="2877" y="1876"/>
                      </a:lnTo>
                      <a:lnTo>
                        <a:pt x="2887" y="1872"/>
                      </a:lnTo>
                      <a:lnTo>
                        <a:pt x="2896" y="1867"/>
                      </a:lnTo>
                      <a:lnTo>
                        <a:pt x="2905" y="1863"/>
                      </a:lnTo>
                      <a:lnTo>
                        <a:pt x="2917" y="1852"/>
                      </a:lnTo>
                      <a:lnTo>
                        <a:pt x="2926" y="1847"/>
                      </a:lnTo>
                      <a:lnTo>
                        <a:pt x="2926" y="1857"/>
                      </a:lnTo>
                      <a:lnTo>
                        <a:pt x="2924" y="1865"/>
                      </a:lnTo>
                      <a:lnTo>
                        <a:pt x="2923" y="1872"/>
                      </a:lnTo>
                      <a:lnTo>
                        <a:pt x="2922" y="1878"/>
                      </a:lnTo>
                      <a:lnTo>
                        <a:pt x="2917" y="1889"/>
                      </a:lnTo>
                      <a:lnTo>
                        <a:pt x="2914" y="1898"/>
                      </a:lnTo>
                      <a:lnTo>
                        <a:pt x="2910" y="1909"/>
                      </a:lnTo>
                      <a:lnTo>
                        <a:pt x="2909" y="1919"/>
                      </a:lnTo>
                      <a:lnTo>
                        <a:pt x="2910" y="1926"/>
                      </a:lnTo>
                      <a:lnTo>
                        <a:pt x="2912" y="1933"/>
                      </a:lnTo>
                      <a:lnTo>
                        <a:pt x="2914" y="1942"/>
                      </a:lnTo>
                      <a:lnTo>
                        <a:pt x="2917" y="1951"/>
                      </a:lnTo>
                      <a:lnTo>
                        <a:pt x="2920" y="1959"/>
                      </a:lnTo>
                      <a:lnTo>
                        <a:pt x="2920" y="1966"/>
                      </a:lnTo>
                      <a:lnTo>
                        <a:pt x="2917" y="1974"/>
                      </a:lnTo>
                      <a:lnTo>
                        <a:pt x="2914" y="1982"/>
                      </a:lnTo>
                      <a:lnTo>
                        <a:pt x="2905" y="1996"/>
                      </a:lnTo>
                      <a:lnTo>
                        <a:pt x="2892" y="2010"/>
                      </a:lnTo>
                      <a:lnTo>
                        <a:pt x="2879" y="2024"/>
                      </a:lnTo>
                      <a:lnTo>
                        <a:pt x="2867" y="2040"/>
                      </a:lnTo>
                      <a:lnTo>
                        <a:pt x="2863" y="2047"/>
                      </a:lnTo>
                      <a:lnTo>
                        <a:pt x="2861" y="2055"/>
                      </a:lnTo>
                      <a:lnTo>
                        <a:pt x="2860" y="2063"/>
                      </a:lnTo>
                      <a:lnTo>
                        <a:pt x="2861" y="2073"/>
                      </a:lnTo>
                      <a:lnTo>
                        <a:pt x="2869" y="2074"/>
                      </a:lnTo>
                      <a:lnTo>
                        <a:pt x="2879" y="2073"/>
                      </a:lnTo>
                      <a:lnTo>
                        <a:pt x="2889" y="2070"/>
                      </a:lnTo>
                      <a:lnTo>
                        <a:pt x="2901" y="2068"/>
                      </a:lnTo>
                      <a:lnTo>
                        <a:pt x="2913" y="2063"/>
                      </a:lnTo>
                      <a:lnTo>
                        <a:pt x="2923" y="2058"/>
                      </a:lnTo>
                      <a:lnTo>
                        <a:pt x="2934" y="2053"/>
                      </a:lnTo>
                      <a:lnTo>
                        <a:pt x="2942" y="2047"/>
                      </a:lnTo>
                      <a:lnTo>
                        <a:pt x="2950" y="2041"/>
                      </a:lnTo>
                      <a:lnTo>
                        <a:pt x="2955" y="2035"/>
                      </a:lnTo>
                      <a:lnTo>
                        <a:pt x="2957" y="2032"/>
                      </a:lnTo>
                      <a:lnTo>
                        <a:pt x="2959" y="2029"/>
                      </a:lnTo>
                      <a:lnTo>
                        <a:pt x="2959" y="2027"/>
                      </a:lnTo>
                      <a:lnTo>
                        <a:pt x="2959" y="2024"/>
                      </a:lnTo>
                      <a:lnTo>
                        <a:pt x="2957" y="2022"/>
                      </a:lnTo>
                      <a:lnTo>
                        <a:pt x="2955" y="2021"/>
                      </a:lnTo>
                      <a:lnTo>
                        <a:pt x="2953" y="2018"/>
                      </a:lnTo>
                      <a:lnTo>
                        <a:pt x="2948" y="2017"/>
                      </a:lnTo>
                      <a:lnTo>
                        <a:pt x="2937" y="2015"/>
                      </a:lnTo>
                      <a:lnTo>
                        <a:pt x="2921" y="2014"/>
                      </a:lnTo>
                      <a:lnTo>
                        <a:pt x="2921" y="2012"/>
                      </a:lnTo>
                      <a:lnTo>
                        <a:pt x="2919" y="2012"/>
                      </a:lnTo>
                      <a:lnTo>
                        <a:pt x="2920" y="2008"/>
                      </a:lnTo>
                      <a:lnTo>
                        <a:pt x="2921" y="2004"/>
                      </a:lnTo>
                      <a:lnTo>
                        <a:pt x="2924" y="2002"/>
                      </a:lnTo>
                      <a:lnTo>
                        <a:pt x="2928" y="1999"/>
                      </a:lnTo>
                      <a:lnTo>
                        <a:pt x="2937" y="1996"/>
                      </a:lnTo>
                      <a:lnTo>
                        <a:pt x="2949" y="1994"/>
                      </a:lnTo>
                      <a:lnTo>
                        <a:pt x="2961" y="1991"/>
                      </a:lnTo>
                      <a:lnTo>
                        <a:pt x="2973" y="1989"/>
                      </a:lnTo>
                      <a:lnTo>
                        <a:pt x="2977" y="1988"/>
                      </a:lnTo>
                      <a:lnTo>
                        <a:pt x="2982" y="1985"/>
                      </a:lnTo>
                      <a:lnTo>
                        <a:pt x="2987" y="1983"/>
                      </a:lnTo>
                      <a:lnTo>
                        <a:pt x="2990" y="1981"/>
                      </a:lnTo>
                      <a:lnTo>
                        <a:pt x="2996" y="1974"/>
                      </a:lnTo>
                      <a:lnTo>
                        <a:pt x="3003" y="1962"/>
                      </a:lnTo>
                      <a:lnTo>
                        <a:pt x="3011" y="1948"/>
                      </a:lnTo>
                      <a:lnTo>
                        <a:pt x="3021" y="1932"/>
                      </a:lnTo>
                      <a:lnTo>
                        <a:pt x="3028" y="1916"/>
                      </a:lnTo>
                      <a:lnTo>
                        <a:pt x="3035" y="1902"/>
                      </a:lnTo>
                      <a:lnTo>
                        <a:pt x="3036" y="1896"/>
                      </a:lnTo>
                      <a:lnTo>
                        <a:pt x="3037" y="1890"/>
                      </a:lnTo>
                      <a:lnTo>
                        <a:pt x="3038" y="1885"/>
                      </a:lnTo>
                      <a:lnTo>
                        <a:pt x="3037" y="1882"/>
                      </a:lnTo>
                      <a:lnTo>
                        <a:pt x="3034" y="1870"/>
                      </a:lnTo>
                      <a:lnTo>
                        <a:pt x="3029" y="1854"/>
                      </a:lnTo>
                      <a:lnTo>
                        <a:pt x="3027" y="1847"/>
                      </a:lnTo>
                      <a:lnTo>
                        <a:pt x="3026" y="1839"/>
                      </a:lnTo>
                      <a:lnTo>
                        <a:pt x="3026" y="1832"/>
                      </a:lnTo>
                      <a:lnTo>
                        <a:pt x="3026" y="1825"/>
                      </a:lnTo>
                      <a:lnTo>
                        <a:pt x="3027" y="1820"/>
                      </a:lnTo>
                      <a:lnTo>
                        <a:pt x="3028" y="1817"/>
                      </a:lnTo>
                      <a:lnTo>
                        <a:pt x="3031" y="1812"/>
                      </a:lnTo>
                      <a:lnTo>
                        <a:pt x="3035" y="1809"/>
                      </a:lnTo>
                      <a:lnTo>
                        <a:pt x="3044" y="1803"/>
                      </a:lnTo>
                      <a:lnTo>
                        <a:pt x="3055" y="1797"/>
                      </a:lnTo>
                      <a:lnTo>
                        <a:pt x="3078" y="1787"/>
                      </a:lnTo>
                      <a:lnTo>
                        <a:pt x="3097" y="1778"/>
                      </a:lnTo>
                      <a:lnTo>
                        <a:pt x="3102" y="1773"/>
                      </a:lnTo>
                      <a:lnTo>
                        <a:pt x="3107" y="1765"/>
                      </a:lnTo>
                      <a:lnTo>
                        <a:pt x="3108" y="1761"/>
                      </a:lnTo>
                      <a:lnTo>
                        <a:pt x="3109" y="1757"/>
                      </a:lnTo>
                      <a:lnTo>
                        <a:pt x="3108" y="1754"/>
                      </a:lnTo>
                      <a:lnTo>
                        <a:pt x="3105" y="1752"/>
                      </a:lnTo>
                      <a:lnTo>
                        <a:pt x="3105" y="1746"/>
                      </a:lnTo>
                      <a:lnTo>
                        <a:pt x="3115" y="1737"/>
                      </a:lnTo>
                      <a:lnTo>
                        <a:pt x="3124" y="1726"/>
                      </a:lnTo>
                      <a:lnTo>
                        <a:pt x="3127" y="1725"/>
                      </a:lnTo>
                      <a:lnTo>
                        <a:pt x="3129" y="1724"/>
                      </a:lnTo>
                      <a:lnTo>
                        <a:pt x="3129" y="1722"/>
                      </a:lnTo>
                      <a:lnTo>
                        <a:pt x="3130" y="1721"/>
                      </a:lnTo>
                      <a:lnTo>
                        <a:pt x="3142" y="1718"/>
                      </a:lnTo>
                      <a:lnTo>
                        <a:pt x="3152" y="1714"/>
                      </a:lnTo>
                      <a:lnTo>
                        <a:pt x="3164" y="1711"/>
                      </a:lnTo>
                      <a:lnTo>
                        <a:pt x="3180" y="1710"/>
                      </a:lnTo>
                      <a:lnTo>
                        <a:pt x="3189" y="1711"/>
                      </a:lnTo>
                      <a:lnTo>
                        <a:pt x="3205" y="1712"/>
                      </a:lnTo>
                      <a:lnTo>
                        <a:pt x="3214" y="1712"/>
                      </a:lnTo>
                      <a:lnTo>
                        <a:pt x="3221" y="1712"/>
                      </a:lnTo>
                      <a:lnTo>
                        <a:pt x="3225" y="1711"/>
                      </a:lnTo>
                      <a:lnTo>
                        <a:pt x="3228" y="1708"/>
                      </a:lnTo>
                      <a:lnTo>
                        <a:pt x="3229" y="1707"/>
                      </a:lnTo>
                      <a:lnTo>
                        <a:pt x="3231" y="1701"/>
                      </a:lnTo>
                      <a:lnTo>
                        <a:pt x="3232" y="1695"/>
                      </a:lnTo>
                      <a:lnTo>
                        <a:pt x="3234" y="1687"/>
                      </a:lnTo>
                      <a:lnTo>
                        <a:pt x="3236" y="1672"/>
                      </a:lnTo>
                      <a:lnTo>
                        <a:pt x="3236" y="1661"/>
                      </a:lnTo>
                      <a:lnTo>
                        <a:pt x="3222" y="1665"/>
                      </a:lnTo>
                      <a:lnTo>
                        <a:pt x="3210" y="1667"/>
                      </a:lnTo>
                      <a:lnTo>
                        <a:pt x="3211" y="1658"/>
                      </a:lnTo>
                      <a:lnTo>
                        <a:pt x="3212" y="1648"/>
                      </a:lnTo>
                      <a:lnTo>
                        <a:pt x="3216" y="1640"/>
                      </a:lnTo>
                      <a:lnTo>
                        <a:pt x="3218" y="1632"/>
                      </a:lnTo>
                      <a:lnTo>
                        <a:pt x="3221" y="1623"/>
                      </a:lnTo>
                      <a:lnTo>
                        <a:pt x="3222" y="1615"/>
                      </a:lnTo>
                      <a:lnTo>
                        <a:pt x="3222" y="1607"/>
                      </a:lnTo>
                      <a:lnTo>
                        <a:pt x="3221" y="1599"/>
                      </a:lnTo>
                      <a:lnTo>
                        <a:pt x="3212" y="1594"/>
                      </a:lnTo>
                      <a:lnTo>
                        <a:pt x="3207" y="1590"/>
                      </a:lnTo>
                      <a:lnTo>
                        <a:pt x="3208" y="1579"/>
                      </a:lnTo>
                      <a:lnTo>
                        <a:pt x="3211" y="1567"/>
                      </a:lnTo>
                      <a:lnTo>
                        <a:pt x="3214" y="1555"/>
                      </a:lnTo>
                      <a:lnTo>
                        <a:pt x="3215" y="1542"/>
                      </a:lnTo>
                      <a:lnTo>
                        <a:pt x="3248" y="1533"/>
                      </a:lnTo>
                      <a:lnTo>
                        <a:pt x="3249" y="1528"/>
                      </a:lnTo>
                      <a:lnTo>
                        <a:pt x="3249" y="1524"/>
                      </a:lnTo>
                      <a:lnTo>
                        <a:pt x="3248" y="1522"/>
                      </a:lnTo>
                      <a:lnTo>
                        <a:pt x="3247" y="1521"/>
                      </a:lnTo>
                      <a:lnTo>
                        <a:pt x="3243" y="1520"/>
                      </a:lnTo>
                      <a:lnTo>
                        <a:pt x="3237" y="1521"/>
                      </a:lnTo>
                      <a:lnTo>
                        <a:pt x="3229" y="1524"/>
                      </a:lnTo>
                      <a:lnTo>
                        <a:pt x="3221" y="1528"/>
                      </a:lnTo>
                      <a:lnTo>
                        <a:pt x="3212" y="1530"/>
                      </a:lnTo>
                      <a:lnTo>
                        <a:pt x="3204" y="1532"/>
                      </a:lnTo>
                      <a:lnTo>
                        <a:pt x="3184" y="1534"/>
                      </a:lnTo>
                      <a:lnTo>
                        <a:pt x="3167" y="1537"/>
                      </a:lnTo>
                      <a:lnTo>
                        <a:pt x="3158" y="1539"/>
                      </a:lnTo>
                      <a:lnTo>
                        <a:pt x="3149" y="1539"/>
                      </a:lnTo>
                      <a:lnTo>
                        <a:pt x="3138" y="1537"/>
                      </a:lnTo>
                      <a:lnTo>
                        <a:pt x="3125" y="1536"/>
                      </a:lnTo>
                      <a:lnTo>
                        <a:pt x="3120" y="1535"/>
                      </a:lnTo>
                      <a:lnTo>
                        <a:pt x="3114" y="1535"/>
                      </a:lnTo>
                      <a:lnTo>
                        <a:pt x="3108" y="1536"/>
                      </a:lnTo>
                      <a:lnTo>
                        <a:pt x="3103" y="1539"/>
                      </a:lnTo>
                      <a:lnTo>
                        <a:pt x="3097" y="1540"/>
                      </a:lnTo>
                      <a:lnTo>
                        <a:pt x="3093" y="1541"/>
                      </a:lnTo>
                      <a:lnTo>
                        <a:pt x="3088" y="1542"/>
                      </a:lnTo>
                      <a:lnTo>
                        <a:pt x="3083" y="1541"/>
                      </a:lnTo>
                      <a:lnTo>
                        <a:pt x="3081" y="1532"/>
                      </a:lnTo>
                      <a:lnTo>
                        <a:pt x="3080" y="1522"/>
                      </a:lnTo>
                      <a:lnTo>
                        <a:pt x="3080" y="1513"/>
                      </a:lnTo>
                      <a:lnTo>
                        <a:pt x="3080" y="1503"/>
                      </a:lnTo>
                      <a:lnTo>
                        <a:pt x="3082" y="1483"/>
                      </a:lnTo>
                      <a:lnTo>
                        <a:pt x="3083" y="1464"/>
                      </a:lnTo>
                      <a:lnTo>
                        <a:pt x="3083" y="1454"/>
                      </a:lnTo>
                      <a:lnTo>
                        <a:pt x="3083" y="1443"/>
                      </a:lnTo>
                      <a:lnTo>
                        <a:pt x="3082" y="1434"/>
                      </a:lnTo>
                      <a:lnTo>
                        <a:pt x="3080" y="1423"/>
                      </a:lnTo>
                      <a:lnTo>
                        <a:pt x="3078" y="1414"/>
                      </a:lnTo>
                      <a:lnTo>
                        <a:pt x="3077" y="1404"/>
                      </a:lnTo>
                      <a:lnTo>
                        <a:pt x="3077" y="1395"/>
                      </a:lnTo>
                      <a:lnTo>
                        <a:pt x="3078" y="1385"/>
                      </a:lnTo>
                      <a:lnTo>
                        <a:pt x="3082" y="1374"/>
                      </a:lnTo>
                      <a:lnTo>
                        <a:pt x="3086" y="1363"/>
                      </a:lnTo>
                      <a:lnTo>
                        <a:pt x="3088" y="1351"/>
                      </a:lnTo>
                      <a:lnTo>
                        <a:pt x="3089" y="1339"/>
                      </a:lnTo>
                      <a:lnTo>
                        <a:pt x="3088" y="1338"/>
                      </a:lnTo>
                      <a:lnTo>
                        <a:pt x="3087" y="1338"/>
                      </a:lnTo>
                      <a:lnTo>
                        <a:pt x="3086" y="1337"/>
                      </a:lnTo>
                      <a:lnTo>
                        <a:pt x="3071" y="1339"/>
                      </a:lnTo>
                      <a:lnTo>
                        <a:pt x="3063" y="1343"/>
                      </a:lnTo>
                      <a:lnTo>
                        <a:pt x="3060" y="1343"/>
                      </a:lnTo>
                      <a:lnTo>
                        <a:pt x="3057" y="1341"/>
                      </a:lnTo>
                      <a:lnTo>
                        <a:pt x="3054" y="1335"/>
                      </a:lnTo>
                      <a:lnTo>
                        <a:pt x="3050" y="1325"/>
                      </a:lnTo>
                      <a:lnTo>
                        <a:pt x="3049" y="1319"/>
                      </a:lnTo>
                      <a:lnTo>
                        <a:pt x="3047" y="1316"/>
                      </a:lnTo>
                      <a:lnTo>
                        <a:pt x="3044" y="1313"/>
                      </a:lnTo>
                      <a:lnTo>
                        <a:pt x="3042" y="1311"/>
                      </a:lnTo>
                      <a:lnTo>
                        <a:pt x="3040" y="1310"/>
                      </a:lnTo>
                      <a:lnTo>
                        <a:pt x="3036" y="1310"/>
                      </a:lnTo>
                      <a:lnTo>
                        <a:pt x="3034" y="1311"/>
                      </a:lnTo>
                      <a:lnTo>
                        <a:pt x="3031" y="1312"/>
                      </a:lnTo>
                      <a:lnTo>
                        <a:pt x="3020" y="1319"/>
                      </a:lnTo>
                      <a:lnTo>
                        <a:pt x="3008" y="1325"/>
                      </a:lnTo>
                      <a:lnTo>
                        <a:pt x="3002" y="1334"/>
                      </a:lnTo>
                      <a:lnTo>
                        <a:pt x="2995" y="1341"/>
                      </a:lnTo>
                      <a:lnTo>
                        <a:pt x="2991" y="1345"/>
                      </a:lnTo>
                      <a:lnTo>
                        <a:pt x="2988" y="1350"/>
                      </a:lnTo>
                      <a:lnTo>
                        <a:pt x="2986" y="1355"/>
                      </a:lnTo>
                      <a:lnTo>
                        <a:pt x="2983" y="1361"/>
                      </a:lnTo>
                      <a:lnTo>
                        <a:pt x="2980" y="1359"/>
                      </a:lnTo>
                      <a:lnTo>
                        <a:pt x="2976" y="1358"/>
                      </a:lnTo>
                      <a:lnTo>
                        <a:pt x="2974" y="1355"/>
                      </a:lnTo>
                      <a:lnTo>
                        <a:pt x="2972" y="1352"/>
                      </a:lnTo>
                      <a:lnTo>
                        <a:pt x="2967" y="1345"/>
                      </a:lnTo>
                      <a:lnTo>
                        <a:pt x="2964" y="1338"/>
                      </a:lnTo>
                      <a:lnTo>
                        <a:pt x="2961" y="1338"/>
                      </a:lnTo>
                      <a:lnTo>
                        <a:pt x="2957" y="1339"/>
                      </a:lnTo>
                      <a:lnTo>
                        <a:pt x="2954" y="1342"/>
                      </a:lnTo>
                      <a:lnTo>
                        <a:pt x="2952" y="1344"/>
                      </a:lnTo>
                      <a:lnTo>
                        <a:pt x="2947" y="1351"/>
                      </a:lnTo>
                      <a:lnTo>
                        <a:pt x="2941" y="1355"/>
                      </a:lnTo>
                      <a:lnTo>
                        <a:pt x="2939" y="1362"/>
                      </a:lnTo>
                      <a:lnTo>
                        <a:pt x="2935" y="1369"/>
                      </a:lnTo>
                      <a:lnTo>
                        <a:pt x="2930" y="1376"/>
                      </a:lnTo>
                      <a:lnTo>
                        <a:pt x="2926" y="1382"/>
                      </a:lnTo>
                      <a:lnTo>
                        <a:pt x="2920" y="1388"/>
                      </a:lnTo>
                      <a:lnTo>
                        <a:pt x="2913" y="1392"/>
                      </a:lnTo>
                      <a:lnTo>
                        <a:pt x="2907" y="1395"/>
                      </a:lnTo>
                      <a:lnTo>
                        <a:pt x="2900" y="1397"/>
                      </a:lnTo>
                      <a:lnTo>
                        <a:pt x="2893" y="1400"/>
                      </a:lnTo>
                      <a:lnTo>
                        <a:pt x="2888" y="1403"/>
                      </a:lnTo>
                      <a:lnTo>
                        <a:pt x="2883" y="1407"/>
                      </a:lnTo>
                      <a:lnTo>
                        <a:pt x="2880" y="1411"/>
                      </a:lnTo>
                      <a:lnTo>
                        <a:pt x="2876" y="1416"/>
                      </a:lnTo>
                      <a:lnTo>
                        <a:pt x="2873" y="1421"/>
                      </a:lnTo>
                      <a:lnTo>
                        <a:pt x="2870" y="1423"/>
                      </a:lnTo>
                      <a:lnTo>
                        <a:pt x="2867" y="1425"/>
                      </a:lnTo>
                      <a:lnTo>
                        <a:pt x="2865" y="1431"/>
                      </a:lnTo>
                      <a:lnTo>
                        <a:pt x="2862" y="1438"/>
                      </a:lnTo>
                      <a:lnTo>
                        <a:pt x="2859" y="1447"/>
                      </a:lnTo>
                      <a:lnTo>
                        <a:pt x="2854" y="1454"/>
                      </a:lnTo>
                      <a:lnTo>
                        <a:pt x="2849" y="1460"/>
                      </a:lnTo>
                      <a:lnTo>
                        <a:pt x="2845" y="1466"/>
                      </a:lnTo>
                      <a:lnTo>
                        <a:pt x="2839" y="1470"/>
                      </a:lnTo>
                      <a:lnTo>
                        <a:pt x="2833" y="1474"/>
                      </a:lnTo>
                      <a:lnTo>
                        <a:pt x="2833" y="1483"/>
                      </a:lnTo>
                      <a:lnTo>
                        <a:pt x="2832" y="1489"/>
                      </a:lnTo>
                      <a:lnTo>
                        <a:pt x="2830" y="1491"/>
                      </a:lnTo>
                      <a:lnTo>
                        <a:pt x="2827" y="1493"/>
                      </a:lnTo>
                      <a:lnTo>
                        <a:pt x="2823" y="1495"/>
                      </a:lnTo>
                      <a:lnTo>
                        <a:pt x="2818" y="1497"/>
                      </a:lnTo>
                      <a:lnTo>
                        <a:pt x="2810" y="1500"/>
                      </a:lnTo>
                      <a:lnTo>
                        <a:pt x="2801" y="1506"/>
                      </a:lnTo>
                      <a:lnTo>
                        <a:pt x="2791" y="1513"/>
                      </a:lnTo>
                      <a:lnTo>
                        <a:pt x="2785" y="1517"/>
                      </a:lnTo>
                      <a:lnTo>
                        <a:pt x="2782" y="1521"/>
                      </a:lnTo>
                      <a:lnTo>
                        <a:pt x="2780" y="1524"/>
                      </a:lnTo>
                      <a:lnTo>
                        <a:pt x="2779" y="1528"/>
                      </a:lnTo>
                      <a:lnTo>
                        <a:pt x="2778" y="1533"/>
                      </a:lnTo>
                      <a:lnTo>
                        <a:pt x="2778" y="1541"/>
                      </a:lnTo>
                      <a:lnTo>
                        <a:pt x="2781" y="1549"/>
                      </a:lnTo>
                      <a:lnTo>
                        <a:pt x="2785" y="1565"/>
                      </a:lnTo>
                      <a:lnTo>
                        <a:pt x="2786" y="1581"/>
                      </a:lnTo>
                      <a:lnTo>
                        <a:pt x="2788" y="1588"/>
                      </a:lnTo>
                      <a:lnTo>
                        <a:pt x="2791" y="1593"/>
                      </a:lnTo>
                      <a:lnTo>
                        <a:pt x="2793" y="1595"/>
                      </a:lnTo>
                      <a:lnTo>
                        <a:pt x="2795" y="1596"/>
                      </a:lnTo>
                      <a:lnTo>
                        <a:pt x="2799" y="1598"/>
                      </a:lnTo>
                      <a:lnTo>
                        <a:pt x="2802" y="1599"/>
                      </a:lnTo>
                      <a:lnTo>
                        <a:pt x="2849" y="1599"/>
                      </a:lnTo>
                      <a:lnTo>
                        <a:pt x="2848" y="1601"/>
                      </a:lnTo>
                      <a:lnTo>
                        <a:pt x="2846" y="1603"/>
                      </a:lnTo>
                      <a:lnTo>
                        <a:pt x="2843" y="1606"/>
                      </a:lnTo>
                      <a:lnTo>
                        <a:pt x="2841" y="1608"/>
                      </a:lnTo>
                      <a:lnTo>
                        <a:pt x="2834" y="1612"/>
                      </a:lnTo>
                      <a:lnTo>
                        <a:pt x="2827" y="1614"/>
                      </a:lnTo>
                      <a:lnTo>
                        <a:pt x="2820" y="1618"/>
                      </a:lnTo>
                      <a:lnTo>
                        <a:pt x="2813" y="1621"/>
                      </a:lnTo>
                      <a:lnTo>
                        <a:pt x="2810" y="1623"/>
                      </a:lnTo>
                      <a:lnTo>
                        <a:pt x="2807" y="1626"/>
                      </a:lnTo>
                      <a:lnTo>
                        <a:pt x="2805" y="1629"/>
                      </a:lnTo>
                      <a:lnTo>
                        <a:pt x="2803" y="1633"/>
                      </a:lnTo>
                      <a:lnTo>
                        <a:pt x="2800" y="1641"/>
                      </a:lnTo>
                      <a:lnTo>
                        <a:pt x="2794" y="1651"/>
                      </a:lnTo>
                      <a:lnTo>
                        <a:pt x="2786" y="1660"/>
                      </a:lnTo>
                      <a:lnTo>
                        <a:pt x="2779" y="1666"/>
                      </a:lnTo>
                      <a:lnTo>
                        <a:pt x="2776" y="1668"/>
                      </a:lnTo>
                      <a:lnTo>
                        <a:pt x="2774" y="1672"/>
                      </a:lnTo>
                      <a:lnTo>
                        <a:pt x="2773" y="1675"/>
                      </a:lnTo>
                      <a:lnTo>
                        <a:pt x="2773" y="1679"/>
                      </a:lnTo>
                      <a:lnTo>
                        <a:pt x="2772" y="1687"/>
                      </a:lnTo>
                      <a:lnTo>
                        <a:pt x="2772" y="1695"/>
                      </a:lnTo>
                      <a:lnTo>
                        <a:pt x="2767" y="1706"/>
                      </a:lnTo>
                      <a:lnTo>
                        <a:pt x="2760" y="1720"/>
                      </a:lnTo>
                      <a:lnTo>
                        <a:pt x="2758" y="1726"/>
                      </a:lnTo>
                      <a:lnTo>
                        <a:pt x="2755" y="1732"/>
                      </a:lnTo>
                      <a:lnTo>
                        <a:pt x="2754" y="1737"/>
                      </a:lnTo>
                      <a:lnTo>
                        <a:pt x="2754" y="1740"/>
                      </a:lnTo>
                      <a:lnTo>
                        <a:pt x="2755" y="1747"/>
                      </a:lnTo>
                      <a:lnTo>
                        <a:pt x="2756" y="1755"/>
                      </a:lnTo>
                      <a:lnTo>
                        <a:pt x="2756" y="1764"/>
                      </a:lnTo>
                      <a:lnTo>
                        <a:pt x="2756" y="1772"/>
                      </a:lnTo>
                      <a:lnTo>
                        <a:pt x="2758" y="1780"/>
                      </a:lnTo>
                      <a:lnTo>
                        <a:pt x="2758" y="1788"/>
                      </a:lnTo>
                      <a:lnTo>
                        <a:pt x="2760" y="1796"/>
                      </a:lnTo>
                      <a:lnTo>
                        <a:pt x="2763" y="1800"/>
                      </a:lnTo>
                      <a:lnTo>
                        <a:pt x="2781" y="1806"/>
                      </a:lnTo>
                      <a:lnTo>
                        <a:pt x="2798" y="1810"/>
                      </a:lnTo>
                      <a:lnTo>
                        <a:pt x="2801" y="1813"/>
                      </a:lnTo>
                      <a:lnTo>
                        <a:pt x="2801" y="1818"/>
                      </a:lnTo>
                      <a:lnTo>
                        <a:pt x="2802" y="1825"/>
                      </a:lnTo>
                      <a:lnTo>
                        <a:pt x="2801" y="1832"/>
                      </a:lnTo>
                      <a:lnTo>
                        <a:pt x="2801" y="1840"/>
                      </a:lnTo>
                      <a:lnTo>
                        <a:pt x="2801" y="1847"/>
                      </a:lnTo>
                      <a:lnTo>
                        <a:pt x="2801" y="1854"/>
                      </a:lnTo>
                      <a:lnTo>
                        <a:pt x="2802" y="1859"/>
                      </a:lnTo>
                      <a:lnTo>
                        <a:pt x="2805" y="1865"/>
                      </a:lnTo>
                      <a:lnTo>
                        <a:pt x="2805" y="1865"/>
                      </a:lnTo>
                      <a:lnTo>
                        <a:pt x="2801" y="1862"/>
                      </a:lnTo>
                      <a:lnTo>
                        <a:pt x="2798" y="1857"/>
                      </a:lnTo>
                      <a:lnTo>
                        <a:pt x="2789" y="1844"/>
                      </a:lnTo>
                      <a:lnTo>
                        <a:pt x="2785" y="1837"/>
                      </a:lnTo>
                      <a:lnTo>
                        <a:pt x="2776" y="1830"/>
                      </a:lnTo>
                      <a:lnTo>
                        <a:pt x="2763" y="1821"/>
                      </a:lnTo>
                      <a:lnTo>
                        <a:pt x="2752" y="1813"/>
                      </a:lnTo>
                      <a:lnTo>
                        <a:pt x="2741" y="1809"/>
                      </a:lnTo>
                      <a:lnTo>
                        <a:pt x="2731" y="1805"/>
                      </a:lnTo>
                      <a:lnTo>
                        <a:pt x="2722" y="1804"/>
                      </a:lnTo>
                      <a:lnTo>
                        <a:pt x="2714" y="1804"/>
                      </a:lnTo>
                      <a:lnTo>
                        <a:pt x="2707" y="1805"/>
                      </a:lnTo>
                      <a:lnTo>
                        <a:pt x="2694" y="1811"/>
                      </a:lnTo>
                      <a:lnTo>
                        <a:pt x="2679" y="1820"/>
                      </a:lnTo>
                      <a:lnTo>
                        <a:pt x="2679" y="1809"/>
                      </a:lnTo>
                      <a:lnTo>
                        <a:pt x="2681" y="1798"/>
                      </a:lnTo>
                      <a:lnTo>
                        <a:pt x="2682" y="1787"/>
                      </a:lnTo>
                      <a:lnTo>
                        <a:pt x="2684" y="1776"/>
                      </a:lnTo>
                      <a:lnTo>
                        <a:pt x="2699" y="1779"/>
                      </a:lnTo>
                      <a:lnTo>
                        <a:pt x="2721" y="1784"/>
                      </a:lnTo>
                      <a:lnTo>
                        <a:pt x="2727" y="1785"/>
                      </a:lnTo>
                      <a:lnTo>
                        <a:pt x="2732" y="1785"/>
                      </a:lnTo>
                      <a:lnTo>
                        <a:pt x="2736" y="1785"/>
                      </a:lnTo>
                      <a:lnTo>
                        <a:pt x="2739" y="1784"/>
                      </a:lnTo>
                      <a:lnTo>
                        <a:pt x="2741" y="1781"/>
                      </a:lnTo>
                      <a:lnTo>
                        <a:pt x="2742" y="1779"/>
                      </a:lnTo>
                      <a:lnTo>
                        <a:pt x="2742" y="1774"/>
                      </a:lnTo>
                      <a:lnTo>
                        <a:pt x="2741" y="1770"/>
                      </a:lnTo>
                      <a:lnTo>
                        <a:pt x="2736" y="1761"/>
                      </a:lnTo>
                      <a:lnTo>
                        <a:pt x="2733" y="1754"/>
                      </a:lnTo>
                      <a:lnTo>
                        <a:pt x="2728" y="1748"/>
                      </a:lnTo>
                      <a:lnTo>
                        <a:pt x="2724" y="1745"/>
                      </a:lnTo>
                      <a:lnTo>
                        <a:pt x="2721" y="1743"/>
                      </a:lnTo>
                      <a:lnTo>
                        <a:pt x="2719" y="1743"/>
                      </a:lnTo>
                      <a:lnTo>
                        <a:pt x="2716" y="1743"/>
                      </a:lnTo>
                      <a:lnTo>
                        <a:pt x="2713" y="1743"/>
                      </a:lnTo>
                      <a:lnTo>
                        <a:pt x="2707" y="1745"/>
                      </a:lnTo>
                      <a:lnTo>
                        <a:pt x="2700" y="1752"/>
                      </a:lnTo>
                      <a:lnTo>
                        <a:pt x="2692" y="1759"/>
                      </a:lnTo>
                      <a:lnTo>
                        <a:pt x="2687" y="1761"/>
                      </a:lnTo>
                      <a:lnTo>
                        <a:pt x="2686" y="1761"/>
                      </a:lnTo>
                      <a:lnTo>
                        <a:pt x="2685" y="1760"/>
                      </a:lnTo>
                      <a:lnTo>
                        <a:pt x="2685" y="1759"/>
                      </a:lnTo>
                      <a:lnTo>
                        <a:pt x="2684" y="1757"/>
                      </a:lnTo>
                      <a:lnTo>
                        <a:pt x="2684" y="1751"/>
                      </a:lnTo>
                      <a:lnTo>
                        <a:pt x="2684" y="1745"/>
                      </a:lnTo>
                      <a:lnTo>
                        <a:pt x="2681" y="1738"/>
                      </a:lnTo>
                      <a:lnTo>
                        <a:pt x="2678" y="1732"/>
                      </a:lnTo>
                      <a:lnTo>
                        <a:pt x="2673" y="1725"/>
                      </a:lnTo>
                      <a:lnTo>
                        <a:pt x="2671" y="1720"/>
                      </a:lnTo>
                      <a:lnTo>
                        <a:pt x="2672" y="1718"/>
                      </a:lnTo>
                      <a:lnTo>
                        <a:pt x="2673" y="1717"/>
                      </a:lnTo>
                      <a:lnTo>
                        <a:pt x="2677" y="1715"/>
                      </a:lnTo>
                      <a:lnTo>
                        <a:pt x="2681" y="1713"/>
                      </a:lnTo>
                      <a:lnTo>
                        <a:pt x="2684" y="1712"/>
                      </a:lnTo>
                      <a:lnTo>
                        <a:pt x="2687" y="1710"/>
                      </a:lnTo>
                      <a:lnTo>
                        <a:pt x="2689" y="1707"/>
                      </a:lnTo>
                      <a:lnTo>
                        <a:pt x="2693" y="1702"/>
                      </a:lnTo>
                      <a:lnTo>
                        <a:pt x="2698" y="1693"/>
                      </a:lnTo>
                      <a:lnTo>
                        <a:pt x="2702" y="1682"/>
                      </a:lnTo>
                      <a:lnTo>
                        <a:pt x="2709" y="1660"/>
                      </a:lnTo>
                      <a:lnTo>
                        <a:pt x="2716" y="1642"/>
                      </a:lnTo>
                      <a:lnTo>
                        <a:pt x="2729" y="1628"/>
                      </a:lnTo>
                      <a:lnTo>
                        <a:pt x="2739" y="1615"/>
                      </a:lnTo>
                      <a:lnTo>
                        <a:pt x="2739" y="1611"/>
                      </a:lnTo>
                      <a:lnTo>
                        <a:pt x="2738" y="1605"/>
                      </a:lnTo>
                      <a:lnTo>
                        <a:pt x="2738" y="1602"/>
                      </a:lnTo>
                      <a:lnTo>
                        <a:pt x="2738" y="1600"/>
                      </a:lnTo>
                      <a:lnTo>
                        <a:pt x="2739" y="1599"/>
                      </a:lnTo>
                      <a:lnTo>
                        <a:pt x="2741" y="1600"/>
                      </a:lnTo>
                      <a:lnTo>
                        <a:pt x="2751" y="1605"/>
                      </a:lnTo>
                      <a:lnTo>
                        <a:pt x="2763" y="1612"/>
                      </a:lnTo>
                      <a:lnTo>
                        <a:pt x="2771" y="1614"/>
                      </a:lnTo>
                      <a:lnTo>
                        <a:pt x="2776" y="1616"/>
                      </a:lnTo>
                      <a:lnTo>
                        <a:pt x="2782" y="1616"/>
                      </a:lnTo>
                      <a:lnTo>
                        <a:pt x="2786" y="1615"/>
                      </a:lnTo>
                      <a:lnTo>
                        <a:pt x="2783" y="1611"/>
                      </a:lnTo>
                      <a:lnTo>
                        <a:pt x="2774" y="1601"/>
                      </a:lnTo>
                      <a:lnTo>
                        <a:pt x="2762" y="1593"/>
                      </a:lnTo>
                      <a:lnTo>
                        <a:pt x="2755" y="1586"/>
                      </a:lnTo>
                      <a:lnTo>
                        <a:pt x="2746" y="1574"/>
                      </a:lnTo>
                      <a:lnTo>
                        <a:pt x="2739" y="1566"/>
                      </a:lnTo>
                      <a:lnTo>
                        <a:pt x="2735" y="1562"/>
                      </a:lnTo>
                      <a:lnTo>
                        <a:pt x="2729" y="1560"/>
                      </a:lnTo>
                      <a:lnTo>
                        <a:pt x="2722" y="1559"/>
                      </a:lnTo>
                      <a:lnTo>
                        <a:pt x="2712" y="1559"/>
                      </a:lnTo>
                      <a:lnTo>
                        <a:pt x="2704" y="1557"/>
                      </a:lnTo>
                      <a:lnTo>
                        <a:pt x="2694" y="1554"/>
                      </a:lnTo>
                      <a:lnTo>
                        <a:pt x="2686" y="1550"/>
                      </a:lnTo>
                      <a:lnTo>
                        <a:pt x="2678" y="1545"/>
                      </a:lnTo>
                      <a:lnTo>
                        <a:pt x="2669" y="1540"/>
                      </a:lnTo>
                      <a:lnTo>
                        <a:pt x="2660" y="1536"/>
                      </a:lnTo>
                      <a:lnTo>
                        <a:pt x="2651" y="1534"/>
                      </a:lnTo>
                      <a:lnTo>
                        <a:pt x="2641" y="1534"/>
                      </a:lnTo>
                      <a:lnTo>
                        <a:pt x="2632" y="1527"/>
                      </a:lnTo>
                      <a:lnTo>
                        <a:pt x="2617" y="1520"/>
                      </a:lnTo>
                      <a:lnTo>
                        <a:pt x="2604" y="1513"/>
                      </a:lnTo>
                      <a:lnTo>
                        <a:pt x="2597" y="1509"/>
                      </a:lnTo>
                      <a:lnTo>
                        <a:pt x="2592" y="1509"/>
                      </a:lnTo>
                      <a:lnTo>
                        <a:pt x="2592" y="1522"/>
                      </a:lnTo>
                      <a:lnTo>
                        <a:pt x="2590" y="1537"/>
                      </a:lnTo>
                      <a:lnTo>
                        <a:pt x="2588" y="1552"/>
                      </a:lnTo>
                      <a:lnTo>
                        <a:pt x="2588" y="1566"/>
                      </a:lnTo>
                      <a:lnTo>
                        <a:pt x="2588" y="1567"/>
                      </a:lnTo>
                      <a:lnTo>
                        <a:pt x="2600" y="1563"/>
                      </a:lnTo>
                      <a:lnTo>
                        <a:pt x="2618" y="1557"/>
                      </a:lnTo>
                      <a:lnTo>
                        <a:pt x="2627" y="1555"/>
                      </a:lnTo>
                      <a:lnTo>
                        <a:pt x="2634" y="1553"/>
                      </a:lnTo>
                      <a:lnTo>
                        <a:pt x="2638" y="1553"/>
                      </a:lnTo>
                      <a:lnTo>
                        <a:pt x="2640" y="1553"/>
                      </a:lnTo>
                      <a:lnTo>
                        <a:pt x="2641" y="1553"/>
                      </a:lnTo>
                      <a:lnTo>
                        <a:pt x="2641" y="1554"/>
                      </a:lnTo>
                      <a:lnTo>
                        <a:pt x="2641" y="1557"/>
                      </a:lnTo>
                      <a:lnTo>
                        <a:pt x="2640" y="1561"/>
                      </a:lnTo>
                      <a:lnTo>
                        <a:pt x="2639" y="1565"/>
                      </a:lnTo>
                      <a:lnTo>
                        <a:pt x="2637" y="1567"/>
                      </a:lnTo>
                      <a:lnTo>
                        <a:pt x="2632" y="1572"/>
                      </a:lnTo>
                      <a:lnTo>
                        <a:pt x="2626" y="1576"/>
                      </a:lnTo>
                      <a:lnTo>
                        <a:pt x="2620" y="1580"/>
                      </a:lnTo>
                      <a:lnTo>
                        <a:pt x="2614" y="1585"/>
                      </a:lnTo>
                      <a:lnTo>
                        <a:pt x="2611" y="1588"/>
                      </a:lnTo>
                      <a:lnTo>
                        <a:pt x="2607" y="1592"/>
                      </a:lnTo>
                      <a:lnTo>
                        <a:pt x="2606" y="1592"/>
                      </a:lnTo>
                      <a:lnTo>
                        <a:pt x="2605" y="1598"/>
                      </a:lnTo>
                      <a:lnTo>
                        <a:pt x="2605" y="1602"/>
                      </a:lnTo>
                      <a:lnTo>
                        <a:pt x="2605" y="1607"/>
                      </a:lnTo>
                      <a:lnTo>
                        <a:pt x="2606" y="1611"/>
                      </a:lnTo>
                      <a:lnTo>
                        <a:pt x="2607" y="1619"/>
                      </a:lnTo>
                      <a:lnTo>
                        <a:pt x="2608" y="1629"/>
                      </a:lnTo>
                      <a:lnTo>
                        <a:pt x="2607" y="1629"/>
                      </a:lnTo>
                      <a:lnTo>
                        <a:pt x="2605" y="1625"/>
                      </a:lnTo>
                      <a:lnTo>
                        <a:pt x="2600" y="1620"/>
                      </a:lnTo>
                      <a:lnTo>
                        <a:pt x="2594" y="1616"/>
                      </a:lnTo>
                      <a:lnTo>
                        <a:pt x="2587" y="1614"/>
                      </a:lnTo>
                      <a:lnTo>
                        <a:pt x="2580" y="1612"/>
                      </a:lnTo>
                      <a:lnTo>
                        <a:pt x="2573" y="1612"/>
                      </a:lnTo>
                      <a:lnTo>
                        <a:pt x="2567" y="1612"/>
                      </a:lnTo>
                      <a:lnTo>
                        <a:pt x="2563" y="1615"/>
                      </a:lnTo>
                      <a:lnTo>
                        <a:pt x="2555" y="1625"/>
                      </a:lnTo>
                      <a:lnTo>
                        <a:pt x="2545" y="1641"/>
                      </a:lnTo>
                      <a:lnTo>
                        <a:pt x="2540" y="1649"/>
                      </a:lnTo>
                      <a:lnTo>
                        <a:pt x="2534" y="1655"/>
                      </a:lnTo>
                      <a:lnTo>
                        <a:pt x="2532" y="1658"/>
                      </a:lnTo>
                      <a:lnTo>
                        <a:pt x="2530" y="1660"/>
                      </a:lnTo>
                      <a:lnTo>
                        <a:pt x="2527" y="1661"/>
                      </a:lnTo>
                      <a:lnTo>
                        <a:pt x="2525" y="1661"/>
                      </a:lnTo>
                      <a:lnTo>
                        <a:pt x="2519" y="1658"/>
                      </a:lnTo>
                      <a:lnTo>
                        <a:pt x="2514" y="1653"/>
                      </a:lnTo>
                      <a:lnTo>
                        <a:pt x="2510" y="1648"/>
                      </a:lnTo>
                      <a:lnTo>
                        <a:pt x="2505" y="1641"/>
                      </a:lnTo>
                      <a:lnTo>
                        <a:pt x="2498" y="1626"/>
                      </a:lnTo>
                      <a:lnTo>
                        <a:pt x="2490" y="1609"/>
                      </a:lnTo>
                      <a:lnTo>
                        <a:pt x="2483" y="1593"/>
                      </a:lnTo>
                      <a:lnTo>
                        <a:pt x="2476" y="1579"/>
                      </a:lnTo>
                      <a:lnTo>
                        <a:pt x="2471" y="1574"/>
                      </a:lnTo>
                      <a:lnTo>
                        <a:pt x="2467" y="1569"/>
                      </a:lnTo>
                      <a:lnTo>
                        <a:pt x="2463" y="1567"/>
                      </a:lnTo>
                      <a:lnTo>
                        <a:pt x="2457" y="1566"/>
                      </a:lnTo>
                      <a:lnTo>
                        <a:pt x="2459" y="1587"/>
                      </a:lnTo>
                      <a:lnTo>
                        <a:pt x="2463" y="1611"/>
                      </a:lnTo>
                      <a:lnTo>
                        <a:pt x="2464" y="1622"/>
                      </a:lnTo>
                      <a:lnTo>
                        <a:pt x="2464" y="1634"/>
                      </a:lnTo>
                      <a:lnTo>
                        <a:pt x="2463" y="1639"/>
                      </a:lnTo>
                      <a:lnTo>
                        <a:pt x="2461" y="1644"/>
                      </a:lnTo>
                      <a:lnTo>
                        <a:pt x="2460" y="1647"/>
                      </a:lnTo>
                      <a:lnTo>
                        <a:pt x="2458" y="1651"/>
                      </a:lnTo>
                      <a:lnTo>
                        <a:pt x="2450" y="1659"/>
                      </a:lnTo>
                      <a:lnTo>
                        <a:pt x="2439" y="1666"/>
                      </a:lnTo>
                      <a:lnTo>
                        <a:pt x="2429" y="1672"/>
                      </a:lnTo>
                      <a:lnTo>
                        <a:pt x="2416" y="1677"/>
                      </a:lnTo>
                      <a:lnTo>
                        <a:pt x="2405" y="1682"/>
                      </a:lnTo>
                      <a:lnTo>
                        <a:pt x="2394" y="1689"/>
                      </a:lnTo>
                      <a:lnTo>
                        <a:pt x="2391" y="1692"/>
                      </a:lnTo>
                      <a:lnTo>
                        <a:pt x="2387" y="1697"/>
                      </a:lnTo>
                      <a:lnTo>
                        <a:pt x="2385" y="1700"/>
                      </a:lnTo>
                      <a:lnTo>
                        <a:pt x="2383" y="1704"/>
                      </a:lnTo>
                      <a:lnTo>
                        <a:pt x="2382" y="1704"/>
                      </a:lnTo>
                      <a:lnTo>
                        <a:pt x="2377" y="1697"/>
                      </a:lnTo>
                      <a:lnTo>
                        <a:pt x="2370" y="1689"/>
                      </a:lnTo>
                      <a:lnTo>
                        <a:pt x="2367" y="1686"/>
                      </a:lnTo>
                      <a:lnTo>
                        <a:pt x="2364" y="1682"/>
                      </a:lnTo>
                      <a:lnTo>
                        <a:pt x="2363" y="1678"/>
                      </a:lnTo>
                      <a:lnTo>
                        <a:pt x="2362" y="1673"/>
                      </a:lnTo>
                      <a:lnTo>
                        <a:pt x="2363" y="1665"/>
                      </a:lnTo>
                      <a:lnTo>
                        <a:pt x="2364" y="1656"/>
                      </a:lnTo>
                      <a:lnTo>
                        <a:pt x="2364" y="1648"/>
                      </a:lnTo>
                      <a:lnTo>
                        <a:pt x="2363" y="1639"/>
                      </a:lnTo>
                      <a:lnTo>
                        <a:pt x="2358" y="1622"/>
                      </a:lnTo>
                      <a:lnTo>
                        <a:pt x="2353" y="1598"/>
                      </a:lnTo>
                      <a:lnTo>
                        <a:pt x="2350" y="1574"/>
                      </a:lnTo>
                      <a:lnTo>
                        <a:pt x="2346" y="1562"/>
                      </a:lnTo>
                      <a:lnTo>
                        <a:pt x="2336" y="1554"/>
                      </a:lnTo>
                      <a:lnTo>
                        <a:pt x="2323" y="1547"/>
                      </a:lnTo>
                      <a:lnTo>
                        <a:pt x="2310" y="1540"/>
                      </a:lnTo>
                      <a:lnTo>
                        <a:pt x="2299" y="1532"/>
                      </a:lnTo>
                      <a:lnTo>
                        <a:pt x="2292" y="1527"/>
                      </a:lnTo>
                      <a:lnTo>
                        <a:pt x="2284" y="1522"/>
                      </a:lnTo>
                      <a:lnTo>
                        <a:pt x="2275" y="1519"/>
                      </a:lnTo>
                      <a:lnTo>
                        <a:pt x="2266" y="1515"/>
                      </a:lnTo>
                      <a:lnTo>
                        <a:pt x="2258" y="1512"/>
                      </a:lnTo>
                      <a:lnTo>
                        <a:pt x="2253" y="1509"/>
                      </a:lnTo>
                      <a:lnTo>
                        <a:pt x="2251" y="1507"/>
                      </a:lnTo>
                      <a:lnTo>
                        <a:pt x="2250" y="1504"/>
                      </a:lnTo>
                      <a:lnTo>
                        <a:pt x="2250" y="1502"/>
                      </a:lnTo>
                      <a:lnTo>
                        <a:pt x="2251" y="1500"/>
                      </a:lnTo>
                      <a:lnTo>
                        <a:pt x="2260" y="1482"/>
                      </a:lnTo>
                      <a:lnTo>
                        <a:pt x="2268" y="1466"/>
                      </a:lnTo>
                      <a:lnTo>
                        <a:pt x="2271" y="1460"/>
                      </a:lnTo>
                      <a:lnTo>
                        <a:pt x="2275" y="1455"/>
                      </a:lnTo>
                      <a:lnTo>
                        <a:pt x="2279" y="1450"/>
                      </a:lnTo>
                      <a:lnTo>
                        <a:pt x="2284" y="1446"/>
                      </a:lnTo>
                      <a:lnTo>
                        <a:pt x="2295" y="1437"/>
                      </a:lnTo>
                      <a:lnTo>
                        <a:pt x="2305" y="1429"/>
                      </a:lnTo>
                      <a:lnTo>
                        <a:pt x="2316" y="1421"/>
                      </a:lnTo>
                      <a:lnTo>
                        <a:pt x="2324" y="1412"/>
                      </a:lnTo>
                      <a:lnTo>
                        <a:pt x="2326" y="1407"/>
                      </a:lnTo>
                      <a:lnTo>
                        <a:pt x="2329" y="1402"/>
                      </a:lnTo>
                      <a:lnTo>
                        <a:pt x="2331" y="1396"/>
                      </a:lnTo>
                      <a:lnTo>
                        <a:pt x="2331" y="1389"/>
                      </a:lnTo>
                      <a:lnTo>
                        <a:pt x="2333" y="1389"/>
                      </a:lnTo>
                      <a:lnTo>
                        <a:pt x="2335" y="1390"/>
                      </a:lnTo>
                      <a:lnTo>
                        <a:pt x="2343" y="1394"/>
                      </a:lnTo>
                      <a:lnTo>
                        <a:pt x="2356" y="1403"/>
                      </a:lnTo>
                      <a:lnTo>
                        <a:pt x="2372" y="1414"/>
                      </a:lnTo>
                      <a:lnTo>
                        <a:pt x="2384" y="1420"/>
                      </a:lnTo>
                      <a:lnTo>
                        <a:pt x="2399" y="1424"/>
                      </a:lnTo>
                      <a:lnTo>
                        <a:pt x="2417" y="1431"/>
                      </a:lnTo>
                      <a:lnTo>
                        <a:pt x="2434" y="1438"/>
                      </a:lnTo>
                      <a:lnTo>
                        <a:pt x="2449" y="1447"/>
                      </a:lnTo>
                      <a:lnTo>
                        <a:pt x="2472" y="1461"/>
                      </a:lnTo>
                      <a:lnTo>
                        <a:pt x="2506" y="1480"/>
                      </a:lnTo>
                      <a:lnTo>
                        <a:pt x="2523" y="1490"/>
                      </a:lnTo>
                      <a:lnTo>
                        <a:pt x="2538" y="1500"/>
                      </a:lnTo>
                      <a:lnTo>
                        <a:pt x="2544" y="1506"/>
                      </a:lnTo>
                      <a:lnTo>
                        <a:pt x="2548" y="1510"/>
                      </a:lnTo>
                      <a:lnTo>
                        <a:pt x="2552" y="1514"/>
                      </a:lnTo>
                      <a:lnTo>
                        <a:pt x="2554" y="1519"/>
                      </a:lnTo>
                      <a:lnTo>
                        <a:pt x="2557" y="1517"/>
                      </a:lnTo>
                      <a:lnTo>
                        <a:pt x="2558" y="1516"/>
                      </a:lnTo>
                      <a:lnTo>
                        <a:pt x="2558" y="1501"/>
                      </a:lnTo>
                      <a:lnTo>
                        <a:pt x="2557" y="1489"/>
                      </a:lnTo>
                      <a:lnTo>
                        <a:pt x="2553" y="1479"/>
                      </a:lnTo>
                      <a:lnTo>
                        <a:pt x="2550" y="1470"/>
                      </a:lnTo>
                      <a:lnTo>
                        <a:pt x="2544" y="1463"/>
                      </a:lnTo>
                      <a:lnTo>
                        <a:pt x="2535" y="1456"/>
                      </a:lnTo>
                      <a:lnTo>
                        <a:pt x="2526" y="1448"/>
                      </a:lnTo>
                      <a:lnTo>
                        <a:pt x="2514" y="1438"/>
                      </a:lnTo>
                      <a:lnTo>
                        <a:pt x="2492" y="1418"/>
                      </a:lnTo>
                      <a:lnTo>
                        <a:pt x="2472" y="1398"/>
                      </a:lnTo>
                      <a:lnTo>
                        <a:pt x="2461" y="1388"/>
                      </a:lnTo>
                      <a:lnTo>
                        <a:pt x="2451" y="1378"/>
                      </a:lnTo>
                      <a:lnTo>
                        <a:pt x="2439" y="1371"/>
                      </a:lnTo>
                      <a:lnTo>
                        <a:pt x="2425" y="1364"/>
                      </a:lnTo>
                      <a:lnTo>
                        <a:pt x="2417" y="1362"/>
                      </a:lnTo>
                      <a:lnTo>
                        <a:pt x="2407" y="1361"/>
                      </a:lnTo>
                      <a:lnTo>
                        <a:pt x="2399" y="1359"/>
                      </a:lnTo>
                      <a:lnTo>
                        <a:pt x="2392" y="1359"/>
                      </a:lnTo>
                      <a:lnTo>
                        <a:pt x="2384" y="1359"/>
                      </a:lnTo>
                      <a:lnTo>
                        <a:pt x="2376" y="1358"/>
                      </a:lnTo>
                      <a:lnTo>
                        <a:pt x="2366" y="1356"/>
                      </a:lnTo>
                      <a:lnTo>
                        <a:pt x="2358" y="1351"/>
                      </a:lnTo>
                      <a:lnTo>
                        <a:pt x="2336" y="1339"/>
                      </a:lnTo>
                      <a:lnTo>
                        <a:pt x="2318" y="1330"/>
                      </a:lnTo>
                      <a:lnTo>
                        <a:pt x="2309" y="1328"/>
                      </a:lnTo>
                      <a:lnTo>
                        <a:pt x="2298" y="1325"/>
                      </a:lnTo>
                      <a:lnTo>
                        <a:pt x="2285" y="1324"/>
                      </a:lnTo>
                      <a:lnTo>
                        <a:pt x="2271" y="1323"/>
                      </a:lnTo>
                      <a:lnTo>
                        <a:pt x="2263" y="1323"/>
                      </a:lnTo>
                      <a:lnTo>
                        <a:pt x="2258" y="1324"/>
                      </a:lnTo>
                      <a:lnTo>
                        <a:pt x="2255" y="1325"/>
                      </a:lnTo>
                      <a:lnTo>
                        <a:pt x="2252" y="1326"/>
                      </a:lnTo>
                      <a:lnTo>
                        <a:pt x="2249" y="1330"/>
                      </a:lnTo>
                      <a:lnTo>
                        <a:pt x="2240" y="1334"/>
                      </a:lnTo>
                      <a:lnTo>
                        <a:pt x="2240" y="1344"/>
                      </a:lnTo>
                      <a:lnTo>
                        <a:pt x="2239" y="1352"/>
                      </a:lnTo>
                      <a:lnTo>
                        <a:pt x="2237" y="1361"/>
                      </a:lnTo>
                      <a:lnTo>
                        <a:pt x="2233" y="1368"/>
                      </a:lnTo>
                      <a:lnTo>
                        <a:pt x="2229" y="1374"/>
                      </a:lnTo>
                      <a:lnTo>
                        <a:pt x="2222" y="1378"/>
                      </a:lnTo>
                      <a:lnTo>
                        <a:pt x="2215" y="1383"/>
                      </a:lnTo>
                      <a:lnTo>
                        <a:pt x="2205" y="1388"/>
                      </a:lnTo>
                      <a:lnTo>
                        <a:pt x="2202" y="1388"/>
                      </a:lnTo>
                      <a:lnTo>
                        <a:pt x="2198" y="1389"/>
                      </a:lnTo>
                      <a:lnTo>
                        <a:pt x="2195" y="1388"/>
                      </a:lnTo>
                      <a:lnTo>
                        <a:pt x="2191" y="1388"/>
                      </a:lnTo>
                      <a:lnTo>
                        <a:pt x="2184" y="1384"/>
                      </a:lnTo>
                      <a:lnTo>
                        <a:pt x="2178" y="1379"/>
                      </a:lnTo>
                      <a:lnTo>
                        <a:pt x="2172" y="1375"/>
                      </a:lnTo>
                      <a:lnTo>
                        <a:pt x="2168" y="1370"/>
                      </a:lnTo>
                      <a:lnTo>
                        <a:pt x="2161" y="1367"/>
                      </a:lnTo>
                      <a:lnTo>
                        <a:pt x="2155" y="1365"/>
                      </a:lnTo>
                      <a:lnTo>
                        <a:pt x="2149" y="1365"/>
                      </a:lnTo>
                      <a:lnTo>
                        <a:pt x="2143" y="1367"/>
                      </a:lnTo>
                      <a:lnTo>
                        <a:pt x="2137" y="1368"/>
                      </a:lnTo>
                      <a:lnTo>
                        <a:pt x="2132" y="1370"/>
                      </a:lnTo>
                      <a:lnTo>
                        <a:pt x="2124" y="1375"/>
                      </a:lnTo>
                      <a:lnTo>
                        <a:pt x="2116" y="1377"/>
                      </a:lnTo>
                      <a:lnTo>
                        <a:pt x="2118" y="1367"/>
                      </a:lnTo>
                      <a:lnTo>
                        <a:pt x="2126" y="1346"/>
                      </a:lnTo>
                      <a:lnTo>
                        <a:pt x="2135" y="1328"/>
                      </a:lnTo>
                      <a:lnTo>
                        <a:pt x="2139" y="1316"/>
                      </a:lnTo>
                      <a:lnTo>
                        <a:pt x="2142" y="1312"/>
                      </a:lnTo>
                      <a:lnTo>
                        <a:pt x="2142" y="1309"/>
                      </a:lnTo>
                      <a:lnTo>
                        <a:pt x="2142" y="1305"/>
                      </a:lnTo>
                      <a:lnTo>
                        <a:pt x="2142" y="1301"/>
                      </a:lnTo>
                      <a:lnTo>
                        <a:pt x="2139" y="1292"/>
                      </a:lnTo>
                      <a:lnTo>
                        <a:pt x="2137" y="1284"/>
                      </a:lnTo>
                      <a:lnTo>
                        <a:pt x="2134" y="1276"/>
                      </a:lnTo>
                      <a:lnTo>
                        <a:pt x="2132" y="1269"/>
                      </a:lnTo>
                      <a:lnTo>
                        <a:pt x="2132" y="1265"/>
                      </a:lnTo>
                      <a:lnTo>
                        <a:pt x="2134" y="1262"/>
                      </a:lnTo>
                      <a:lnTo>
                        <a:pt x="2135" y="1259"/>
                      </a:lnTo>
                      <a:lnTo>
                        <a:pt x="2137" y="1258"/>
                      </a:lnTo>
                      <a:lnTo>
                        <a:pt x="2143" y="1256"/>
                      </a:lnTo>
                      <a:lnTo>
                        <a:pt x="2149" y="1255"/>
                      </a:lnTo>
                      <a:lnTo>
                        <a:pt x="2156" y="1256"/>
                      </a:lnTo>
                      <a:lnTo>
                        <a:pt x="2162" y="1257"/>
                      </a:lnTo>
                      <a:lnTo>
                        <a:pt x="2176" y="1264"/>
                      </a:lnTo>
                      <a:lnTo>
                        <a:pt x="2190" y="1273"/>
                      </a:lnTo>
                      <a:lnTo>
                        <a:pt x="2205" y="1284"/>
                      </a:lnTo>
                      <a:lnTo>
                        <a:pt x="2219" y="1293"/>
                      </a:lnTo>
                      <a:lnTo>
                        <a:pt x="2226" y="1298"/>
                      </a:lnTo>
                      <a:lnTo>
                        <a:pt x="2233" y="1301"/>
                      </a:lnTo>
                      <a:lnTo>
                        <a:pt x="2240" y="1303"/>
                      </a:lnTo>
                      <a:lnTo>
                        <a:pt x="2246" y="1303"/>
                      </a:lnTo>
                      <a:lnTo>
                        <a:pt x="2248" y="1303"/>
                      </a:lnTo>
                      <a:lnTo>
                        <a:pt x="2248" y="1302"/>
                      </a:lnTo>
                      <a:lnTo>
                        <a:pt x="2249" y="1301"/>
                      </a:lnTo>
                      <a:lnTo>
                        <a:pt x="2248" y="1290"/>
                      </a:lnTo>
                      <a:lnTo>
                        <a:pt x="2246" y="1279"/>
                      </a:lnTo>
                      <a:lnTo>
                        <a:pt x="2244" y="1276"/>
                      </a:lnTo>
                      <a:lnTo>
                        <a:pt x="2244" y="1271"/>
                      </a:lnTo>
                      <a:lnTo>
                        <a:pt x="2243" y="1257"/>
                      </a:lnTo>
                      <a:lnTo>
                        <a:pt x="2240" y="1244"/>
                      </a:lnTo>
                      <a:lnTo>
                        <a:pt x="2238" y="1233"/>
                      </a:lnTo>
                      <a:lnTo>
                        <a:pt x="2233" y="1225"/>
                      </a:lnTo>
                      <a:lnTo>
                        <a:pt x="2228" y="1218"/>
                      </a:lnTo>
                      <a:lnTo>
                        <a:pt x="2222" y="1212"/>
                      </a:lnTo>
                      <a:lnTo>
                        <a:pt x="2215" y="1207"/>
                      </a:lnTo>
                      <a:lnTo>
                        <a:pt x="2206" y="1204"/>
                      </a:lnTo>
                      <a:lnTo>
                        <a:pt x="2197" y="1203"/>
                      </a:lnTo>
                      <a:lnTo>
                        <a:pt x="2189" y="1203"/>
                      </a:lnTo>
                      <a:lnTo>
                        <a:pt x="2179" y="1204"/>
                      </a:lnTo>
                      <a:lnTo>
                        <a:pt x="2169" y="1205"/>
                      </a:lnTo>
                      <a:lnTo>
                        <a:pt x="2159" y="1209"/>
                      </a:lnTo>
                      <a:lnTo>
                        <a:pt x="2149" y="1213"/>
                      </a:lnTo>
                      <a:lnTo>
                        <a:pt x="2139" y="1218"/>
                      </a:lnTo>
                      <a:lnTo>
                        <a:pt x="2129" y="1224"/>
                      </a:lnTo>
                      <a:lnTo>
                        <a:pt x="2125" y="1229"/>
                      </a:lnTo>
                      <a:lnTo>
                        <a:pt x="2123" y="1235"/>
                      </a:lnTo>
                      <a:lnTo>
                        <a:pt x="2122" y="1242"/>
                      </a:lnTo>
                      <a:lnTo>
                        <a:pt x="2121" y="1250"/>
                      </a:lnTo>
                      <a:lnTo>
                        <a:pt x="2121" y="1257"/>
                      </a:lnTo>
                      <a:lnTo>
                        <a:pt x="2119" y="1263"/>
                      </a:lnTo>
                      <a:lnTo>
                        <a:pt x="2118" y="1266"/>
                      </a:lnTo>
                      <a:lnTo>
                        <a:pt x="2117" y="1266"/>
                      </a:lnTo>
                      <a:lnTo>
                        <a:pt x="2112" y="1264"/>
                      </a:lnTo>
                      <a:lnTo>
                        <a:pt x="2105" y="1262"/>
                      </a:lnTo>
                      <a:lnTo>
                        <a:pt x="2102" y="1260"/>
                      </a:lnTo>
                      <a:lnTo>
                        <a:pt x="2098" y="1260"/>
                      </a:lnTo>
                      <a:lnTo>
                        <a:pt x="2096" y="1260"/>
                      </a:lnTo>
                      <a:lnTo>
                        <a:pt x="2092" y="1263"/>
                      </a:lnTo>
                      <a:lnTo>
                        <a:pt x="2087" y="1266"/>
                      </a:lnTo>
                      <a:lnTo>
                        <a:pt x="2077" y="1271"/>
                      </a:lnTo>
                      <a:lnTo>
                        <a:pt x="2067" y="1275"/>
                      </a:lnTo>
                      <a:lnTo>
                        <a:pt x="2060" y="1276"/>
                      </a:lnTo>
                      <a:lnTo>
                        <a:pt x="2052" y="1275"/>
                      </a:lnTo>
                      <a:lnTo>
                        <a:pt x="2047" y="1273"/>
                      </a:lnTo>
                      <a:lnTo>
                        <a:pt x="2041" y="1270"/>
                      </a:lnTo>
                      <a:lnTo>
                        <a:pt x="2037" y="1268"/>
                      </a:lnTo>
                      <a:lnTo>
                        <a:pt x="2035" y="1263"/>
                      </a:lnTo>
                      <a:lnTo>
                        <a:pt x="2032" y="1259"/>
                      </a:lnTo>
                      <a:lnTo>
                        <a:pt x="2031" y="1255"/>
                      </a:lnTo>
                      <a:lnTo>
                        <a:pt x="2031" y="1249"/>
                      </a:lnTo>
                      <a:lnTo>
                        <a:pt x="2032" y="1238"/>
                      </a:lnTo>
                      <a:lnTo>
                        <a:pt x="2036" y="1227"/>
                      </a:lnTo>
                      <a:lnTo>
                        <a:pt x="2041" y="1218"/>
                      </a:lnTo>
                      <a:lnTo>
                        <a:pt x="2045" y="1209"/>
                      </a:lnTo>
                      <a:lnTo>
                        <a:pt x="2051" y="1198"/>
                      </a:lnTo>
                      <a:lnTo>
                        <a:pt x="2055" y="1189"/>
                      </a:lnTo>
                      <a:lnTo>
                        <a:pt x="2057" y="1179"/>
                      </a:lnTo>
                      <a:lnTo>
                        <a:pt x="2058" y="1171"/>
                      </a:lnTo>
                      <a:lnTo>
                        <a:pt x="2058" y="1163"/>
                      </a:lnTo>
                      <a:lnTo>
                        <a:pt x="2056" y="1156"/>
                      </a:lnTo>
                      <a:lnTo>
                        <a:pt x="2054" y="1147"/>
                      </a:lnTo>
                      <a:lnTo>
                        <a:pt x="2050" y="1141"/>
                      </a:lnTo>
                      <a:lnTo>
                        <a:pt x="2040" y="1127"/>
                      </a:lnTo>
                      <a:lnTo>
                        <a:pt x="2028" y="1115"/>
                      </a:lnTo>
                      <a:lnTo>
                        <a:pt x="2014" y="1103"/>
                      </a:lnTo>
                      <a:lnTo>
                        <a:pt x="2000" y="1090"/>
                      </a:lnTo>
                      <a:lnTo>
                        <a:pt x="1991" y="1081"/>
                      </a:lnTo>
                      <a:lnTo>
                        <a:pt x="1985" y="1075"/>
                      </a:lnTo>
                      <a:lnTo>
                        <a:pt x="1983" y="1071"/>
                      </a:lnTo>
                      <a:lnTo>
                        <a:pt x="1983" y="1066"/>
                      </a:lnTo>
                      <a:lnTo>
                        <a:pt x="1985" y="1055"/>
                      </a:lnTo>
                      <a:lnTo>
                        <a:pt x="1988" y="1035"/>
                      </a:lnTo>
                      <a:lnTo>
                        <a:pt x="1988" y="1029"/>
                      </a:lnTo>
                      <a:lnTo>
                        <a:pt x="1990" y="1025"/>
                      </a:lnTo>
                      <a:lnTo>
                        <a:pt x="1993" y="1020"/>
                      </a:lnTo>
                      <a:lnTo>
                        <a:pt x="1997" y="1018"/>
                      </a:lnTo>
                      <a:lnTo>
                        <a:pt x="2002" y="1014"/>
                      </a:lnTo>
                      <a:lnTo>
                        <a:pt x="2008" y="1013"/>
                      </a:lnTo>
                      <a:lnTo>
                        <a:pt x="2014" y="1012"/>
                      </a:lnTo>
                      <a:lnTo>
                        <a:pt x="2020" y="1012"/>
                      </a:lnTo>
                      <a:lnTo>
                        <a:pt x="2034" y="1012"/>
                      </a:lnTo>
                      <a:lnTo>
                        <a:pt x="2047" y="1014"/>
                      </a:lnTo>
                      <a:lnTo>
                        <a:pt x="2058" y="1018"/>
                      </a:lnTo>
                      <a:lnTo>
                        <a:pt x="2068" y="1021"/>
                      </a:lnTo>
                      <a:lnTo>
                        <a:pt x="2072" y="1024"/>
                      </a:lnTo>
                      <a:lnTo>
                        <a:pt x="2076" y="1024"/>
                      </a:lnTo>
                      <a:lnTo>
                        <a:pt x="2078" y="1024"/>
                      </a:lnTo>
                      <a:lnTo>
                        <a:pt x="2081" y="1022"/>
                      </a:lnTo>
                      <a:lnTo>
                        <a:pt x="2082" y="1016"/>
                      </a:lnTo>
                      <a:lnTo>
                        <a:pt x="2082" y="1007"/>
                      </a:lnTo>
                      <a:lnTo>
                        <a:pt x="2079" y="998"/>
                      </a:lnTo>
                      <a:lnTo>
                        <a:pt x="2079" y="987"/>
                      </a:lnTo>
                      <a:lnTo>
                        <a:pt x="2079" y="981"/>
                      </a:lnTo>
                      <a:lnTo>
                        <a:pt x="2079" y="976"/>
                      </a:lnTo>
                      <a:lnTo>
                        <a:pt x="2081" y="972"/>
                      </a:lnTo>
                      <a:lnTo>
                        <a:pt x="2083" y="968"/>
                      </a:lnTo>
                      <a:lnTo>
                        <a:pt x="2088" y="960"/>
                      </a:lnTo>
                      <a:lnTo>
                        <a:pt x="2090" y="953"/>
                      </a:lnTo>
                      <a:lnTo>
                        <a:pt x="2090" y="948"/>
                      </a:lnTo>
                      <a:lnTo>
                        <a:pt x="2088" y="943"/>
                      </a:lnTo>
                      <a:lnTo>
                        <a:pt x="2084" y="940"/>
                      </a:lnTo>
                      <a:lnTo>
                        <a:pt x="2081" y="938"/>
                      </a:lnTo>
                      <a:lnTo>
                        <a:pt x="2075" y="935"/>
                      </a:lnTo>
                      <a:lnTo>
                        <a:pt x="2070" y="934"/>
                      </a:lnTo>
                      <a:lnTo>
                        <a:pt x="2061" y="932"/>
                      </a:lnTo>
                      <a:lnTo>
                        <a:pt x="2054" y="928"/>
                      </a:lnTo>
                      <a:lnTo>
                        <a:pt x="2054" y="926"/>
                      </a:lnTo>
                      <a:lnTo>
                        <a:pt x="2055" y="922"/>
                      </a:lnTo>
                      <a:lnTo>
                        <a:pt x="2058" y="919"/>
                      </a:lnTo>
                      <a:lnTo>
                        <a:pt x="2064" y="913"/>
                      </a:lnTo>
                      <a:lnTo>
                        <a:pt x="2071" y="908"/>
                      </a:lnTo>
                      <a:lnTo>
                        <a:pt x="2077" y="903"/>
                      </a:lnTo>
                      <a:lnTo>
                        <a:pt x="2079" y="899"/>
                      </a:lnTo>
                      <a:lnTo>
                        <a:pt x="2081" y="895"/>
                      </a:lnTo>
                      <a:lnTo>
                        <a:pt x="2079" y="892"/>
                      </a:lnTo>
                      <a:lnTo>
                        <a:pt x="2077" y="888"/>
                      </a:lnTo>
                      <a:lnTo>
                        <a:pt x="2071" y="884"/>
                      </a:lnTo>
                      <a:lnTo>
                        <a:pt x="2063" y="880"/>
                      </a:lnTo>
                      <a:lnTo>
                        <a:pt x="2050" y="874"/>
                      </a:lnTo>
                      <a:lnTo>
                        <a:pt x="2030" y="864"/>
                      </a:lnTo>
                      <a:lnTo>
                        <a:pt x="2022" y="860"/>
                      </a:lnTo>
                      <a:lnTo>
                        <a:pt x="2016" y="856"/>
                      </a:lnTo>
                      <a:lnTo>
                        <a:pt x="2015" y="855"/>
                      </a:lnTo>
                      <a:lnTo>
                        <a:pt x="2016" y="854"/>
                      </a:lnTo>
                      <a:lnTo>
                        <a:pt x="2017" y="853"/>
                      </a:lnTo>
                      <a:lnTo>
                        <a:pt x="2021" y="853"/>
                      </a:lnTo>
                      <a:lnTo>
                        <a:pt x="2035" y="853"/>
                      </a:lnTo>
                      <a:lnTo>
                        <a:pt x="2051" y="853"/>
                      </a:lnTo>
                      <a:lnTo>
                        <a:pt x="2069" y="854"/>
                      </a:lnTo>
                      <a:lnTo>
                        <a:pt x="2081" y="856"/>
                      </a:lnTo>
                      <a:lnTo>
                        <a:pt x="2095" y="866"/>
                      </a:lnTo>
                      <a:lnTo>
                        <a:pt x="2109" y="879"/>
                      </a:lnTo>
                      <a:lnTo>
                        <a:pt x="2112" y="881"/>
                      </a:lnTo>
                      <a:lnTo>
                        <a:pt x="2116" y="882"/>
                      </a:lnTo>
                      <a:lnTo>
                        <a:pt x="2118" y="883"/>
                      </a:lnTo>
                      <a:lnTo>
                        <a:pt x="2122" y="882"/>
                      </a:lnTo>
                      <a:lnTo>
                        <a:pt x="2124" y="881"/>
                      </a:lnTo>
                      <a:lnTo>
                        <a:pt x="2128" y="877"/>
                      </a:lnTo>
                      <a:lnTo>
                        <a:pt x="2129" y="874"/>
                      </a:lnTo>
                      <a:lnTo>
                        <a:pt x="2131" y="867"/>
                      </a:lnTo>
                      <a:lnTo>
                        <a:pt x="2132" y="857"/>
                      </a:lnTo>
                      <a:lnTo>
                        <a:pt x="2132" y="846"/>
                      </a:lnTo>
                      <a:lnTo>
                        <a:pt x="2131" y="834"/>
                      </a:lnTo>
                      <a:lnTo>
                        <a:pt x="2130" y="824"/>
                      </a:lnTo>
                      <a:lnTo>
                        <a:pt x="2129" y="817"/>
                      </a:lnTo>
                      <a:lnTo>
                        <a:pt x="2130" y="815"/>
                      </a:lnTo>
                      <a:lnTo>
                        <a:pt x="2134" y="817"/>
                      </a:lnTo>
                      <a:lnTo>
                        <a:pt x="2139" y="827"/>
                      </a:lnTo>
                      <a:lnTo>
                        <a:pt x="2144" y="835"/>
                      </a:lnTo>
                      <a:lnTo>
                        <a:pt x="2148" y="843"/>
                      </a:lnTo>
                      <a:lnTo>
                        <a:pt x="2151" y="853"/>
                      </a:lnTo>
                      <a:lnTo>
                        <a:pt x="2154" y="863"/>
                      </a:lnTo>
                      <a:lnTo>
                        <a:pt x="2156" y="884"/>
                      </a:lnTo>
                      <a:lnTo>
                        <a:pt x="2158" y="906"/>
                      </a:lnTo>
                      <a:lnTo>
                        <a:pt x="2162" y="927"/>
                      </a:lnTo>
                      <a:lnTo>
                        <a:pt x="2166" y="946"/>
                      </a:lnTo>
                      <a:lnTo>
                        <a:pt x="2170" y="955"/>
                      </a:lnTo>
                      <a:lnTo>
                        <a:pt x="2175" y="962"/>
                      </a:lnTo>
                      <a:lnTo>
                        <a:pt x="2179" y="969"/>
                      </a:lnTo>
                      <a:lnTo>
                        <a:pt x="2186" y="975"/>
                      </a:lnTo>
                      <a:lnTo>
                        <a:pt x="2195" y="982"/>
                      </a:lnTo>
                      <a:lnTo>
                        <a:pt x="2201" y="988"/>
                      </a:lnTo>
                      <a:lnTo>
                        <a:pt x="2206" y="993"/>
                      </a:lnTo>
                      <a:lnTo>
                        <a:pt x="2211" y="999"/>
                      </a:lnTo>
                      <a:lnTo>
                        <a:pt x="2213" y="1004"/>
                      </a:lnTo>
                      <a:lnTo>
                        <a:pt x="2216" y="1009"/>
                      </a:lnTo>
                      <a:lnTo>
                        <a:pt x="2218" y="1014"/>
                      </a:lnTo>
                      <a:lnTo>
                        <a:pt x="2219" y="1019"/>
                      </a:lnTo>
                      <a:lnTo>
                        <a:pt x="2221" y="1041"/>
                      </a:lnTo>
                      <a:lnTo>
                        <a:pt x="2225" y="1073"/>
                      </a:lnTo>
                      <a:lnTo>
                        <a:pt x="2228" y="1078"/>
                      </a:lnTo>
                      <a:lnTo>
                        <a:pt x="2231" y="1082"/>
                      </a:lnTo>
                      <a:lnTo>
                        <a:pt x="2236" y="1085"/>
                      </a:lnTo>
                      <a:lnTo>
                        <a:pt x="2240" y="1087"/>
                      </a:lnTo>
                      <a:lnTo>
                        <a:pt x="2245" y="1087"/>
                      </a:lnTo>
                      <a:lnTo>
                        <a:pt x="2249" y="1086"/>
                      </a:lnTo>
                      <a:lnTo>
                        <a:pt x="2253" y="1082"/>
                      </a:lnTo>
                      <a:lnTo>
                        <a:pt x="2256" y="1078"/>
                      </a:lnTo>
                      <a:lnTo>
                        <a:pt x="2266" y="1107"/>
                      </a:lnTo>
                      <a:lnTo>
                        <a:pt x="2279" y="1141"/>
                      </a:lnTo>
                      <a:lnTo>
                        <a:pt x="2285" y="1159"/>
                      </a:lnTo>
                      <a:lnTo>
                        <a:pt x="2289" y="1174"/>
                      </a:lnTo>
                      <a:lnTo>
                        <a:pt x="2289" y="1183"/>
                      </a:lnTo>
                      <a:lnTo>
                        <a:pt x="2288" y="1190"/>
                      </a:lnTo>
                      <a:lnTo>
                        <a:pt x="2286" y="1196"/>
                      </a:lnTo>
                      <a:lnTo>
                        <a:pt x="2283" y="1202"/>
                      </a:lnTo>
                      <a:lnTo>
                        <a:pt x="2280" y="1206"/>
                      </a:lnTo>
                      <a:lnTo>
                        <a:pt x="2278" y="1210"/>
                      </a:lnTo>
                      <a:lnTo>
                        <a:pt x="2277" y="1213"/>
                      </a:lnTo>
                      <a:lnTo>
                        <a:pt x="2277" y="1216"/>
                      </a:lnTo>
                      <a:lnTo>
                        <a:pt x="2278" y="1223"/>
                      </a:lnTo>
                      <a:lnTo>
                        <a:pt x="2279" y="1235"/>
                      </a:lnTo>
                      <a:lnTo>
                        <a:pt x="2279" y="1239"/>
                      </a:lnTo>
                      <a:lnTo>
                        <a:pt x="2280" y="1243"/>
                      </a:lnTo>
                      <a:lnTo>
                        <a:pt x="2282" y="1246"/>
                      </a:lnTo>
                      <a:lnTo>
                        <a:pt x="2284" y="1250"/>
                      </a:lnTo>
                      <a:lnTo>
                        <a:pt x="2290" y="1255"/>
                      </a:lnTo>
                      <a:lnTo>
                        <a:pt x="2297" y="1258"/>
                      </a:lnTo>
                      <a:lnTo>
                        <a:pt x="2305" y="1259"/>
                      </a:lnTo>
                      <a:lnTo>
                        <a:pt x="2313" y="1260"/>
                      </a:lnTo>
                      <a:lnTo>
                        <a:pt x="2320" y="1259"/>
                      </a:lnTo>
                      <a:lnTo>
                        <a:pt x="2327" y="1257"/>
                      </a:lnTo>
                      <a:lnTo>
                        <a:pt x="2335" y="1252"/>
                      </a:lnTo>
                      <a:lnTo>
                        <a:pt x="2340" y="1246"/>
                      </a:lnTo>
                      <a:lnTo>
                        <a:pt x="2344" y="1239"/>
                      </a:lnTo>
                      <a:lnTo>
                        <a:pt x="2347" y="1230"/>
                      </a:lnTo>
                      <a:lnTo>
                        <a:pt x="2349" y="1222"/>
                      </a:lnTo>
                      <a:lnTo>
                        <a:pt x="2349" y="1212"/>
                      </a:lnTo>
                      <a:lnTo>
                        <a:pt x="2347" y="1204"/>
                      </a:lnTo>
                      <a:lnTo>
                        <a:pt x="2345" y="1196"/>
                      </a:lnTo>
                      <a:lnTo>
                        <a:pt x="2336" y="1173"/>
                      </a:lnTo>
                      <a:lnTo>
                        <a:pt x="2324" y="1148"/>
                      </a:lnTo>
                      <a:lnTo>
                        <a:pt x="2310" y="1124"/>
                      </a:lnTo>
                      <a:lnTo>
                        <a:pt x="2297" y="1103"/>
                      </a:lnTo>
                      <a:lnTo>
                        <a:pt x="2288" y="1082"/>
                      </a:lnTo>
                      <a:lnTo>
                        <a:pt x="2279" y="1062"/>
                      </a:lnTo>
                      <a:lnTo>
                        <a:pt x="2271" y="1041"/>
                      </a:lnTo>
                      <a:lnTo>
                        <a:pt x="2264" y="1021"/>
                      </a:lnTo>
                      <a:lnTo>
                        <a:pt x="2258" y="1000"/>
                      </a:lnTo>
                      <a:lnTo>
                        <a:pt x="2251" y="979"/>
                      </a:lnTo>
                      <a:lnTo>
                        <a:pt x="2243" y="959"/>
                      </a:lnTo>
                      <a:lnTo>
                        <a:pt x="2235" y="939"/>
                      </a:lnTo>
                      <a:lnTo>
                        <a:pt x="2229" y="925"/>
                      </a:lnTo>
                      <a:lnTo>
                        <a:pt x="2224" y="910"/>
                      </a:lnTo>
                      <a:lnTo>
                        <a:pt x="2219" y="896"/>
                      </a:lnTo>
                      <a:lnTo>
                        <a:pt x="2217" y="881"/>
                      </a:lnTo>
                      <a:lnTo>
                        <a:pt x="2211" y="849"/>
                      </a:lnTo>
                      <a:lnTo>
                        <a:pt x="2208" y="817"/>
                      </a:lnTo>
                      <a:lnTo>
                        <a:pt x="2203" y="785"/>
                      </a:lnTo>
                      <a:lnTo>
                        <a:pt x="2197" y="755"/>
                      </a:lnTo>
                      <a:lnTo>
                        <a:pt x="2193" y="741"/>
                      </a:lnTo>
                      <a:lnTo>
                        <a:pt x="2189" y="727"/>
                      </a:lnTo>
                      <a:lnTo>
                        <a:pt x="2184" y="712"/>
                      </a:lnTo>
                      <a:lnTo>
                        <a:pt x="2178" y="699"/>
                      </a:lnTo>
                      <a:lnTo>
                        <a:pt x="2163" y="498"/>
                      </a:lnTo>
                      <a:lnTo>
                        <a:pt x="2162" y="493"/>
                      </a:lnTo>
                      <a:lnTo>
                        <a:pt x="2161" y="491"/>
                      </a:lnTo>
                      <a:lnTo>
                        <a:pt x="2159" y="488"/>
                      </a:lnTo>
                      <a:lnTo>
                        <a:pt x="2157" y="486"/>
                      </a:lnTo>
                      <a:lnTo>
                        <a:pt x="2151" y="484"/>
                      </a:lnTo>
                      <a:lnTo>
                        <a:pt x="2145" y="483"/>
                      </a:lnTo>
                      <a:lnTo>
                        <a:pt x="2130" y="481"/>
                      </a:lnTo>
                      <a:lnTo>
                        <a:pt x="2115" y="478"/>
                      </a:lnTo>
                      <a:lnTo>
                        <a:pt x="2109" y="475"/>
                      </a:lnTo>
                      <a:lnTo>
                        <a:pt x="2105" y="475"/>
                      </a:lnTo>
                      <a:lnTo>
                        <a:pt x="2103" y="478"/>
                      </a:lnTo>
                      <a:lnTo>
                        <a:pt x="2103" y="481"/>
                      </a:lnTo>
                      <a:lnTo>
                        <a:pt x="2105" y="491"/>
                      </a:lnTo>
                      <a:lnTo>
                        <a:pt x="2110" y="504"/>
                      </a:lnTo>
                      <a:lnTo>
                        <a:pt x="2125" y="531"/>
                      </a:lnTo>
                      <a:lnTo>
                        <a:pt x="2135" y="546"/>
                      </a:lnTo>
                      <a:lnTo>
                        <a:pt x="2138" y="553"/>
                      </a:lnTo>
                      <a:lnTo>
                        <a:pt x="2139" y="559"/>
                      </a:lnTo>
                      <a:lnTo>
                        <a:pt x="2139" y="563"/>
                      </a:lnTo>
                      <a:lnTo>
                        <a:pt x="2139" y="565"/>
                      </a:lnTo>
                      <a:lnTo>
                        <a:pt x="2137" y="565"/>
                      </a:lnTo>
                      <a:lnTo>
                        <a:pt x="2135" y="564"/>
                      </a:lnTo>
                      <a:lnTo>
                        <a:pt x="2131" y="562"/>
                      </a:lnTo>
                      <a:lnTo>
                        <a:pt x="2126" y="558"/>
                      </a:lnTo>
                      <a:lnTo>
                        <a:pt x="2108" y="539"/>
                      </a:lnTo>
                      <a:lnTo>
                        <a:pt x="2092" y="525"/>
                      </a:lnTo>
                      <a:lnTo>
                        <a:pt x="2091" y="525"/>
                      </a:lnTo>
                      <a:lnTo>
                        <a:pt x="2090" y="526"/>
                      </a:lnTo>
                      <a:lnTo>
                        <a:pt x="2090" y="529"/>
                      </a:lnTo>
                      <a:lnTo>
                        <a:pt x="2090" y="532"/>
                      </a:lnTo>
                      <a:lnTo>
                        <a:pt x="2090" y="540"/>
                      </a:lnTo>
                      <a:lnTo>
                        <a:pt x="2092" y="552"/>
                      </a:lnTo>
                      <a:lnTo>
                        <a:pt x="2097" y="574"/>
                      </a:lnTo>
                      <a:lnTo>
                        <a:pt x="2101" y="587"/>
                      </a:lnTo>
                      <a:lnTo>
                        <a:pt x="2104" y="604"/>
                      </a:lnTo>
                      <a:lnTo>
                        <a:pt x="2105" y="616"/>
                      </a:lnTo>
                      <a:lnTo>
                        <a:pt x="2098" y="611"/>
                      </a:lnTo>
                      <a:lnTo>
                        <a:pt x="2091" y="607"/>
                      </a:lnTo>
                      <a:lnTo>
                        <a:pt x="2083" y="605"/>
                      </a:lnTo>
                      <a:lnTo>
                        <a:pt x="2076" y="604"/>
                      </a:lnTo>
                      <a:lnTo>
                        <a:pt x="2060" y="603"/>
                      </a:lnTo>
                      <a:lnTo>
                        <a:pt x="2041" y="603"/>
                      </a:lnTo>
                      <a:lnTo>
                        <a:pt x="2024" y="603"/>
                      </a:lnTo>
                      <a:lnTo>
                        <a:pt x="2010" y="602"/>
                      </a:lnTo>
                      <a:lnTo>
                        <a:pt x="1997" y="599"/>
                      </a:lnTo>
                      <a:lnTo>
                        <a:pt x="1985" y="596"/>
                      </a:lnTo>
                      <a:lnTo>
                        <a:pt x="1974" y="592"/>
                      </a:lnTo>
                      <a:lnTo>
                        <a:pt x="1964" y="587"/>
                      </a:lnTo>
                      <a:lnTo>
                        <a:pt x="1955" y="582"/>
                      </a:lnTo>
                      <a:lnTo>
                        <a:pt x="1946" y="576"/>
                      </a:lnTo>
                      <a:lnTo>
                        <a:pt x="1911" y="545"/>
                      </a:lnTo>
                      <a:lnTo>
                        <a:pt x="1870" y="508"/>
                      </a:lnTo>
                      <a:lnTo>
                        <a:pt x="1868" y="506"/>
                      </a:lnTo>
                      <a:lnTo>
                        <a:pt x="1867" y="504"/>
                      </a:lnTo>
                      <a:lnTo>
                        <a:pt x="1866" y="503"/>
                      </a:lnTo>
                      <a:lnTo>
                        <a:pt x="1867" y="501"/>
                      </a:lnTo>
                      <a:lnTo>
                        <a:pt x="1870" y="499"/>
                      </a:lnTo>
                      <a:lnTo>
                        <a:pt x="1876" y="498"/>
                      </a:lnTo>
                      <a:lnTo>
                        <a:pt x="1891" y="497"/>
                      </a:lnTo>
                      <a:lnTo>
                        <a:pt x="1903" y="496"/>
                      </a:lnTo>
                      <a:lnTo>
                        <a:pt x="1914" y="491"/>
                      </a:lnTo>
                      <a:lnTo>
                        <a:pt x="1927" y="484"/>
                      </a:lnTo>
                      <a:lnTo>
                        <a:pt x="1940" y="475"/>
                      </a:lnTo>
                      <a:lnTo>
                        <a:pt x="1953" y="466"/>
                      </a:lnTo>
                      <a:lnTo>
                        <a:pt x="1964" y="457"/>
                      </a:lnTo>
                      <a:lnTo>
                        <a:pt x="1975" y="446"/>
                      </a:lnTo>
                      <a:lnTo>
                        <a:pt x="1978" y="440"/>
                      </a:lnTo>
                      <a:lnTo>
                        <a:pt x="1982" y="434"/>
                      </a:lnTo>
                      <a:lnTo>
                        <a:pt x="1984" y="428"/>
                      </a:lnTo>
                      <a:lnTo>
                        <a:pt x="1985" y="424"/>
                      </a:lnTo>
                      <a:lnTo>
                        <a:pt x="1987" y="417"/>
                      </a:lnTo>
                      <a:lnTo>
                        <a:pt x="1988" y="412"/>
                      </a:lnTo>
                      <a:lnTo>
                        <a:pt x="1990" y="408"/>
                      </a:lnTo>
                      <a:lnTo>
                        <a:pt x="1993" y="406"/>
                      </a:lnTo>
                      <a:lnTo>
                        <a:pt x="1995" y="404"/>
                      </a:lnTo>
                      <a:lnTo>
                        <a:pt x="1997" y="404"/>
                      </a:lnTo>
                      <a:lnTo>
                        <a:pt x="2000" y="402"/>
                      </a:lnTo>
                      <a:lnTo>
                        <a:pt x="2003" y="404"/>
                      </a:lnTo>
                      <a:lnTo>
                        <a:pt x="2010" y="405"/>
                      </a:lnTo>
                      <a:lnTo>
                        <a:pt x="2017" y="407"/>
                      </a:lnTo>
                      <a:lnTo>
                        <a:pt x="2025" y="408"/>
                      </a:lnTo>
                      <a:lnTo>
                        <a:pt x="2034" y="407"/>
                      </a:lnTo>
                      <a:lnTo>
                        <a:pt x="2047" y="399"/>
                      </a:lnTo>
                      <a:lnTo>
                        <a:pt x="2062" y="387"/>
                      </a:lnTo>
                      <a:lnTo>
                        <a:pt x="2076" y="376"/>
                      </a:lnTo>
                      <a:lnTo>
                        <a:pt x="2083" y="373"/>
                      </a:lnTo>
                      <a:lnTo>
                        <a:pt x="2085" y="379"/>
                      </a:lnTo>
                      <a:lnTo>
                        <a:pt x="2089" y="386"/>
                      </a:lnTo>
                      <a:lnTo>
                        <a:pt x="2091" y="394"/>
                      </a:lnTo>
                      <a:lnTo>
                        <a:pt x="2092" y="401"/>
                      </a:lnTo>
                      <a:lnTo>
                        <a:pt x="2091" y="409"/>
                      </a:lnTo>
                      <a:lnTo>
                        <a:pt x="2090" y="417"/>
                      </a:lnTo>
                      <a:lnTo>
                        <a:pt x="2088" y="425"/>
                      </a:lnTo>
                      <a:lnTo>
                        <a:pt x="2083" y="431"/>
                      </a:lnTo>
                      <a:lnTo>
                        <a:pt x="2077" y="438"/>
                      </a:lnTo>
                      <a:lnTo>
                        <a:pt x="2072" y="444"/>
                      </a:lnTo>
                      <a:lnTo>
                        <a:pt x="2070" y="448"/>
                      </a:lnTo>
                      <a:lnTo>
                        <a:pt x="2069" y="453"/>
                      </a:lnTo>
                      <a:lnTo>
                        <a:pt x="2070" y="454"/>
                      </a:lnTo>
                      <a:lnTo>
                        <a:pt x="2071" y="455"/>
                      </a:lnTo>
                      <a:lnTo>
                        <a:pt x="2072" y="455"/>
                      </a:lnTo>
                      <a:lnTo>
                        <a:pt x="2075" y="455"/>
                      </a:lnTo>
                      <a:lnTo>
                        <a:pt x="2082" y="454"/>
                      </a:lnTo>
                      <a:lnTo>
                        <a:pt x="2092" y="452"/>
                      </a:lnTo>
                      <a:lnTo>
                        <a:pt x="2101" y="450"/>
                      </a:lnTo>
                      <a:lnTo>
                        <a:pt x="2108" y="447"/>
                      </a:lnTo>
                      <a:lnTo>
                        <a:pt x="2115" y="447"/>
                      </a:lnTo>
                      <a:lnTo>
                        <a:pt x="2122" y="447"/>
                      </a:lnTo>
                      <a:lnTo>
                        <a:pt x="2135" y="447"/>
                      </a:lnTo>
                      <a:lnTo>
                        <a:pt x="2149" y="448"/>
                      </a:lnTo>
                      <a:lnTo>
                        <a:pt x="2146" y="426"/>
                      </a:lnTo>
                      <a:lnTo>
                        <a:pt x="2144" y="414"/>
                      </a:lnTo>
                      <a:lnTo>
                        <a:pt x="2143" y="401"/>
                      </a:lnTo>
                      <a:lnTo>
                        <a:pt x="2142" y="386"/>
                      </a:lnTo>
                      <a:lnTo>
                        <a:pt x="2139" y="372"/>
                      </a:lnTo>
                      <a:lnTo>
                        <a:pt x="2138" y="356"/>
                      </a:lnTo>
                      <a:lnTo>
                        <a:pt x="2137" y="341"/>
                      </a:lnTo>
                      <a:lnTo>
                        <a:pt x="2136" y="326"/>
                      </a:lnTo>
                      <a:lnTo>
                        <a:pt x="2134" y="310"/>
                      </a:lnTo>
                      <a:lnTo>
                        <a:pt x="2130" y="295"/>
                      </a:lnTo>
                      <a:lnTo>
                        <a:pt x="2126" y="280"/>
                      </a:lnTo>
                      <a:lnTo>
                        <a:pt x="2123" y="266"/>
                      </a:lnTo>
                      <a:lnTo>
                        <a:pt x="2119" y="250"/>
                      </a:lnTo>
                      <a:lnTo>
                        <a:pt x="2117" y="236"/>
                      </a:lnTo>
                      <a:lnTo>
                        <a:pt x="2116" y="221"/>
                      </a:lnTo>
                      <a:lnTo>
                        <a:pt x="2118" y="191"/>
                      </a:lnTo>
                      <a:lnTo>
                        <a:pt x="2121" y="163"/>
                      </a:lnTo>
                      <a:lnTo>
                        <a:pt x="2124" y="134"/>
                      </a:lnTo>
                      <a:lnTo>
                        <a:pt x="2126" y="104"/>
                      </a:lnTo>
                      <a:lnTo>
                        <a:pt x="2126" y="104"/>
                      </a:lnTo>
                      <a:lnTo>
                        <a:pt x="2085" y="118"/>
                      </a:lnTo>
                      <a:lnTo>
                        <a:pt x="2085" y="118"/>
                      </a:lnTo>
                      <a:lnTo>
                        <a:pt x="2087" y="122"/>
                      </a:lnTo>
                      <a:lnTo>
                        <a:pt x="2089" y="125"/>
                      </a:lnTo>
                      <a:lnTo>
                        <a:pt x="2091" y="128"/>
                      </a:lnTo>
                      <a:lnTo>
                        <a:pt x="2095" y="130"/>
                      </a:lnTo>
                      <a:lnTo>
                        <a:pt x="2098" y="132"/>
                      </a:lnTo>
                      <a:lnTo>
                        <a:pt x="2099" y="135"/>
                      </a:lnTo>
                      <a:lnTo>
                        <a:pt x="2101" y="140"/>
                      </a:lnTo>
                      <a:lnTo>
                        <a:pt x="2101" y="144"/>
                      </a:lnTo>
                      <a:lnTo>
                        <a:pt x="2097" y="155"/>
                      </a:lnTo>
                      <a:lnTo>
                        <a:pt x="2092" y="167"/>
                      </a:lnTo>
                      <a:lnTo>
                        <a:pt x="2079" y="190"/>
                      </a:lnTo>
                      <a:lnTo>
                        <a:pt x="2071" y="207"/>
                      </a:lnTo>
                      <a:lnTo>
                        <a:pt x="2068" y="206"/>
                      </a:lnTo>
                      <a:lnTo>
                        <a:pt x="2063" y="204"/>
                      </a:lnTo>
                      <a:lnTo>
                        <a:pt x="2061" y="202"/>
                      </a:lnTo>
                      <a:lnTo>
                        <a:pt x="2058" y="198"/>
                      </a:lnTo>
                      <a:lnTo>
                        <a:pt x="2054" y="190"/>
                      </a:lnTo>
                      <a:lnTo>
                        <a:pt x="2052" y="181"/>
                      </a:lnTo>
                      <a:lnTo>
                        <a:pt x="2051" y="169"/>
                      </a:lnTo>
                      <a:lnTo>
                        <a:pt x="2052" y="158"/>
                      </a:lnTo>
                      <a:lnTo>
                        <a:pt x="2054" y="149"/>
                      </a:lnTo>
                      <a:lnTo>
                        <a:pt x="2055" y="141"/>
                      </a:lnTo>
                      <a:lnTo>
                        <a:pt x="2057" y="136"/>
                      </a:lnTo>
                      <a:lnTo>
                        <a:pt x="2060" y="128"/>
                      </a:lnTo>
                      <a:lnTo>
                        <a:pt x="2060" y="128"/>
                      </a:lnTo>
                      <a:lnTo>
                        <a:pt x="1983" y="189"/>
                      </a:lnTo>
                      <a:lnTo>
                        <a:pt x="1975" y="189"/>
                      </a:lnTo>
                      <a:lnTo>
                        <a:pt x="1973" y="188"/>
                      </a:lnTo>
                      <a:lnTo>
                        <a:pt x="1946" y="170"/>
                      </a:lnTo>
                      <a:lnTo>
                        <a:pt x="1914" y="150"/>
                      </a:lnTo>
                      <a:lnTo>
                        <a:pt x="1898" y="140"/>
                      </a:lnTo>
                      <a:lnTo>
                        <a:pt x="1883" y="129"/>
                      </a:lnTo>
                      <a:lnTo>
                        <a:pt x="1877" y="123"/>
                      </a:lnTo>
                      <a:lnTo>
                        <a:pt x="1871" y="117"/>
                      </a:lnTo>
                      <a:lnTo>
                        <a:pt x="1867" y="111"/>
                      </a:lnTo>
                      <a:lnTo>
                        <a:pt x="1862" y="105"/>
                      </a:lnTo>
                      <a:lnTo>
                        <a:pt x="1850" y="97"/>
                      </a:lnTo>
                      <a:lnTo>
                        <a:pt x="1835" y="84"/>
                      </a:lnTo>
                      <a:lnTo>
                        <a:pt x="1820" y="71"/>
                      </a:lnTo>
                      <a:lnTo>
                        <a:pt x="1812" y="59"/>
                      </a:lnTo>
                      <a:lnTo>
                        <a:pt x="1799" y="51"/>
                      </a:lnTo>
                      <a:lnTo>
                        <a:pt x="1786" y="44"/>
                      </a:lnTo>
                      <a:lnTo>
                        <a:pt x="1772" y="33"/>
                      </a:lnTo>
                      <a:lnTo>
                        <a:pt x="1757" y="24"/>
                      </a:lnTo>
                      <a:lnTo>
                        <a:pt x="1750" y="22"/>
                      </a:lnTo>
                      <a:lnTo>
                        <a:pt x="1743" y="18"/>
                      </a:lnTo>
                      <a:lnTo>
                        <a:pt x="1728" y="16"/>
                      </a:lnTo>
                      <a:lnTo>
                        <a:pt x="1714" y="11"/>
                      </a:lnTo>
                      <a:lnTo>
                        <a:pt x="1699" y="6"/>
                      </a:lnTo>
                      <a:lnTo>
                        <a:pt x="1683" y="3"/>
                      </a:lnTo>
                      <a:lnTo>
                        <a:pt x="1662" y="2"/>
                      </a:lnTo>
                      <a:lnTo>
                        <a:pt x="1639" y="0"/>
                      </a:lnTo>
                      <a:lnTo>
                        <a:pt x="1627" y="2"/>
                      </a:lnTo>
                      <a:lnTo>
                        <a:pt x="1616" y="3"/>
                      </a:lnTo>
                      <a:lnTo>
                        <a:pt x="1606" y="4"/>
                      </a:lnTo>
                      <a:lnTo>
                        <a:pt x="1595" y="8"/>
                      </a:lnTo>
                      <a:lnTo>
                        <a:pt x="1586" y="11"/>
                      </a:lnTo>
                      <a:lnTo>
                        <a:pt x="1575" y="15"/>
                      </a:lnTo>
                      <a:lnTo>
                        <a:pt x="1566" y="18"/>
                      </a:lnTo>
                      <a:lnTo>
                        <a:pt x="1555" y="22"/>
                      </a:lnTo>
                      <a:lnTo>
                        <a:pt x="1549" y="25"/>
                      </a:lnTo>
                      <a:lnTo>
                        <a:pt x="1544" y="29"/>
                      </a:lnTo>
                      <a:lnTo>
                        <a:pt x="1538" y="33"/>
                      </a:lnTo>
                      <a:lnTo>
                        <a:pt x="1533" y="38"/>
                      </a:lnTo>
                      <a:lnTo>
                        <a:pt x="1522" y="48"/>
                      </a:lnTo>
                      <a:lnTo>
                        <a:pt x="1512" y="57"/>
                      </a:lnTo>
                      <a:lnTo>
                        <a:pt x="1508" y="61"/>
                      </a:lnTo>
                      <a:lnTo>
                        <a:pt x="1505" y="64"/>
                      </a:lnTo>
                      <a:lnTo>
                        <a:pt x="1502" y="66"/>
                      </a:lnTo>
                      <a:lnTo>
                        <a:pt x="1493" y="69"/>
                      </a:lnTo>
                      <a:lnTo>
                        <a:pt x="1482" y="74"/>
                      </a:lnTo>
                      <a:lnTo>
                        <a:pt x="1473" y="78"/>
                      </a:lnTo>
                      <a:lnTo>
                        <a:pt x="1462" y="84"/>
                      </a:lnTo>
                      <a:lnTo>
                        <a:pt x="1441" y="96"/>
                      </a:lnTo>
                      <a:lnTo>
                        <a:pt x="1421" y="104"/>
                      </a:lnTo>
                      <a:lnTo>
                        <a:pt x="1379" y="121"/>
                      </a:lnTo>
                      <a:lnTo>
                        <a:pt x="1336" y="136"/>
                      </a:lnTo>
                      <a:lnTo>
                        <a:pt x="1313" y="143"/>
                      </a:lnTo>
                      <a:lnTo>
                        <a:pt x="1291" y="150"/>
                      </a:lnTo>
                      <a:lnTo>
                        <a:pt x="1269" y="155"/>
                      </a:lnTo>
                      <a:lnTo>
                        <a:pt x="1246" y="160"/>
                      </a:lnTo>
                      <a:lnTo>
                        <a:pt x="1207" y="165"/>
                      </a:lnTo>
                      <a:lnTo>
                        <a:pt x="1160" y="173"/>
                      </a:lnTo>
                      <a:lnTo>
                        <a:pt x="1136" y="176"/>
                      </a:lnTo>
                      <a:lnTo>
                        <a:pt x="1115" y="183"/>
                      </a:lnTo>
                      <a:lnTo>
                        <a:pt x="1104" y="187"/>
                      </a:lnTo>
                      <a:lnTo>
                        <a:pt x="1095" y="190"/>
                      </a:lnTo>
                      <a:lnTo>
                        <a:pt x="1086" y="195"/>
                      </a:lnTo>
                      <a:lnTo>
                        <a:pt x="1081" y="201"/>
                      </a:lnTo>
                      <a:lnTo>
                        <a:pt x="1072" y="202"/>
                      </a:lnTo>
                      <a:lnTo>
                        <a:pt x="1064" y="206"/>
                      </a:lnTo>
                      <a:lnTo>
                        <a:pt x="1057" y="209"/>
                      </a:lnTo>
                      <a:lnTo>
                        <a:pt x="1050" y="215"/>
                      </a:lnTo>
                      <a:lnTo>
                        <a:pt x="1035" y="229"/>
                      </a:lnTo>
                      <a:lnTo>
                        <a:pt x="1022" y="244"/>
                      </a:lnTo>
                      <a:lnTo>
                        <a:pt x="997" y="279"/>
                      </a:lnTo>
                      <a:lnTo>
                        <a:pt x="978" y="307"/>
                      </a:lnTo>
                      <a:lnTo>
                        <a:pt x="970" y="318"/>
                      </a:lnTo>
                      <a:lnTo>
                        <a:pt x="963" y="329"/>
                      </a:lnTo>
                      <a:lnTo>
                        <a:pt x="957" y="341"/>
                      </a:lnTo>
                      <a:lnTo>
                        <a:pt x="952" y="353"/>
                      </a:lnTo>
                      <a:lnTo>
                        <a:pt x="944" y="378"/>
                      </a:lnTo>
                      <a:lnTo>
                        <a:pt x="938" y="404"/>
                      </a:lnTo>
                      <a:lnTo>
                        <a:pt x="934" y="429"/>
                      </a:lnTo>
                      <a:lnTo>
                        <a:pt x="929" y="455"/>
                      </a:lnTo>
                      <a:lnTo>
                        <a:pt x="925" y="481"/>
                      </a:lnTo>
                      <a:lnTo>
                        <a:pt x="920" y="507"/>
                      </a:lnTo>
                      <a:lnTo>
                        <a:pt x="916" y="513"/>
                      </a:lnTo>
                      <a:lnTo>
                        <a:pt x="912" y="519"/>
                      </a:lnTo>
                      <a:lnTo>
                        <a:pt x="908" y="525"/>
                      </a:lnTo>
                      <a:lnTo>
                        <a:pt x="903" y="529"/>
                      </a:lnTo>
                      <a:lnTo>
                        <a:pt x="897" y="532"/>
                      </a:lnTo>
                      <a:lnTo>
                        <a:pt x="891" y="534"/>
                      </a:lnTo>
                      <a:lnTo>
                        <a:pt x="885" y="537"/>
                      </a:lnTo>
                      <a:lnTo>
                        <a:pt x="878" y="538"/>
                      </a:lnTo>
                      <a:lnTo>
                        <a:pt x="864" y="539"/>
                      </a:lnTo>
                      <a:lnTo>
                        <a:pt x="849" y="539"/>
                      </a:lnTo>
                      <a:lnTo>
                        <a:pt x="833" y="536"/>
                      </a:lnTo>
                      <a:lnTo>
                        <a:pt x="815" y="532"/>
                      </a:lnTo>
                      <a:lnTo>
                        <a:pt x="781" y="521"/>
                      </a:lnTo>
                      <a:lnTo>
                        <a:pt x="746" y="510"/>
                      </a:lnTo>
                      <a:lnTo>
                        <a:pt x="730" y="504"/>
                      </a:lnTo>
                      <a:lnTo>
                        <a:pt x="715" y="499"/>
                      </a:lnTo>
                      <a:lnTo>
                        <a:pt x="701" y="494"/>
                      </a:lnTo>
                      <a:lnTo>
                        <a:pt x="688" y="492"/>
                      </a:lnTo>
                      <a:lnTo>
                        <a:pt x="672" y="487"/>
                      </a:lnTo>
                      <a:lnTo>
                        <a:pt x="654" y="481"/>
                      </a:lnTo>
                      <a:lnTo>
                        <a:pt x="637" y="474"/>
                      </a:lnTo>
                      <a:lnTo>
                        <a:pt x="621" y="468"/>
                      </a:lnTo>
                      <a:lnTo>
                        <a:pt x="603" y="463"/>
                      </a:lnTo>
                      <a:lnTo>
                        <a:pt x="587" y="459"/>
                      </a:lnTo>
                      <a:lnTo>
                        <a:pt x="578" y="458"/>
                      </a:lnTo>
                      <a:lnTo>
                        <a:pt x="568" y="458"/>
                      </a:lnTo>
                      <a:lnTo>
                        <a:pt x="560" y="459"/>
                      </a:lnTo>
                      <a:lnTo>
                        <a:pt x="550" y="461"/>
                      </a:lnTo>
                      <a:lnTo>
                        <a:pt x="523" y="471"/>
                      </a:lnTo>
                      <a:lnTo>
                        <a:pt x="486" y="487"/>
                      </a:lnTo>
                      <a:lnTo>
                        <a:pt x="467" y="497"/>
                      </a:lnTo>
                      <a:lnTo>
                        <a:pt x="451" y="506"/>
                      </a:lnTo>
                      <a:lnTo>
                        <a:pt x="438" y="514"/>
                      </a:lnTo>
                      <a:lnTo>
                        <a:pt x="429" y="521"/>
                      </a:lnTo>
                      <a:lnTo>
                        <a:pt x="419" y="525"/>
                      </a:lnTo>
                      <a:lnTo>
                        <a:pt x="408" y="530"/>
                      </a:lnTo>
                      <a:lnTo>
                        <a:pt x="398" y="537"/>
                      </a:lnTo>
                      <a:lnTo>
                        <a:pt x="386" y="545"/>
                      </a:lnTo>
                      <a:lnTo>
                        <a:pt x="375" y="556"/>
                      </a:lnTo>
                      <a:lnTo>
                        <a:pt x="365" y="566"/>
                      </a:lnTo>
                      <a:lnTo>
                        <a:pt x="354" y="579"/>
                      </a:lnTo>
                      <a:lnTo>
                        <a:pt x="345" y="591"/>
                      </a:lnTo>
                      <a:lnTo>
                        <a:pt x="335" y="605"/>
                      </a:lnTo>
                      <a:lnTo>
                        <a:pt x="327" y="618"/>
                      </a:lnTo>
                      <a:lnTo>
                        <a:pt x="319" y="632"/>
                      </a:lnTo>
                      <a:lnTo>
                        <a:pt x="313" y="646"/>
                      </a:lnTo>
                      <a:lnTo>
                        <a:pt x="308" y="659"/>
                      </a:lnTo>
                      <a:lnTo>
                        <a:pt x="305" y="671"/>
                      </a:lnTo>
                      <a:lnTo>
                        <a:pt x="303" y="683"/>
                      </a:lnTo>
                      <a:lnTo>
                        <a:pt x="303" y="694"/>
                      </a:lnTo>
                      <a:lnTo>
                        <a:pt x="320" y="1025"/>
                      </a:lnTo>
                      <a:lnTo>
                        <a:pt x="313" y="1026"/>
                      </a:lnTo>
                      <a:lnTo>
                        <a:pt x="305" y="1025"/>
                      </a:lnTo>
                      <a:lnTo>
                        <a:pt x="301" y="1024"/>
                      </a:lnTo>
                      <a:lnTo>
                        <a:pt x="298" y="1021"/>
                      </a:lnTo>
                      <a:lnTo>
                        <a:pt x="295" y="1019"/>
                      </a:lnTo>
                      <a:lnTo>
                        <a:pt x="293" y="1016"/>
                      </a:lnTo>
                      <a:lnTo>
                        <a:pt x="284" y="1014"/>
                      </a:lnTo>
                      <a:lnTo>
                        <a:pt x="275" y="1011"/>
                      </a:lnTo>
                      <a:lnTo>
                        <a:pt x="266" y="1006"/>
                      </a:lnTo>
                      <a:lnTo>
                        <a:pt x="258" y="1001"/>
                      </a:lnTo>
                      <a:lnTo>
                        <a:pt x="240" y="992"/>
                      </a:lnTo>
                      <a:lnTo>
                        <a:pt x="223" y="985"/>
                      </a:lnTo>
                      <a:lnTo>
                        <a:pt x="190" y="975"/>
                      </a:lnTo>
                      <a:lnTo>
                        <a:pt x="157" y="968"/>
                      </a:lnTo>
                      <a:lnTo>
                        <a:pt x="141" y="966"/>
                      </a:lnTo>
                      <a:lnTo>
                        <a:pt x="125" y="963"/>
                      </a:lnTo>
                      <a:lnTo>
                        <a:pt x="107" y="962"/>
                      </a:lnTo>
                      <a:lnTo>
                        <a:pt x="90" y="962"/>
                      </a:lnTo>
                      <a:lnTo>
                        <a:pt x="76" y="962"/>
                      </a:lnTo>
                      <a:lnTo>
                        <a:pt x="62" y="965"/>
                      </a:lnTo>
                      <a:lnTo>
                        <a:pt x="50" y="967"/>
                      </a:lnTo>
                      <a:lnTo>
                        <a:pt x="39" y="971"/>
                      </a:lnTo>
                      <a:lnTo>
                        <a:pt x="29" y="974"/>
                      </a:lnTo>
                      <a:lnTo>
                        <a:pt x="19" y="979"/>
                      </a:lnTo>
                      <a:lnTo>
                        <a:pt x="10" y="985"/>
                      </a:lnTo>
                      <a:lnTo>
                        <a:pt x="0" y="992"/>
                      </a:lnTo>
                      <a:lnTo>
                        <a:pt x="0" y="992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2" name="Freeform 50">
                  <a:extLst>
                    <a:ext uri="{FF2B5EF4-FFF2-40B4-BE49-F238E27FC236}">
                      <a16:creationId xmlns:a16="http://schemas.microsoft.com/office/drawing/2014/main" id="{ACC24451-A2E9-49AE-9799-54548C7F8D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31130" y="3305680"/>
                  <a:ext cx="1138352" cy="566248"/>
                </a:xfrm>
                <a:custGeom>
                  <a:avLst/>
                  <a:gdLst>
                    <a:gd name="T0" fmla="*/ 4181 w 4642"/>
                    <a:gd name="T1" fmla="*/ 738 h 2309"/>
                    <a:gd name="T2" fmla="*/ 4048 w 4642"/>
                    <a:gd name="T3" fmla="*/ 887 h 2309"/>
                    <a:gd name="T4" fmla="*/ 4018 w 4642"/>
                    <a:gd name="T5" fmla="*/ 958 h 2309"/>
                    <a:gd name="T6" fmla="*/ 4027 w 4642"/>
                    <a:gd name="T7" fmla="*/ 1046 h 2309"/>
                    <a:gd name="T8" fmla="*/ 4088 w 4642"/>
                    <a:gd name="T9" fmla="*/ 1105 h 2309"/>
                    <a:gd name="T10" fmla="*/ 4267 w 4642"/>
                    <a:gd name="T11" fmla="*/ 1191 h 2309"/>
                    <a:gd name="T12" fmla="*/ 4351 w 4642"/>
                    <a:gd name="T13" fmla="*/ 1250 h 2309"/>
                    <a:gd name="T14" fmla="*/ 4481 w 4642"/>
                    <a:gd name="T15" fmla="*/ 1257 h 2309"/>
                    <a:gd name="T16" fmla="*/ 4642 w 4642"/>
                    <a:gd name="T17" fmla="*/ 1209 h 2309"/>
                    <a:gd name="T18" fmla="*/ 2653 w 4642"/>
                    <a:gd name="T19" fmla="*/ 2064 h 2309"/>
                    <a:gd name="T20" fmla="*/ 2511 w 4642"/>
                    <a:gd name="T21" fmla="*/ 2091 h 2309"/>
                    <a:gd name="T22" fmla="*/ 2454 w 4642"/>
                    <a:gd name="T23" fmla="*/ 2110 h 2309"/>
                    <a:gd name="T24" fmla="*/ 2422 w 4642"/>
                    <a:gd name="T25" fmla="*/ 2137 h 2309"/>
                    <a:gd name="T26" fmla="*/ 2324 w 4642"/>
                    <a:gd name="T27" fmla="*/ 2141 h 2309"/>
                    <a:gd name="T28" fmla="*/ 2311 w 4642"/>
                    <a:gd name="T29" fmla="*/ 2126 h 2309"/>
                    <a:gd name="T30" fmla="*/ 2306 w 4642"/>
                    <a:gd name="T31" fmla="*/ 2099 h 2309"/>
                    <a:gd name="T32" fmla="*/ 1576 w 4642"/>
                    <a:gd name="T33" fmla="*/ 2055 h 2309"/>
                    <a:gd name="T34" fmla="*/ 1572 w 4642"/>
                    <a:gd name="T35" fmla="*/ 2060 h 2309"/>
                    <a:gd name="T36" fmla="*/ 1583 w 4642"/>
                    <a:gd name="T37" fmla="*/ 2114 h 2309"/>
                    <a:gd name="T38" fmla="*/ 1568 w 4642"/>
                    <a:gd name="T39" fmla="*/ 2138 h 2309"/>
                    <a:gd name="T40" fmla="*/ 1525 w 4642"/>
                    <a:gd name="T41" fmla="*/ 2159 h 2309"/>
                    <a:gd name="T42" fmla="*/ 1529 w 4642"/>
                    <a:gd name="T43" fmla="*/ 2198 h 2309"/>
                    <a:gd name="T44" fmla="*/ 1528 w 4642"/>
                    <a:gd name="T45" fmla="*/ 2246 h 2309"/>
                    <a:gd name="T46" fmla="*/ 1517 w 4642"/>
                    <a:gd name="T47" fmla="*/ 2264 h 2309"/>
                    <a:gd name="T48" fmla="*/ 1442 w 4642"/>
                    <a:gd name="T49" fmla="*/ 2271 h 2309"/>
                    <a:gd name="T50" fmla="*/ 1365 w 4642"/>
                    <a:gd name="T51" fmla="*/ 2291 h 2309"/>
                    <a:gd name="T52" fmla="*/ 1273 w 4642"/>
                    <a:gd name="T53" fmla="*/ 2051 h 2309"/>
                    <a:gd name="T54" fmla="*/ 96 w 4642"/>
                    <a:gd name="T55" fmla="*/ 1908 h 2309"/>
                    <a:gd name="T56" fmla="*/ 42 w 4642"/>
                    <a:gd name="T57" fmla="*/ 1738 h 2309"/>
                    <a:gd name="T58" fmla="*/ 0 w 4642"/>
                    <a:gd name="T59" fmla="*/ 1597 h 2309"/>
                    <a:gd name="T60" fmla="*/ 17 w 4642"/>
                    <a:gd name="T61" fmla="*/ 1557 h 2309"/>
                    <a:gd name="T62" fmla="*/ 74 w 4642"/>
                    <a:gd name="T63" fmla="*/ 1500 h 2309"/>
                    <a:gd name="T64" fmla="*/ 63 w 4642"/>
                    <a:gd name="T65" fmla="*/ 1444 h 2309"/>
                    <a:gd name="T66" fmla="*/ 42 w 4642"/>
                    <a:gd name="T67" fmla="*/ 1351 h 2309"/>
                    <a:gd name="T68" fmla="*/ 88 w 4642"/>
                    <a:gd name="T69" fmla="*/ 1316 h 2309"/>
                    <a:gd name="T70" fmla="*/ 157 w 4642"/>
                    <a:gd name="T71" fmla="*/ 1332 h 2309"/>
                    <a:gd name="T72" fmla="*/ 365 w 4642"/>
                    <a:gd name="T73" fmla="*/ 235 h 2309"/>
                    <a:gd name="T74" fmla="*/ 904 w 4642"/>
                    <a:gd name="T75" fmla="*/ 46 h 2309"/>
                    <a:gd name="T76" fmla="*/ 940 w 4642"/>
                    <a:gd name="T77" fmla="*/ 89 h 2309"/>
                    <a:gd name="T78" fmla="*/ 1305 w 4642"/>
                    <a:gd name="T79" fmla="*/ 716 h 2309"/>
                    <a:gd name="T80" fmla="*/ 1667 w 4642"/>
                    <a:gd name="T81" fmla="*/ 999 h 2309"/>
                    <a:gd name="T82" fmla="*/ 2012 w 4642"/>
                    <a:gd name="T83" fmla="*/ 793 h 2309"/>
                    <a:gd name="T84" fmla="*/ 2145 w 4642"/>
                    <a:gd name="T85" fmla="*/ 593 h 2309"/>
                    <a:gd name="T86" fmla="*/ 2187 w 4642"/>
                    <a:gd name="T87" fmla="*/ 478 h 2309"/>
                    <a:gd name="T88" fmla="*/ 2263 w 4642"/>
                    <a:gd name="T89" fmla="*/ 408 h 2309"/>
                    <a:gd name="T90" fmla="*/ 2327 w 4642"/>
                    <a:gd name="T91" fmla="*/ 397 h 2309"/>
                    <a:gd name="T92" fmla="*/ 2361 w 4642"/>
                    <a:gd name="T93" fmla="*/ 441 h 2309"/>
                    <a:gd name="T94" fmla="*/ 2346 w 4642"/>
                    <a:gd name="T95" fmla="*/ 524 h 2309"/>
                    <a:gd name="T96" fmla="*/ 2247 w 4642"/>
                    <a:gd name="T97" fmla="*/ 657 h 2309"/>
                    <a:gd name="T98" fmla="*/ 2253 w 4642"/>
                    <a:gd name="T99" fmla="*/ 752 h 2309"/>
                    <a:gd name="T100" fmla="*/ 3325 w 4642"/>
                    <a:gd name="T101" fmla="*/ 745 h 2309"/>
                    <a:gd name="T102" fmla="*/ 3527 w 4642"/>
                    <a:gd name="T103" fmla="*/ 937 h 2309"/>
                    <a:gd name="T104" fmla="*/ 3567 w 4642"/>
                    <a:gd name="T105" fmla="*/ 904 h 2309"/>
                    <a:gd name="T106" fmla="*/ 3643 w 4642"/>
                    <a:gd name="T107" fmla="*/ 837 h 2309"/>
                    <a:gd name="T108" fmla="*/ 3844 w 4642"/>
                    <a:gd name="T109" fmla="*/ 769 h 2309"/>
                    <a:gd name="T110" fmla="*/ 3958 w 4642"/>
                    <a:gd name="T111" fmla="*/ 725 h 2309"/>
                    <a:gd name="T112" fmla="*/ 4001 w 4642"/>
                    <a:gd name="T113" fmla="*/ 759 h 2309"/>
                    <a:gd name="T114" fmla="*/ 4040 w 4642"/>
                    <a:gd name="T115" fmla="*/ 752 h 2309"/>
                    <a:gd name="T116" fmla="*/ 4085 w 4642"/>
                    <a:gd name="T117" fmla="*/ 698 h 23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4642" h="2309">
                      <a:moveTo>
                        <a:pt x="4219" y="674"/>
                      </a:moveTo>
                      <a:lnTo>
                        <a:pt x="4218" y="680"/>
                      </a:lnTo>
                      <a:lnTo>
                        <a:pt x="4215" y="688"/>
                      </a:lnTo>
                      <a:lnTo>
                        <a:pt x="4212" y="695"/>
                      </a:lnTo>
                      <a:lnTo>
                        <a:pt x="4207" y="703"/>
                      </a:lnTo>
                      <a:lnTo>
                        <a:pt x="4195" y="720"/>
                      </a:lnTo>
                      <a:lnTo>
                        <a:pt x="4181" y="738"/>
                      </a:lnTo>
                      <a:lnTo>
                        <a:pt x="4150" y="771"/>
                      </a:lnTo>
                      <a:lnTo>
                        <a:pt x="4126" y="798"/>
                      </a:lnTo>
                      <a:lnTo>
                        <a:pt x="4105" y="822"/>
                      </a:lnTo>
                      <a:lnTo>
                        <a:pt x="4081" y="848"/>
                      </a:lnTo>
                      <a:lnTo>
                        <a:pt x="4070" y="861"/>
                      </a:lnTo>
                      <a:lnTo>
                        <a:pt x="4058" y="874"/>
                      </a:lnTo>
                      <a:lnTo>
                        <a:pt x="4048" y="887"/>
                      </a:lnTo>
                      <a:lnTo>
                        <a:pt x="4040" y="901"/>
                      </a:lnTo>
                      <a:lnTo>
                        <a:pt x="4034" y="906"/>
                      </a:lnTo>
                      <a:lnTo>
                        <a:pt x="4030" y="913"/>
                      </a:lnTo>
                      <a:lnTo>
                        <a:pt x="4025" y="923"/>
                      </a:lnTo>
                      <a:lnTo>
                        <a:pt x="4023" y="933"/>
                      </a:lnTo>
                      <a:lnTo>
                        <a:pt x="4020" y="945"/>
                      </a:lnTo>
                      <a:lnTo>
                        <a:pt x="4018" y="958"/>
                      </a:lnTo>
                      <a:lnTo>
                        <a:pt x="4018" y="971"/>
                      </a:lnTo>
                      <a:lnTo>
                        <a:pt x="4018" y="984"/>
                      </a:lnTo>
                      <a:lnTo>
                        <a:pt x="4018" y="998"/>
                      </a:lnTo>
                      <a:lnTo>
                        <a:pt x="4019" y="1011"/>
                      </a:lnTo>
                      <a:lnTo>
                        <a:pt x="4021" y="1024"/>
                      </a:lnTo>
                      <a:lnTo>
                        <a:pt x="4024" y="1036"/>
                      </a:lnTo>
                      <a:lnTo>
                        <a:pt x="4027" y="1046"/>
                      </a:lnTo>
                      <a:lnTo>
                        <a:pt x="4031" y="1056"/>
                      </a:lnTo>
                      <a:lnTo>
                        <a:pt x="4036" y="1064"/>
                      </a:lnTo>
                      <a:lnTo>
                        <a:pt x="4040" y="1069"/>
                      </a:lnTo>
                      <a:lnTo>
                        <a:pt x="4051" y="1079"/>
                      </a:lnTo>
                      <a:lnTo>
                        <a:pt x="4063" y="1088"/>
                      </a:lnTo>
                      <a:lnTo>
                        <a:pt x="4076" y="1097"/>
                      </a:lnTo>
                      <a:lnTo>
                        <a:pt x="4088" y="1105"/>
                      </a:lnTo>
                      <a:lnTo>
                        <a:pt x="4115" y="1122"/>
                      </a:lnTo>
                      <a:lnTo>
                        <a:pt x="4145" y="1136"/>
                      </a:lnTo>
                      <a:lnTo>
                        <a:pt x="4175" y="1149"/>
                      </a:lnTo>
                      <a:lnTo>
                        <a:pt x="4205" y="1162"/>
                      </a:lnTo>
                      <a:lnTo>
                        <a:pt x="4234" y="1174"/>
                      </a:lnTo>
                      <a:lnTo>
                        <a:pt x="4261" y="1184"/>
                      </a:lnTo>
                      <a:lnTo>
                        <a:pt x="4267" y="1191"/>
                      </a:lnTo>
                      <a:lnTo>
                        <a:pt x="4271" y="1198"/>
                      </a:lnTo>
                      <a:lnTo>
                        <a:pt x="4280" y="1208"/>
                      </a:lnTo>
                      <a:lnTo>
                        <a:pt x="4291" y="1220"/>
                      </a:lnTo>
                      <a:lnTo>
                        <a:pt x="4304" y="1229"/>
                      </a:lnTo>
                      <a:lnTo>
                        <a:pt x="4318" y="1237"/>
                      </a:lnTo>
                      <a:lnTo>
                        <a:pt x="4334" y="1244"/>
                      </a:lnTo>
                      <a:lnTo>
                        <a:pt x="4351" y="1250"/>
                      </a:lnTo>
                      <a:lnTo>
                        <a:pt x="4368" y="1255"/>
                      </a:lnTo>
                      <a:lnTo>
                        <a:pt x="4386" y="1259"/>
                      </a:lnTo>
                      <a:lnTo>
                        <a:pt x="4402" y="1261"/>
                      </a:lnTo>
                      <a:lnTo>
                        <a:pt x="4419" y="1261"/>
                      </a:lnTo>
                      <a:lnTo>
                        <a:pt x="4440" y="1261"/>
                      </a:lnTo>
                      <a:lnTo>
                        <a:pt x="4461" y="1260"/>
                      </a:lnTo>
                      <a:lnTo>
                        <a:pt x="4481" y="1257"/>
                      </a:lnTo>
                      <a:lnTo>
                        <a:pt x="4501" y="1254"/>
                      </a:lnTo>
                      <a:lnTo>
                        <a:pt x="4520" y="1249"/>
                      </a:lnTo>
                      <a:lnTo>
                        <a:pt x="4540" y="1243"/>
                      </a:lnTo>
                      <a:lnTo>
                        <a:pt x="4559" y="1237"/>
                      </a:lnTo>
                      <a:lnTo>
                        <a:pt x="4579" y="1229"/>
                      </a:lnTo>
                      <a:lnTo>
                        <a:pt x="4642" y="1209"/>
                      </a:lnTo>
                      <a:lnTo>
                        <a:pt x="4642" y="1209"/>
                      </a:lnTo>
                      <a:lnTo>
                        <a:pt x="4637" y="2095"/>
                      </a:lnTo>
                      <a:lnTo>
                        <a:pt x="4637" y="2095"/>
                      </a:lnTo>
                      <a:lnTo>
                        <a:pt x="4593" y="2094"/>
                      </a:lnTo>
                      <a:lnTo>
                        <a:pt x="2726" y="2062"/>
                      </a:lnTo>
                      <a:lnTo>
                        <a:pt x="2702" y="2062"/>
                      </a:lnTo>
                      <a:lnTo>
                        <a:pt x="2677" y="2064"/>
                      </a:lnTo>
                      <a:lnTo>
                        <a:pt x="2653" y="2064"/>
                      </a:lnTo>
                      <a:lnTo>
                        <a:pt x="2630" y="2066"/>
                      </a:lnTo>
                      <a:lnTo>
                        <a:pt x="2606" y="2068"/>
                      </a:lnTo>
                      <a:lnTo>
                        <a:pt x="2584" y="2073"/>
                      </a:lnTo>
                      <a:lnTo>
                        <a:pt x="2561" y="2078"/>
                      </a:lnTo>
                      <a:lnTo>
                        <a:pt x="2538" y="2085"/>
                      </a:lnTo>
                      <a:lnTo>
                        <a:pt x="2527" y="2088"/>
                      </a:lnTo>
                      <a:lnTo>
                        <a:pt x="2511" y="2091"/>
                      </a:lnTo>
                      <a:lnTo>
                        <a:pt x="2497" y="2092"/>
                      </a:lnTo>
                      <a:lnTo>
                        <a:pt x="2484" y="2093"/>
                      </a:lnTo>
                      <a:lnTo>
                        <a:pt x="2481" y="2095"/>
                      </a:lnTo>
                      <a:lnTo>
                        <a:pt x="2477" y="2098"/>
                      </a:lnTo>
                      <a:lnTo>
                        <a:pt x="2472" y="2098"/>
                      </a:lnTo>
                      <a:lnTo>
                        <a:pt x="2463" y="2105"/>
                      </a:lnTo>
                      <a:lnTo>
                        <a:pt x="2454" y="2110"/>
                      </a:lnTo>
                      <a:lnTo>
                        <a:pt x="2450" y="2114"/>
                      </a:lnTo>
                      <a:lnTo>
                        <a:pt x="2445" y="2119"/>
                      </a:lnTo>
                      <a:lnTo>
                        <a:pt x="2438" y="2124"/>
                      </a:lnTo>
                      <a:lnTo>
                        <a:pt x="2435" y="2126"/>
                      </a:lnTo>
                      <a:lnTo>
                        <a:pt x="2433" y="2130"/>
                      </a:lnTo>
                      <a:lnTo>
                        <a:pt x="2428" y="2133"/>
                      </a:lnTo>
                      <a:lnTo>
                        <a:pt x="2422" y="2137"/>
                      </a:lnTo>
                      <a:lnTo>
                        <a:pt x="2415" y="2139"/>
                      </a:lnTo>
                      <a:lnTo>
                        <a:pt x="2396" y="2144"/>
                      </a:lnTo>
                      <a:lnTo>
                        <a:pt x="2376" y="2146"/>
                      </a:lnTo>
                      <a:lnTo>
                        <a:pt x="2356" y="2147"/>
                      </a:lnTo>
                      <a:lnTo>
                        <a:pt x="2337" y="2146"/>
                      </a:lnTo>
                      <a:lnTo>
                        <a:pt x="2330" y="2144"/>
                      </a:lnTo>
                      <a:lnTo>
                        <a:pt x="2324" y="2141"/>
                      </a:lnTo>
                      <a:lnTo>
                        <a:pt x="2320" y="2139"/>
                      </a:lnTo>
                      <a:lnTo>
                        <a:pt x="2319" y="2135"/>
                      </a:lnTo>
                      <a:lnTo>
                        <a:pt x="2315" y="2134"/>
                      </a:lnTo>
                      <a:lnTo>
                        <a:pt x="2314" y="2132"/>
                      </a:lnTo>
                      <a:lnTo>
                        <a:pt x="2314" y="2130"/>
                      </a:lnTo>
                      <a:lnTo>
                        <a:pt x="2313" y="2127"/>
                      </a:lnTo>
                      <a:lnTo>
                        <a:pt x="2311" y="2126"/>
                      </a:lnTo>
                      <a:lnTo>
                        <a:pt x="2310" y="2125"/>
                      </a:lnTo>
                      <a:lnTo>
                        <a:pt x="2310" y="2120"/>
                      </a:lnTo>
                      <a:lnTo>
                        <a:pt x="2309" y="2114"/>
                      </a:lnTo>
                      <a:lnTo>
                        <a:pt x="2309" y="2110"/>
                      </a:lnTo>
                      <a:lnTo>
                        <a:pt x="2307" y="2107"/>
                      </a:lnTo>
                      <a:lnTo>
                        <a:pt x="2307" y="2102"/>
                      </a:lnTo>
                      <a:lnTo>
                        <a:pt x="2306" y="2099"/>
                      </a:lnTo>
                      <a:lnTo>
                        <a:pt x="2303" y="2095"/>
                      </a:lnTo>
                      <a:lnTo>
                        <a:pt x="2297" y="2088"/>
                      </a:lnTo>
                      <a:lnTo>
                        <a:pt x="2180" y="2081"/>
                      </a:lnTo>
                      <a:lnTo>
                        <a:pt x="1907" y="2052"/>
                      </a:lnTo>
                      <a:lnTo>
                        <a:pt x="1580" y="2053"/>
                      </a:lnTo>
                      <a:lnTo>
                        <a:pt x="1576" y="2053"/>
                      </a:lnTo>
                      <a:lnTo>
                        <a:pt x="1576" y="2055"/>
                      </a:lnTo>
                      <a:lnTo>
                        <a:pt x="1576" y="2055"/>
                      </a:lnTo>
                      <a:lnTo>
                        <a:pt x="1576" y="2057"/>
                      </a:lnTo>
                      <a:lnTo>
                        <a:pt x="1575" y="2057"/>
                      </a:lnTo>
                      <a:lnTo>
                        <a:pt x="1575" y="2058"/>
                      </a:lnTo>
                      <a:lnTo>
                        <a:pt x="1575" y="2059"/>
                      </a:lnTo>
                      <a:lnTo>
                        <a:pt x="1573" y="2059"/>
                      </a:lnTo>
                      <a:lnTo>
                        <a:pt x="1572" y="2060"/>
                      </a:lnTo>
                      <a:lnTo>
                        <a:pt x="1572" y="2065"/>
                      </a:lnTo>
                      <a:lnTo>
                        <a:pt x="1575" y="2069"/>
                      </a:lnTo>
                      <a:lnTo>
                        <a:pt x="1577" y="2079"/>
                      </a:lnTo>
                      <a:lnTo>
                        <a:pt x="1580" y="2095"/>
                      </a:lnTo>
                      <a:lnTo>
                        <a:pt x="1582" y="2104"/>
                      </a:lnTo>
                      <a:lnTo>
                        <a:pt x="1583" y="2112"/>
                      </a:lnTo>
                      <a:lnTo>
                        <a:pt x="1583" y="2114"/>
                      </a:lnTo>
                      <a:lnTo>
                        <a:pt x="1583" y="2117"/>
                      </a:lnTo>
                      <a:lnTo>
                        <a:pt x="1582" y="2119"/>
                      </a:lnTo>
                      <a:lnTo>
                        <a:pt x="1580" y="2120"/>
                      </a:lnTo>
                      <a:lnTo>
                        <a:pt x="1580" y="2125"/>
                      </a:lnTo>
                      <a:lnTo>
                        <a:pt x="1577" y="2128"/>
                      </a:lnTo>
                      <a:lnTo>
                        <a:pt x="1575" y="2134"/>
                      </a:lnTo>
                      <a:lnTo>
                        <a:pt x="1568" y="2138"/>
                      </a:lnTo>
                      <a:lnTo>
                        <a:pt x="1562" y="2141"/>
                      </a:lnTo>
                      <a:lnTo>
                        <a:pt x="1555" y="2145"/>
                      </a:lnTo>
                      <a:lnTo>
                        <a:pt x="1548" y="2146"/>
                      </a:lnTo>
                      <a:lnTo>
                        <a:pt x="1542" y="2148"/>
                      </a:lnTo>
                      <a:lnTo>
                        <a:pt x="1537" y="2151"/>
                      </a:lnTo>
                      <a:lnTo>
                        <a:pt x="1532" y="2154"/>
                      </a:lnTo>
                      <a:lnTo>
                        <a:pt x="1525" y="2159"/>
                      </a:lnTo>
                      <a:lnTo>
                        <a:pt x="1523" y="2160"/>
                      </a:lnTo>
                      <a:lnTo>
                        <a:pt x="1522" y="2163"/>
                      </a:lnTo>
                      <a:lnTo>
                        <a:pt x="1521" y="2165"/>
                      </a:lnTo>
                      <a:lnTo>
                        <a:pt x="1521" y="2167"/>
                      </a:lnTo>
                      <a:lnTo>
                        <a:pt x="1521" y="2174"/>
                      </a:lnTo>
                      <a:lnTo>
                        <a:pt x="1523" y="2183"/>
                      </a:lnTo>
                      <a:lnTo>
                        <a:pt x="1529" y="2198"/>
                      </a:lnTo>
                      <a:lnTo>
                        <a:pt x="1533" y="2209"/>
                      </a:lnTo>
                      <a:lnTo>
                        <a:pt x="1535" y="2212"/>
                      </a:lnTo>
                      <a:lnTo>
                        <a:pt x="1535" y="2218"/>
                      </a:lnTo>
                      <a:lnTo>
                        <a:pt x="1533" y="2225"/>
                      </a:lnTo>
                      <a:lnTo>
                        <a:pt x="1532" y="2232"/>
                      </a:lnTo>
                      <a:lnTo>
                        <a:pt x="1530" y="2239"/>
                      </a:lnTo>
                      <a:lnTo>
                        <a:pt x="1528" y="2246"/>
                      </a:lnTo>
                      <a:lnTo>
                        <a:pt x="1526" y="2250"/>
                      </a:lnTo>
                      <a:lnTo>
                        <a:pt x="1524" y="2252"/>
                      </a:lnTo>
                      <a:lnTo>
                        <a:pt x="1524" y="2257"/>
                      </a:lnTo>
                      <a:lnTo>
                        <a:pt x="1522" y="2258"/>
                      </a:lnTo>
                      <a:lnTo>
                        <a:pt x="1521" y="2260"/>
                      </a:lnTo>
                      <a:lnTo>
                        <a:pt x="1518" y="2262"/>
                      </a:lnTo>
                      <a:lnTo>
                        <a:pt x="1517" y="2264"/>
                      </a:lnTo>
                      <a:lnTo>
                        <a:pt x="1509" y="2267"/>
                      </a:lnTo>
                      <a:lnTo>
                        <a:pt x="1498" y="2271"/>
                      </a:lnTo>
                      <a:lnTo>
                        <a:pt x="1486" y="2271"/>
                      </a:lnTo>
                      <a:lnTo>
                        <a:pt x="1474" y="2271"/>
                      </a:lnTo>
                      <a:lnTo>
                        <a:pt x="1463" y="2271"/>
                      </a:lnTo>
                      <a:lnTo>
                        <a:pt x="1452" y="2271"/>
                      </a:lnTo>
                      <a:lnTo>
                        <a:pt x="1442" y="2271"/>
                      </a:lnTo>
                      <a:lnTo>
                        <a:pt x="1431" y="2271"/>
                      </a:lnTo>
                      <a:lnTo>
                        <a:pt x="1422" y="2272"/>
                      </a:lnTo>
                      <a:lnTo>
                        <a:pt x="1412" y="2276"/>
                      </a:lnTo>
                      <a:lnTo>
                        <a:pt x="1404" y="2280"/>
                      </a:lnTo>
                      <a:lnTo>
                        <a:pt x="1395" y="2284"/>
                      </a:lnTo>
                      <a:lnTo>
                        <a:pt x="1381" y="2289"/>
                      </a:lnTo>
                      <a:lnTo>
                        <a:pt x="1365" y="2291"/>
                      </a:lnTo>
                      <a:lnTo>
                        <a:pt x="1350" y="2295"/>
                      </a:lnTo>
                      <a:lnTo>
                        <a:pt x="1335" y="2297"/>
                      </a:lnTo>
                      <a:lnTo>
                        <a:pt x="1320" y="2299"/>
                      </a:lnTo>
                      <a:lnTo>
                        <a:pt x="1305" y="2302"/>
                      </a:lnTo>
                      <a:lnTo>
                        <a:pt x="1290" y="2305"/>
                      </a:lnTo>
                      <a:lnTo>
                        <a:pt x="1275" y="2309"/>
                      </a:lnTo>
                      <a:lnTo>
                        <a:pt x="1273" y="2051"/>
                      </a:lnTo>
                      <a:lnTo>
                        <a:pt x="102" y="2021"/>
                      </a:lnTo>
                      <a:lnTo>
                        <a:pt x="102" y="2021"/>
                      </a:lnTo>
                      <a:lnTo>
                        <a:pt x="93" y="1917"/>
                      </a:lnTo>
                      <a:lnTo>
                        <a:pt x="95" y="1915"/>
                      </a:lnTo>
                      <a:lnTo>
                        <a:pt x="96" y="1913"/>
                      </a:lnTo>
                      <a:lnTo>
                        <a:pt x="97" y="1910"/>
                      </a:lnTo>
                      <a:lnTo>
                        <a:pt x="96" y="1908"/>
                      </a:lnTo>
                      <a:lnTo>
                        <a:pt x="95" y="1892"/>
                      </a:lnTo>
                      <a:lnTo>
                        <a:pt x="91" y="1873"/>
                      </a:lnTo>
                      <a:lnTo>
                        <a:pt x="86" y="1854"/>
                      </a:lnTo>
                      <a:lnTo>
                        <a:pt x="80" y="1834"/>
                      </a:lnTo>
                      <a:lnTo>
                        <a:pt x="64" y="1795"/>
                      </a:lnTo>
                      <a:lnTo>
                        <a:pt x="51" y="1761"/>
                      </a:lnTo>
                      <a:lnTo>
                        <a:pt x="42" y="1738"/>
                      </a:lnTo>
                      <a:lnTo>
                        <a:pt x="30" y="1712"/>
                      </a:lnTo>
                      <a:lnTo>
                        <a:pt x="19" y="1684"/>
                      </a:lnTo>
                      <a:lnTo>
                        <a:pt x="8" y="1653"/>
                      </a:lnTo>
                      <a:lnTo>
                        <a:pt x="4" y="1639"/>
                      </a:lnTo>
                      <a:lnTo>
                        <a:pt x="1" y="1624"/>
                      </a:lnTo>
                      <a:lnTo>
                        <a:pt x="0" y="1610"/>
                      </a:lnTo>
                      <a:lnTo>
                        <a:pt x="0" y="1597"/>
                      </a:lnTo>
                      <a:lnTo>
                        <a:pt x="1" y="1590"/>
                      </a:lnTo>
                      <a:lnTo>
                        <a:pt x="2" y="1584"/>
                      </a:lnTo>
                      <a:lnTo>
                        <a:pt x="4" y="1578"/>
                      </a:lnTo>
                      <a:lnTo>
                        <a:pt x="7" y="1572"/>
                      </a:lnTo>
                      <a:lnTo>
                        <a:pt x="9" y="1566"/>
                      </a:lnTo>
                      <a:lnTo>
                        <a:pt x="14" y="1561"/>
                      </a:lnTo>
                      <a:lnTo>
                        <a:pt x="17" y="1557"/>
                      </a:lnTo>
                      <a:lnTo>
                        <a:pt x="23" y="1552"/>
                      </a:lnTo>
                      <a:lnTo>
                        <a:pt x="33" y="1545"/>
                      </a:lnTo>
                      <a:lnTo>
                        <a:pt x="43" y="1536"/>
                      </a:lnTo>
                      <a:lnTo>
                        <a:pt x="54" y="1525"/>
                      </a:lnTo>
                      <a:lnTo>
                        <a:pt x="64" y="1513"/>
                      </a:lnTo>
                      <a:lnTo>
                        <a:pt x="69" y="1506"/>
                      </a:lnTo>
                      <a:lnTo>
                        <a:pt x="74" y="1500"/>
                      </a:lnTo>
                      <a:lnTo>
                        <a:pt x="76" y="1493"/>
                      </a:lnTo>
                      <a:lnTo>
                        <a:pt x="80" y="1487"/>
                      </a:lnTo>
                      <a:lnTo>
                        <a:pt x="81" y="1480"/>
                      </a:lnTo>
                      <a:lnTo>
                        <a:pt x="81" y="1473"/>
                      </a:lnTo>
                      <a:lnTo>
                        <a:pt x="80" y="1467"/>
                      </a:lnTo>
                      <a:lnTo>
                        <a:pt x="78" y="1460"/>
                      </a:lnTo>
                      <a:lnTo>
                        <a:pt x="63" y="1444"/>
                      </a:lnTo>
                      <a:lnTo>
                        <a:pt x="49" y="1427"/>
                      </a:lnTo>
                      <a:lnTo>
                        <a:pt x="44" y="1413"/>
                      </a:lnTo>
                      <a:lnTo>
                        <a:pt x="41" y="1396"/>
                      </a:lnTo>
                      <a:lnTo>
                        <a:pt x="39" y="1381"/>
                      </a:lnTo>
                      <a:lnTo>
                        <a:pt x="39" y="1365"/>
                      </a:lnTo>
                      <a:lnTo>
                        <a:pt x="41" y="1358"/>
                      </a:lnTo>
                      <a:lnTo>
                        <a:pt x="42" y="1351"/>
                      </a:lnTo>
                      <a:lnTo>
                        <a:pt x="46" y="1346"/>
                      </a:lnTo>
                      <a:lnTo>
                        <a:pt x="47" y="1340"/>
                      </a:lnTo>
                      <a:lnTo>
                        <a:pt x="54" y="1332"/>
                      </a:lnTo>
                      <a:lnTo>
                        <a:pt x="60" y="1326"/>
                      </a:lnTo>
                      <a:lnTo>
                        <a:pt x="67" y="1322"/>
                      </a:lnTo>
                      <a:lnTo>
                        <a:pt x="76" y="1319"/>
                      </a:lnTo>
                      <a:lnTo>
                        <a:pt x="88" y="1316"/>
                      </a:lnTo>
                      <a:lnTo>
                        <a:pt x="98" y="1318"/>
                      </a:lnTo>
                      <a:lnTo>
                        <a:pt x="109" y="1319"/>
                      </a:lnTo>
                      <a:lnTo>
                        <a:pt x="120" y="1320"/>
                      </a:lnTo>
                      <a:lnTo>
                        <a:pt x="128" y="1323"/>
                      </a:lnTo>
                      <a:lnTo>
                        <a:pt x="138" y="1327"/>
                      </a:lnTo>
                      <a:lnTo>
                        <a:pt x="149" y="1330"/>
                      </a:lnTo>
                      <a:lnTo>
                        <a:pt x="157" y="1332"/>
                      </a:lnTo>
                      <a:lnTo>
                        <a:pt x="171" y="1332"/>
                      </a:lnTo>
                      <a:lnTo>
                        <a:pt x="185" y="1330"/>
                      </a:lnTo>
                      <a:lnTo>
                        <a:pt x="200" y="1328"/>
                      </a:lnTo>
                      <a:lnTo>
                        <a:pt x="214" y="1325"/>
                      </a:lnTo>
                      <a:lnTo>
                        <a:pt x="364" y="610"/>
                      </a:lnTo>
                      <a:lnTo>
                        <a:pt x="365" y="235"/>
                      </a:lnTo>
                      <a:lnTo>
                        <a:pt x="365" y="235"/>
                      </a:lnTo>
                      <a:lnTo>
                        <a:pt x="614" y="0"/>
                      </a:lnTo>
                      <a:lnTo>
                        <a:pt x="887" y="0"/>
                      </a:lnTo>
                      <a:lnTo>
                        <a:pt x="892" y="12"/>
                      </a:lnTo>
                      <a:lnTo>
                        <a:pt x="895" y="22"/>
                      </a:lnTo>
                      <a:lnTo>
                        <a:pt x="896" y="29"/>
                      </a:lnTo>
                      <a:lnTo>
                        <a:pt x="900" y="36"/>
                      </a:lnTo>
                      <a:lnTo>
                        <a:pt x="904" y="46"/>
                      </a:lnTo>
                      <a:lnTo>
                        <a:pt x="909" y="55"/>
                      </a:lnTo>
                      <a:lnTo>
                        <a:pt x="916" y="63"/>
                      </a:lnTo>
                      <a:lnTo>
                        <a:pt x="924" y="72"/>
                      </a:lnTo>
                      <a:lnTo>
                        <a:pt x="927" y="75"/>
                      </a:lnTo>
                      <a:lnTo>
                        <a:pt x="931" y="79"/>
                      </a:lnTo>
                      <a:lnTo>
                        <a:pt x="935" y="83"/>
                      </a:lnTo>
                      <a:lnTo>
                        <a:pt x="940" y="89"/>
                      </a:lnTo>
                      <a:lnTo>
                        <a:pt x="954" y="118"/>
                      </a:lnTo>
                      <a:lnTo>
                        <a:pt x="954" y="536"/>
                      </a:lnTo>
                      <a:lnTo>
                        <a:pt x="814" y="699"/>
                      </a:lnTo>
                      <a:lnTo>
                        <a:pt x="1003" y="846"/>
                      </a:lnTo>
                      <a:lnTo>
                        <a:pt x="1093" y="681"/>
                      </a:lnTo>
                      <a:lnTo>
                        <a:pt x="1305" y="681"/>
                      </a:lnTo>
                      <a:lnTo>
                        <a:pt x="1305" y="716"/>
                      </a:lnTo>
                      <a:lnTo>
                        <a:pt x="1403" y="722"/>
                      </a:lnTo>
                      <a:lnTo>
                        <a:pt x="1403" y="846"/>
                      </a:lnTo>
                      <a:lnTo>
                        <a:pt x="1454" y="846"/>
                      </a:lnTo>
                      <a:lnTo>
                        <a:pt x="1454" y="969"/>
                      </a:lnTo>
                      <a:lnTo>
                        <a:pt x="1543" y="969"/>
                      </a:lnTo>
                      <a:lnTo>
                        <a:pt x="1543" y="999"/>
                      </a:lnTo>
                      <a:lnTo>
                        <a:pt x="1667" y="999"/>
                      </a:lnTo>
                      <a:lnTo>
                        <a:pt x="1667" y="1022"/>
                      </a:lnTo>
                      <a:lnTo>
                        <a:pt x="1776" y="1022"/>
                      </a:lnTo>
                      <a:lnTo>
                        <a:pt x="1776" y="1057"/>
                      </a:lnTo>
                      <a:lnTo>
                        <a:pt x="1919" y="1057"/>
                      </a:lnTo>
                      <a:lnTo>
                        <a:pt x="1919" y="868"/>
                      </a:lnTo>
                      <a:lnTo>
                        <a:pt x="2012" y="868"/>
                      </a:lnTo>
                      <a:lnTo>
                        <a:pt x="2012" y="793"/>
                      </a:lnTo>
                      <a:lnTo>
                        <a:pt x="2085" y="793"/>
                      </a:lnTo>
                      <a:lnTo>
                        <a:pt x="2085" y="747"/>
                      </a:lnTo>
                      <a:lnTo>
                        <a:pt x="2123" y="628"/>
                      </a:lnTo>
                      <a:lnTo>
                        <a:pt x="2129" y="621"/>
                      </a:lnTo>
                      <a:lnTo>
                        <a:pt x="2135" y="611"/>
                      </a:lnTo>
                      <a:lnTo>
                        <a:pt x="2140" y="602"/>
                      </a:lnTo>
                      <a:lnTo>
                        <a:pt x="2145" y="593"/>
                      </a:lnTo>
                      <a:lnTo>
                        <a:pt x="2152" y="573"/>
                      </a:lnTo>
                      <a:lnTo>
                        <a:pt x="2158" y="551"/>
                      </a:lnTo>
                      <a:lnTo>
                        <a:pt x="2165" y="529"/>
                      </a:lnTo>
                      <a:lnTo>
                        <a:pt x="2173" y="508"/>
                      </a:lnTo>
                      <a:lnTo>
                        <a:pt x="2176" y="498"/>
                      </a:lnTo>
                      <a:lnTo>
                        <a:pt x="2182" y="488"/>
                      </a:lnTo>
                      <a:lnTo>
                        <a:pt x="2187" y="478"/>
                      </a:lnTo>
                      <a:lnTo>
                        <a:pt x="2194" y="470"/>
                      </a:lnTo>
                      <a:lnTo>
                        <a:pt x="2203" y="457"/>
                      </a:lnTo>
                      <a:lnTo>
                        <a:pt x="2214" y="445"/>
                      </a:lnTo>
                      <a:lnTo>
                        <a:pt x="2226" y="435"/>
                      </a:lnTo>
                      <a:lnTo>
                        <a:pt x="2237" y="424"/>
                      </a:lnTo>
                      <a:lnTo>
                        <a:pt x="2250" y="415"/>
                      </a:lnTo>
                      <a:lnTo>
                        <a:pt x="2263" y="408"/>
                      </a:lnTo>
                      <a:lnTo>
                        <a:pt x="2279" y="402"/>
                      </a:lnTo>
                      <a:lnTo>
                        <a:pt x="2294" y="397"/>
                      </a:lnTo>
                      <a:lnTo>
                        <a:pt x="2301" y="396"/>
                      </a:lnTo>
                      <a:lnTo>
                        <a:pt x="2309" y="395"/>
                      </a:lnTo>
                      <a:lnTo>
                        <a:pt x="2315" y="395"/>
                      </a:lnTo>
                      <a:lnTo>
                        <a:pt x="2321" y="396"/>
                      </a:lnTo>
                      <a:lnTo>
                        <a:pt x="2327" y="397"/>
                      </a:lnTo>
                      <a:lnTo>
                        <a:pt x="2333" y="398"/>
                      </a:lnTo>
                      <a:lnTo>
                        <a:pt x="2337" y="401"/>
                      </a:lnTo>
                      <a:lnTo>
                        <a:pt x="2341" y="404"/>
                      </a:lnTo>
                      <a:lnTo>
                        <a:pt x="2349" y="411"/>
                      </a:lnTo>
                      <a:lnTo>
                        <a:pt x="2354" y="419"/>
                      </a:lnTo>
                      <a:lnTo>
                        <a:pt x="2358" y="429"/>
                      </a:lnTo>
                      <a:lnTo>
                        <a:pt x="2361" y="441"/>
                      </a:lnTo>
                      <a:lnTo>
                        <a:pt x="2362" y="452"/>
                      </a:lnTo>
                      <a:lnTo>
                        <a:pt x="2362" y="464"/>
                      </a:lnTo>
                      <a:lnTo>
                        <a:pt x="2360" y="477"/>
                      </a:lnTo>
                      <a:lnTo>
                        <a:pt x="2357" y="489"/>
                      </a:lnTo>
                      <a:lnTo>
                        <a:pt x="2354" y="501"/>
                      </a:lnTo>
                      <a:lnTo>
                        <a:pt x="2350" y="512"/>
                      </a:lnTo>
                      <a:lnTo>
                        <a:pt x="2346" y="524"/>
                      </a:lnTo>
                      <a:lnTo>
                        <a:pt x="2340" y="534"/>
                      </a:lnTo>
                      <a:lnTo>
                        <a:pt x="2321" y="558"/>
                      </a:lnTo>
                      <a:lnTo>
                        <a:pt x="2301" y="582"/>
                      </a:lnTo>
                      <a:lnTo>
                        <a:pt x="2281" y="606"/>
                      </a:lnTo>
                      <a:lnTo>
                        <a:pt x="2263" y="630"/>
                      </a:lnTo>
                      <a:lnTo>
                        <a:pt x="2254" y="644"/>
                      </a:lnTo>
                      <a:lnTo>
                        <a:pt x="2247" y="657"/>
                      </a:lnTo>
                      <a:lnTo>
                        <a:pt x="2241" y="668"/>
                      </a:lnTo>
                      <a:lnTo>
                        <a:pt x="2236" y="679"/>
                      </a:lnTo>
                      <a:lnTo>
                        <a:pt x="2234" y="690"/>
                      </a:lnTo>
                      <a:lnTo>
                        <a:pt x="2232" y="702"/>
                      </a:lnTo>
                      <a:lnTo>
                        <a:pt x="2232" y="716"/>
                      </a:lnTo>
                      <a:lnTo>
                        <a:pt x="2233" y="732"/>
                      </a:lnTo>
                      <a:lnTo>
                        <a:pt x="2253" y="752"/>
                      </a:lnTo>
                      <a:lnTo>
                        <a:pt x="2274" y="775"/>
                      </a:lnTo>
                      <a:lnTo>
                        <a:pt x="2284" y="787"/>
                      </a:lnTo>
                      <a:lnTo>
                        <a:pt x="2294" y="800"/>
                      </a:lnTo>
                      <a:lnTo>
                        <a:pt x="2301" y="812"/>
                      </a:lnTo>
                      <a:lnTo>
                        <a:pt x="2307" y="822"/>
                      </a:lnTo>
                      <a:lnTo>
                        <a:pt x="2373" y="874"/>
                      </a:lnTo>
                      <a:lnTo>
                        <a:pt x="3325" y="745"/>
                      </a:lnTo>
                      <a:lnTo>
                        <a:pt x="3361" y="1048"/>
                      </a:lnTo>
                      <a:lnTo>
                        <a:pt x="3513" y="1023"/>
                      </a:lnTo>
                      <a:lnTo>
                        <a:pt x="3517" y="995"/>
                      </a:lnTo>
                      <a:lnTo>
                        <a:pt x="3520" y="969"/>
                      </a:lnTo>
                      <a:lnTo>
                        <a:pt x="3521" y="956"/>
                      </a:lnTo>
                      <a:lnTo>
                        <a:pt x="3524" y="943"/>
                      </a:lnTo>
                      <a:lnTo>
                        <a:pt x="3527" y="937"/>
                      </a:lnTo>
                      <a:lnTo>
                        <a:pt x="3530" y="930"/>
                      </a:lnTo>
                      <a:lnTo>
                        <a:pt x="3535" y="924"/>
                      </a:lnTo>
                      <a:lnTo>
                        <a:pt x="3540" y="917"/>
                      </a:lnTo>
                      <a:lnTo>
                        <a:pt x="3547" y="916"/>
                      </a:lnTo>
                      <a:lnTo>
                        <a:pt x="3554" y="912"/>
                      </a:lnTo>
                      <a:lnTo>
                        <a:pt x="3560" y="909"/>
                      </a:lnTo>
                      <a:lnTo>
                        <a:pt x="3567" y="904"/>
                      </a:lnTo>
                      <a:lnTo>
                        <a:pt x="3580" y="892"/>
                      </a:lnTo>
                      <a:lnTo>
                        <a:pt x="3592" y="879"/>
                      </a:lnTo>
                      <a:lnTo>
                        <a:pt x="3607" y="865"/>
                      </a:lnTo>
                      <a:lnTo>
                        <a:pt x="3620" y="852"/>
                      </a:lnTo>
                      <a:lnTo>
                        <a:pt x="3628" y="846"/>
                      </a:lnTo>
                      <a:lnTo>
                        <a:pt x="3635" y="840"/>
                      </a:lnTo>
                      <a:lnTo>
                        <a:pt x="3643" y="837"/>
                      </a:lnTo>
                      <a:lnTo>
                        <a:pt x="3651" y="832"/>
                      </a:lnTo>
                      <a:lnTo>
                        <a:pt x="3682" y="821"/>
                      </a:lnTo>
                      <a:lnTo>
                        <a:pt x="3714" y="811"/>
                      </a:lnTo>
                      <a:lnTo>
                        <a:pt x="3746" y="801"/>
                      </a:lnTo>
                      <a:lnTo>
                        <a:pt x="3779" y="792"/>
                      </a:lnTo>
                      <a:lnTo>
                        <a:pt x="3812" y="781"/>
                      </a:lnTo>
                      <a:lnTo>
                        <a:pt x="3844" y="769"/>
                      </a:lnTo>
                      <a:lnTo>
                        <a:pt x="3876" y="758"/>
                      </a:lnTo>
                      <a:lnTo>
                        <a:pt x="3905" y="743"/>
                      </a:lnTo>
                      <a:lnTo>
                        <a:pt x="3918" y="735"/>
                      </a:lnTo>
                      <a:lnTo>
                        <a:pt x="3933" y="728"/>
                      </a:lnTo>
                      <a:lnTo>
                        <a:pt x="3942" y="726"/>
                      </a:lnTo>
                      <a:lnTo>
                        <a:pt x="3950" y="725"/>
                      </a:lnTo>
                      <a:lnTo>
                        <a:pt x="3958" y="725"/>
                      </a:lnTo>
                      <a:lnTo>
                        <a:pt x="3965" y="727"/>
                      </a:lnTo>
                      <a:lnTo>
                        <a:pt x="3974" y="733"/>
                      </a:lnTo>
                      <a:lnTo>
                        <a:pt x="3982" y="740"/>
                      </a:lnTo>
                      <a:lnTo>
                        <a:pt x="3989" y="747"/>
                      </a:lnTo>
                      <a:lnTo>
                        <a:pt x="3994" y="754"/>
                      </a:lnTo>
                      <a:lnTo>
                        <a:pt x="3998" y="756"/>
                      </a:lnTo>
                      <a:lnTo>
                        <a:pt x="4001" y="759"/>
                      </a:lnTo>
                      <a:lnTo>
                        <a:pt x="4006" y="761"/>
                      </a:lnTo>
                      <a:lnTo>
                        <a:pt x="4011" y="761"/>
                      </a:lnTo>
                      <a:lnTo>
                        <a:pt x="4016" y="762"/>
                      </a:lnTo>
                      <a:lnTo>
                        <a:pt x="4020" y="761"/>
                      </a:lnTo>
                      <a:lnTo>
                        <a:pt x="4027" y="759"/>
                      </a:lnTo>
                      <a:lnTo>
                        <a:pt x="4033" y="755"/>
                      </a:lnTo>
                      <a:lnTo>
                        <a:pt x="4040" y="752"/>
                      </a:lnTo>
                      <a:lnTo>
                        <a:pt x="4045" y="748"/>
                      </a:lnTo>
                      <a:lnTo>
                        <a:pt x="4051" y="743"/>
                      </a:lnTo>
                      <a:lnTo>
                        <a:pt x="4054" y="739"/>
                      </a:lnTo>
                      <a:lnTo>
                        <a:pt x="4063" y="728"/>
                      </a:lnTo>
                      <a:lnTo>
                        <a:pt x="4070" y="718"/>
                      </a:lnTo>
                      <a:lnTo>
                        <a:pt x="4077" y="707"/>
                      </a:lnTo>
                      <a:lnTo>
                        <a:pt x="4085" y="698"/>
                      </a:lnTo>
                      <a:lnTo>
                        <a:pt x="4091" y="694"/>
                      </a:lnTo>
                      <a:lnTo>
                        <a:pt x="4097" y="689"/>
                      </a:lnTo>
                      <a:lnTo>
                        <a:pt x="4103" y="686"/>
                      </a:lnTo>
                      <a:lnTo>
                        <a:pt x="4111" y="683"/>
                      </a:lnTo>
                      <a:lnTo>
                        <a:pt x="4219" y="674"/>
                      </a:lnTo>
                      <a:lnTo>
                        <a:pt x="4219" y="674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52">
                  <a:extLst>
                    <a:ext uri="{FF2B5EF4-FFF2-40B4-BE49-F238E27FC236}">
                      <a16:creationId xmlns:a16="http://schemas.microsoft.com/office/drawing/2014/main" id="{FCF4FB05-6D43-4BE8-AE22-6A959AC1C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43631" y="2964460"/>
                  <a:ext cx="1044960" cy="600076"/>
                </a:xfrm>
                <a:custGeom>
                  <a:avLst/>
                  <a:gdLst>
                    <a:gd name="T0" fmla="*/ 845 w 4262"/>
                    <a:gd name="T1" fmla="*/ 1420 h 2448"/>
                    <a:gd name="T2" fmla="*/ 876 w 4262"/>
                    <a:gd name="T3" fmla="*/ 1466 h 2448"/>
                    <a:gd name="T4" fmla="*/ 763 w 4262"/>
                    <a:gd name="T5" fmla="*/ 2090 h 2448"/>
                    <a:gd name="T6" fmla="*/ 1352 w 4262"/>
                    <a:gd name="T7" fmla="*/ 2237 h 2448"/>
                    <a:gd name="T8" fmla="*/ 1616 w 4262"/>
                    <a:gd name="T9" fmla="*/ 2413 h 2448"/>
                    <a:gd name="T10" fmla="*/ 1961 w 4262"/>
                    <a:gd name="T11" fmla="*/ 2184 h 2448"/>
                    <a:gd name="T12" fmla="*/ 2089 w 4262"/>
                    <a:gd name="T13" fmla="*/ 1993 h 2448"/>
                    <a:gd name="T14" fmla="*/ 2125 w 4262"/>
                    <a:gd name="T15" fmla="*/ 1889 h 2448"/>
                    <a:gd name="T16" fmla="*/ 2175 w 4262"/>
                    <a:gd name="T17" fmla="*/ 1826 h 2448"/>
                    <a:gd name="T18" fmla="*/ 2250 w 4262"/>
                    <a:gd name="T19" fmla="*/ 1787 h 2448"/>
                    <a:gd name="T20" fmla="*/ 2286 w 4262"/>
                    <a:gd name="T21" fmla="*/ 1792 h 2448"/>
                    <a:gd name="T22" fmla="*/ 2311 w 4262"/>
                    <a:gd name="T23" fmla="*/ 1843 h 2448"/>
                    <a:gd name="T24" fmla="*/ 2295 w 4262"/>
                    <a:gd name="T25" fmla="*/ 1915 h 2448"/>
                    <a:gd name="T26" fmla="*/ 2203 w 4262"/>
                    <a:gd name="T27" fmla="*/ 2035 h 2448"/>
                    <a:gd name="T28" fmla="*/ 2181 w 4262"/>
                    <a:gd name="T29" fmla="*/ 2107 h 2448"/>
                    <a:gd name="T30" fmla="*/ 2250 w 4262"/>
                    <a:gd name="T31" fmla="*/ 2203 h 2448"/>
                    <a:gd name="T32" fmla="*/ 3466 w 4262"/>
                    <a:gd name="T33" fmla="*/ 2386 h 2448"/>
                    <a:gd name="T34" fmla="*/ 3484 w 4262"/>
                    <a:gd name="T35" fmla="*/ 2315 h 2448"/>
                    <a:gd name="T36" fmla="*/ 3529 w 4262"/>
                    <a:gd name="T37" fmla="*/ 2283 h 2448"/>
                    <a:gd name="T38" fmla="*/ 3592 w 4262"/>
                    <a:gd name="T39" fmla="*/ 2228 h 2448"/>
                    <a:gd name="T40" fmla="*/ 3761 w 4262"/>
                    <a:gd name="T41" fmla="*/ 2172 h 2448"/>
                    <a:gd name="T42" fmla="*/ 3891 w 4262"/>
                    <a:gd name="T43" fmla="*/ 2117 h 2448"/>
                    <a:gd name="T44" fmla="*/ 3938 w 4262"/>
                    <a:gd name="T45" fmla="*/ 2138 h 2448"/>
                    <a:gd name="T46" fmla="*/ 3965 w 4262"/>
                    <a:gd name="T47" fmla="*/ 2153 h 2448"/>
                    <a:gd name="T48" fmla="*/ 4000 w 4262"/>
                    <a:gd name="T49" fmla="*/ 2134 h 2448"/>
                    <a:gd name="T50" fmla="*/ 4040 w 4262"/>
                    <a:gd name="T51" fmla="*/ 2085 h 2448"/>
                    <a:gd name="T52" fmla="*/ 4191 w 4262"/>
                    <a:gd name="T53" fmla="*/ 2045 h 2448"/>
                    <a:gd name="T54" fmla="*/ 4220 w 4262"/>
                    <a:gd name="T55" fmla="*/ 1984 h 2448"/>
                    <a:gd name="T56" fmla="*/ 4187 w 4262"/>
                    <a:gd name="T57" fmla="*/ 1921 h 2448"/>
                    <a:gd name="T58" fmla="*/ 4213 w 4262"/>
                    <a:gd name="T59" fmla="*/ 1849 h 2448"/>
                    <a:gd name="T60" fmla="*/ 4243 w 4262"/>
                    <a:gd name="T61" fmla="*/ 1782 h 2448"/>
                    <a:gd name="T62" fmla="*/ 4261 w 4262"/>
                    <a:gd name="T63" fmla="*/ 1738 h 2448"/>
                    <a:gd name="T64" fmla="*/ 4236 w 4262"/>
                    <a:gd name="T65" fmla="*/ 1721 h 2448"/>
                    <a:gd name="T66" fmla="*/ 4207 w 4262"/>
                    <a:gd name="T67" fmla="*/ 1690 h 2448"/>
                    <a:gd name="T68" fmla="*/ 4218 w 4262"/>
                    <a:gd name="T69" fmla="*/ 1642 h 2448"/>
                    <a:gd name="T70" fmla="*/ 4177 w 4262"/>
                    <a:gd name="T71" fmla="*/ 1632 h 2448"/>
                    <a:gd name="T72" fmla="*/ 3986 w 4262"/>
                    <a:gd name="T73" fmla="*/ 1661 h 2448"/>
                    <a:gd name="T74" fmla="*/ 3891 w 4262"/>
                    <a:gd name="T75" fmla="*/ 1667 h 2448"/>
                    <a:gd name="T76" fmla="*/ 3883 w 4262"/>
                    <a:gd name="T77" fmla="*/ 1582 h 2448"/>
                    <a:gd name="T78" fmla="*/ 3869 w 4262"/>
                    <a:gd name="T79" fmla="*/ 1350 h 2448"/>
                    <a:gd name="T80" fmla="*/ 3859 w 4262"/>
                    <a:gd name="T81" fmla="*/ 1317 h 2448"/>
                    <a:gd name="T82" fmla="*/ 3824 w 4262"/>
                    <a:gd name="T83" fmla="*/ 1333 h 2448"/>
                    <a:gd name="T84" fmla="*/ 3686 w 4262"/>
                    <a:gd name="T85" fmla="*/ 1425 h 2448"/>
                    <a:gd name="T86" fmla="*/ 3632 w 4262"/>
                    <a:gd name="T87" fmla="*/ 1522 h 2448"/>
                    <a:gd name="T88" fmla="*/ 3584 w 4262"/>
                    <a:gd name="T89" fmla="*/ 1601 h 2448"/>
                    <a:gd name="T90" fmla="*/ 3517 w 4262"/>
                    <a:gd name="T91" fmla="*/ 1667 h 2448"/>
                    <a:gd name="T92" fmla="*/ 3498 w 4262"/>
                    <a:gd name="T93" fmla="*/ 1645 h 2448"/>
                    <a:gd name="T94" fmla="*/ 3522 w 4262"/>
                    <a:gd name="T95" fmla="*/ 1504 h 2448"/>
                    <a:gd name="T96" fmla="*/ 2869 w 4262"/>
                    <a:gd name="T97" fmla="*/ 985 h 2448"/>
                    <a:gd name="T98" fmla="*/ 1522 w 4262"/>
                    <a:gd name="T99" fmla="*/ 678 h 2448"/>
                    <a:gd name="T100" fmla="*/ 1507 w 4262"/>
                    <a:gd name="T101" fmla="*/ 622 h 2448"/>
                    <a:gd name="T102" fmla="*/ 1453 w 4262"/>
                    <a:gd name="T103" fmla="*/ 583 h 2448"/>
                    <a:gd name="T104" fmla="*/ 447 w 4262"/>
                    <a:gd name="T105" fmla="*/ 0 h 2448"/>
                    <a:gd name="T106" fmla="*/ 4 w 4262"/>
                    <a:gd name="T107" fmla="*/ 1494 h 2448"/>
                    <a:gd name="T108" fmla="*/ 70 w 4262"/>
                    <a:gd name="T109" fmla="*/ 1524 h 2448"/>
                    <a:gd name="T110" fmla="*/ 167 w 4262"/>
                    <a:gd name="T111" fmla="*/ 1612 h 2448"/>
                    <a:gd name="T112" fmla="*/ 221 w 4262"/>
                    <a:gd name="T113" fmla="*/ 1636 h 2448"/>
                    <a:gd name="T114" fmla="*/ 314 w 4262"/>
                    <a:gd name="T115" fmla="*/ 1626 h 24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4262" h="2448">
                      <a:moveTo>
                        <a:pt x="314" y="1626"/>
                      </a:moveTo>
                      <a:lnTo>
                        <a:pt x="563" y="1391"/>
                      </a:lnTo>
                      <a:lnTo>
                        <a:pt x="836" y="1391"/>
                      </a:lnTo>
                      <a:lnTo>
                        <a:pt x="841" y="1403"/>
                      </a:lnTo>
                      <a:lnTo>
                        <a:pt x="844" y="1413"/>
                      </a:lnTo>
                      <a:lnTo>
                        <a:pt x="845" y="1420"/>
                      </a:lnTo>
                      <a:lnTo>
                        <a:pt x="849" y="1427"/>
                      </a:lnTo>
                      <a:lnTo>
                        <a:pt x="853" y="1437"/>
                      </a:lnTo>
                      <a:lnTo>
                        <a:pt x="858" y="1446"/>
                      </a:lnTo>
                      <a:lnTo>
                        <a:pt x="865" y="1454"/>
                      </a:lnTo>
                      <a:lnTo>
                        <a:pt x="873" y="1463"/>
                      </a:lnTo>
                      <a:lnTo>
                        <a:pt x="876" y="1466"/>
                      </a:lnTo>
                      <a:lnTo>
                        <a:pt x="880" y="1470"/>
                      </a:lnTo>
                      <a:lnTo>
                        <a:pt x="884" y="1474"/>
                      </a:lnTo>
                      <a:lnTo>
                        <a:pt x="889" y="1480"/>
                      </a:lnTo>
                      <a:lnTo>
                        <a:pt x="903" y="1509"/>
                      </a:lnTo>
                      <a:lnTo>
                        <a:pt x="903" y="1927"/>
                      </a:lnTo>
                      <a:lnTo>
                        <a:pt x="763" y="2090"/>
                      </a:lnTo>
                      <a:lnTo>
                        <a:pt x="952" y="2237"/>
                      </a:lnTo>
                      <a:lnTo>
                        <a:pt x="1042" y="2072"/>
                      </a:lnTo>
                      <a:lnTo>
                        <a:pt x="1254" y="2072"/>
                      </a:lnTo>
                      <a:lnTo>
                        <a:pt x="1254" y="2107"/>
                      </a:lnTo>
                      <a:lnTo>
                        <a:pt x="1352" y="2113"/>
                      </a:lnTo>
                      <a:lnTo>
                        <a:pt x="1352" y="2237"/>
                      </a:lnTo>
                      <a:lnTo>
                        <a:pt x="1403" y="2237"/>
                      </a:lnTo>
                      <a:lnTo>
                        <a:pt x="1403" y="2360"/>
                      </a:lnTo>
                      <a:lnTo>
                        <a:pt x="1492" y="2360"/>
                      </a:lnTo>
                      <a:lnTo>
                        <a:pt x="1492" y="2390"/>
                      </a:lnTo>
                      <a:lnTo>
                        <a:pt x="1616" y="2390"/>
                      </a:lnTo>
                      <a:lnTo>
                        <a:pt x="1616" y="2413"/>
                      </a:lnTo>
                      <a:lnTo>
                        <a:pt x="1725" y="2413"/>
                      </a:lnTo>
                      <a:lnTo>
                        <a:pt x="1725" y="2448"/>
                      </a:lnTo>
                      <a:lnTo>
                        <a:pt x="1868" y="2448"/>
                      </a:lnTo>
                      <a:lnTo>
                        <a:pt x="1868" y="2259"/>
                      </a:lnTo>
                      <a:lnTo>
                        <a:pt x="1961" y="2259"/>
                      </a:lnTo>
                      <a:lnTo>
                        <a:pt x="1961" y="2184"/>
                      </a:lnTo>
                      <a:lnTo>
                        <a:pt x="2034" y="2184"/>
                      </a:lnTo>
                      <a:lnTo>
                        <a:pt x="2034" y="2138"/>
                      </a:lnTo>
                      <a:lnTo>
                        <a:pt x="2072" y="2019"/>
                      </a:lnTo>
                      <a:lnTo>
                        <a:pt x="2078" y="2012"/>
                      </a:lnTo>
                      <a:lnTo>
                        <a:pt x="2084" y="2002"/>
                      </a:lnTo>
                      <a:lnTo>
                        <a:pt x="2089" y="1993"/>
                      </a:lnTo>
                      <a:lnTo>
                        <a:pt x="2094" y="1984"/>
                      </a:lnTo>
                      <a:lnTo>
                        <a:pt x="2101" y="1964"/>
                      </a:lnTo>
                      <a:lnTo>
                        <a:pt x="2107" y="1942"/>
                      </a:lnTo>
                      <a:lnTo>
                        <a:pt x="2114" y="1920"/>
                      </a:lnTo>
                      <a:lnTo>
                        <a:pt x="2122" y="1899"/>
                      </a:lnTo>
                      <a:lnTo>
                        <a:pt x="2125" y="1889"/>
                      </a:lnTo>
                      <a:lnTo>
                        <a:pt x="2131" y="1879"/>
                      </a:lnTo>
                      <a:lnTo>
                        <a:pt x="2136" y="1869"/>
                      </a:lnTo>
                      <a:lnTo>
                        <a:pt x="2143" y="1861"/>
                      </a:lnTo>
                      <a:lnTo>
                        <a:pt x="2152" y="1848"/>
                      </a:lnTo>
                      <a:lnTo>
                        <a:pt x="2163" y="1836"/>
                      </a:lnTo>
                      <a:lnTo>
                        <a:pt x="2175" y="1826"/>
                      </a:lnTo>
                      <a:lnTo>
                        <a:pt x="2186" y="1815"/>
                      </a:lnTo>
                      <a:lnTo>
                        <a:pt x="2199" y="1806"/>
                      </a:lnTo>
                      <a:lnTo>
                        <a:pt x="2212" y="1799"/>
                      </a:lnTo>
                      <a:lnTo>
                        <a:pt x="2228" y="1793"/>
                      </a:lnTo>
                      <a:lnTo>
                        <a:pt x="2243" y="1788"/>
                      </a:lnTo>
                      <a:lnTo>
                        <a:pt x="2250" y="1787"/>
                      </a:lnTo>
                      <a:lnTo>
                        <a:pt x="2258" y="1786"/>
                      </a:lnTo>
                      <a:lnTo>
                        <a:pt x="2264" y="1786"/>
                      </a:lnTo>
                      <a:lnTo>
                        <a:pt x="2270" y="1787"/>
                      </a:lnTo>
                      <a:lnTo>
                        <a:pt x="2276" y="1788"/>
                      </a:lnTo>
                      <a:lnTo>
                        <a:pt x="2282" y="1789"/>
                      </a:lnTo>
                      <a:lnTo>
                        <a:pt x="2286" y="1792"/>
                      </a:lnTo>
                      <a:lnTo>
                        <a:pt x="2290" y="1795"/>
                      </a:lnTo>
                      <a:lnTo>
                        <a:pt x="2298" y="1802"/>
                      </a:lnTo>
                      <a:lnTo>
                        <a:pt x="2303" y="1810"/>
                      </a:lnTo>
                      <a:lnTo>
                        <a:pt x="2307" y="1820"/>
                      </a:lnTo>
                      <a:lnTo>
                        <a:pt x="2310" y="1832"/>
                      </a:lnTo>
                      <a:lnTo>
                        <a:pt x="2311" y="1843"/>
                      </a:lnTo>
                      <a:lnTo>
                        <a:pt x="2311" y="1855"/>
                      </a:lnTo>
                      <a:lnTo>
                        <a:pt x="2309" y="1868"/>
                      </a:lnTo>
                      <a:lnTo>
                        <a:pt x="2306" y="1880"/>
                      </a:lnTo>
                      <a:lnTo>
                        <a:pt x="2303" y="1892"/>
                      </a:lnTo>
                      <a:lnTo>
                        <a:pt x="2299" y="1903"/>
                      </a:lnTo>
                      <a:lnTo>
                        <a:pt x="2295" y="1915"/>
                      </a:lnTo>
                      <a:lnTo>
                        <a:pt x="2289" y="1925"/>
                      </a:lnTo>
                      <a:lnTo>
                        <a:pt x="2270" y="1949"/>
                      </a:lnTo>
                      <a:lnTo>
                        <a:pt x="2250" y="1973"/>
                      </a:lnTo>
                      <a:lnTo>
                        <a:pt x="2230" y="1997"/>
                      </a:lnTo>
                      <a:lnTo>
                        <a:pt x="2212" y="2021"/>
                      </a:lnTo>
                      <a:lnTo>
                        <a:pt x="2203" y="2035"/>
                      </a:lnTo>
                      <a:lnTo>
                        <a:pt x="2196" y="2048"/>
                      </a:lnTo>
                      <a:lnTo>
                        <a:pt x="2190" y="2059"/>
                      </a:lnTo>
                      <a:lnTo>
                        <a:pt x="2185" y="2070"/>
                      </a:lnTo>
                      <a:lnTo>
                        <a:pt x="2183" y="2081"/>
                      </a:lnTo>
                      <a:lnTo>
                        <a:pt x="2181" y="2093"/>
                      </a:lnTo>
                      <a:lnTo>
                        <a:pt x="2181" y="2107"/>
                      </a:lnTo>
                      <a:lnTo>
                        <a:pt x="2182" y="2123"/>
                      </a:lnTo>
                      <a:lnTo>
                        <a:pt x="2202" y="2143"/>
                      </a:lnTo>
                      <a:lnTo>
                        <a:pt x="2223" y="2166"/>
                      </a:lnTo>
                      <a:lnTo>
                        <a:pt x="2233" y="2178"/>
                      </a:lnTo>
                      <a:lnTo>
                        <a:pt x="2243" y="2191"/>
                      </a:lnTo>
                      <a:lnTo>
                        <a:pt x="2250" y="2203"/>
                      </a:lnTo>
                      <a:lnTo>
                        <a:pt x="2256" y="2213"/>
                      </a:lnTo>
                      <a:lnTo>
                        <a:pt x="2322" y="2265"/>
                      </a:lnTo>
                      <a:lnTo>
                        <a:pt x="3274" y="2136"/>
                      </a:lnTo>
                      <a:lnTo>
                        <a:pt x="3310" y="2439"/>
                      </a:lnTo>
                      <a:lnTo>
                        <a:pt x="3462" y="2414"/>
                      </a:lnTo>
                      <a:lnTo>
                        <a:pt x="3466" y="2386"/>
                      </a:lnTo>
                      <a:lnTo>
                        <a:pt x="3469" y="2360"/>
                      </a:lnTo>
                      <a:lnTo>
                        <a:pt x="3470" y="2347"/>
                      </a:lnTo>
                      <a:lnTo>
                        <a:pt x="3473" y="2334"/>
                      </a:lnTo>
                      <a:lnTo>
                        <a:pt x="3476" y="2328"/>
                      </a:lnTo>
                      <a:lnTo>
                        <a:pt x="3479" y="2321"/>
                      </a:lnTo>
                      <a:lnTo>
                        <a:pt x="3484" y="2315"/>
                      </a:lnTo>
                      <a:lnTo>
                        <a:pt x="3489" y="2308"/>
                      </a:lnTo>
                      <a:lnTo>
                        <a:pt x="3496" y="2307"/>
                      </a:lnTo>
                      <a:lnTo>
                        <a:pt x="3503" y="2303"/>
                      </a:lnTo>
                      <a:lnTo>
                        <a:pt x="3509" y="2300"/>
                      </a:lnTo>
                      <a:lnTo>
                        <a:pt x="3516" y="2295"/>
                      </a:lnTo>
                      <a:lnTo>
                        <a:pt x="3529" y="2283"/>
                      </a:lnTo>
                      <a:lnTo>
                        <a:pt x="3541" y="2270"/>
                      </a:lnTo>
                      <a:lnTo>
                        <a:pt x="3556" y="2256"/>
                      </a:lnTo>
                      <a:lnTo>
                        <a:pt x="3569" y="2243"/>
                      </a:lnTo>
                      <a:lnTo>
                        <a:pt x="3577" y="2237"/>
                      </a:lnTo>
                      <a:lnTo>
                        <a:pt x="3584" y="2231"/>
                      </a:lnTo>
                      <a:lnTo>
                        <a:pt x="3592" y="2228"/>
                      </a:lnTo>
                      <a:lnTo>
                        <a:pt x="3600" y="2223"/>
                      </a:lnTo>
                      <a:lnTo>
                        <a:pt x="3631" y="2212"/>
                      </a:lnTo>
                      <a:lnTo>
                        <a:pt x="3663" y="2202"/>
                      </a:lnTo>
                      <a:lnTo>
                        <a:pt x="3695" y="2192"/>
                      </a:lnTo>
                      <a:lnTo>
                        <a:pt x="3728" y="2183"/>
                      </a:lnTo>
                      <a:lnTo>
                        <a:pt x="3761" y="2172"/>
                      </a:lnTo>
                      <a:lnTo>
                        <a:pt x="3793" y="2160"/>
                      </a:lnTo>
                      <a:lnTo>
                        <a:pt x="3825" y="2149"/>
                      </a:lnTo>
                      <a:lnTo>
                        <a:pt x="3854" y="2134"/>
                      </a:lnTo>
                      <a:lnTo>
                        <a:pt x="3867" y="2126"/>
                      </a:lnTo>
                      <a:lnTo>
                        <a:pt x="3882" y="2119"/>
                      </a:lnTo>
                      <a:lnTo>
                        <a:pt x="3891" y="2117"/>
                      </a:lnTo>
                      <a:lnTo>
                        <a:pt x="3899" y="2116"/>
                      </a:lnTo>
                      <a:lnTo>
                        <a:pt x="3907" y="2116"/>
                      </a:lnTo>
                      <a:lnTo>
                        <a:pt x="3914" y="2118"/>
                      </a:lnTo>
                      <a:lnTo>
                        <a:pt x="3923" y="2124"/>
                      </a:lnTo>
                      <a:lnTo>
                        <a:pt x="3931" y="2131"/>
                      </a:lnTo>
                      <a:lnTo>
                        <a:pt x="3938" y="2138"/>
                      </a:lnTo>
                      <a:lnTo>
                        <a:pt x="3943" y="2145"/>
                      </a:lnTo>
                      <a:lnTo>
                        <a:pt x="3947" y="2147"/>
                      </a:lnTo>
                      <a:lnTo>
                        <a:pt x="3950" y="2150"/>
                      </a:lnTo>
                      <a:lnTo>
                        <a:pt x="3955" y="2152"/>
                      </a:lnTo>
                      <a:lnTo>
                        <a:pt x="3960" y="2152"/>
                      </a:lnTo>
                      <a:lnTo>
                        <a:pt x="3965" y="2153"/>
                      </a:lnTo>
                      <a:lnTo>
                        <a:pt x="3969" y="2152"/>
                      </a:lnTo>
                      <a:lnTo>
                        <a:pt x="3976" y="2150"/>
                      </a:lnTo>
                      <a:lnTo>
                        <a:pt x="3982" y="2146"/>
                      </a:lnTo>
                      <a:lnTo>
                        <a:pt x="3989" y="2143"/>
                      </a:lnTo>
                      <a:lnTo>
                        <a:pt x="3994" y="2139"/>
                      </a:lnTo>
                      <a:lnTo>
                        <a:pt x="4000" y="2134"/>
                      </a:lnTo>
                      <a:lnTo>
                        <a:pt x="4003" y="2130"/>
                      </a:lnTo>
                      <a:lnTo>
                        <a:pt x="4012" y="2119"/>
                      </a:lnTo>
                      <a:lnTo>
                        <a:pt x="4019" y="2109"/>
                      </a:lnTo>
                      <a:lnTo>
                        <a:pt x="4026" y="2098"/>
                      </a:lnTo>
                      <a:lnTo>
                        <a:pt x="4034" y="2089"/>
                      </a:lnTo>
                      <a:lnTo>
                        <a:pt x="4040" y="2085"/>
                      </a:lnTo>
                      <a:lnTo>
                        <a:pt x="4046" y="2080"/>
                      </a:lnTo>
                      <a:lnTo>
                        <a:pt x="4052" y="2077"/>
                      </a:lnTo>
                      <a:lnTo>
                        <a:pt x="4060" y="2074"/>
                      </a:lnTo>
                      <a:lnTo>
                        <a:pt x="4168" y="2065"/>
                      </a:lnTo>
                      <a:lnTo>
                        <a:pt x="4168" y="2065"/>
                      </a:lnTo>
                      <a:lnTo>
                        <a:pt x="4191" y="2045"/>
                      </a:lnTo>
                      <a:lnTo>
                        <a:pt x="4208" y="2034"/>
                      </a:lnTo>
                      <a:lnTo>
                        <a:pt x="4225" y="2025"/>
                      </a:lnTo>
                      <a:lnTo>
                        <a:pt x="4227" y="2014"/>
                      </a:lnTo>
                      <a:lnTo>
                        <a:pt x="4225" y="2005"/>
                      </a:lnTo>
                      <a:lnTo>
                        <a:pt x="4223" y="1994"/>
                      </a:lnTo>
                      <a:lnTo>
                        <a:pt x="4220" y="1984"/>
                      </a:lnTo>
                      <a:lnTo>
                        <a:pt x="4208" y="1965"/>
                      </a:lnTo>
                      <a:lnTo>
                        <a:pt x="4196" y="1947"/>
                      </a:lnTo>
                      <a:lnTo>
                        <a:pt x="4191" y="1940"/>
                      </a:lnTo>
                      <a:lnTo>
                        <a:pt x="4189" y="1934"/>
                      </a:lnTo>
                      <a:lnTo>
                        <a:pt x="4187" y="1927"/>
                      </a:lnTo>
                      <a:lnTo>
                        <a:pt x="4187" y="1921"/>
                      </a:lnTo>
                      <a:lnTo>
                        <a:pt x="4187" y="1915"/>
                      </a:lnTo>
                      <a:lnTo>
                        <a:pt x="4188" y="1909"/>
                      </a:lnTo>
                      <a:lnTo>
                        <a:pt x="4189" y="1903"/>
                      </a:lnTo>
                      <a:lnTo>
                        <a:pt x="4191" y="1898"/>
                      </a:lnTo>
                      <a:lnTo>
                        <a:pt x="4202" y="1874"/>
                      </a:lnTo>
                      <a:lnTo>
                        <a:pt x="4213" y="1849"/>
                      </a:lnTo>
                      <a:lnTo>
                        <a:pt x="4217" y="1830"/>
                      </a:lnTo>
                      <a:lnTo>
                        <a:pt x="4223" y="1814"/>
                      </a:lnTo>
                      <a:lnTo>
                        <a:pt x="4227" y="1806"/>
                      </a:lnTo>
                      <a:lnTo>
                        <a:pt x="4230" y="1799"/>
                      </a:lnTo>
                      <a:lnTo>
                        <a:pt x="4236" y="1790"/>
                      </a:lnTo>
                      <a:lnTo>
                        <a:pt x="4243" y="1782"/>
                      </a:lnTo>
                      <a:lnTo>
                        <a:pt x="4250" y="1774"/>
                      </a:lnTo>
                      <a:lnTo>
                        <a:pt x="4256" y="1764"/>
                      </a:lnTo>
                      <a:lnTo>
                        <a:pt x="4261" y="1755"/>
                      </a:lnTo>
                      <a:lnTo>
                        <a:pt x="4262" y="1747"/>
                      </a:lnTo>
                      <a:lnTo>
                        <a:pt x="4262" y="1743"/>
                      </a:lnTo>
                      <a:lnTo>
                        <a:pt x="4261" y="1738"/>
                      </a:lnTo>
                      <a:lnTo>
                        <a:pt x="4258" y="1735"/>
                      </a:lnTo>
                      <a:lnTo>
                        <a:pt x="4256" y="1731"/>
                      </a:lnTo>
                      <a:lnTo>
                        <a:pt x="4253" y="1728"/>
                      </a:lnTo>
                      <a:lnTo>
                        <a:pt x="4248" y="1726"/>
                      </a:lnTo>
                      <a:lnTo>
                        <a:pt x="4242" y="1723"/>
                      </a:lnTo>
                      <a:lnTo>
                        <a:pt x="4236" y="1721"/>
                      </a:lnTo>
                      <a:lnTo>
                        <a:pt x="4224" y="1717"/>
                      </a:lnTo>
                      <a:lnTo>
                        <a:pt x="4217" y="1713"/>
                      </a:lnTo>
                      <a:lnTo>
                        <a:pt x="4211" y="1708"/>
                      </a:lnTo>
                      <a:lnTo>
                        <a:pt x="4208" y="1702"/>
                      </a:lnTo>
                      <a:lnTo>
                        <a:pt x="4207" y="1696"/>
                      </a:lnTo>
                      <a:lnTo>
                        <a:pt x="4207" y="1690"/>
                      </a:lnTo>
                      <a:lnTo>
                        <a:pt x="4208" y="1684"/>
                      </a:lnTo>
                      <a:lnTo>
                        <a:pt x="4210" y="1677"/>
                      </a:lnTo>
                      <a:lnTo>
                        <a:pt x="4215" y="1664"/>
                      </a:lnTo>
                      <a:lnTo>
                        <a:pt x="4218" y="1652"/>
                      </a:lnTo>
                      <a:lnTo>
                        <a:pt x="4220" y="1647"/>
                      </a:lnTo>
                      <a:lnTo>
                        <a:pt x="4218" y="1642"/>
                      </a:lnTo>
                      <a:lnTo>
                        <a:pt x="4216" y="1637"/>
                      </a:lnTo>
                      <a:lnTo>
                        <a:pt x="4211" y="1634"/>
                      </a:lnTo>
                      <a:lnTo>
                        <a:pt x="4206" y="1631"/>
                      </a:lnTo>
                      <a:lnTo>
                        <a:pt x="4197" y="1630"/>
                      </a:lnTo>
                      <a:lnTo>
                        <a:pt x="4188" y="1631"/>
                      </a:lnTo>
                      <a:lnTo>
                        <a:pt x="4177" y="1632"/>
                      </a:lnTo>
                      <a:lnTo>
                        <a:pt x="4156" y="1635"/>
                      </a:lnTo>
                      <a:lnTo>
                        <a:pt x="4140" y="1636"/>
                      </a:lnTo>
                      <a:lnTo>
                        <a:pt x="4102" y="1642"/>
                      </a:lnTo>
                      <a:lnTo>
                        <a:pt x="4062" y="1648"/>
                      </a:lnTo>
                      <a:lnTo>
                        <a:pt x="4023" y="1652"/>
                      </a:lnTo>
                      <a:lnTo>
                        <a:pt x="3986" y="1661"/>
                      </a:lnTo>
                      <a:lnTo>
                        <a:pt x="3966" y="1664"/>
                      </a:lnTo>
                      <a:lnTo>
                        <a:pt x="3933" y="1669"/>
                      </a:lnTo>
                      <a:lnTo>
                        <a:pt x="3915" y="1670"/>
                      </a:lnTo>
                      <a:lnTo>
                        <a:pt x="3901" y="1669"/>
                      </a:lnTo>
                      <a:lnTo>
                        <a:pt x="3895" y="1668"/>
                      </a:lnTo>
                      <a:lnTo>
                        <a:pt x="3891" y="1667"/>
                      </a:lnTo>
                      <a:lnTo>
                        <a:pt x="3887" y="1665"/>
                      </a:lnTo>
                      <a:lnTo>
                        <a:pt x="3885" y="1662"/>
                      </a:lnTo>
                      <a:lnTo>
                        <a:pt x="3883" y="1662"/>
                      </a:lnTo>
                      <a:lnTo>
                        <a:pt x="3882" y="1661"/>
                      </a:lnTo>
                      <a:lnTo>
                        <a:pt x="3883" y="1622"/>
                      </a:lnTo>
                      <a:lnTo>
                        <a:pt x="3883" y="1582"/>
                      </a:lnTo>
                      <a:lnTo>
                        <a:pt x="3883" y="1543"/>
                      </a:lnTo>
                      <a:lnTo>
                        <a:pt x="3883" y="1504"/>
                      </a:lnTo>
                      <a:lnTo>
                        <a:pt x="3882" y="1466"/>
                      </a:lnTo>
                      <a:lnTo>
                        <a:pt x="3880" y="1427"/>
                      </a:lnTo>
                      <a:lnTo>
                        <a:pt x="3875" y="1388"/>
                      </a:lnTo>
                      <a:lnTo>
                        <a:pt x="3869" y="1350"/>
                      </a:lnTo>
                      <a:lnTo>
                        <a:pt x="3867" y="1337"/>
                      </a:lnTo>
                      <a:lnTo>
                        <a:pt x="3865" y="1326"/>
                      </a:lnTo>
                      <a:lnTo>
                        <a:pt x="3864" y="1322"/>
                      </a:lnTo>
                      <a:lnTo>
                        <a:pt x="3862" y="1320"/>
                      </a:lnTo>
                      <a:lnTo>
                        <a:pt x="3860" y="1318"/>
                      </a:lnTo>
                      <a:lnTo>
                        <a:pt x="3859" y="1317"/>
                      </a:lnTo>
                      <a:lnTo>
                        <a:pt x="3856" y="1317"/>
                      </a:lnTo>
                      <a:lnTo>
                        <a:pt x="3853" y="1317"/>
                      </a:lnTo>
                      <a:lnTo>
                        <a:pt x="3851" y="1318"/>
                      </a:lnTo>
                      <a:lnTo>
                        <a:pt x="3846" y="1319"/>
                      </a:lnTo>
                      <a:lnTo>
                        <a:pt x="3836" y="1325"/>
                      </a:lnTo>
                      <a:lnTo>
                        <a:pt x="3824" y="1333"/>
                      </a:lnTo>
                      <a:lnTo>
                        <a:pt x="3800" y="1350"/>
                      </a:lnTo>
                      <a:lnTo>
                        <a:pt x="3773" y="1365"/>
                      </a:lnTo>
                      <a:lnTo>
                        <a:pt x="3746" y="1380"/>
                      </a:lnTo>
                      <a:lnTo>
                        <a:pt x="3720" y="1392"/>
                      </a:lnTo>
                      <a:lnTo>
                        <a:pt x="3720" y="1392"/>
                      </a:lnTo>
                      <a:lnTo>
                        <a:pt x="3686" y="1425"/>
                      </a:lnTo>
                      <a:lnTo>
                        <a:pt x="3678" y="1436"/>
                      </a:lnTo>
                      <a:lnTo>
                        <a:pt x="3670" y="1447"/>
                      </a:lnTo>
                      <a:lnTo>
                        <a:pt x="3663" y="1459"/>
                      </a:lnTo>
                      <a:lnTo>
                        <a:pt x="3655" y="1471"/>
                      </a:lnTo>
                      <a:lnTo>
                        <a:pt x="3643" y="1497"/>
                      </a:lnTo>
                      <a:lnTo>
                        <a:pt x="3632" y="1522"/>
                      </a:lnTo>
                      <a:lnTo>
                        <a:pt x="3626" y="1536"/>
                      </a:lnTo>
                      <a:lnTo>
                        <a:pt x="3619" y="1549"/>
                      </a:lnTo>
                      <a:lnTo>
                        <a:pt x="3611" y="1563"/>
                      </a:lnTo>
                      <a:lnTo>
                        <a:pt x="3603" y="1576"/>
                      </a:lnTo>
                      <a:lnTo>
                        <a:pt x="3594" y="1588"/>
                      </a:lnTo>
                      <a:lnTo>
                        <a:pt x="3584" y="1601"/>
                      </a:lnTo>
                      <a:lnTo>
                        <a:pt x="3574" y="1612"/>
                      </a:lnTo>
                      <a:lnTo>
                        <a:pt x="3564" y="1623"/>
                      </a:lnTo>
                      <a:lnTo>
                        <a:pt x="3551" y="1636"/>
                      </a:lnTo>
                      <a:lnTo>
                        <a:pt x="3534" y="1652"/>
                      </a:lnTo>
                      <a:lnTo>
                        <a:pt x="3525" y="1661"/>
                      </a:lnTo>
                      <a:lnTo>
                        <a:pt x="3517" y="1667"/>
                      </a:lnTo>
                      <a:lnTo>
                        <a:pt x="3512" y="1669"/>
                      </a:lnTo>
                      <a:lnTo>
                        <a:pt x="3509" y="1671"/>
                      </a:lnTo>
                      <a:lnTo>
                        <a:pt x="3504" y="1671"/>
                      </a:lnTo>
                      <a:lnTo>
                        <a:pt x="3500" y="1671"/>
                      </a:lnTo>
                      <a:lnTo>
                        <a:pt x="3498" y="1658"/>
                      </a:lnTo>
                      <a:lnTo>
                        <a:pt x="3498" y="1645"/>
                      </a:lnTo>
                      <a:lnTo>
                        <a:pt x="3499" y="1631"/>
                      </a:lnTo>
                      <a:lnTo>
                        <a:pt x="3500" y="1616"/>
                      </a:lnTo>
                      <a:lnTo>
                        <a:pt x="3506" y="1588"/>
                      </a:lnTo>
                      <a:lnTo>
                        <a:pt x="3513" y="1562"/>
                      </a:lnTo>
                      <a:lnTo>
                        <a:pt x="3518" y="1533"/>
                      </a:lnTo>
                      <a:lnTo>
                        <a:pt x="3522" y="1504"/>
                      </a:lnTo>
                      <a:lnTo>
                        <a:pt x="3523" y="1490"/>
                      </a:lnTo>
                      <a:lnTo>
                        <a:pt x="3523" y="1474"/>
                      </a:lnTo>
                      <a:lnTo>
                        <a:pt x="3523" y="1460"/>
                      </a:lnTo>
                      <a:lnTo>
                        <a:pt x="3522" y="1446"/>
                      </a:lnTo>
                      <a:lnTo>
                        <a:pt x="3409" y="893"/>
                      </a:lnTo>
                      <a:lnTo>
                        <a:pt x="2869" y="985"/>
                      </a:lnTo>
                      <a:lnTo>
                        <a:pt x="2846" y="796"/>
                      </a:lnTo>
                      <a:lnTo>
                        <a:pt x="1801" y="969"/>
                      </a:lnTo>
                      <a:lnTo>
                        <a:pt x="1800" y="672"/>
                      </a:lnTo>
                      <a:lnTo>
                        <a:pt x="1535" y="705"/>
                      </a:lnTo>
                      <a:lnTo>
                        <a:pt x="1526" y="686"/>
                      </a:lnTo>
                      <a:lnTo>
                        <a:pt x="1522" y="678"/>
                      </a:lnTo>
                      <a:lnTo>
                        <a:pt x="1520" y="669"/>
                      </a:lnTo>
                      <a:lnTo>
                        <a:pt x="1517" y="659"/>
                      </a:lnTo>
                      <a:lnTo>
                        <a:pt x="1514" y="649"/>
                      </a:lnTo>
                      <a:lnTo>
                        <a:pt x="1512" y="640"/>
                      </a:lnTo>
                      <a:lnTo>
                        <a:pt x="1509" y="632"/>
                      </a:lnTo>
                      <a:lnTo>
                        <a:pt x="1507" y="622"/>
                      </a:lnTo>
                      <a:lnTo>
                        <a:pt x="1507" y="613"/>
                      </a:lnTo>
                      <a:lnTo>
                        <a:pt x="1500" y="605"/>
                      </a:lnTo>
                      <a:lnTo>
                        <a:pt x="1492" y="598"/>
                      </a:lnTo>
                      <a:lnTo>
                        <a:pt x="1478" y="592"/>
                      </a:lnTo>
                      <a:lnTo>
                        <a:pt x="1464" y="588"/>
                      </a:lnTo>
                      <a:lnTo>
                        <a:pt x="1453" y="583"/>
                      </a:lnTo>
                      <a:lnTo>
                        <a:pt x="1442" y="580"/>
                      </a:lnTo>
                      <a:lnTo>
                        <a:pt x="1433" y="574"/>
                      </a:lnTo>
                      <a:lnTo>
                        <a:pt x="1421" y="568"/>
                      </a:lnTo>
                      <a:lnTo>
                        <a:pt x="951" y="462"/>
                      </a:lnTo>
                      <a:lnTo>
                        <a:pt x="929" y="78"/>
                      </a:lnTo>
                      <a:lnTo>
                        <a:pt x="447" y="0"/>
                      </a:lnTo>
                      <a:lnTo>
                        <a:pt x="447" y="0"/>
                      </a:lnTo>
                      <a:lnTo>
                        <a:pt x="427" y="77"/>
                      </a:lnTo>
                      <a:lnTo>
                        <a:pt x="488" y="77"/>
                      </a:lnTo>
                      <a:lnTo>
                        <a:pt x="272" y="1157"/>
                      </a:lnTo>
                      <a:lnTo>
                        <a:pt x="0" y="1098"/>
                      </a:lnTo>
                      <a:lnTo>
                        <a:pt x="4" y="1494"/>
                      </a:lnTo>
                      <a:lnTo>
                        <a:pt x="9" y="1496"/>
                      </a:lnTo>
                      <a:lnTo>
                        <a:pt x="12" y="1498"/>
                      </a:lnTo>
                      <a:lnTo>
                        <a:pt x="20" y="1503"/>
                      </a:lnTo>
                      <a:lnTo>
                        <a:pt x="39" y="1511"/>
                      </a:lnTo>
                      <a:lnTo>
                        <a:pt x="58" y="1518"/>
                      </a:lnTo>
                      <a:lnTo>
                        <a:pt x="70" y="1524"/>
                      </a:lnTo>
                      <a:lnTo>
                        <a:pt x="84" y="1532"/>
                      </a:lnTo>
                      <a:lnTo>
                        <a:pt x="96" y="1543"/>
                      </a:lnTo>
                      <a:lnTo>
                        <a:pt x="109" y="1553"/>
                      </a:lnTo>
                      <a:lnTo>
                        <a:pt x="120" y="1565"/>
                      </a:lnTo>
                      <a:lnTo>
                        <a:pt x="143" y="1590"/>
                      </a:lnTo>
                      <a:lnTo>
                        <a:pt x="167" y="1612"/>
                      </a:lnTo>
                      <a:lnTo>
                        <a:pt x="180" y="1622"/>
                      </a:lnTo>
                      <a:lnTo>
                        <a:pt x="192" y="1629"/>
                      </a:lnTo>
                      <a:lnTo>
                        <a:pt x="198" y="1631"/>
                      </a:lnTo>
                      <a:lnTo>
                        <a:pt x="205" y="1634"/>
                      </a:lnTo>
                      <a:lnTo>
                        <a:pt x="213" y="1635"/>
                      </a:lnTo>
                      <a:lnTo>
                        <a:pt x="221" y="1636"/>
                      </a:lnTo>
                      <a:lnTo>
                        <a:pt x="233" y="1636"/>
                      </a:lnTo>
                      <a:lnTo>
                        <a:pt x="245" y="1637"/>
                      </a:lnTo>
                      <a:lnTo>
                        <a:pt x="259" y="1635"/>
                      </a:lnTo>
                      <a:lnTo>
                        <a:pt x="273" y="1631"/>
                      </a:lnTo>
                      <a:lnTo>
                        <a:pt x="314" y="1626"/>
                      </a:lnTo>
                      <a:lnTo>
                        <a:pt x="314" y="1626"/>
                      </a:lnTo>
                      <a:close/>
                    </a:path>
                  </a:pathLst>
                </a:custGeom>
                <a:no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635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Freeform 54">
                  <a:extLst>
                    <a:ext uri="{FF2B5EF4-FFF2-40B4-BE49-F238E27FC236}">
                      <a16:creationId xmlns:a16="http://schemas.microsoft.com/office/drawing/2014/main" id="{3A88363E-ABA8-4905-92E6-CD83DBB2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7314" y="2655597"/>
                  <a:ext cx="960393" cy="718474"/>
                </a:xfrm>
                <a:custGeom>
                  <a:avLst/>
                  <a:gdLst>
                    <a:gd name="T0" fmla="*/ 3709 w 3917"/>
                    <a:gd name="T1" fmla="*/ 457 h 2931"/>
                    <a:gd name="T2" fmla="*/ 3740 w 3917"/>
                    <a:gd name="T3" fmla="*/ 469 h 2931"/>
                    <a:gd name="T4" fmla="*/ 3796 w 3917"/>
                    <a:gd name="T5" fmla="*/ 493 h 2931"/>
                    <a:gd name="T6" fmla="*/ 3878 w 3917"/>
                    <a:gd name="T7" fmla="*/ 539 h 2931"/>
                    <a:gd name="T8" fmla="*/ 3910 w 3917"/>
                    <a:gd name="T9" fmla="*/ 565 h 2931"/>
                    <a:gd name="T10" fmla="*/ 3912 w 3917"/>
                    <a:gd name="T11" fmla="*/ 641 h 2931"/>
                    <a:gd name="T12" fmla="*/ 3917 w 3917"/>
                    <a:gd name="T13" fmla="*/ 819 h 2931"/>
                    <a:gd name="T14" fmla="*/ 3904 w 3917"/>
                    <a:gd name="T15" fmla="*/ 853 h 2931"/>
                    <a:gd name="T16" fmla="*/ 3846 w 3917"/>
                    <a:gd name="T17" fmla="*/ 860 h 2931"/>
                    <a:gd name="T18" fmla="*/ 3818 w 3917"/>
                    <a:gd name="T19" fmla="*/ 870 h 2931"/>
                    <a:gd name="T20" fmla="*/ 3791 w 3917"/>
                    <a:gd name="T21" fmla="*/ 900 h 2931"/>
                    <a:gd name="T22" fmla="*/ 3757 w 3917"/>
                    <a:gd name="T23" fmla="*/ 942 h 2931"/>
                    <a:gd name="T24" fmla="*/ 3748 w 3917"/>
                    <a:gd name="T25" fmla="*/ 1001 h 2931"/>
                    <a:gd name="T26" fmla="*/ 3747 w 3917"/>
                    <a:gd name="T27" fmla="*/ 1091 h 2931"/>
                    <a:gd name="T28" fmla="*/ 3723 w 3917"/>
                    <a:gd name="T29" fmla="*/ 1101 h 2931"/>
                    <a:gd name="T30" fmla="*/ 3681 w 3917"/>
                    <a:gd name="T31" fmla="*/ 1110 h 2931"/>
                    <a:gd name="T32" fmla="*/ 3694 w 3917"/>
                    <a:gd name="T33" fmla="*/ 1246 h 2931"/>
                    <a:gd name="T34" fmla="*/ 3729 w 3917"/>
                    <a:gd name="T35" fmla="*/ 1377 h 2931"/>
                    <a:gd name="T36" fmla="*/ 3613 w 3917"/>
                    <a:gd name="T37" fmla="*/ 1757 h 2931"/>
                    <a:gd name="T38" fmla="*/ 3620 w 3917"/>
                    <a:gd name="T39" fmla="*/ 2046 h 2931"/>
                    <a:gd name="T40" fmla="*/ 3573 w 3917"/>
                    <a:gd name="T41" fmla="*/ 2099 h 2931"/>
                    <a:gd name="T42" fmla="*/ 3530 w 3917"/>
                    <a:gd name="T43" fmla="*/ 2168 h 2931"/>
                    <a:gd name="T44" fmla="*/ 3504 w 3917"/>
                    <a:gd name="T45" fmla="*/ 2229 h 2931"/>
                    <a:gd name="T46" fmla="*/ 3494 w 3917"/>
                    <a:gd name="T47" fmla="*/ 2276 h 2931"/>
                    <a:gd name="T48" fmla="*/ 3468 w 3917"/>
                    <a:gd name="T49" fmla="*/ 2685 h 2931"/>
                    <a:gd name="T50" fmla="*/ 3425 w 3917"/>
                    <a:gd name="T51" fmla="*/ 2757 h 2931"/>
                    <a:gd name="T52" fmla="*/ 3385 w 3917"/>
                    <a:gd name="T53" fmla="*/ 2836 h 2931"/>
                    <a:gd name="T54" fmla="*/ 3333 w 3917"/>
                    <a:gd name="T55" fmla="*/ 2896 h 2931"/>
                    <a:gd name="T56" fmla="*/ 3291 w 3917"/>
                    <a:gd name="T57" fmla="*/ 2931 h 2931"/>
                    <a:gd name="T58" fmla="*/ 3281 w 3917"/>
                    <a:gd name="T59" fmla="*/ 2891 h 2931"/>
                    <a:gd name="T60" fmla="*/ 3304 w 3917"/>
                    <a:gd name="T61" fmla="*/ 2764 h 2931"/>
                    <a:gd name="T62" fmla="*/ 3191 w 3917"/>
                    <a:gd name="T63" fmla="*/ 2153 h 2931"/>
                    <a:gd name="T64" fmla="*/ 1317 w 3917"/>
                    <a:gd name="T65" fmla="*/ 1965 h 2931"/>
                    <a:gd name="T66" fmla="*/ 1296 w 3917"/>
                    <a:gd name="T67" fmla="*/ 1909 h 2931"/>
                    <a:gd name="T68" fmla="*/ 1282 w 3917"/>
                    <a:gd name="T69" fmla="*/ 1865 h 2931"/>
                    <a:gd name="T70" fmla="*/ 1224 w 3917"/>
                    <a:gd name="T71" fmla="*/ 1840 h 2931"/>
                    <a:gd name="T72" fmla="*/ 229 w 3917"/>
                    <a:gd name="T73" fmla="*/ 1260 h 2931"/>
                    <a:gd name="T74" fmla="*/ 350 w 3917"/>
                    <a:gd name="T75" fmla="*/ 634 h 2931"/>
                    <a:gd name="T76" fmla="*/ 322 w 3917"/>
                    <a:gd name="T77" fmla="*/ 555 h 2931"/>
                    <a:gd name="T78" fmla="*/ 303 w 3917"/>
                    <a:gd name="T79" fmla="*/ 520 h 2931"/>
                    <a:gd name="T80" fmla="*/ 254 w 3917"/>
                    <a:gd name="T81" fmla="*/ 534 h 2931"/>
                    <a:gd name="T82" fmla="*/ 215 w 3917"/>
                    <a:gd name="T83" fmla="*/ 535 h 2931"/>
                    <a:gd name="T84" fmla="*/ 177 w 3917"/>
                    <a:gd name="T85" fmla="*/ 490 h 2931"/>
                    <a:gd name="T86" fmla="*/ 137 w 3917"/>
                    <a:gd name="T87" fmla="*/ 458 h 2931"/>
                    <a:gd name="T88" fmla="*/ 224 w 3917"/>
                    <a:gd name="T89" fmla="*/ 407 h 2931"/>
                    <a:gd name="T90" fmla="*/ 237 w 3917"/>
                    <a:gd name="T91" fmla="*/ 378 h 2931"/>
                    <a:gd name="T92" fmla="*/ 249 w 3917"/>
                    <a:gd name="T93" fmla="*/ 359 h 2931"/>
                    <a:gd name="T94" fmla="*/ 289 w 3917"/>
                    <a:gd name="T95" fmla="*/ 355 h 2931"/>
                    <a:gd name="T96" fmla="*/ 327 w 3917"/>
                    <a:gd name="T97" fmla="*/ 345 h 2931"/>
                    <a:gd name="T98" fmla="*/ 356 w 3917"/>
                    <a:gd name="T99" fmla="*/ 315 h 2931"/>
                    <a:gd name="T100" fmla="*/ 352 w 3917"/>
                    <a:gd name="T101" fmla="*/ 270 h 2931"/>
                    <a:gd name="T102" fmla="*/ 2772 w 3917"/>
                    <a:gd name="T103" fmla="*/ 86 h 29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3917" h="2931">
                      <a:moveTo>
                        <a:pt x="3657" y="118"/>
                      </a:moveTo>
                      <a:lnTo>
                        <a:pt x="3698" y="450"/>
                      </a:lnTo>
                      <a:lnTo>
                        <a:pt x="3702" y="454"/>
                      </a:lnTo>
                      <a:lnTo>
                        <a:pt x="3705" y="457"/>
                      </a:lnTo>
                      <a:lnTo>
                        <a:pt x="3709" y="457"/>
                      </a:lnTo>
                      <a:lnTo>
                        <a:pt x="3713" y="460"/>
                      </a:lnTo>
                      <a:lnTo>
                        <a:pt x="3714" y="461"/>
                      </a:lnTo>
                      <a:lnTo>
                        <a:pt x="3724" y="464"/>
                      </a:lnTo>
                      <a:lnTo>
                        <a:pt x="3736" y="467"/>
                      </a:lnTo>
                      <a:lnTo>
                        <a:pt x="3740" y="469"/>
                      </a:lnTo>
                      <a:lnTo>
                        <a:pt x="3748" y="471"/>
                      </a:lnTo>
                      <a:lnTo>
                        <a:pt x="3756" y="474"/>
                      </a:lnTo>
                      <a:lnTo>
                        <a:pt x="3767" y="479"/>
                      </a:lnTo>
                      <a:lnTo>
                        <a:pt x="3776" y="483"/>
                      </a:lnTo>
                      <a:lnTo>
                        <a:pt x="3796" y="493"/>
                      </a:lnTo>
                      <a:lnTo>
                        <a:pt x="3812" y="500"/>
                      </a:lnTo>
                      <a:lnTo>
                        <a:pt x="3828" y="508"/>
                      </a:lnTo>
                      <a:lnTo>
                        <a:pt x="3846" y="517"/>
                      </a:lnTo>
                      <a:lnTo>
                        <a:pt x="3864" y="529"/>
                      </a:lnTo>
                      <a:lnTo>
                        <a:pt x="3878" y="539"/>
                      </a:lnTo>
                      <a:lnTo>
                        <a:pt x="3891" y="545"/>
                      </a:lnTo>
                      <a:lnTo>
                        <a:pt x="3902" y="550"/>
                      </a:lnTo>
                      <a:lnTo>
                        <a:pt x="3905" y="555"/>
                      </a:lnTo>
                      <a:lnTo>
                        <a:pt x="3908" y="560"/>
                      </a:lnTo>
                      <a:lnTo>
                        <a:pt x="3910" y="565"/>
                      </a:lnTo>
                      <a:lnTo>
                        <a:pt x="3911" y="570"/>
                      </a:lnTo>
                      <a:lnTo>
                        <a:pt x="3913" y="582"/>
                      </a:lnTo>
                      <a:lnTo>
                        <a:pt x="3913" y="594"/>
                      </a:lnTo>
                      <a:lnTo>
                        <a:pt x="3913" y="620"/>
                      </a:lnTo>
                      <a:lnTo>
                        <a:pt x="3912" y="641"/>
                      </a:lnTo>
                      <a:lnTo>
                        <a:pt x="3912" y="730"/>
                      </a:lnTo>
                      <a:lnTo>
                        <a:pt x="3915" y="759"/>
                      </a:lnTo>
                      <a:lnTo>
                        <a:pt x="3917" y="799"/>
                      </a:lnTo>
                      <a:lnTo>
                        <a:pt x="3917" y="810"/>
                      </a:lnTo>
                      <a:lnTo>
                        <a:pt x="3917" y="819"/>
                      </a:lnTo>
                      <a:lnTo>
                        <a:pt x="3916" y="829"/>
                      </a:lnTo>
                      <a:lnTo>
                        <a:pt x="3915" y="837"/>
                      </a:lnTo>
                      <a:lnTo>
                        <a:pt x="3911" y="844"/>
                      </a:lnTo>
                      <a:lnTo>
                        <a:pt x="3909" y="850"/>
                      </a:lnTo>
                      <a:lnTo>
                        <a:pt x="3904" y="853"/>
                      </a:lnTo>
                      <a:lnTo>
                        <a:pt x="3898" y="857"/>
                      </a:lnTo>
                      <a:lnTo>
                        <a:pt x="3883" y="860"/>
                      </a:lnTo>
                      <a:lnTo>
                        <a:pt x="3870" y="860"/>
                      </a:lnTo>
                      <a:lnTo>
                        <a:pt x="3857" y="860"/>
                      </a:lnTo>
                      <a:lnTo>
                        <a:pt x="3846" y="860"/>
                      </a:lnTo>
                      <a:lnTo>
                        <a:pt x="3841" y="862"/>
                      </a:lnTo>
                      <a:lnTo>
                        <a:pt x="3835" y="862"/>
                      </a:lnTo>
                      <a:lnTo>
                        <a:pt x="3830" y="864"/>
                      </a:lnTo>
                      <a:lnTo>
                        <a:pt x="3824" y="866"/>
                      </a:lnTo>
                      <a:lnTo>
                        <a:pt x="3818" y="870"/>
                      </a:lnTo>
                      <a:lnTo>
                        <a:pt x="3812" y="875"/>
                      </a:lnTo>
                      <a:lnTo>
                        <a:pt x="3807" y="880"/>
                      </a:lnTo>
                      <a:lnTo>
                        <a:pt x="3801" y="887"/>
                      </a:lnTo>
                      <a:lnTo>
                        <a:pt x="3796" y="895"/>
                      </a:lnTo>
                      <a:lnTo>
                        <a:pt x="3791" y="900"/>
                      </a:lnTo>
                      <a:lnTo>
                        <a:pt x="3785" y="906"/>
                      </a:lnTo>
                      <a:lnTo>
                        <a:pt x="3779" y="912"/>
                      </a:lnTo>
                      <a:lnTo>
                        <a:pt x="3768" y="923"/>
                      </a:lnTo>
                      <a:lnTo>
                        <a:pt x="3760" y="933"/>
                      </a:lnTo>
                      <a:lnTo>
                        <a:pt x="3757" y="942"/>
                      </a:lnTo>
                      <a:lnTo>
                        <a:pt x="3754" y="949"/>
                      </a:lnTo>
                      <a:lnTo>
                        <a:pt x="3751" y="957"/>
                      </a:lnTo>
                      <a:lnTo>
                        <a:pt x="3750" y="965"/>
                      </a:lnTo>
                      <a:lnTo>
                        <a:pt x="3748" y="983"/>
                      </a:lnTo>
                      <a:lnTo>
                        <a:pt x="3748" y="1001"/>
                      </a:lnTo>
                      <a:lnTo>
                        <a:pt x="3749" y="1037"/>
                      </a:lnTo>
                      <a:lnTo>
                        <a:pt x="3751" y="1070"/>
                      </a:lnTo>
                      <a:lnTo>
                        <a:pt x="3751" y="1080"/>
                      </a:lnTo>
                      <a:lnTo>
                        <a:pt x="3750" y="1087"/>
                      </a:lnTo>
                      <a:lnTo>
                        <a:pt x="3747" y="1091"/>
                      </a:lnTo>
                      <a:lnTo>
                        <a:pt x="3743" y="1096"/>
                      </a:lnTo>
                      <a:lnTo>
                        <a:pt x="3740" y="1098"/>
                      </a:lnTo>
                      <a:lnTo>
                        <a:pt x="3735" y="1100"/>
                      </a:lnTo>
                      <a:lnTo>
                        <a:pt x="3729" y="1101"/>
                      </a:lnTo>
                      <a:lnTo>
                        <a:pt x="3723" y="1101"/>
                      </a:lnTo>
                      <a:lnTo>
                        <a:pt x="3710" y="1102"/>
                      </a:lnTo>
                      <a:lnTo>
                        <a:pt x="3698" y="1103"/>
                      </a:lnTo>
                      <a:lnTo>
                        <a:pt x="3693" y="1104"/>
                      </a:lnTo>
                      <a:lnTo>
                        <a:pt x="3687" y="1107"/>
                      </a:lnTo>
                      <a:lnTo>
                        <a:pt x="3681" y="1110"/>
                      </a:lnTo>
                      <a:lnTo>
                        <a:pt x="3676" y="1115"/>
                      </a:lnTo>
                      <a:lnTo>
                        <a:pt x="3678" y="1147"/>
                      </a:lnTo>
                      <a:lnTo>
                        <a:pt x="3682" y="1181"/>
                      </a:lnTo>
                      <a:lnTo>
                        <a:pt x="3688" y="1214"/>
                      </a:lnTo>
                      <a:lnTo>
                        <a:pt x="3694" y="1246"/>
                      </a:lnTo>
                      <a:lnTo>
                        <a:pt x="3703" y="1282"/>
                      </a:lnTo>
                      <a:lnTo>
                        <a:pt x="3715" y="1320"/>
                      </a:lnTo>
                      <a:lnTo>
                        <a:pt x="3720" y="1340"/>
                      </a:lnTo>
                      <a:lnTo>
                        <a:pt x="3724" y="1359"/>
                      </a:lnTo>
                      <a:lnTo>
                        <a:pt x="3729" y="1377"/>
                      </a:lnTo>
                      <a:lnTo>
                        <a:pt x="3731" y="1394"/>
                      </a:lnTo>
                      <a:lnTo>
                        <a:pt x="3735" y="1401"/>
                      </a:lnTo>
                      <a:lnTo>
                        <a:pt x="3741" y="1408"/>
                      </a:lnTo>
                      <a:lnTo>
                        <a:pt x="3839" y="1529"/>
                      </a:lnTo>
                      <a:lnTo>
                        <a:pt x="3613" y="1757"/>
                      </a:lnTo>
                      <a:lnTo>
                        <a:pt x="3638" y="2018"/>
                      </a:lnTo>
                      <a:lnTo>
                        <a:pt x="3635" y="2026"/>
                      </a:lnTo>
                      <a:lnTo>
                        <a:pt x="3630" y="2033"/>
                      </a:lnTo>
                      <a:lnTo>
                        <a:pt x="3626" y="2040"/>
                      </a:lnTo>
                      <a:lnTo>
                        <a:pt x="3620" y="2046"/>
                      </a:lnTo>
                      <a:lnTo>
                        <a:pt x="3607" y="2059"/>
                      </a:lnTo>
                      <a:lnTo>
                        <a:pt x="3594" y="2071"/>
                      </a:lnTo>
                      <a:lnTo>
                        <a:pt x="3589" y="2080"/>
                      </a:lnTo>
                      <a:lnTo>
                        <a:pt x="3581" y="2090"/>
                      </a:lnTo>
                      <a:lnTo>
                        <a:pt x="3573" y="2099"/>
                      </a:lnTo>
                      <a:lnTo>
                        <a:pt x="3566" y="2107"/>
                      </a:lnTo>
                      <a:lnTo>
                        <a:pt x="3556" y="2120"/>
                      </a:lnTo>
                      <a:lnTo>
                        <a:pt x="3547" y="2137"/>
                      </a:lnTo>
                      <a:lnTo>
                        <a:pt x="3537" y="2153"/>
                      </a:lnTo>
                      <a:lnTo>
                        <a:pt x="3530" y="2168"/>
                      </a:lnTo>
                      <a:lnTo>
                        <a:pt x="3522" y="2184"/>
                      </a:lnTo>
                      <a:lnTo>
                        <a:pt x="3514" y="2202"/>
                      </a:lnTo>
                      <a:lnTo>
                        <a:pt x="3510" y="2211"/>
                      </a:lnTo>
                      <a:lnTo>
                        <a:pt x="3507" y="2221"/>
                      </a:lnTo>
                      <a:lnTo>
                        <a:pt x="3504" y="2229"/>
                      </a:lnTo>
                      <a:lnTo>
                        <a:pt x="3503" y="2237"/>
                      </a:lnTo>
                      <a:lnTo>
                        <a:pt x="3499" y="2245"/>
                      </a:lnTo>
                      <a:lnTo>
                        <a:pt x="3496" y="2256"/>
                      </a:lnTo>
                      <a:lnTo>
                        <a:pt x="3495" y="2265"/>
                      </a:lnTo>
                      <a:lnTo>
                        <a:pt x="3494" y="2276"/>
                      </a:lnTo>
                      <a:lnTo>
                        <a:pt x="3494" y="2298"/>
                      </a:lnTo>
                      <a:lnTo>
                        <a:pt x="3492" y="2317"/>
                      </a:lnTo>
                      <a:lnTo>
                        <a:pt x="3502" y="2652"/>
                      </a:lnTo>
                      <a:lnTo>
                        <a:pt x="3502" y="2652"/>
                      </a:lnTo>
                      <a:lnTo>
                        <a:pt x="3468" y="2685"/>
                      </a:lnTo>
                      <a:lnTo>
                        <a:pt x="3460" y="2696"/>
                      </a:lnTo>
                      <a:lnTo>
                        <a:pt x="3452" y="2707"/>
                      </a:lnTo>
                      <a:lnTo>
                        <a:pt x="3445" y="2719"/>
                      </a:lnTo>
                      <a:lnTo>
                        <a:pt x="3437" y="2731"/>
                      </a:lnTo>
                      <a:lnTo>
                        <a:pt x="3425" y="2757"/>
                      </a:lnTo>
                      <a:lnTo>
                        <a:pt x="3414" y="2782"/>
                      </a:lnTo>
                      <a:lnTo>
                        <a:pt x="3408" y="2796"/>
                      </a:lnTo>
                      <a:lnTo>
                        <a:pt x="3401" y="2809"/>
                      </a:lnTo>
                      <a:lnTo>
                        <a:pt x="3393" y="2823"/>
                      </a:lnTo>
                      <a:lnTo>
                        <a:pt x="3385" y="2836"/>
                      </a:lnTo>
                      <a:lnTo>
                        <a:pt x="3376" y="2848"/>
                      </a:lnTo>
                      <a:lnTo>
                        <a:pt x="3366" y="2861"/>
                      </a:lnTo>
                      <a:lnTo>
                        <a:pt x="3356" y="2872"/>
                      </a:lnTo>
                      <a:lnTo>
                        <a:pt x="3346" y="2883"/>
                      </a:lnTo>
                      <a:lnTo>
                        <a:pt x="3333" y="2896"/>
                      </a:lnTo>
                      <a:lnTo>
                        <a:pt x="3316" y="2912"/>
                      </a:lnTo>
                      <a:lnTo>
                        <a:pt x="3307" y="2921"/>
                      </a:lnTo>
                      <a:lnTo>
                        <a:pt x="3299" y="2927"/>
                      </a:lnTo>
                      <a:lnTo>
                        <a:pt x="3294" y="2929"/>
                      </a:lnTo>
                      <a:lnTo>
                        <a:pt x="3291" y="2931"/>
                      </a:lnTo>
                      <a:lnTo>
                        <a:pt x="3286" y="2931"/>
                      </a:lnTo>
                      <a:lnTo>
                        <a:pt x="3282" y="2931"/>
                      </a:lnTo>
                      <a:lnTo>
                        <a:pt x="3280" y="2918"/>
                      </a:lnTo>
                      <a:lnTo>
                        <a:pt x="3280" y="2905"/>
                      </a:lnTo>
                      <a:lnTo>
                        <a:pt x="3281" y="2891"/>
                      </a:lnTo>
                      <a:lnTo>
                        <a:pt x="3282" y="2876"/>
                      </a:lnTo>
                      <a:lnTo>
                        <a:pt x="3288" y="2848"/>
                      </a:lnTo>
                      <a:lnTo>
                        <a:pt x="3295" y="2822"/>
                      </a:lnTo>
                      <a:lnTo>
                        <a:pt x="3300" y="2793"/>
                      </a:lnTo>
                      <a:lnTo>
                        <a:pt x="3304" y="2764"/>
                      </a:lnTo>
                      <a:lnTo>
                        <a:pt x="3305" y="2750"/>
                      </a:lnTo>
                      <a:lnTo>
                        <a:pt x="3305" y="2734"/>
                      </a:lnTo>
                      <a:lnTo>
                        <a:pt x="3305" y="2720"/>
                      </a:lnTo>
                      <a:lnTo>
                        <a:pt x="3304" y="2706"/>
                      </a:lnTo>
                      <a:lnTo>
                        <a:pt x="3191" y="2153"/>
                      </a:lnTo>
                      <a:lnTo>
                        <a:pt x="2651" y="2245"/>
                      </a:lnTo>
                      <a:lnTo>
                        <a:pt x="2628" y="2056"/>
                      </a:lnTo>
                      <a:lnTo>
                        <a:pt x="1583" y="2229"/>
                      </a:lnTo>
                      <a:lnTo>
                        <a:pt x="1582" y="1932"/>
                      </a:lnTo>
                      <a:lnTo>
                        <a:pt x="1317" y="1965"/>
                      </a:lnTo>
                      <a:lnTo>
                        <a:pt x="1308" y="1946"/>
                      </a:lnTo>
                      <a:lnTo>
                        <a:pt x="1304" y="1938"/>
                      </a:lnTo>
                      <a:lnTo>
                        <a:pt x="1302" y="1929"/>
                      </a:lnTo>
                      <a:lnTo>
                        <a:pt x="1299" y="1919"/>
                      </a:lnTo>
                      <a:lnTo>
                        <a:pt x="1296" y="1909"/>
                      </a:lnTo>
                      <a:lnTo>
                        <a:pt x="1294" y="1900"/>
                      </a:lnTo>
                      <a:lnTo>
                        <a:pt x="1291" y="1892"/>
                      </a:lnTo>
                      <a:lnTo>
                        <a:pt x="1289" y="1882"/>
                      </a:lnTo>
                      <a:lnTo>
                        <a:pt x="1289" y="1873"/>
                      </a:lnTo>
                      <a:lnTo>
                        <a:pt x="1282" y="1865"/>
                      </a:lnTo>
                      <a:lnTo>
                        <a:pt x="1274" y="1858"/>
                      </a:lnTo>
                      <a:lnTo>
                        <a:pt x="1260" y="1852"/>
                      </a:lnTo>
                      <a:lnTo>
                        <a:pt x="1246" y="1848"/>
                      </a:lnTo>
                      <a:lnTo>
                        <a:pt x="1235" y="1843"/>
                      </a:lnTo>
                      <a:lnTo>
                        <a:pt x="1224" y="1840"/>
                      </a:lnTo>
                      <a:lnTo>
                        <a:pt x="1215" y="1834"/>
                      </a:lnTo>
                      <a:lnTo>
                        <a:pt x="1203" y="1828"/>
                      </a:lnTo>
                      <a:lnTo>
                        <a:pt x="733" y="1722"/>
                      </a:lnTo>
                      <a:lnTo>
                        <a:pt x="711" y="1338"/>
                      </a:lnTo>
                      <a:lnTo>
                        <a:pt x="229" y="1260"/>
                      </a:lnTo>
                      <a:lnTo>
                        <a:pt x="229" y="1260"/>
                      </a:lnTo>
                      <a:lnTo>
                        <a:pt x="356" y="666"/>
                      </a:lnTo>
                      <a:lnTo>
                        <a:pt x="356" y="654"/>
                      </a:lnTo>
                      <a:lnTo>
                        <a:pt x="354" y="644"/>
                      </a:lnTo>
                      <a:lnTo>
                        <a:pt x="350" y="634"/>
                      </a:lnTo>
                      <a:lnTo>
                        <a:pt x="347" y="626"/>
                      </a:lnTo>
                      <a:lnTo>
                        <a:pt x="338" y="608"/>
                      </a:lnTo>
                      <a:lnTo>
                        <a:pt x="330" y="589"/>
                      </a:lnTo>
                      <a:lnTo>
                        <a:pt x="327" y="573"/>
                      </a:lnTo>
                      <a:lnTo>
                        <a:pt x="322" y="555"/>
                      </a:lnTo>
                      <a:lnTo>
                        <a:pt x="320" y="539"/>
                      </a:lnTo>
                      <a:lnTo>
                        <a:pt x="316" y="523"/>
                      </a:lnTo>
                      <a:lnTo>
                        <a:pt x="313" y="521"/>
                      </a:lnTo>
                      <a:lnTo>
                        <a:pt x="308" y="521"/>
                      </a:lnTo>
                      <a:lnTo>
                        <a:pt x="303" y="520"/>
                      </a:lnTo>
                      <a:lnTo>
                        <a:pt x="298" y="521"/>
                      </a:lnTo>
                      <a:lnTo>
                        <a:pt x="288" y="522"/>
                      </a:lnTo>
                      <a:lnTo>
                        <a:pt x="276" y="526"/>
                      </a:lnTo>
                      <a:lnTo>
                        <a:pt x="264" y="529"/>
                      </a:lnTo>
                      <a:lnTo>
                        <a:pt x="254" y="534"/>
                      </a:lnTo>
                      <a:lnTo>
                        <a:pt x="243" y="536"/>
                      </a:lnTo>
                      <a:lnTo>
                        <a:pt x="233" y="537"/>
                      </a:lnTo>
                      <a:lnTo>
                        <a:pt x="226" y="537"/>
                      </a:lnTo>
                      <a:lnTo>
                        <a:pt x="220" y="536"/>
                      </a:lnTo>
                      <a:lnTo>
                        <a:pt x="215" y="535"/>
                      </a:lnTo>
                      <a:lnTo>
                        <a:pt x="210" y="534"/>
                      </a:lnTo>
                      <a:lnTo>
                        <a:pt x="203" y="529"/>
                      </a:lnTo>
                      <a:lnTo>
                        <a:pt x="199" y="522"/>
                      </a:lnTo>
                      <a:lnTo>
                        <a:pt x="189" y="508"/>
                      </a:lnTo>
                      <a:lnTo>
                        <a:pt x="177" y="490"/>
                      </a:lnTo>
                      <a:lnTo>
                        <a:pt x="167" y="482"/>
                      </a:lnTo>
                      <a:lnTo>
                        <a:pt x="156" y="476"/>
                      </a:lnTo>
                      <a:lnTo>
                        <a:pt x="146" y="469"/>
                      </a:lnTo>
                      <a:lnTo>
                        <a:pt x="134" y="462"/>
                      </a:lnTo>
                      <a:lnTo>
                        <a:pt x="137" y="458"/>
                      </a:lnTo>
                      <a:lnTo>
                        <a:pt x="147" y="453"/>
                      </a:lnTo>
                      <a:lnTo>
                        <a:pt x="160" y="444"/>
                      </a:lnTo>
                      <a:lnTo>
                        <a:pt x="175" y="436"/>
                      </a:lnTo>
                      <a:lnTo>
                        <a:pt x="206" y="420"/>
                      </a:lnTo>
                      <a:lnTo>
                        <a:pt x="224" y="407"/>
                      </a:lnTo>
                      <a:lnTo>
                        <a:pt x="229" y="402"/>
                      </a:lnTo>
                      <a:lnTo>
                        <a:pt x="233" y="397"/>
                      </a:lnTo>
                      <a:lnTo>
                        <a:pt x="234" y="392"/>
                      </a:lnTo>
                      <a:lnTo>
                        <a:pt x="236" y="388"/>
                      </a:lnTo>
                      <a:lnTo>
                        <a:pt x="237" y="378"/>
                      </a:lnTo>
                      <a:lnTo>
                        <a:pt x="240" y="371"/>
                      </a:lnTo>
                      <a:lnTo>
                        <a:pt x="241" y="368"/>
                      </a:lnTo>
                      <a:lnTo>
                        <a:pt x="243" y="364"/>
                      </a:lnTo>
                      <a:lnTo>
                        <a:pt x="246" y="362"/>
                      </a:lnTo>
                      <a:lnTo>
                        <a:pt x="249" y="359"/>
                      </a:lnTo>
                      <a:lnTo>
                        <a:pt x="255" y="357"/>
                      </a:lnTo>
                      <a:lnTo>
                        <a:pt x="261" y="356"/>
                      </a:lnTo>
                      <a:lnTo>
                        <a:pt x="269" y="355"/>
                      </a:lnTo>
                      <a:lnTo>
                        <a:pt x="280" y="355"/>
                      </a:lnTo>
                      <a:lnTo>
                        <a:pt x="289" y="355"/>
                      </a:lnTo>
                      <a:lnTo>
                        <a:pt x="297" y="354"/>
                      </a:lnTo>
                      <a:lnTo>
                        <a:pt x="304" y="352"/>
                      </a:lnTo>
                      <a:lnTo>
                        <a:pt x="313" y="351"/>
                      </a:lnTo>
                      <a:lnTo>
                        <a:pt x="320" y="349"/>
                      </a:lnTo>
                      <a:lnTo>
                        <a:pt x="327" y="345"/>
                      </a:lnTo>
                      <a:lnTo>
                        <a:pt x="334" y="341"/>
                      </a:lnTo>
                      <a:lnTo>
                        <a:pt x="341" y="336"/>
                      </a:lnTo>
                      <a:lnTo>
                        <a:pt x="348" y="330"/>
                      </a:lnTo>
                      <a:lnTo>
                        <a:pt x="354" y="322"/>
                      </a:lnTo>
                      <a:lnTo>
                        <a:pt x="356" y="315"/>
                      </a:lnTo>
                      <a:lnTo>
                        <a:pt x="358" y="305"/>
                      </a:lnTo>
                      <a:lnTo>
                        <a:pt x="358" y="297"/>
                      </a:lnTo>
                      <a:lnTo>
                        <a:pt x="357" y="288"/>
                      </a:lnTo>
                      <a:lnTo>
                        <a:pt x="355" y="279"/>
                      </a:lnTo>
                      <a:lnTo>
                        <a:pt x="352" y="270"/>
                      </a:lnTo>
                      <a:lnTo>
                        <a:pt x="0" y="269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2772" y="86"/>
                      </a:lnTo>
                      <a:lnTo>
                        <a:pt x="2772" y="86"/>
                      </a:lnTo>
                      <a:lnTo>
                        <a:pt x="3657" y="118"/>
                      </a:lnTo>
                      <a:lnTo>
                        <a:pt x="3657" y="118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62">
                  <a:extLst>
                    <a:ext uri="{FF2B5EF4-FFF2-40B4-BE49-F238E27FC236}">
                      <a16:creationId xmlns:a16="http://schemas.microsoft.com/office/drawing/2014/main" id="{260CB610-8399-4E4E-8E3F-433A61DFE5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324024" y="3277735"/>
                  <a:ext cx="30150" cy="30151"/>
                </a:xfrm>
                <a:custGeom>
                  <a:avLst/>
                  <a:gdLst>
                    <a:gd name="T0" fmla="*/ 61 w 124"/>
                    <a:gd name="T1" fmla="*/ 0 h 123"/>
                    <a:gd name="T2" fmla="*/ 68 w 124"/>
                    <a:gd name="T3" fmla="*/ 0 h 123"/>
                    <a:gd name="T4" fmla="*/ 74 w 124"/>
                    <a:gd name="T5" fmla="*/ 2 h 123"/>
                    <a:gd name="T6" fmla="*/ 80 w 124"/>
                    <a:gd name="T7" fmla="*/ 3 h 123"/>
                    <a:gd name="T8" fmla="*/ 86 w 124"/>
                    <a:gd name="T9" fmla="*/ 5 h 123"/>
                    <a:gd name="T10" fmla="*/ 97 w 124"/>
                    <a:gd name="T11" fmla="*/ 10 h 123"/>
                    <a:gd name="T12" fmla="*/ 105 w 124"/>
                    <a:gd name="T13" fmla="*/ 18 h 123"/>
                    <a:gd name="T14" fmla="*/ 113 w 124"/>
                    <a:gd name="T15" fmla="*/ 28 h 123"/>
                    <a:gd name="T16" fmla="*/ 119 w 124"/>
                    <a:gd name="T17" fmla="*/ 37 h 123"/>
                    <a:gd name="T18" fmla="*/ 120 w 124"/>
                    <a:gd name="T19" fmla="*/ 43 h 123"/>
                    <a:gd name="T20" fmla="*/ 122 w 124"/>
                    <a:gd name="T21" fmla="*/ 49 h 123"/>
                    <a:gd name="T22" fmla="*/ 122 w 124"/>
                    <a:gd name="T23" fmla="*/ 55 h 123"/>
                    <a:gd name="T24" fmla="*/ 124 w 124"/>
                    <a:gd name="T25" fmla="*/ 62 h 123"/>
                    <a:gd name="T26" fmla="*/ 122 w 124"/>
                    <a:gd name="T27" fmla="*/ 68 h 123"/>
                    <a:gd name="T28" fmla="*/ 122 w 124"/>
                    <a:gd name="T29" fmla="*/ 74 h 123"/>
                    <a:gd name="T30" fmla="*/ 120 w 124"/>
                    <a:gd name="T31" fmla="*/ 79 h 123"/>
                    <a:gd name="T32" fmla="*/ 119 w 124"/>
                    <a:gd name="T33" fmla="*/ 85 h 123"/>
                    <a:gd name="T34" fmla="*/ 113 w 124"/>
                    <a:gd name="T35" fmla="*/ 96 h 123"/>
                    <a:gd name="T36" fmla="*/ 105 w 124"/>
                    <a:gd name="T37" fmla="*/ 105 h 123"/>
                    <a:gd name="T38" fmla="*/ 97 w 124"/>
                    <a:gd name="T39" fmla="*/ 112 h 123"/>
                    <a:gd name="T40" fmla="*/ 86 w 124"/>
                    <a:gd name="T41" fmla="*/ 118 h 123"/>
                    <a:gd name="T42" fmla="*/ 80 w 124"/>
                    <a:gd name="T43" fmla="*/ 121 h 123"/>
                    <a:gd name="T44" fmla="*/ 74 w 124"/>
                    <a:gd name="T45" fmla="*/ 122 h 123"/>
                    <a:gd name="T46" fmla="*/ 68 w 124"/>
                    <a:gd name="T47" fmla="*/ 123 h 123"/>
                    <a:gd name="T48" fmla="*/ 61 w 124"/>
                    <a:gd name="T49" fmla="*/ 123 h 123"/>
                    <a:gd name="T50" fmla="*/ 55 w 124"/>
                    <a:gd name="T51" fmla="*/ 123 h 123"/>
                    <a:gd name="T52" fmla="*/ 50 w 124"/>
                    <a:gd name="T53" fmla="*/ 122 h 123"/>
                    <a:gd name="T54" fmla="*/ 44 w 124"/>
                    <a:gd name="T55" fmla="*/ 121 h 123"/>
                    <a:gd name="T56" fmla="*/ 38 w 124"/>
                    <a:gd name="T57" fmla="*/ 118 h 123"/>
                    <a:gd name="T58" fmla="*/ 27 w 124"/>
                    <a:gd name="T59" fmla="*/ 112 h 123"/>
                    <a:gd name="T60" fmla="*/ 18 w 124"/>
                    <a:gd name="T61" fmla="*/ 105 h 123"/>
                    <a:gd name="T62" fmla="*/ 11 w 124"/>
                    <a:gd name="T63" fmla="*/ 96 h 123"/>
                    <a:gd name="T64" fmla="*/ 5 w 124"/>
                    <a:gd name="T65" fmla="*/ 85 h 123"/>
                    <a:gd name="T66" fmla="*/ 4 w 124"/>
                    <a:gd name="T67" fmla="*/ 79 h 123"/>
                    <a:gd name="T68" fmla="*/ 1 w 124"/>
                    <a:gd name="T69" fmla="*/ 74 h 123"/>
                    <a:gd name="T70" fmla="*/ 0 w 124"/>
                    <a:gd name="T71" fmla="*/ 68 h 123"/>
                    <a:gd name="T72" fmla="*/ 0 w 124"/>
                    <a:gd name="T73" fmla="*/ 62 h 123"/>
                    <a:gd name="T74" fmla="*/ 0 w 124"/>
                    <a:gd name="T75" fmla="*/ 55 h 123"/>
                    <a:gd name="T76" fmla="*/ 1 w 124"/>
                    <a:gd name="T77" fmla="*/ 49 h 123"/>
                    <a:gd name="T78" fmla="*/ 4 w 124"/>
                    <a:gd name="T79" fmla="*/ 43 h 123"/>
                    <a:gd name="T80" fmla="*/ 5 w 124"/>
                    <a:gd name="T81" fmla="*/ 37 h 123"/>
                    <a:gd name="T82" fmla="*/ 11 w 124"/>
                    <a:gd name="T83" fmla="*/ 28 h 123"/>
                    <a:gd name="T84" fmla="*/ 18 w 124"/>
                    <a:gd name="T85" fmla="*/ 18 h 123"/>
                    <a:gd name="T86" fmla="*/ 27 w 124"/>
                    <a:gd name="T87" fmla="*/ 10 h 123"/>
                    <a:gd name="T88" fmla="*/ 38 w 124"/>
                    <a:gd name="T89" fmla="*/ 5 h 123"/>
                    <a:gd name="T90" fmla="*/ 44 w 124"/>
                    <a:gd name="T91" fmla="*/ 3 h 123"/>
                    <a:gd name="T92" fmla="*/ 50 w 124"/>
                    <a:gd name="T93" fmla="*/ 2 h 123"/>
                    <a:gd name="T94" fmla="*/ 55 w 124"/>
                    <a:gd name="T95" fmla="*/ 0 h 123"/>
                    <a:gd name="T96" fmla="*/ 61 w 124"/>
                    <a:gd name="T97" fmla="*/ 0 h 1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24" h="123">
                      <a:moveTo>
                        <a:pt x="61" y="0"/>
                      </a:moveTo>
                      <a:lnTo>
                        <a:pt x="68" y="0"/>
                      </a:lnTo>
                      <a:lnTo>
                        <a:pt x="74" y="2"/>
                      </a:lnTo>
                      <a:lnTo>
                        <a:pt x="80" y="3"/>
                      </a:lnTo>
                      <a:lnTo>
                        <a:pt x="86" y="5"/>
                      </a:lnTo>
                      <a:lnTo>
                        <a:pt x="97" y="10"/>
                      </a:lnTo>
                      <a:lnTo>
                        <a:pt x="105" y="18"/>
                      </a:lnTo>
                      <a:lnTo>
                        <a:pt x="113" y="28"/>
                      </a:lnTo>
                      <a:lnTo>
                        <a:pt x="119" y="37"/>
                      </a:lnTo>
                      <a:lnTo>
                        <a:pt x="120" y="43"/>
                      </a:lnTo>
                      <a:lnTo>
                        <a:pt x="122" y="49"/>
                      </a:lnTo>
                      <a:lnTo>
                        <a:pt x="122" y="55"/>
                      </a:lnTo>
                      <a:lnTo>
                        <a:pt x="124" y="62"/>
                      </a:lnTo>
                      <a:lnTo>
                        <a:pt x="122" y="68"/>
                      </a:lnTo>
                      <a:lnTo>
                        <a:pt x="122" y="74"/>
                      </a:lnTo>
                      <a:lnTo>
                        <a:pt x="120" y="79"/>
                      </a:lnTo>
                      <a:lnTo>
                        <a:pt x="119" y="85"/>
                      </a:lnTo>
                      <a:lnTo>
                        <a:pt x="113" y="96"/>
                      </a:lnTo>
                      <a:lnTo>
                        <a:pt x="105" y="105"/>
                      </a:lnTo>
                      <a:lnTo>
                        <a:pt x="97" y="112"/>
                      </a:lnTo>
                      <a:lnTo>
                        <a:pt x="86" y="118"/>
                      </a:lnTo>
                      <a:lnTo>
                        <a:pt x="80" y="121"/>
                      </a:lnTo>
                      <a:lnTo>
                        <a:pt x="74" y="122"/>
                      </a:lnTo>
                      <a:lnTo>
                        <a:pt x="68" y="123"/>
                      </a:lnTo>
                      <a:lnTo>
                        <a:pt x="61" y="123"/>
                      </a:lnTo>
                      <a:lnTo>
                        <a:pt x="55" y="123"/>
                      </a:lnTo>
                      <a:lnTo>
                        <a:pt x="50" y="122"/>
                      </a:lnTo>
                      <a:lnTo>
                        <a:pt x="44" y="121"/>
                      </a:lnTo>
                      <a:lnTo>
                        <a:pt x="38" y="118"/>
                      </a:lnTo>
                      <a:lnTo>
                        <a:pt x="27" y="112"/>
                      </a:lnTo>
                      <a:lnTo>
                        <a:pt x="18" y="105"/>
                      </a:lnTo>
                      <a:lnTo>
                        <a:pt x="11" y="96"/>
                      </a:lnTo>
                      <a:lnTo>
                        <a:pt x="5" y="85"/>
                      </a:lnTo>
                      <a:lnTo>
                        <a:pt x="4" y="79"/>
                      </a:lnTo>
                      <a:lnTo>
                        <a:pt x="1" y="74"/>
                      </a:lnTo>
                      <a:lnTo>
                        <a:pt x="0" y="68"/>
                      </a:lnTo>
                      <a:lnTo>
                        <a:pt x="0" y="62"/>
                      </a:lnTo>
                      <a:lnTo>
                        <a:pt x="0" y="55"/>
                      </a:lnTo>
                      <a:lnTo>
                        <a:pt x="1" y="49"/>
                      </a:lnTo>
                      <a:lnTo>
                        <a:pt x="4" y="43"/>
                      </a:lnTo>
                      <a:lnTo>
                        <a:pt x="5" y="37"/>
                      </a:lnTo>
                      <a:lnTo>
                        <a:pt x="11" y="28"/>
                      </a:lnTo>
                      <a:lnTo>
                        <a:pt x="18" y="18"/>
                      </a:lnTo>
                      <a:lnTo>
                        <a:pt x="27" y="10"/>
                      </a:lnTo>
                      <a:lnTo>
                        <a:pt x="38" y="5"/>
                      </a:lnTo>
                      <a:lnTo>
                        <a:pt x="44" y="3"/>
                      </a:lnTo>
                      <a:lnTo>
                        <a:pt x="50" y="2"/>
                      </a:lnTo>
                      <a:lnTo>
                        <a:pt x="55" y="0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50D1656E-397F-430A-A6CE-50B7973C0A36}"/>
                    </a:ext>
                  </a:extLst>
                </p:cNvPr>
                <p:cNvSpPr/>
                <p:nvPr/>
              </p:nvSpPr>
              <p:spPr>
                <a:xfrm>
                  <a:off x="7943630" y="2707214"/>
                  <a:ext cx="960393" cy="1033558"/>
                </a:xfrm>
                <a:prstGeom prst="rect">
                  <a:avLst/>
                </a:prstGeom>
                <a:noFill/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rnd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7" name="Freeform 48">
                  <a:extLst>
                    <a:ext uri="{FF2B5EF4-FFF2-40B4-BE49-F238E27FC236}">
                      <a16:creationId xmlns:a16="http://schemas.microsoft.com/office/drawing/2014/main" id="{0CFA103C-9441-44F0-AE42-80988D596A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53284" y="2685011"/>
                  <a:ext cx="1011869" cy="1167796"/>
                </a:xfrm>
                <a:custGeom>
                  <a:avLst/>
                  <a:gdLst>
                    <a:gd name="T0" fmla="*/ 4026 w 4128"/>
                    <a:gd name="T1" fmla="*/ 4111 h 4766"/>
                    <a:gd name="T2" fmla="*/ 4079 w 4128"/>
                    <a:gd name="T3" fmla="*/ 3997 h 4766"/>
                    <a:gd name="T4" fmla="*/ 4045 w 4128"/>
                    <a:gd name="T5" fmla="*/ 3703 h 4766"/>
                    <a:gd name="T6" fmla="*/ 4017 w 4128"/>
                    <a:gd name="T7" fmla="*/ 3586 h 4766"/>
                    <a:gd name="T8" fmla="*/ 3817 w 4128"/>
                    <a:gd name="T9" fmla="*/ 3576 h 4766"/>
                    <a:gd name="T10" fmla="*/ 3695 w 4128"/>
                    <a:gd name="T11" fmla="*/ 3546 h 4766"/>
                    <a:gd name="T12" fmla="*/ 3538 w 4128"/>
                    <a:gd name="T13" fmla="*/ 3411 h 4766"/>
                    <a:gd name="T14" fmla="*/ 3546 w 4128"/>
                    <a:gd name="T15" fmla="*/ 3240 h 4766"/>
                    <a:gd name="T16" fmla="*/ 3622 w 4128"/>
                    <a:gd name="T17" fmla="*/ 3073 h 4766"/>
                    <a:gd name="T18" fmla="*/ 3763 w 4128"/>
                    <a:gd name="T19" fmla="*/ 3051 h 4766"/>
                    <a:gd name="T20" fmla="*/ 3852 w 4128"/>
                    <a:gd name="T21" fmla="*/ 3070 h 4766"/>
                    <a:gd name="T22" fmla="*/ 3982 w 4128"/>
                    <a:gd name="T23" fmla="*/ 3051 h 4766"/>
                    <a:gd name="T24" fmla="*/ 4021 w 4128"/>
                    <a:gd name="T25" fmla="*/ 2930 h 4766"/>
                    <a:gd name="T26" fmla="*/ 4088 w 4128"/>
                    <a:gd name="T27" fmla="*/ 2740 h 4766"/>
                    <a:gd name="T28" fmla="*/ 3785 w 4128"/>
                    <a:gd name="T29" fmla="*/ 2657 h 4766"/>
                    <a:gd name="T30" fmla="*/ 3616 w 4128"/>
                    <a:gd name="T31" fmla="*/ 2747 h 4766"/>
                    <a:gd name="T32" fmla="*/ 3496 w 4128"/>
                    <a:gd name="T33" fmla="*/ 2586 h 4766"/>
                    <a:gd name="T34" fmla="*/ 3421 w 4128"/>
                    <a:gd name="T35" fmla="*/ 2486 h 4766"/>
                    <a:gd name="T36" fmla="*/ 3514 w 4128"/>
                    <a:gd name="T37" fmla="*/ 2397 h 4766"/>
                    <a:gd name="T38" fmla="*/ 3505 w 4128"/>
                    <a:gd name="T39" fmla="*/ 2338 h 4766"/>
                    <a:gd name="T40" fmla="*/ 3619 w 4128"/>
                    <a:gd name="T41" fmla="*/ 2263 h 4766"/>
                    <a:gd name="T42" fmla="*/ 3532 w 4128"/>
                    <a:gd name="T43" fmla="*/ 2186 h 4766"/>
                    <a:gd name="T44" fmla="*/ 3595 w 4128"/>
                    <a:gd name="T45" fmla="*/ 2117 h 4766"/>
                    <a:gd name="T46" fmla="*/ 3739 w 4128"/>
                    <a:gd name="T47" fmla="*/ 2048 h 4766"/>
                    <a:gd name="T48" fmla="*/ 3777 w 4128"/>
                    <a:gd name="T49" fmla="*/ 1880 h 4766"/>
                    <a:gd name="T50" fmla="*/ 3797 w 4128"/>
                    <a:gd name="T51" fmla="*/ 1709 h 4766"/>
                    <a:gd name="T52" fmla="*/ 3736 w 4128"/>
                    <a:gd name="T53" fmla="*/ 1637 h 4766"/>
                    <a:gd name="T54" fmla="*/ 3817 w 4128"/>
                    <a:gd name="T55" fmla="*/ 1496 h 4766"/>
                    <a:gd name="T56" fmla="*/ 3874 w 4128"/>
                    <a:gd name="T57" fmla="*/ 1372 h 4766"/>
                    <a:gd name="T58" fmla="*/ 3796 w 4128"/>
                    <a:gd name="T59" fmla="*/ 1190 h 4766"/>
                    <a:gd name="T60" fmla="*/ 3663 w 4128"/>
                    <a:gd name="T61" fmla="*/ 1171 h 4766"/>
                    <a:gd name="T62" fmla="*/ 3539 w 4128"/>
                    <a:gd name="T63" fmla="*/ 1201 h 4766"/>
                    <a:gd name="T64" fmla="*/ 3430 w 4128"/>
                    <a:gd name="T65" fmla="*/ 1143 h 4766"/>
                    <a:gd name="T66" fmla="*/ 3342 w 4128"/>
                    <a:gd name="T67" fmla="*/ 1247 h 4766"/>
                    <a:gd name="T68" fmla="*/ 3206 w 4128"/>
                    <a:gd name="T69" fmla="*/ 759 h 4766"/>
                    <a:gd name="T70" fmla="*/ 206 w 4128"/>
                    <a:gd name="T71" fmla="*/ 332 h 4766"/>
                    <a:gd name="T72" fmla="*/ 275 w 4128"/>
                    <a:gd name="T73" fmla="*/ 361 h 4766"/>
                    <a:gd name="T74" fmla="*/ 416 w 4128"/>
                    <a:gd name="T75" fmla="*/ 442 h 4766"/>
                    <a:gd name="T76" fmla="*/ 425 w 4128"/>
                    <a:gd name="T77" fmla="*/ 701 h 4766"/>
                    <a:gd name="T78" fmla="*/ 349 w 4128"/>
                    <a:gd name="T79" fmla="*/ 744 h 4766"/>
                    <a:gd name="T80" fmla="*/ 287 w 4128"/>
                    <a:gd name="T81" fmla="*/ 794 h 4766"/>
                    <a:gd name="T82" fmla="*/ 259 w 4128"/>
                    <a:gd name="T83" fmla="*/ 962 h 4766"/>
                    <a:gd name="T84" fmla="*/ 195 w 4128"/>
                    <a:gd name="T85" fmla="*/ 989 h 4766"/>
                    <a:gd name="T86" fmla="*/ 237 w 4128"/>
                    <a:gd name="T87" fmla="*/ 1259 h 4766"/>
                    <a:gd name="T88" fmla="*/ 115 w 4128"/>
                    <a:gd name="T89" fmla="*/ 1941 h 4766"/>
                    <a:gd name="T90" fmla="*/ 22 w 4128"/>
                    <a:gd name="T91" fmla="*/ 2084 h 4766"/>
                    <a:gd name="T92" fmla="*/ 10 w 4128"/>
                    <a:gd name="T93" fmla="*/ 2534 h 4766"/>
                    <a:gd name="T94" fmla="*/ 149 w 4128"/>
                    <a:gd name="T95" fmla="*/ 2459 h 4766"/>
                    <a:gd name="T96" fmla="*/ 173 w 4128"/>
                    <a:gd name="T97" fmla="*/ 2685 h 4766"/>
                    <a:gd name="T98" fmla="*/ 223 w 4128"/>
                    <a:gd name="T99" fmla="*/ 2811 h 4766"/>
                    <a:gd name="T100" fmla="*/ 496 w 4128"/>
                    <a:gd name="T101" fmla="*/ 2773 h 4766"/>
                    <a:gd name="T102" fmla="*/ 498 w 4128"/>
                    <a:gd name="T103" fmla="*/ 2844 h 4766"/>
                    <a:gd name="T104" fmla="*/ 552 w 4128"/>
                    <a:gd name="T105" fmla="*/ 2885 h 4766"/>
                    <a:gd name="T106" fmla="*/ 503 w 4128"/>
                    <a:gd name="T107" fmla="*/ 2991 h 4766"/>
                    <a:gd name="T108" fmla="*/ 498 w 4128"/>
                    <a:gd name="T109" fmla="*/ 3107 h 4766"/>
                    <a:gd name="T110" fmla="*/ 454 w 4128"/>
                    <a:gd name="T111" fmla="*/ 3221 h 4766"/>
                    <a:gd name="T112" fmla="*/ 287 w 4128"/>
                    <a:gd name="T113" fmla="*/ 3420 h 4766"/>
                    <a:gd name="T114" fmla="*/ 258 w 4128"/>
                    <a:gd name="T115" fmla="*/ 3544 h 4766"/>
                    <a:gd name="T116" fmla="*/ 354 w 4128"/>
                    <a:gd name="T117" fmla="*/ 3655 h 4766"/>
                    <a:gd name="T118" fmla="*/ 557 w 4128"/>
                    <a:gd name="T119" fmla="*/ 3770 h 4766"/>
                    <a:gd name="T120" fmla="*/ 759 w 4128"/>
                    <a:gd name="T121" fmla="*/ 3782 h 4766"/>
                    <a:gd name="T122" fmla="*/ 2774 w 4128"/>
                    <a:gd name="T123" fmla="*/ 4763 h 47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128" h="4766">
                      <a:moveTo>
                        <a:pt x="4034" y="4716"/>
                      </a:moveTo>
                      <a:lnTo>
                        <a:pt x="4037" y="4175"/>
                      </a:lnTo>
                      <a:lnTo>
                        <a:pt x="4039" y="4171"/>
                      </a:lnTo>
                      <a:lnTo>
                        <a:pt x="4040" y="4168"/>
                      </a:lnTo>
                      <a:lnTo>
                        <a:pt x="4042" y="4160"/>
                      </a:lnTo>
                      <a:lnTo>
                        <a:pt x="4044" y="4155"/>
                      </a:lnTo>
                      <a:lnTo>
                        <a:pt x="4044" y="4149"/>
                      </a:lnTo>
                      <a:lnTo>
                        <a:pt x="4041" y="4143"/>
                      </a:lnTo>
                      <a:lnTo>
                        <a:pt x="4038" y="4132"/>
                      </a:lnTo>
                      <a:lnTo>
                        <a:pt x="4031" y="4122"/>
                      </a:lnTo>
                      <a:lnTo>
                        <a:pt x="4026" y="4111"/>
                      </a:lnTo>
                      <a:lnTo>
                        <a:pt x="4022" y="4102"/>
                      </a:lnTo>
                      <a:lnTo>
                        <a:pt x="4020" y="4093"/>
                      </a:lnTo>
                      <a:lnTo>
                        <a:pt x="4019" y="4084"/>
                      </a:lnTo>
                      <a:lnTo>
                        <a:pt x="4020" y="4074"/>
                      </a:lnTo>
                      <a:lnTo>
                        <a:pt x="4022" y="4066"/>
                      </a:lnTo>
                      <a:lnTo>
                        <a:pt x="4026" y="4057"/>
                      </a:lnTo>
                      <a:lnTo>
                        <a:pt x="4032" y="4047"/>
                      </a:lnTo>
                      <a:lnTo>
                        <a:pt x="4041" y="4036"/>
                      </a:lnTo>
                      <a:lnTo>
                        <a:pt x="4053" y="4023"/>
                      </a:lnTo>
                      <a:lnTo>
                        <a:pt x="4066" y="4010"/>
                      </a:lnTo>
                      <a:lnTo>
                        <a:pt x="4079" y="3997"/>
                      </a:lnTo>
                      <a:lnTo>
                        <a:pt x="4106" y="3971"/>
                      </a:lnTo>
                      <a:lnTo>
                        <a:pt x="4128" y="3946"/>
                      </a:lnTo>
                      <a:lnTo>
                        <a:pt x="4127" y="3779"/>
                      </a:lnTo>
                      <a:lnTo>
                        <a:pt x="4127" y="3779"/>
                      </a:lnTo>
                      <a:lnTo>
                        <a:pt x="4126" y="3710"/>
                      </a:lnTo>
                      <a:lnTo>
                        <a:pt x="4105" y="3710"/>
                      </a:lnTo>
                      <a:lnTo>
                        <a:pt x="4084" y="3710"/>
                      </a:lnTo>
                      <a:lnTo>
                        <a:pt x="4074" y="3709"/>
                      </a:lnTo>
                      <a:lnTo>
                        <a:pt x="4064" y="3708"/>
                      </a:lnTo>
                      <a:lnTo>
                        <a:pt x="4054" y="3706"/>
                      </a:lnTo>
                      <a:lnTo>
                        <a:pt x="4045" y="3703"/>
                      </a:lnTo>
                      <a:lnTo>
                        <a:pt x="4044" y="3700"/>
                      </a:lnTo>
                      <a:lnTo>
                        <a:pt x="4041" y="3698"/>
                      </a:lnTo>
                      <a:lnTo>
                        <a:pt x="4040" y="3683"/>
                      </a:lnTo>
                      <a:lnTo>
                        <a:pt x="4039" y="3665"/>
                      </a:lnTo>
                      <a:lnTo>
                        <a:pt x="4037" y="3645"/>
                      </a:lnTo>
                      <a:lnTo>
                        <a:pt x="4033" y="3625"/>
                      </a:lnTo>
                      <a:lnTo>
                        <a:pt x="4031" y="3616"/>
                      </a:lnTo>
                      <a:lnTo>
                        <a:pt x="4028" y="3608"/>
                      </a:lnTo>
                      <a:lnTo>
                        <a:pt x="4025" y="3599"/>
                      </a:lnTo>
                      <a:lnTo>
                        <a:pt x="4021" y="3592"/>
                      </a:lnTo>
                      <a:lnTo>
                        <a:pt x="4017" y="3586"/>
                      </a:lnTo>
                      <a:lnTo>
                        <a:pt x="4011" y="3583"/>
                      </a:lnTo>
                      <a:lnTo>
                        <a:pt x="4005" y="3579"/>
                      </a:lnTo>
                      <a:lnTo>
                        <a:pt x="3998" y="3578"/>
                      </a:lnTo>
                      <a:lnTo>
                        <a:pt x="3977" y="3578"/>
                      </a:lnTo>
                      <a:lnTo>
                        <a:pt x="3953" y="3577"/>
                      </a:lnTo>
                      <a:lnTo>
                        <a:pt x="3930" y="3575"/>
                      </a:lnTo>
                      <a:lnTo>
                        <a:pt x="3906" y="3574"/>
                      </a:lnTo>
                      <a:lnTo>
                        <a:pt x="3883" y="3572"/>
                      </a:lnTo>
                      <a:lnTo>
                        <a:pt x="3860" y="3572"/>
                      </a:lnTo>
                      <a:lnTo>
                        <a:pt x="3838" y="3574"/>
                      </a:lnTo>
                      <a:lnTo>
                        <a:pt x="3817" y="3576"/>
                      </a:lnTo>
                      <a:lnTo>
                        <a:pt x="3787" y="3586"/>
                      </a:lnTo>
                      <a:lnTo>
                        <a:pt x="3765" y="3595"/>
                      </a:lnTo>
                      <a:lnTo>
                        <a:pt x="3760" y="3596"/>
                      </a:lnTo>
                      <a:lnTo>
                        <a:pt x="3756" y="3595"/>
                      </a:lnTo>
                      <a:lnTo>
                        <a:pt x="3751" y="3594"/>
                      </a:lnTo>
                      <a:lnTo>
                        <a:pt x="3746" y="3591"/>
                      </a:lnTo>
                      <a:lnTo>
                        <a:pt x="3742" y="3586"/>
                      </a:lnTo>
                      <a:lnTo>
                        <a:pt x="3736" y="3581"/>
                      </a:lnTo>
                      <a:lnTo>
                        <a:pt x="3731" y="3572"/>
                      </a:lnTo>
                      <a:lnTo>
                        <a:pt x="3724" y="3562"/>
                      </a:lnTo>
                      <a:lnTo>
                        <a:pt x="3695" y="3546"/>
                      </a:lnTo>
                      <a:lnTo>
                        <a:pt x="3659" y="3526"/>
                      </a:lnTo>
                      <a:lnTo>
                        <a:pt x="3642" y="3515"/>
                      </a:lnTo>
                      <a:lnTo>
                        <a:pt x="3624" y="3503"/>
                      </a:lnTo>
                      <a:lnTo>
                        <a:pt x="3606" y="3490"/>
                      </a:lnTo>
                      <a:lnTo>
                        <a:pt x="3589" y="3475"/>
                      </a:lnTo>
                      <a:lnTo>
                        <a:pt x="3573" y="3460"/>
                      </a:lnTo>
                      <a:lnTo>
                        <a:pt x="3559" y="3444"/>
                      </a:lnTo>
                      <a:lnTo>
                        <a:pt x="3554" y="3437"/>
                      </a:lnTo>
                      <a:lnTo>
                        <a:pt x="3548" y="3427"/>
                      </a:lnTo>
                      <a:lnTo>
                        <a:pt x="3542" y="3419"/>
                      </a:lnTo>
                      <a:lnTo>
                        <a:pt x="3538" y="3411"/>
                      </a:lnTo>
                      <a:lnTo>
                        <a:pt x="3534" y="3403"/>
                      </a:lnTo>
                      <a:lnTo>
                        <a:pt x="3531" y="3393"/>
                      </a:lnTo>
                      <a:lnTo>
                        <a:pt x="3529" y="3384"/>
                      </a:lnTo>
                      <a:lnTo>
                        <a:pt x="3528" y="3374"/>
                      </a:lnTo>
                      <a:lnTo>
                        <a:pt x="3526" y="3366"/>
                      </a:lnTo>
                      <a:lnTo>
                        <a:pt x="3528" y="3357"/>
                      </a:lnTo>
                      <a:lnTo>
                        <a:pt x="3529" y="3346"/>
                      </a:lnTo>
                      <a:lnTo>
                        <a:pt x="3531" y="3337"/>
                      </a:lnTo>
                      <a:lnTo>
                        <a:pt x="3536" y="3309"/>
                      </a:lnTo>
                      <a:lnTo>
                        <a:pt x="3541" y="3276"/>
                      </a:lnTo>
                      <a:lnTo>
                        <a:pt x="3546" y="3240"/>
                      </a:lnTo>
                      <a:lnTo>
                        <a:pt x="3554" y="3203"/>
                      </a:lnTo>
                      <a:lnTo>
                        <a:pt x="3557" y="3185"/>
                      </a:lnTo>
                      <a:lnTo>
                        <a:pt x="3562" y="3167"/>
                      </a:lnTo>
                      <a:lnTo>
                        <a:pt x="3566" y="3149"/>
                      </a:lnTo>
                      <a:lnTo>
                        <a:pt x="3572" y="3133"/>
                      </a:lnTo>
                      <a:lnTo>
                        <a:pt x="3579" y="3119"/>
                      </a:lnTo>
                      <a:lnTo>
                        <a:pt x="3586" y="3106"/>
                      </a:lnTo>
                      <a:lnTo>
                        <a:pt x="3595" y="3094"/>
                      </a:lnTo>
                      <a:lnTo>
                        <a:pt x="3603" y="3084"/>
                      </a:lnTo>
                      <a:lnTo>
                        <a:pt x="3611" y="3078"/>
                      </a:lnTo>
                      <a:lnTo>
                        <a:pt x="3622" y="3073"/>
                      </a:lnTo>
                      <a:lnTo>
                        <a:pt x="3632" y="3068"/>
                      </a:lnTo>
                      <a:lnTo>
                        <a:pt x="3644" y="3063"/>
                      </a:lnTo>
                      <a:lnTo>
                        <a:pt x="3656" y="3060"/>
                      </a:lnTo>
                      <a:lnTo>
                        <a:pt x="3669" y="3056"/>
                      </a:lnTo>
                      <a:lnTo>
                        <a:pt x="3683" y="3053"/>
                      </a:lnTo>
                      <a:lnTo>
                        <a:pt x="3696" y="3051"/>
                      </a:lnTo>
                      <a:lnTo>
                        <a:pt x="3710" y="3049"/>
                      </a:lnTo>
                      <a:lnTo>
                        <a:pt x="3724" y="3049"/>
                      </a:lnTo>
                      <a:lnTo>
                        <a:pt x="3737" y="3049"/>
                      </a:lnTo>
                      <a:lnTo>
                        <a:pt x="3750" y="3050"/>
                      </a:lnTo>
                      <a:lnTo>
                        <a:pt x="3763" y="3051"/>
                      </a:lnTo>
                      <a:lnTo>
                        <a:pt x="3773" y="3055"/>
                      </a:lnTo>
                      <a:lnTo>
                        <a:pt x="3784" y="3058"/>
                      </a:lnTo>
                      <a:lnTo>
                        <a:pt x="3793" y="3063"/>
                      </a:lnTo>
                      <a:lnTo>
                        <a:pt x="3804" y="3068"/>
                      </a:lnTo>
                      <a:lnTo>
                        <a:pt x="3813" y="3073"/>
                      </a:lnTo>
                      <a:lnTo>
                        <a:pt x="3821" y="3075"/>
                      </a:lnTo>
                      <a:lnTo>
                        <a:pt x="3829" y="3076"/>
                      </a:lnTo>
                      <a:lnTo>
                        <a:pt x="3836" y="3076"/>
                      </a:lnTo>
                      <a:lnTo>
                        <a:pt x="3841" y="3075"/>
                      </a:lnTo>
                      <a:lnTo>
                        <a:pt x="3847" y="3073"/>
                      </a:lnTo>
                      <a:lnTo>
                        <a:pt x="3852" y="3070"/>
                      </a:lnTo>
                      <a:lnTo>
                        <a:pt x="3863" y="3064"/>
                      </a:lnTo>
                      <a:lnTo>
                        <a:pt x="3876" y="3060"/>
                      </a:lnTo>
                      <a:lnTo>
                        <a:pt x="3883" y="3057"/>
                      </a:lnTo>
                      <a:lnTo>
                        <a:pt x="3890" y="3055"/>
                      </a:lnTo>
                      <a:lnTo>
                        <a:pt x="3899" y="3054"/>
                      </a:lnTo>
                      <a:lnTo>
                        <a:pt x="3910" y="3054"/>
                      </a:lnTo>
                      <a:lnTo>
                        <a:pt x="3927" y="3055"/>
                      </a:lnTo>
                      <a:lnTo>
                        <a:pt x="3946" y="3055"/>
                      </a:lnTo>
                      <a:lnTo>
                        <a:pt x="3964" y="3054"/>
                      </a:lnTo>
                      <a:lnTo>
                        <a:pt x="3981" y="3053"/>
                      </a:lnTo>
                      <a:lnTo>
                        <a:pt x="3982" y="3051"/>
                      </a:lnTo>
                      <a:lnTo>
                        <a:pt x="3984" y="3051"/>
                      </a:lnTo>
                      <a:lnTo>
                        <a:pt x="3988" y="3044"/>
                      </a:lnTo>
                      <a:lnTo>
                        <a:pt x="3993" y="3036"/>
                      </a:lnTo>
                      <a:lnTo>
                        <a:pt x="3995" y="3029"/>
                      </a:lnTo>
                      <a:lnTo>
                        <a:pt x="3999" y="3020"/>
                      </a:lnTo>
                      <a:lnTo>
                        <a:pt x="4002" y="3002"/>
                      </a:lnTo>
                      <a:lnTo>
                        <a:pt x="4006" y="2984"/>
                      </a:lnTo>
                      <a:lnTo>
                        <a:pt x="4010" y="2965"/>
                      </a:lnTo>
                      <a:lnTo>
                        <a:pt x="4014" y="2946"/>
                      </a:lnTo>
                      <a:lnTo>
                        <a:pt x="4017" y="2938"/>
                      </a:lnTo>
                      <a:lnTo>
                        <a:pt x="4021" y="2930"/>
                      </a:lnTo>
                      <a:lnTo>
                        <a:pt x="4026" y="2922"/>
                      </a:lnTo>
                      <a:lnTo>
                        <a:pt x="4031" y="2915"/>
                      </a:lnTo>
                      <a:lnTo>
                        <a:pt x="4033" y="2906"/>
                      </a:lnTo>
                      <a:lnTo>
                        <a:pt x="4038" y="2899"/>
                      </a:lnTo>
                      <a:lnTo>
                        <a:pt x="4055" y="2864"/>
                      </a:lnTo>
                      <a:lnTo>
                        <a:pt x="4068" y="2831"/>
                      </a:lnTo>
                      <a:lnTo>
                        <a:pt x="4073" y="2816"/>
                      </a:lnTo>
                      <a:lnTo>
                        <a:pt x="4078" y="2800"/>
                      </a:lnTo>
                      <a:lnTo>
                        <a:pt x="4081" y="2785"/>
                      </a:lnTo>
                      <a:lnTo>
                        <a:pt x="4084" y="2771"/>
                      </a:lnTo>
                      <a:lnTo>
                        <a:pt x="4088" y="2740"/>
                      </a:lnTo>
                      <a:lnTo>
                        <a:pt x="4091" y="2708"/>
                      </a:lnTo>
                      <a:lnTo>
                        <a:pt x="4092" y="2674"/>
                      </a:lnTo>
                      <a:lnTo>
                        <a:pt x="4092" y="2635"/>
                      </a:lnTo>
                      <a:lnTo>
                        <a:pt x="4091" y="2634"/>
                      </a:lnTo>
                      <a:lnTo>
                        <a:pt x="3910" y="2647"/>
                      </a:lnTo>
                      <a:lnTo>
                        <a:pt x="3883" y="2648"/>
                      </a:lnTo>
                      <a:lnTo>
                        <a:pt x="3857" y="2649"/>
                      </a:lnTo>
                      <a:lnTo>
                        <a:pt x="3832" y="2651"/>
                      </a:lnTo>
                      <a:lnTo>
                        <a:pt x="3809" y="2653"/>
                      </a:lnTo>
                      <a:lnTo>
                        <a:pt x="3797" y="2655"/>
                      </a:lnTo>
                      <a:lnTo>
                        <a:pt x="3785" y="2657"/>
                      </a:lnTo>
                      <a:lnTo>
                        <a:pt x="3773" y="2660"/>
                      </a:lnTo>
                      <a:lnTo>
                        <a:pt x="3763" y="2664"/>
                      </a:lnTo>
                      <a:lnTo>
                        <a:pt x="3751" y="2668"/>
                      </a:lnTo>
                      <a:lnTo>
                        <a:pt x="3739" y="2674"/>
                      </a:lnTo>
                      <a:lnTo>
                        <a:pt x="3727" y="2680"/>
                      </a:lnTo>
                      <a:lnTo>
                        <a:pt x="3716" y="2688"/>
                      </a:lnTo>
                      <a:lnTo>
                        <a:pt x="3691" y="2706"/>
                      </a:lnTo>
                      <a:lnTo>
                        <a:pt x="3658" y="2727"/>
                      </a:lnTo>
                      <a:lnTo>
                        <a:pt x="3640" y="2738"/>
                      </a:lnTo>
                      <a:lnTo>
                        <a:pt x="3624" y="2745"/>
                      </a:lnTo>
                      <a:lnTo>
                        <a:pt x="3616" y="2747"/>
                      </a:lnTo>
                      <a:lnTo>
                        <a:pt x="3609" y="2750"/>
                      </a:lnTo>
                      <a:lnTo>
                        <a:pt x="3602" y="2751"/>
                      </a:lnTo>
                      <a:lnTo>
                        <a:pt x="3596" y="2751"/>
                      </a:lnTo>
                      <a:lnTo>
                        <a:pt x="3584" y="2737"/>
                      </a:lnTo>
                      <a:lnTo>
                        <a:pt x="3571" y="2720"/>
                      </a:lnTo>
                      <a:lnTo>
                        <a:pt x="3558" y="2700"/>
                      </a:lnTo>
                      <a:lnTo>
                        <a:pt x="3545" y="2680"/>
                      </a:lnTo>
                      <a:lnTo>
                        <a:pt x="3522" y="2638"/>
                      </a:lnTo>
                      <a:lnTo>
                        <a:pt x="3504" y="2601"/>
                      </a:lnTo>
                      <a:lnTo>
                        <a:pt x="3501" y="2593"/>
                      </a:lnTo>
                      <a:lnTo>
                        <a:pt x="3496" y="2586"/>
                      </a:lnTo>
                      <a:lnTo>
                        <a:pt x="3490" y="2579"/>
                      </a:lnTo>
                      <a:lnTo>
                        <a:pt x="3485" y="2572"/>
                      </a:lnTo>
                      <a:lnTo>
                        <a:pt x="3474" y="2560"/>
                      </a:lnTo>
                      <a:lnTo>
                        <a:pt x="3461" y="2547"/>
                      </a:lnTo>
                      <a:lnTo>
                        <a:pt x="3447" y="2535"/>
                      </a:lnTo>
                      <a:lnTo>
                        <a:pt x="3434" y="2523"/>
                      </a:lnTo>
                      <a:lnTo>
                        <a:pt x="3421" y="2512"/>
                      </a:lnTo>
                      <a:lnTo>
                        <a:pt x="3409" y="2499"/>
                      </a:lnTo>
                      <a:lnTo>
                        <a:pt x="3409" y="2496"/>
                      </a:lnTo>
                      <a:lnTo>
                        <a:pt x="3410" y="2495"/>
                      </a:lnTo>
                      <a:lnTo>
                        <a:pt x="3421" y="2486"/>
                      </a:lnTo>
                      <a:lnTo>
                        <a:pt x="3432" y="2477"/>
                      </a:lnTo>
                      <a:lnTo>
                        <a:pt x="3444" y="2469"/>
                      </a:lnTo>
                      <a:lnTo>
                        <a:pt x="3456" y="2462"/>
                      </a:lnTo>
                      <a:lnTo>
                        <a:pt x="3461" y="2454"/>
                      </a:lnTo>
                      <a:lnTo>
                        <a:pt x="3476" y="2443"/>
                      </a:lnTo>
                      <a:lnTo>
                        <a:pt x="3494" y="2428"/>
                      </a:lnTo>
                      <a:lnTo>
                        <a:pt x="3502" y="2420"/>
                      </a:lnTo>
                      <a:lnTo>
                        <a:pt x="3509" y="2410"/>
                      </a:lnTo>
                      <a:lnTo>
                        <a:pt x="3511" y="2407"/>
                      </a:lnTo>
                      <a:lnTo>
                        <a:pt x="3512" y="2402"/>
                      </a:lnTo>
                      <a:lnTo>
                        <a:pt x="3514" y="2397"/>
                      </a:lnTo>
                      <a:lnTo>
                        <a:pt x="3515" y="2394"/>
                      </a:lnTo>
                      <a:lnTo>
                        <a:pt x="3514" y="2385"/>
                      </a:lnTo>
                      <a:lnTo>
                        <a:pt x="3511" y="2380"/>
                      </a:lnTo>
                      <a:lnTo>
                        <a:pt x="3508" y="2372"/>
                      </a:lnTo>
                      <a:lnTo>
                        <a:pt x="3504" y="2367"/>
                      </a:lnTo>
                      <a:lnTo>
                        <a:pt x="3501" y="2361"/>
                      </a:lnTo>
                      <a:lnTo>
                        <a:pt x="3499" y="2355"/>
                      </a:lnTo>
                      <a:lnTo>
                        <a:pt x="3499" y="2351"/>
                      </a:lnTo>
                      <a:lnTo>
                        <a:pt x="3501" y="2348"/>
                      </a:lnTo>
                      <a:lnTo>
                        <a:pt x="3503" y="2343"/>
                      </a:lnTo>
                      <a:lnTo>
                        <a:pt x="3505" y="2338"/>
                      </a:lnTo>
                      <a:lnTo>
                        <a:pt x="3510" y="2334"/>
                      </a:lnTo>
                      <a:lnTo>
                        <a:pt x="3517" y="2328"/>
                      </a:lnTo>
                      <a:lnTo>
                        <a:pt x="3526" y="2322"/>
                      </a:lnTo>
                      <a:lnTo>
                        <a:pt x="3536" y="2316"/>
                      </a:lnTo>
                      <a:lnTo>
                        <a:pt x="3559" y="2304"/>
                      </a:lnTo>
                      <a:lnTo>
                        <a:pt x="3583" y="2292"/>
                      </a:lnTo>
                      <a:lnTo>
                        <a:pt x="3593" y="2286"/>
                      </a:lnTo>
                      <a:lnTo>
                        <a:pt x="3603" y="2281"/>
                      </a:lnTo>
                      <a:lnTo>
                        <a:pt x="3611" y="2273"/>
                      </a:lnTo>
                      <a:lnTo>
                        <a:pt x="3617" y="2266"/>
                      </a:lnTo>
                      <a:lnTo>
                        <a:pt x="3619" y="2263"/>
                      </a:lnTo>
                      <a:lnTo>
                        <a:pt x="3621" y="2259"/>
                      </a:lnTo>
                      <a:lnTo>
                        <a:pt x="3622" y="2256"/>
                      </a:lnTo>
                      <a:lnTo>
                        <a:pt x="3622" y="2252"/>
                      </a:lnTo>
                      <a:lnTo>
                        <a:pt x="3621" y="2249"/>
                      </a:lnTo>
                      <a:lnTo>
                        <a:pt x="3619" y="2245"/>
                      </a:lnTo>
                      <a:lnTo>
                        <a:pt x="3616" y="2240"/>
                      </a:lnTo>
                      <a:lnTo>
                        <a:pt x="3612" y="2237"/>
                      </a:lnTo>
                      <a:lnTo>
                        <a:pt x="3591" y="2223"/>
                      </a:lnTo>
                      <a:lnTo>
                        <a:pt x="3559" y="2205"/>
                      </a:lnTo>
                      <a:lnTo>
                        <a:pt x="3544" y="2196"/>
                      </a:lnTo>
                      <a:lnTo>
                        <a:pt x="3532" y="2186"/>
                      </a:lnTo>
                      <a:lnTo>
                        <a:pt x="3529" y="2182"/>
                      </a:lnTo>
                      <a:lnTo>
                        <a:pt x="3526" y="2177"/>
                      </a:lnTo>
                      <a:lnTo>
                        <a:pt x="3525" y="2172"/>
                      </a:lnTo>
                      <a:lnTo>
                        <a:pt x="3526" y="2167"/>
                      </a:lnTo>
                      <a:lnTo>
                        <a:pt x="3529" y="2163"/>
                      </a:lnTo>
                      <a:lnTo>
                        <a:pt x="3534" y="2157"/>
                      </a:lnTo>
                      <a:lnTo>
                        <a:pt x="3539" y="2152"/>
                      </a:lnTo>
                      <a:lnTo>
                        <a:pt x="3545" y="2146"/>
                      </a:lnTo>
                      <a:lnTo>
                        <a:pt x="3561" y="2136"/>
                      </a:lnTo>
                      <a:lnTo>
                        <a:pt x="3577" y="2126"/>
                      </a:lnTo>
                      <a:lnTo>
                        <a:pt x="3595" y="2117"/>
                      </a:lnTo>
                      <a:lnTo>
                        <a:pt x="3612" y="2110"/>
                      </a:lnTo>
                      <a:lnTo>
                        <a:pt x="3628" y="2103"/>
                      </a:lnTo>
                      <a:lnTo>
                        <a:pt x="3640" y="2099"/>
                      </a:lnTo>
                      <a:lnTo>
                        <a:pt x="3672" y="2090"/>
                      </a:lnTo>
                      <a:lnTo>
                        <a:pt x="3697" y="2081"/>
                      </a:lnTo>
                      <a:lnTo>
                        <a:pt x="3707" y="2077"/>
                      </a:lnTo>
                      <a:lnTo>
                        <a:pt x="3716" y="2073"/>
                      </a:lnTo>
                      <a:lnTo>
                        <a:pt x="3723" y="2068"/>
                      </a:lnTo>
                      <a:lnTo>
                        <a:pt x="3730" y="2062"/>
                      </a:lnTo>
                      <a:lnTo>
                        <a:pt x="3734" y="2057"/>
                      </a:lnTo>
                      <a:lnTo>
                        <a:pt x="3739" y="2048"/>
                      </a:lnTo>
                      <a:lnTo>
                        <a:pt x="3743" y="2040"/>
                      </a:lnTo>
                      <a:lnTo>
                        <a:pt x="3745" y="2029"/>
                      </a:lnTo>
                      <a:lnTo>
                        <a:pt x="3750" y="2002"/>
                      </a:lnTo>
                      <a:lnTo>
                        <a:pt x="3754" y="1967"/>
                      </a:lnTo>
                      <a:lnTo>
                        <a:pt x="3756" y="1955"/>
                      </a:lnTo>
                      <a:lnTo>
                        <a:pt x="3759" y="1943"/>
                      </a:lnTo>
                      <a:lnTo>
                        <a:pt x="3762" y="1933"/>
                      </a:lnTo>
                      <a:lnTo>
                        <a:pt x="3765" y="1922"/>
                      </a:lnTo>
                      <a:lnTo>
                        <a:pt x="3772" y="1901"/>
                      </a:lnTo>
                      <a:lnTo>
                        <a:pt x="3778" y="1880"/>
                      </a:lnTo>
                      <a:lnTo>
                        <a:pt x="3777" y="1880"/>
                      </a:lnTo>
                      <a:lnTo>
                        <a:pt x="3778" y="1877"/>
                      </a:lnTo>
                      <a:lnTo>
                        <a:pt x="3777" y="1882"/>
                      </a:lnTo>
                      <a:lnTo>
                        <a:pt x="3786" y="1844"/>
                      </a:lnTo>
                      <a:lnTo>
                        <a:pt x="3796" y="1798"/>
                      </a:lnTo>
                      <a:lnTo>
                        <a:pt x="3800" y="1776"/>
                      </a:lnTo>
                      <a:lnTo>
                        <a:pt x="3803" y="1754"/>
                      </a:lnTo>
                      <a:lnTo>
                        <a:pt x="3803" y="1743"/>
                      </a:lnTo>
                      <a:lnTo>
                        <a:pt x="3803" y="1734"/>
                      </a:lnTo>
                      <a:lnTo>
                        <a:pt x="3801" y="1724"/>
                      </a:lnTo>
                      <a:lnTo>
                        <a:pt x="3800" y="1717"/>
                      </a:lnTo>
                      <a:lnTo>
                        <a:pt x="3797" y="1709"/>
                      </a:lnTo>
                      <a:lnTo>
                        <a:pt x="3792" y="1703"/>
                      </a:lnTo>
                      <a:lnTo>
                        <a:pt x="3787" y="1697"/>
                      </a:lnTo>
                      <a:lnTo>
                        <a:pt x="3780" y="1692"/>
                      </a:lnTo>
                      <a:lnTo>
                        <a:pt x="3767" y="1684"/>
                      </a:lnTo>
                      <a:lnTo>
                        <a:pt x="3754" y="1676"/>
                      </a:lnTo>
                      <a:lnTo>
                        <a:pt x="3749" y="1671"/>
                      </a:lnTo>
                      <a:lnTo>
                        <a:pt x="3743" y="1666"/>
                      </a:lnTo>
                      <a:lnTo>
                        <a:pt x="3739" y="1661"/>
                      </a:lnTo>
                      <a:lnTo>
                        <a:pt x="3736" y="1655"/>
                      </a:lnTo>
                      <a:lnTo>
                        <a:pt x="3734" y="1646"/>
                      </a:lnTo>
                      <a:lnTo>
                        <a:pt x="3736" y="1637"/>
                      </a:lnTo>
                      <a:lnTo>
                        <a:pt x="3738" y="1626"/>
                      </a:lnTo>
                      <a:lnTo>
                        <a:pt x="3743" y="1615"/>
                      </a:lnTo>
                      <a:lnTo>
                        <a:pt x="3753" y="1593"/>
                      </a:lnTo>
                      <a:lnTo>
                        <a:pt x="3767" y="1567"/>
                      </a:lnTo>
                      <a:lnTo>
                        <a:pt x="3776" y="1554"/>
                      </a:lnTo>
                      <a:lnTo>
                        <a:pt x="3784" y="1543"/>
                      </a:lnTo>
                      <a:lnTo>
                        <a:pt x="3791" y="1533"/>
                      </a:lnTo>
                      <a:lnTo>
                        <a:pt x="3798" y="1526"/>
                      </a:lnTo>
                      <a:lnTo>
                        <a:pt x="3805" y="1514"/>
                      </a:lnTo>
                      <a:lnTo>
                        <a:pt x="3813" y="1501"/>
                      </a:lnTo>
                      <a:lnTo>
                        <a:pt x="3817" y="1496"/>
                      </a:lnTo>
                      <a:lnTo>
                        <a:pt x="3820" y="1490"/>
                      </a:lnTo>
                      <a:lnTo>
                        <a:pt x="3823" y="1484"/>
                      </a:lnTo>
                      <a:lnTo>
                        <a:pt x="3825" y="1478"/>
                      </a:lnTo>
                      <a:lnTo>
                        <a:pt x="3829" y="1473"/>
                      </a:lnTo>
                      <a:lnTo>
                        <a:pt x="3832" y="1463"/>
                      </a:lnTo>
                      <a:lnTo>
                        <a:pt x="3836" y="1451"/>
                      </a:lnTo>
                      <a:lnTo>
                        <a:pt x="3859" y="1413"/>
                      </a:lnTo>
                      <a:lnTo>
                        <a:pt x="3872" y="1389"/>
                      </a:lnTo>
                      <a:lnTo>
                        <a:pt x="3873" y="1384"/>
                      </a:lnTo>
                      <a:lnTo>
                        <a:pt x="3874" y="1378"/>
                      </a:lnTo>
                      <a:lnTo>
                        <a:pt x="3874" y="1372"/>
                      </a:lnTo>
                      <a:lnTo>
                        <a:pt x="3873" y="1365"/>
                      </a:lnTo>
                      <a:lnTo>
                        <a:pt x="3868" y="1346"/>
                      </a:lnTo>
                      <a:lnTo>
                        <a:pt x="3860" y="1322"/>
                      </a:lnTo>
                      <a:lnTo>
                        <a:pt x="3850" y="1290"/>
                      </a:lnTo>
                      <a:lnTo>
                        <a:pt x="3834" y="1248"/>
                      </a:lnTo>
                      <a:lnTo>
                        <a:pt x="3826" y="1228"/>
                      </a:lnTo>
                      <a:lnTo>
                        <a:pt x="3817" y="1210"/>
                      </a:lnTo>
                      <a:lnTo>
                        <a:pt x="3812" y="1202"/>
                      </a:lnTo>
                      <a:lnTo>
                        <a:pt x="3806" y="1197"/>
                      </a:lnTo>
                      <a:lnTo>
                        <a:pt x="3801" y="1193"/>
                      </a:lnTo>
                      <a:lnTo>
                        <a:pt x="3796" y="1190"/>
                      </a:lnTo>
                      <a:lnTo>
                        <a:pt x="3784" y="1189"/>
                      </a:lnTo>
                      <a:lnTo>
                        <a:pt x="3771" y="1189"/>
                      </a:lnTo>
                      <a:lnTo>
                        <a:pt x="3757" y="1189"/>
                      </a:lnTo>
                      <a:lnTo>
                        <a:pt x="3744" y="1190"/>
                      </a:lnTo>
                      <a:lnTo>
                        <a:pt x="3731" y="1190"/>
                      </a:lnTo>
                      <a:lnTo>
                        <a:pt x="3718" y="1190"/>
                      </a:lnTo>
                      <a:lnTo>
                        <a:pt x="3705" y="1189"/>
                      </a:lnTo>
                      <a:lnTo>
                        <a:pt x="3693" y="1186"/>
                      </a:lnTo>
                      <a:lnTo>
                        <a:pt x="3680" y="1180"/>
                      </a:lnTo>
                      <a:lnTo>
                        <a:pt x="3669" y="1174"/>
                      </a:lnTo>
                      <a:lnTo>
                        <a:pt x="3663" y="1171"/>
                      </a:lnTo>
                      <a:lnTo>
                        <a:pt x="3656" y="1170"/>
                      </a:lnTo>
                      <a:lnTo>
                        <a:pt x="3649" y="1169"/>
                      </a:lnTo>
                      <a:lnTo>
                        <a:pt x="3642" y="1169"/>
                      </a:lnTo>
                      <a:lnTo>
                        <a:pt x="3630" y="1170"/>
                      </a:lnTo>
                      <a:lnTo>
                        <a:pt x="3619" y="1173"/>
                      </a:lnTo>
                      <a:lnTo>
                        <a:pt x="3609" y="1176"/>
                      </a:lnTo>
                      <a:lnTo>
                        <a:pt x="3599" y="1180"/>
                      </a:lnTo>
                      <a:lnTo>
                        <a:pt x="3581" y="1189"/>
                      </a:lnTo>
                      <a:lnTo>
                        <a:pt x="3561" y="1197"/>
                      </a:lnTo>
                      <a:lnTo>
                        <a:pt x="3550" y="1200"/>
                      </a:lnTo>
                      <a:lnTo>
                        <a:pt x="3539" y="1201"/>
                      </a:lnTo>
                      <a:lnTo>
                        <a:pt x="3529" y="1200"/>
                      </a:lnTo>
                      <a:lnTo>
                        <a:pt x="3517" y="1199"/>
                      </a:lnTo>
                      <a:lnTo>
                        <a:pt x="3496" y="1193"/>
                      </a:lnTo>
                      <a:lnTo>
                        <a:pt x="3476" y="1186"/>
                      </a:lnTo>
                      <a:lnTo>
                        <a:pt x="3468" y="1182"/>
                      </a:lnTo>
                      <a:lnTo>
                        <a:pt x="3459" y="1175"/>
                      </a:lnTo>
                      <a:lnTo>
                        <a:pt x="3452" y="1168"/>
                      </a:lnTo>
                      <a:lnTo>
                        <a:pt x="3447" y="1160"/>
                      </a:lnTo>
                      <a:lnTo>
                        <a:pt x="3440" y="1153"/>
                      </a:lnTo>
                      <a:lnTo>
                        <a:pt x="3434" y="1145"/>
                      </a:lnTo>
                      <a:lnTo>
                        <a:pt x="3430" y="1143"/>
                      </a:lnTo>
                      <a:lnTo>
                        <a:pt x="3428" y="1141"/>
                      </a:lnTo>
                      <a:lnTo>
                        <a:pt x="3424" y="1140"/>
                      </a:lnTo>
                      <a:lnTo>
                        <a:pt x="3421" y="1140"/>
                      </a:lnTo>
                      <a:lnTo>
                        <a:pt x="3410" y="1150"/>
                      </a:lnTo>
                      <a:lnTo>
                        <a:pt x="3401" y="1162"/>
                      </a:lnTo>
                      <a:lnTo>
                        <a:pt x="3391" y="1175"/>
                      </a:lnTo>
                      <a:lnTo>
                        <a:pt x="3382" y="1188"/>
                      </a:lnTo>
                      <a:lnTo>
                        <a:pt x="3364" y="1214"/>
                      </a:lnTo>
                      <a:lnTo>
                        <a:pt x="3345" y="1239"/>
                      </a:lnTo>
                      <a:lnTo>
                        <a:pt x="3343" y="1242"/>
                      </a:lnTo>
                      <a:lnTo>
                        <a:pt x="3342" y="1247"/>
                      </a:lnTo>
                      <a:lnTo>
                        <a:pt x="3341" y="1252"/>
                      </a:lnTo>
                      <a:lnTo>
                        <a:pt x="3340" y="1257"/>
                      </a:lnTo>
                      <a:lnTo>
                        <a:pt x="3340" y="1270"/>
                      </a:lnTo>
                      <a:lnTo>
                        <a:pt x="3341" y="1285"/>
                      </a:lnTo>
                      <a:lnTo>
                        <a:pt x="3343" y="1298"/>
                      </a:lnTo>
                      <a:lnTo>
                        <a:pt x="3345" y="1310"/>
                      </a:lnTo>
                      <a:lnTo>
                        <a:pt x="3349" y="1322"/>
                      </a:lnTo>
                      <a:lnTo>
                        <a:pt x="3351" y="1331"/>
                      </a:lnTo>
                      <a:lnTo>
                        <a:pt x="3349" y="1340"/>
                      </a:lnTo>
                      <a:lnTo>
                        <a:pt x="3142" y="1295"/>
                      </a:lnTo>
                      <a:lnTo>
                        <a:pt x="3206" y="759"/>
                      </a:lnTo>
                      <a:lnTo>
                        <a:pt x="2664" y="534"/>
                      </a:lnTo>
                      <a:lnTo>
                        <a:pt x="2664" y="586"/>
                      </a:lnTo>
                      <a:lnTo>
                        <a:pt x="2304" y="586"/>
                      </a:lnTo>
                      <a:lnTo>
                        <a:pt x="2292" y="614"/>
                      </a:lnTo>
                      <a:lnTo>
                        <a:pt x="2268" y="614"/>
                      </a:lnTo>
                      <a:lnTo>
                        <a:pt x="2268" y="348"/>
                      </a:lnTo>
                      <a:lnTo>
                        <a:pt x="2028" y="65"/>
                      </a:lnTo>
                      <a:lnTo>
                        <a:pt x="2028" y="65"/>
                      </a:lnTo>
                      <a:lnTo>
                        <a:pt x="165" y="0"/>
                      </a:lnTo>
                      <a:lnTo>
                        <a:pt x="165" y="0"/>
                      </a:lnTo>
                      <a:lnTo>
                        <a:pt x="206" y="332"/>
                      </a:lnTo>
                      <a:lnTo>
                        <a:pt x="210" y="336"/>
                      </a:lnTo>
                      <a:lnTo>
                        <a:pt x="213" y="339"/>
                      </a:lnTo>
                      <a:lnTo>
                        <a:pt x="217" y="339"/>
                      </a:lnTo>
                      <a:lnTo>
                        <a:pt x="221" y="342"/>
                      </a:lnTo>
                      <a:lnTo>
                        <a:pt x="222" y="343"/>
                      </a:lnTo>
                      <a:lnTo>
                        <a:pt x="232" y="346"/>
                      </a:lnTo>
                      <a:lnTo>
                        <a:pt x="244" y="349"/>
                      </a:lnTo>
                      <a:lnTo>
                        <a:pt x="248" y="351"/>
                      </a:lnTo>
                      <a:lnTo>
                        <a:pt x="256" y="353"/>
                      </a:lnTo>
                      <a:lnTo>
                        <a:pt x="264" y="356"/>
                      </a:lnTo>
                      <a:lnTo>
                        <a:pt x="275" y="361"/>
                      </a:lnTo>
                      <a:lnTo>
                        <a:pt x="284" y="365"/>
                      </a:lnTo>
                      <a:lnTo>
                        <a:pt x="304" y="375"/>
                      </a:lnTo>
                      <a:lnTo>
                        <a:pt x="320" y="382"/>
                      </a:lnTo>
                      <a:lnTo>
                        <a:pt x="336" y="390"/>
                      </a:lnTo>
                      <a:lnTo>
                        <a:pt x="354" y="399"/>
                      </a:lnTo>
                      <a:lnTo>
                        <a:pt x="372" y="411"/>
                      </a:lnTo>
                      <a:lnTo>
                        <a:pt x="386" y="421"/>
                      </a:lnTo>
                      <a:lnTo>
                        <a:pt x="399" y="427"/>
                      </a:lnTo>
                      <a:lnTo>
                        <a:pt x="410" y="432"/>
                      </a:lnTo>
                      <a:lnTo>
                        <a:pt x="413" y="437"/>
                      </a:lnTo>
                      <a:lnTo>
                        <a:pt x="416" y="442"/>
                      </a:lnTo>
                      <a:lnTo>
                        <a:pt x="418" y="447"/>
                      </a:lnTo>
                      <a:lnTo>
                        <a:pt x="419" y="452"/>
                      </a:lnTo>
                      <a:lnTo>
                        <a:pt x="421" y="464"/>
                      </a:lnTo>
                      <a:lnTo>
                        <a:pt x="421" y="476"/>
                      </a:lnTo>
                      <a:lnTo>
                        <a:pt x="421" y="502"/>
                      </a:lnTo>
                      <a:lnTo>
                        <a:pt x="420" y="523"/>
                      </a:lnTo>
                      <a:lnTo>
                        <a:pt x="420" y="612"/>
                      </a:lnTo>
                      <a:lnTo>
                        <a:pt x="423" y="641"/>
                      </a:lnTo>
                      <a:lnTo>
                        <a:pt x="425" y="681"/>
                      </a:lnTo>
                      <a:lnTo>
                        <a:pt x="425" y="692"/>
                      </a:lnTo>
                      <a:lnTo>
                        <a:pt x="425" y="701"/>
                      </a:lnTo>
                      <a:lnTo>
                        <a:pt x="424" y="711"/>
                      </a:lnTo>
                      <a:lnTo>
                        <a:pt x="423" y="719"/>
                      </a:lnTo>
                      <a:lnTo>
                        <a:pt x="419" y="726"/>
                      </a:lnTo>
                      <a:lnTo>
                        <a:pt x="417" y="732"/>
                      </a:lnTo>
                      <a:lnTo>
                        <a:pt x="412" y="735"/>
                      </a:lnTo>
                      <a:lnTo>
                        <a:pt x="406" y="739"/>
                      </a:lnTo>
                      <a:lnTo>
                        <a:pt x="391" y="742"/>
                      </a:lnTo>
                      <a:lnTo>
                        <a:pt x="378" y="742"/>
                      </a:lnTo>
                      <a:lnTo>
                        <a:pt x="365" y="742"/>
                      </a:lnTo>
                      <a:lnTo>
                        <a:pt x="354" y="742"/>
                      </a:lnTo>
                      <a:lnTo>
                        <a:pt x="349" y="744"/>
                      </a:lnTo>
                      <a:lnTo>
                        <a:pt x="343" y="744"/>
                      </a:lnTo>
                      <a:lnTo>
                        <a:pt x="338" y="746"/>
                      </a:lnTo>
                      <a:lnTo>
                        <a:pt x="332" y="748"/>
                      </a:lnTo>
                      <a:lnTo>
                        <a:pt x="326" y="752"/>
                      </a:lnTo>
                      <a:lnTo>
                        <a:pt x="320" y="757"/>
                      </a:lnTo>
                      <a:lnTo>
                        <a:pt x="315" y="762"/>
                      </a:lnTo>
                      <a:lnTo>
                        <a:pt x="309" y="769"/>
                      </a:lnTo>
                      <a:lnTo>
                        <a:pt x="304" y="777"/>
                      </a:lnTo>
                      <a:lnTo>
                        <a:pt x="299" y="782"/>
                      </a:lnTo>
                      <a:lnTo>
                        <a:pt x="293" y="788"/>
                      </a:lnTo>
                      <a:lnTo>
                        <a:pt x="287" y="794"/>
                      </a:lnTo>
                      <a:lnTo>
                        <a:pt x="276" y="805"/>
                      </a:lnTo>
                      <a:lnTo>
                        <a:pt x="268" y="815"/>
                      </a:lnTo>
                      <a:lnTo>
                        <a:pt x="265" y="824"/>
                      </a:lnTo>
                      <a:lnTo>
                        <a:pt x="262" y="831"/>
                      </a:lnTo>
                      <a:lnTo>
                        <a:pt x="259" y="839"/>
                      </a:lnTo>
                      <a:lnTo>
                        <a:pt x="258" y="847"/>
                      </a:lnTo>
                      <a:lnTo>
                        <a:pt x="256" y="865"/>
                      </a:lnTo>
                      <a:lnTo>
                        <a:pt x="256" y="883"/>
                      </a:lnTo>
                      <a:lnTo>
                        <a:pt x="257" y="919"/>
                      </a:lnTo>
                      <a:lnTo>
                        <a:pt x="259" y="952"/>
                      </a:lnTo>
                      <a:lnTo>
                        <a:pt x="259" y="962"/>
                      </a:lnTo>
                      <a:lnTo>
                        <a:pt x="258" y="969"/>
                      </a:lnTo>
                      <a:lnTo>
                        <a:pt x="255" y="973"/>
                      </a:lnTo>
                      <a:lnTo>
                        <a:pt x="251" y="978"/>
                      </a:lnTo>
                      <a:lnTo>
                        <a:pt x="248" y="980"/>
                      </a:lnTo>
                      <a:lnTo>
                        <a:pt x="243" y="982"/>
                      </a:lnTo>
                      <a:lnTo>
                        <a:pt x="237" y="983"/>
                      </a:lnTo>
                      <a:lnTo>
                        <a:pt x="231" y="983"/>
                      </a:lnTo>
                      <a:lnTo>
                        <a:pt x="218" y="984"/>
                      </a:lnTo>
                      <a:lnTo>
                        <a:pt x="206" y="985"/>
                      </a:lnTo>
                      <a:lnTo>
                        <a:pt x="201" y="986"/>
                      </a:lnTo>
                      <a:lnTo>
                        <a:pt x="195" y="989"/>
                      </a:lnTo>
                      <a:lnTo>
                        <a:pt x="189" y="992"/>
                      </a:lnTo>
                      <a:lnTo>
                        <a:pt x="184" y="997"/>
                      </a:lnTo>
                      <a:lnTo>
                        <a:pt x="186" y="1029"/>
                      </a:lnTo>
                      <a:lnTo>
                        <a:pt x="190" y="1063"/>
                      </a:lnTo>
                      <a:lnTo>
                        <a:pt x="196" y="1096"/>
                      </a:lnTo>
                      <a:lnTo>
                        <a:pt x="202" y="1128"/>
                      </a:lnTo>
                      <a:lnTo>
                        <a:pt x="211" y="1164"/>
                      </a:lnTo>
                      <a:lnTo>
                        <a:pt x="223" y="1202"/>
                      </a:lnTo>
                      <a:lnTo>
                        <a:pt x="228" y="1222"/>
                      </a:lnTo>
                      <a:lnTo>
                        <a:pt x="232" y="1241"/>
                      </a:lnTo>
                      <a:lnTo>
                        <a:pt x="237" y="1259"/>
                      </a:lnTo>
                      <a:lnTo>
                        <a:pt x="239" y="1276"/>
                      </a:lnTo>
                      <a:lnTo>
                        <a:pt x="243" y="1283"/>
                      </a:lnTo>
                      <a:lnTo>
                        <a:pt x="249" y="1290"/>
                      </a:lnTo>
                      <a:lnTo>
                        <a:pt x="347" y="1411"/>
                      </a:lnTo>
                      <a:lnTo>
                        <a:pt x="121" y="1639"/>
                      </a:lnTo>
                      <a:lnTo>
                        <a:pt x="146" y="1900"/>
                      </a:lnTo>
                      <a:lnTo>
                        <a:pt x="143" y="1908"/>
                      </a:lnTo>
                      <a:lnTo>
                        <a:pt x="138" y="1915"/>
                      </a:lnTo>
                      <a:lnTo>
                        <a:pt x="134" y="1922"/>
                      </a:lnTo>
                      <a:lnTo>
                        <a:pt x="128" y="1928"/>
                      </a:lnTo>
                      <a:lnTo>
                        <a:pt x="115" y="1941"/>
                      </a:lnTo>
                      <a:lnTo>
                        <a:pt x="102" y="1953"/>
                      </a:lnTo>
                      <a:lnTo>
                        <a:pt x="97" y="1962"/>
                      </a:lnTo>
                      <a:lnTo>
                        <a:pt x="89" y="1972"/>
                      </a:lnTo>
                      <a:lnTo>
                        <a:pt x="81" y="1981"/>
                      </a:lnTo>
                      <a:lnTo>
                        <a:pt x="74" y="1989"/>
                      </a:lnTo>
                      <a:lnTo>
                        <a:pt x="64" y="2002"/>
                      </a:lnTo>
                      <a:lnTo>
                        <a:pt x="55" y="2019"/>
                      </a:lnTo>
                      <a:lnTo>
                        <a:pt x="45" y="2035"/>
                      </a:lnTo>
                      <a:lnTo>
                        <a:pt x="38" y="2050"/>
                      </a:lnTo>
                      <a:lnTo>
                        <a:pt x="30" y="2066"/>
                      </a:lnTo>
                      <a:lnTo>
                        <a:pt x="22" y="2084"/>
                      </a:lnTo>
                      <a:lnTo>
                        <a:pt x="18" y="2093"/>
                      </a:lnTo>
                      <a:lnTo>
                        <a:pt x="15" y="2103"/>
                      </a:lnTo>
                      <a:lnTo>
                        <a:pt x="12" y="2111"/>
                      </a:lnTo>
                      <a:lnTo>
                        <a:pt x="11" y="2119"/>
                      </a:lnTo>
                      <a:lnTo>
                        <a:pt x="7" y="2127"/>
                      </a:lnTo>
                      <a:lnTo>
                        <a:pt x="4" y="2138"/>
                      </a:lnTo>
                      <a:lnTo>
                        <a:pt x="3" y="2147"/>
                      </a:lnTo>
                      <a:lnTo>
                        <a:pt x="2" y="2158"/>
                      </a:lnTo>
                      <a:lnTo>
                        <a:pt x="2" y="2180"/>
                      </a:lnTo>
                      <a:lnTo>
                        <a:pt x="0" y="2199"/>
                      </a:lnTo>
                      <a:lnTo>
                        <a:pt x="10" y="2534"/>
                      </a:lnTo>
                      <a:lnTo>
                        <a:pt x="10" y="2534"/>
                      </a:lnTo>
                      <a:lnTo>
                        <a:pt x="36" y="2522"/>
                      </a:lnTo>
                      <a:lnTo>
                        <a:pt x="63" y="2507"/>
                      </a:lnTo>
                      <a:lnTo>
                        <a:pt x="90" y="2492"/>
                      </a:lnTo>
                      <a:lnTo>
                        <a:pt x="114" y="2475"/>
                      </a:lnTo>
                      <a:lnTo>
                        <a:pt x="126" y="2467"/>
                      </a:lnTo>
                      <a:lnTo>
                        <a:pt x="136" y="2461"/>
                      </a:lnTo>
                      <a:lnTo>
                        <a:pt x="141" y="2460"/>
                      </a:lnTo>
                      <a:lnTo>
                        <a:pt x="143" y="2459"/>
                      </a:lnTo>
                      <a:lnTo>
                        <a:pt x="146" y="2459"/>
                      </a:lnTo>
                      <a:lnTo>
                        <a:pt x="149" y="2459"/>
                      </a:lnTo>
                      <a:lnTo>
                        <a:pt x="150" y="2460"/>
                      </a:lnTo>
                      <a:lnTo>
                        <a:pt x="152" y="2462"/>
                      </a:lnTo>
                      <a:lnTo>
                        <a:pt x="154" y="2464"/>
                      </a:lnTo>
                      <a:lnTo>
                        <a:pt x="155" y="2468"/>
                      </a:lnTo>
                      <a:lnTo>
                        <a:pt x="157" y="2479"/>
                      </a:lnTo>
                      <a:lnTo>
                        <a:pt x="159" y="2492"/>
                      </a:lnTo>
                      <a:lnTo>
                        <a:pt x="165" y="2530"/>
                      </a:lnTo>
                      <a:lnTo>
                        <a:pt x="170" y="2569"/>
                      </a:lnTo>
                      <a:lnTo>
                        <a:pt x="172" y="2608"/>
                      </a:lnTo>
                      <a:lnTo>
                        <a:pt x="173" y="2646"/>
                      </a:lnTo>
                      <a:lnTo>
                        <a:pt x="173" y="2685"/>
                      </a:lnTo>
                      <a:lnTo>
                        <a:pt x="173" y="2724"/>
                      </a:lnTo>
                      <a:lnTo>
                        <a:pt x="173" y="2764"/>
                      </a:lnTo>
                      <a:lnTo>
                        <a:pt x="172" y="2803"/>
                      </a:lnTo>
                      <a:lnTo>
                        <a:pt x="173" y="2804"/>
                      </a:lnTo>
                      <a:lnTo>
                        <a:pt x="175" y="2804"/>
                      </a:lnTo>
                      <a:lnTo>
                        <a:pt x="177" y="2807"/>
                      </a:lnTo>
                      <a:lnTo>
                        <a:pt x="181" y="2809"/>
                      </a:lnTo>
                      <a:lnTo>
                        <a:pt x="185" y="2810"/>
                      </a:lnTo>
                      <a:lnTo>
                        <a:pt x="191" y="2811"/>
                      </a:lnTo>
                      <a:lnTo>
                        <a:pt x="205" y="2812"/>
                      </a:lnTo>
                      <a:lnTo>
                        <a:pt x="223" y="2811"/>
                      </a:lnTo>
                      <a:lnTo>
                        <a:pt x="256" y="2806"/>
                      </a:lnTo>
                      <a:lnTo>
                        <a:pt x="276" y="2803"/>
                      </a:lnTo>
                      <a:lnTo>
                        <a:pt x="313" y="2794"/>
                      </a:lnTo>
                      <a:lnTo>
                        <a:pt x="352" y="2790"/>
                      </a:lnTo>
                      <a:lnTo>
                        <a:pt x="392" y="2784"/>
                      </a:lnTo>
                      <a:lnTo>
                        <a:pt x="430" y="2778"/>
                      </a:lnTo>
                      <a:lnTo>
                        <a:pt x="446" y="2777"/>
                      </a:lnTo>
                      <a:lnTo>
                        <a:pt x="467" y="2774"/>
                      </a:lnTo>
                      <a:lnTo>
                        <a:pt x="478" y="2773"/>
                      </a:lnTo>
                      <a:lnTo>
                        <a:pt x="487" y="2772"/>
                      </a:lnTo>
                      <a:lnTo>
                        <a:pt x="496" y="2773"/>
                      </a:lnTo>
                      <a:lnTo>
                        <a:pt x="501" y="2776"/>
                      </a:lnTo>
                      <a:lnTo>
                        <a:pt x="506" y="2779"/>
                      </a:lnTo>
                      <a:lnTo>
                        <a:pt x="508" y="2784"/>
                      </a:lnTo>
                      <a:lnTo>
                        <a:pt x="510" y="2789"/>
                      </a:lnTo>
                      <a:lnTo>
                        <a:pt x="508" y="2794"/>
                      </a:lnTo>
                      <a:lnTo>
                        <a:pt x="505" y="2806"/>
                      </a:lnTo>
                      <a:lnTo>
                        <a:pt x="500" y="2819"/>
                      </a:lnTo>
                      <a:lnTo>
                        <a:pt x="498" y="2826"/>
                      </a:lnTo>
                      <a:lnTo>
                        <a:pt x="497" y="2832"/>
                      </a:lnTo>
                      <a:lnTo>
                        <a:pt x="497" y="2838"/>
                      </a:lnTo>
                      <a:lnTo>
                        <a:pt x="498" y="2844"/>
                      </a:lnTo>
                      <a:lnTo>
                        <a:pt x="501" y="2850"/>
                      </a:lnTo>
                      <a:lnTo>
                        <a:pt x="507" y="2855"/>
                      </a:lnTo>
                      <a:lnTo>
                        <a:pt x="514" y="2859"/>
                      </a:lnTo>
                      <a:lnTo>
                        <a:pt x="526" y="2863"/>
                      </a:lnTo>
                      <a:lnTo>
                        <a:pt x="532" y="2865"/>
                      </a:lnTo>
                      <a:lnTo>
                        <a:pt x="538" y="2868"/>
                      </a:lnTo>
                      <a:lnTo>
                        <a:pt x="543" y="2870"/>
                      </a:lnTo>
                      <a:lnTo>
                        <a:pt x="546" y="2873"/>
                      </a:lnTo>
                      <a:lnTo>
                        <a:pt x="548" y="2877"/>
                      </a:lnTo>
                      <a:lnTo>
                        <a:pt x="551" y="2880"/>
                      </a:lnTo>
                      <a:lnTo>
                        <a:pt x="552" y="2885"/>
                      </a:lnTo>
                      <a:lnTo>
                        <a:pt x="552" y="2889"/>
                      </a:lnTo>
                      <a:lnTo>
                        <a:pt x="551" y="2897"/>
                      </a:lnTo>
                      <a:lnTo>
                        <a:pt x="546" y="2906"/>
                      </a:lnTo>
                      <a:lnTo>
                        <a:pt x="540" y="2916"/>
                      </a:lnTo>
                      <a:lnTo>
                        <a:pt x="533" y="2924"/>
                      </a:lnTo>
                      <a:lnTo>
                        <a:pt x="526" y="2932"/>
                      </a:lnTo>
                      <a:lnTo>
                        <a:pt x="520" y="2941"/>
                      </a:lnTo>
                      <a:lnTo>
                        <a:pt x="517" y="2948"/>
                      </a:lnTo>
                      <a:lnTo>
                        <a:pt x="513" y="2956"/>
                      </a:lnTo>
                      <a:lnTo>
                        <a:pt x="507" y="2972"/>
                      </a:lnTo>
                      <a:lnTo>
                        <a:pt x="503" y="2991"/>
                      </a:lnTo>
                      <a:lnTo>
                        <a:pt x="492" y="3016"/>
                      </a:lnTo>
                      <a:lnTo>
                        <a:pt x="481" y="3040"/>
                      </a:lnTo>
                      <a:lnTo>
                        <a:pt x="479" y="3045"/>
                      </a:lnTo>
                      <a:lnTo>
                        <a:pt x="478" y="3051"/>
                      </a:lnTo>
                      <a:lnTo>
                        <a:pt x="477" y="3057"/>
                      </a:lnTo>
                      <a:lnTo>
                        <a:pt x="477" y="3063"/>
                      </a:lnTo>
                      <a:lnTo>
                        <a:pt x="477" y="3069"/>
                      </a:lnTo>
                      <a:lnTo>
                        <a:pt x="479" y="3076"/>
                      </a:lnTo>
                      <a:lnTo>
                        <a:pt x="481" y="3082"/>
                      </a:lnTo>
                      <a:lnTo>
                        <a:pt x="486" y="3089"/>
                      </a:lnTo>
                      <a:lnTo>
                        <a:pt x="498" y="3107"/>
                      </a:lnTo>
                      <a:lnTo>
                        <a:pt x="510" y="3126"/>
                      </a:lnTo>
                      <a:lnTo>
                        <a:pt x="513" y="3136"/>
                      </a:lnTo>
                      <a:lnTo>
                        <a:pt x="515" y="3147"/>
                      </a:lnTo>
                      <a:lnTo>
                        <a:pt x="517" y="3156"/>
                      </a:lnTo>
                      <a:lnTo>
                        <a:pt x="515" y="3167"/>
                      </a:lnTo>
                      <a:lnTo>
                        <a:pt x="498" y="3176"/>
                      </a:lnTo>
                      <a:lnTo>
                        <a:pt x="481" y="3187"/>
                      </a:lnTo>
                      <a:lnTo>
                        <a:pt x="458" y="3207"/>
                      </a:lnTo>
                      <a:lnTo>
                        <a:pt x="458" y="3207"/>
                      </a:lnTo>
                      <a:lnTo>
                        <a:pt x="457" y="3213"/>
                      </a:lnTo>
                      <a:lnTo>
                        <a:pt x="454" y="3221"/>
                      </a:lnTo>
                      <a:lnTo>
                        <a:pt x="451" y="3228"/>
                      </a:lnTo>
                      <a:lnTo>
                        <a:pt x="446" y="3236"/>
                      </a:lnTo>
                      <a:lnTo>
                        <a:pt x="434" y="3253"/>
                      </a:lnTo>
                      <a:lnTo>
                        <a:pt x="420" y="3271"/>
                      </a:lnTo>
                      <a:lnTo>
                        <a:pt x="389" y="3304"/>
                      </a:lnTo>
                      <a:lnTo>
                        <a:pt x="365" y="3331"/>
                      </a:lnTo>
                      <a:lnTo>
                        <a:pt x="344" y="3355"/>
                      </a:lnTo>
                      <a:lnTo>
                        <a:pt x="320" y="3381"/>
                      </a:lnTo>
                      <a:lnTo>
                        <a:pt x="309" y="3394"/>
                      </a:lnTo>
                      <a:lnTo>
                        <a:pt x="297" y="3407"/>
                      </a:lnTo>
                      <a:lnTo>
                        <a:pt x="287" y="3420"/>
                      </a:lnTo>
                      <a:lnTo>
                        <a:pt x="279" y="3434"/>
                      </a:lnTo>
                      <a:lnTo>
                        <a:pt x="273" y="3439"/>
                      </a:lnTo>
                      <a:lnTo>
                        <a:pt x="269" y="3446"/>
                      </a:lnTo>
                      <a:lnTo>
                        <a:pt x="264" y="3456"/>
                      </a:lnTo>
                      <a:lnTo>
                        <a:pt x="262" y="3466"/>
                      </a:lnTo>
                      <a:lnTo>
                        <a:pt x="259" y="3478"/>
                      </a:lnTo>
                      <a:lnTo>
                        <a:pt x="257" y="3491"/>
                      </a:lnTo>
                      <a:lnTo>
                        <a:pt x="257" y="3504"/>
                      </a:lnTo>
                      <a:lnTo>
                        <a:pt x="257" y="3517"/>
                      </a:lnTo>
                      <a:lnTo>
                        <a:pt x="257" y="3531"/>
                      </a:lnTo>
                      <a:lnTo>
                        <a:pt x="258" y="3544"/>
                      </a:lnTo>
                      <a:lnTo>
                        <a:pt x="260" y="3557"/>
                      </a:lnTo>
                      <a:lnTo>
                        <a:pt x="263" y="3569"/>
                      </a:lnTo>
                      <a:lnTo>
                        <a:pt x="266" y="3579"/>
                      </a:lnTo>
                      <a:lnTo>
                        <a:pt x="270" y="3589"/>
                      </a:lnTo>
                      <a:lnTo>
                        <a:pt x="275" y="3597"/>
                      </a:lnTo>
                      <a:lnTo>
                        <a:pt x="279" y="3602"/>
                      </a:lnTo>
                      <a:lnTo>
                        <a:pt x="290" y="3612"/>
                      </a:lnTo>
                      <a:lnTo>
                        <a:pt x="302" y="3621"/>
                      </a:lnTo>
                      <a:lnTo>
                        <a:pt x="315" y="3630"/>
                      </a:lnTo>
                      <a:lnTo>
                        <a:pt x="327" y="3638"/>
                      </a:lnTo>
                      <a:lnTo>
                        <a:pt x="354" y="3655"/>
                      </a:lnTo>
                      <a:lnTo>
                        <a:pt x="384" y="3669"/>
                      </a:lnTo>
                      <a:lnTo>
                        <a:pt x="414" y="3682"/>
                      </a:lnTo>
                      <a:lnTo>
                        <a:pt x="444" y="3695"/>
                      </a:lnTo>
                      <a:lnTo>
                        <a:pt x="473" y="3707"/>
                      </a:lnTo>
                      <a:lnTo>
                        <a:pt x="500" y="3717"/>
                      </a:lnTo>
                      <a:lnTo>
                        <a:pt x="506" y="3724"/>
                      </a:lnTo>
                      <a:lnTo>
                        <a:pt x="510" y="3731"/>
                      </a:lnTo>
                      <a:lnTo>
                        <a:pt x="519" y="3741"/>
                      </a:lnTo>
                      <a:lnTo>
                        <a:pt x="530" y="3753"/>
                      </a:lnTo>
                      <a:lnTo>
                        <a:pt x="543" y="3762"/>
                      </a:lnTo>
                      <a:lnTo>
                        <a:pt x="557" y="3770"/>
                      </a:lnTo>
                      <a:lnTo>
                        <a:pt x="573" y="3777"/>
                      </a:lnTo>
                      <a:lnTo>
                        <a:pt x="590" y="3783"/>
                      </a:lnTo>
                      <a:lnTo>
                        <a:pt x="607" y="3788"/>
                      </a:lnTo>
                      <a:lnTo>
                        <a:pt x="625" y="3792"/>
                      </a:lnTo>
                      <a:lnTo>
                        <a:pt x="641" y="3794"/>
                      </a:lnTo>
                      <a:lnTo>
                        <a:pt x="658" y="3794"/>
                      </a:lnTo>
                      <a:lnTo>
                        <a:pt x="679" y="3794"/>
                      </a:lnTo>
                      <a:lnTo>
                        <a:pt x="700" y="3793"/>
                      </a:lnTo>
                      <a:lnTo>
                        <a:pt x="720" y="3790"/>
                      </a:lnTo>
                      <a:lnTo>
                        <a:pt x="740" y="3787"/>
                      </a:lnTo>
                      <a:lnTo>
                        <a:pt x="759" y="3782"/>
                      </a:lnTo>
                      <a:lnTo>
                        <a:pt x="779" y="3776"/>
                      </a:lnTo>
                      <a:lnTo>
                        <a:pt x="798" y="3770"/>
                      </a:lnTo>
                      <a:lnTo>
                        <a:pt x="818" y="3762"/>
                      </a:lnTo>
                      <a:lnTo>
                        <a:pt x="881" y="3742"/>
                      </a:lnTo>
                      <a:lnTo>
                        <a:pt x="881" y="3742"/>
                      </a:lnTo>
                      <a:lnTo>
                        <a:pt x="876" y="4628"/>
                      </a:lnTo>
                      <a:lnTo>
                        <a:pt x="876" y="4628"/>
                      </a:lnTo>
                      <a:lnTo>
                        <a:pt x="2516" y="4676"/>
                      </a:lnTo>
                      <a:lnTo>
                        <a:pt x="2519" y="4766"/>
                      </a:lnTo>
                      <a:lnTo>
                        <a:pt x="2519" y="4766"/>
                      </a:lnTo>
                      <a:lnTo>
                        <a:pt x="2774" y="4763"/>
                      </a:lnTo>
                      <a:lnTo>
                        <a:pt x="3314" y="4742"/>
                      </a:lnTo>
                      <a:lnTo>
                        <a:pt x="3767" y="4730"/>
                      </a:lnTo>
                      <a:lnTo>
                        <a:pt x="3896" y="4719"/>
                      </a:lnTo>
                      <a:lnTo>
                        <a:pt x="4034" y="4716"/>
                      </a:lnTo>
                      <a:lnTo>
                        <a:pt x="4034" y="4716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Freeform 56">
                  <a:extLst>
                    <a:ext uri="{FF2B5EF4-FFF2-40B4-BE49-F238E27FC236}">
                      <a16:creationId xmlns:a16="http://schemas.microsoft.com/office/drawing/2014/main" id="{D1B17D70-59CF-43E8-83E7-837CCF48C7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09753" y="2646772"/>
                  <a:ext cx="675070" cy="1154558"/>
                </a:xfrm>
                <a:custGeom>
                  <a:avLst/>
                  <a:gdLst>
                    <a:gd name="T0" fmla="*/ 2224 w 2756"/>
                    <a:gd name="T1" fmla="*/ 4604 h 4710"/>
                    <a:gd name="T2" fmla="*/ 2225 w 2756"/>
                    <a:gd name="T3" fmla="*/ 4597 h 4710"/>
                    <a:gd name="T4" fmla="*/ 2215 w 2756"/>
                    <a:gd name="T5" fmla="*/ 4543 h 4710"/>
                    <a:gd name="T6" fmla="*/ 2180 w 2756"/>
                    <a:gd name="T7" fmla="*/ 4450 h 4710"/>
                    <a:gd name="T8" fmla="*/ 2148 w 2756"/>
                    <a:gd name="T9" fmla="*/ 4373 h 4710"/>
                    <a:gd name="T10" fmla="*/ 2130 w 2756"/>
                    <a:gd name="T11" fmla="*/ 4313 h 4710"/>
                    <a:gd name="T12" fmla="*/ 2130 w 2756"/>
                    <a:gd name="T13" fmla="*/ 4279 h 4710"/>
                    <a:gd name="T14" fmla="*/ 2136 w 2756"/>
                    <a:gd name="T15" fmla="*/ 4261 h 4710"/>
                    <a:gd name="T16" fmla="*/ 2146 w 2756"/>
                    <a:gd name="T17" fmla="*/ 4246 h 4710"/>
                    <a:gd name="T18" fmla="*/ 2172 w 2756"/>
                    <a:gd name="T19" fmla="*/ 4225 h 4710"/>
                    <a:gd name="T20" fmla="*/ 2198 w 2756"/>
                    <a:gd name="T21" fmla="*/ 4195 h 4710"/>
                    <a:gd name="T22" fmla="*/ 2209 w 2756"/>
                    <a:gd name="T23" fmla="*/ 4176 h 4710"/>
                    <a:gd name="T24" fmla="*/ 2209 w 2756"/>
                    <a:gd name="T25" fmla="*/ 4156 h 4710"/>
                    <a:gd name="T26" fmla="*/ 2178 w 2756"/>
                    <a:gd name="T27" fmla="*/ 4116 h 4710"/>
                    <a:gd name="T28" fmla="*/ 2168 w 2756"/>
                    <a:gd name="T29" fmla="*/ 4070 h 4710"/>
                    <a:gd name="T30" fmla="*/ 2171 w 2756"/>
                    <a:gd name="T31" fmla="*/ 4040 h 4710"/>
                    <a:gd name="T32" fmla="*/ 2183 w 2756"/>
                    <a:gd name="T33" fmla="*/ 4021 h 4710"/>
                    <a:gd name="T34" fmla="*/ 2205 w 2756"/>
                    <a:gd name="T35" fmla="*/ 4008 h 4710"/>
                    <a:gd name="T36" fmla="*/ 2238 w 2756"/>
                    <a:gd name="T37" fmla="*/ 4008 h 4710"/>
                    <a:gd name="T38" fmla="*/ 2267 w 2756"/>
                    <a:gd name="T39" fmla="*/ 4016 h 4710"/>
                    <a:gd name="T40" fmla="*/ 2300 w 2756"/>
                    <a:gd name="T41" fmla="*/ 4021 h 4710"/>
                    <a:gd name="T42" fmla="*/ 2343 w 2756"/>
                    <a:gd name="T43" fmla="*/ 4014 h 4710"/>
                    <a:gd name="T44" fmla="*/ 2494 w 2756"/>
                    <a:gd name="T45" fmla="*/ 2924 h 4710"/>
                    <a:gd name="T46" fmla="*/ 2425 w 2756"/>
                    <a:gd name="T47" fmla="*/ 2935 h 4710"/>
                    <a:gd name="T48" fmla="*/ 2393 w 2756"/>
                    <a:gd name="T49" fmla="*/ 2933 h 4710"/>
                    <a:gd name="T50" fmla="*/ 2372 w 2756"/>
                    <a:gd name="T51" fmla="*/ 2927 h 4710"/>
                    <a:gd name="T52" fmla="*/ 2323 w 2756"/>
                    <a:gd name="T53" fmla="*/ 2888 h 4710"/>
                    <a:gd name="T54" fmla="*/ 2276 w 2756"/>
                    <a:gd name="T55" fmla="*/ 2841 h 4710"/>
                    <a:gd name="T56" fmla="*/ 2238 w 2756"/>
                    <a:gd name="T57" fmla="*/ 2816 h 4710"/>
                    <a:gd name="T58" fmla="*/ 2192 w 2756"/>
                    <a:gd name="T59" fmla="*/ 2796 h 4710"/>
                    <a:gd name="T60" fmla="*/ 2180 w 2756"/>
                    <a:gd name="T61" fmla="*/ 2396 h 4710"/>
                    <a:gd name="T62" fmla="*/ 2607 w 2756"/>
                    <a:gd name="T63" fmla="*/ 1375 h 4710"/>
                    <a:gd name="T64" fmla="*/ 2754 w 2756"/>
                    <a:gd name="T65" fmla="*/ 704 h 4710"/>
                    <a:gd name="T66" fmla="*/ 2748 w 2756"/>
                    <a:gd name="T67" fmla="*/ 672 h 4710"/>
                    <a:gd name="T68" fmla="*/ 2728 w 2756"/>
                    <a:gd name="T69" fmla="*/ 627 h 4710"/>
                    <a:gd name="T70" fmla="*/ 2718 w 2756"/>
                    <a:gd name="T71" fmla="*/ 577 h 4710"/>
                    <a:gd name="T72" fmla="*/ 2706 w 2756"/>
                    <a:gd name="T73" fmla="*/ 559 h 4710"/>
                    <a:gd name="T74" fmla="*/ 2686 w 2756"/>
                    <a:gd name="T75" fmla="*/ 560 h 4710"/>
                    <a:gd name="T76" fmla="*/ 2652 w 2756"/>
                    <a:gd name="T77" fmla="*/ 572 h 4710"/>
                    <a:gd name="T78" fmla="*/ 2624 w 2756"/>
                    <a:gd name="T79" fmla="*/ 575 h 4710"/>
                    <a:gd name="T80" fmla="*/ 2608 w 2756"/>
                    <a:gd name="T81" fmla="*/ 572 h 4710"/>
                    <a:gd name="T82" fmla="*/ 2587 w 2756"/>
                    <a:gd name="T83" fmla="*/ 546 h 4710"/>
                    <a:gd name="T84" fmla="*/ 2554 w 2756"/>
                    <a:gd name="T85" fmla="*/ 514 h 4710"/>
                    <a:gd name="T86" fmla="*/ 2535 w 2756"/>
                    <a:gd name="T87" fmla="*/ 496 h 4710"/>
                    <a:gd name="T88" fmla="*/ 2573 w 2756"/>
                    <a:gd name="T89" fmla="*/ 474 h 4710"/>
                    <a:gd name="T90" fmla="*/ 2627 w 2756"/>
                    <a:gd name="T91" fmla="*/ 440 h 4710"/>
                    <a:gd name="T92" fmla="*/ 2634 w 2756"/>
                    <a:gd name="T93" fmla="*/ 426 h 4710"/>
                    <a:gd name="T94" fmla="*/ 2639 w 2756"/>
                    <a:gd name="T95" fmla="*/ 406 h 4710"/>
                    <a:gd name="T96" fmla="*/ 2647 w 2756"/>
                    <a:gd name="T97" fmla="*/ 397 h 4710"/>
                    <a:gd name="T98" fmla="*/ 2667 w 2756"/>
                    <a:gd name="T99" fmla="*/ 393 h 4710"/>
                    <a:gd name="T100" fmla="*/ 2695 w 2756"/>
                    <a:gd name="T101" fmla="*/ 392 h 4710"/>
                    <a:gd name="T102" fmla="*/ 2718 w 2756"/>
                    <a:gd name="T103" fmla="*/ 387 h 4710"/>
                    <a:gd name="T104" fmla="*/ 2739 w 2756"/>
                    <a:gd name="T105" fmla="*/ 374 h 4710"/>
                    <a:gd name="T106" fmla="*/ 2754 w 2756"/>
                    <a:gd name="T107" fmla="*/ 353 h 4710"/>
                    <a:gd name="T108" fmla="*/ 2755 w 2756"/>
                    <a:gd name="T109" fmla="*/ 326 h 4710"/>
                    <a:gd name="T110" fmla="*/ 2398 w 2756"/>
                    <a:gd name="T111" fmla="*/ 307 h 4710"/>
                    <a:gd name="T112" fmla="*/ 1197 w 2756"/>
                    <a:gd name="T113" fmla="*/ 0 h 4710"/>
                    <a:gd name="T114" fmla="*/ 53 w 2756"/>
                    <a:gd name="T115" fmla="*/ 4654 h 4710"/>
                    <a:gd name="T116" fmla="*/ 2231 w 2756"/>
                    <a:gd name="T117" fmla="*/ 4710 h 47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756" h="4710">
                      <a:moveTo>
                        <a:pt x="2231" y="4710"/>
                      </a:moveTo>
                      <a:lnTo>
                        <a:pt x="2222" y="4606"/>
                      </a:lnTo>
                      <a:lnTo>
                        <a:pt x="2224" y="4604"/>
                      </a:lnTo>
                      <a:lnTo>
                        <a:pt x="2225" y="4602"/>
                      </a:lnTo>
                      <a:lnTo>
                        <a:pt x="2226" y="4599"/>
                      </a:lnTo>
                      <a:lnTo>
                        <a:pt x="2225" y="4597"/>
                      </a:lnTo>
                      <a:lnTo>
                        <a:pt x="2224" y="4581"/>
                      </a:lnTo>
                      <a:lnTo>
                        <a:pt x="2220" y="4562"/>
                      </a:lnTo>
                      <a:lnTo>
                        <a:pt x="2215" y="4543"/>
                      </a:lnTo>
                      <a:lnTo>
                        <a:pt x="2209" y="4523"/>
                      </a:lnTo>
                      <a:lnTo>
                        <a:pt x="2193" y="4484"/>
                      </a:lnTo>
                      <a:lnTo>
                        <a:pt x="2180" y="4450"/>
                      </a:lnTo>
                      <a:lnTo>
                        <a:pt x="2171" y="4427"/>
                      </a:lnTo>
                      <a:lnTo>
                        <a:pt x="2159" y="4401"/>
                      </a:lnTo>
                      <a:lnTo>
                        <a:pt x="2148" y="4373"/>
                      </a:lnTo>
                      <a:lnTo>
                        <a:pt x="2137" y="4342"/>
                      </a:lnTo>
                      <a:lnTo>
                        <a:pt x="2133" y="4328"/>
                      </a:lnTo>
                      <a:lnTo>
                        <a:pt x="2130" y="4313"/>
                      </a:lnTo>
                      <a:lnTo>
                        <a:pt x="2129" y="4299"/>
                      </a:lnTo>
                      <a:lnTo>
                        <a:pt x="2129" y="4286"/>
                      </a:lnTo>
                      <a:lnTo>
                        <a:pt x="2130" y="4279"/>
                      </a:lnTo>
                      <a:lnTo>
                        <a:pt x="2131" y="4273"/>
                      </a:lnTo>
                      <a:lnTo>
                        <a:pt x="2133" y="4267"/>
                      </a:lnTo>
                      <a:lnTo>
                        <a:pt x="2136" y="4261"/>
                      </a:lnTo>
                      <a:lnTo>
                        <a:pt x="2138" y="4255"/>
                      </a:lnTo>
                      <a:lnTo>
                        <a:pt x="2143" y="4250"/>
                      </a:lnTo>
                      <a:lnTo>
                        <a:pt x="2146" y="4246"/>
                      </a:lnTo>
                      <a:lnTo>
                        <a:pt x="2152" y="4241"/>
                      </a:lnTo>
                      <a:lnTo>
                        <a:pt x="2162" y="4234"/>
                      </a:lnTo>
                      <a:lnTo>
                        <a:pt x="2172" y="4225"/>
                      </a:lnTo>
                      <a:lnTo>
                        <a:pt x="2183" y="4214"/>
                      </a:lnTo>
                      <a:lnTo>
                        <a:pt x="2193" y="4202"/>
                      </a:lnTo>
                      <a:lnTo>
                        <a:pt x="2198" y="4195"/>
                      </a:lnTo>
                      <a:lnTo>
                        <a:pt x="2203" y="4189"/>
                      </a:lnTo>
                      <a:lnTo>
                        <a:pt x="2205" y="4182"/>
                      </a:lnTo>
                      <a:lnTo>
                        <a:pt x="2209" y="4176"/>
                      </a:lnTo>
                      <a:lnTo>
                        <a:pt x="2210" y="4169"/>
                      </a:lnTo>
                      <a:lnTo>
                        <a:pt x="2210" y="4162"/>
                      </a:lnTo>
                      <a:lnTo>
                        <a:pt x="2209" y="4156"/>
                      </a:lnTo>
                      <a:lnTo>
                        <a:pt x="2207" y="4149"/>
                      </a:lnTo>
                      <a:lnTo>
                        <a:pt x="2192" y="4133"/>
                      </a:lnTo>
                      <a:lnTo>
                        <a:pt x="2178" y="4116"/>
                      </a:lnTo>
                      <a:lnTo>
                        <a:pt x="2173" y="4102"/>
                      </a:lnTo>
                      <a:lnTo>
                        <a:pt x="2170" y="4085"/>
                      </a:lnTo>
                      <a:lnTo>
                        <a:pt x="2168" y="4070"/>
                      </a:lnTo>
                      <a:lnTo>
                        <a:pt x="2168" y="4054"/>
                      </a:lnTo>
                      <a:lnTo>
                        <a:pt x="2170" y="4047"/>
                      </a:lnTo>
                      <a:lnTo>
                        <a:pt x="2171" y="4040"/>
                      </a:lnTo>
                      <a:lnTo>
                        <a:pt x="2175" y="4035"/>
                      </a:lnTo>
                      <a:lnTo>
                        <a:pt x="2176" y="4029"/>
                      </a:lnTo>
                      <a:lnTo>
                        <a:pt x="2183" y="4021"/>
                      </a:lnTo>
                      <a:lnTo>
                        <a:pt x="2189" y="4015"/>
                      </a:lnTo>
                      <a:lnTo>
                        <a:pt x="2196" y="4011"/>
                      </a:lnTo>
                      <a:lnTo>
                        <a:pt x="2205" y="4008"/>
                      </a:lnTo>
                      <a:lnTo>
                        <a:pt x="2217" y="4005"/>
                      </a:lnTo>
                      <a:lnTo>
                        <a:pt x="2227" y="4007"/>
                      </a:lnTo>
                      <a:lnTo>
                        <a:pt x="2238" y="4008"/>
                      </a:lnTo>
                      <a:lnTo>
                        <a:pt x="2249" y="4009"/>
                      </a:lnTo>
                      <a:lnTo>
                        <a:pt x="2257" y="4012"/>
                      </a:lnTo>
                      <a:lnTo>
                        <a:pt x="2267" y="4016"/>
                      </a:lnTo>
                      <a:lnTo>
                        <a:pt x="2278" y="4019"/>
                      </a:lnTo>
                      <a:lnTo>
                        <a:pt x="2286" y="4021"/>
                      </a:lnTo>
                      <a:lnTo>
                        <a:pt x="2300" y="4021"/>
                      </a:lnTo>
                      <a:lnTo>
                        <a:pt x="2314" y="4019"/>
                      </a:lnTo>
                      <a:lnTo>
                        <a:pt x="2329" y="4017"/>
                      </a:lnTo>
                      <a:lnTo>
                        <a:pt x="2343" y="4014"/>
                      </a:lnTo>
                      <a:lnTo>
                        <a:pt x="2493" y="3299"/>
                      </a:lnTo>
                      <a:lnTo>
                        <a:pt x="2494" y="2924"/>
                      </a:lnTo>
                      <a:lnTo>
                        <a:pt x="2494" y="2924"/>
                      </a:lnTo>
                      <a:lnTo>
                        <a:pt x="2453" y="2929"/>
                      </a:lnTo>
                      <a:lnTo>
                        <a:pt x="2439" y="2933"/>
                      </a:lnTo>
                      <a:lnTo>
                        <a:pt x="2425" y="2935"/>
                      </a:lnTo>
                      <a:lnTo>
                        <a:pt x="2413" y="2934"/>
                      </a:lnTo>
                      <a:lnTo>
                        <a:pt x="2401" y="2934"/>
                      </a:lnTo>
                      <a:lnTo>
                        <a:pt x="2393" y="2933"/>
                      </a:lnTo>
                      <a:lnTo>
                        <a:pt x="2385" y="2932"/>
                      </a:lnTo>
                      <a:lnTo>
                        <a:pt x="2378" y="2929"/>
                      </a:lnTo>
                      <a:lnTo>
                        <a:pt x="2372" y="2927"/>
                      </a:lnTo>
                      <a:lnTo>
                        <a:pt x="2360" y="2920"/>
                      </a:lnTo>
                      <a:lnTo>
                        <a:pt x="2347" y="2910"/>
                      </a:lnTo>
                      <a:lnTo>
                        <a:pt x="2323" y="2888"/>
                      </a:lnTo>
                      <a:lnTo>
                        <a:pt x="2300" y="2863"/>
                      </a:lnTo>
                      <a:lnTo>
                        <a:pt x="2289" y="2851"/>
                      </a:lnTo>
                      <a:lnTo>
                        <a:pt x="2276" y="2841"/>
                      </a:lnTo>
                      <a:lnTo>
                        <a:pt x="2264" y="2830"/>
                      </a:lnTo>
                      <a:lnTo>
                        <a:pt x="2250" y="2822"/>
                      </a:lnTo>
                      <a:lnTo>
                        <a:pt x="2238" y="2816"/>
                      </a:lnTo>
                      <a:lnTo>
                        <a:pt x="2219" y="2809"/>
                      </a:lnTo>
                      <a:lnTo>
                        <a:pt x="2200" y="2801"/>
                      </a:lnTo>
                      <a:lnTo>
                        <a:pt x="2192" y="2796"/>
                      </a:lnTo>
                      <a:lnTo>
                        <a:pt x="2189" y="2794"/>
                      </a:lnTo>
                      <a:lnTo>
                        <a:pt x="2184" y="2792"/>
                      </a:lnTo>
                      <a:lnTo>
                        <a:pt x="2180" y="2396"/>
                      </a:lnTo>
                      <a:lnTo>
                        <a:pt x="2452" y="2455"/>
                      </a:lnTo>
                      <a:lnTo>
                        <a:pt x="2668" y="1375"/>
                      </a:lnTo>
                      <a:lnTo>
                        <a:pt x="2607" y="1375"/>
                      </a:lnTo>
                      <a:lnTo>
                        <a:pt x="2627" y="1298"/>
                      </a:lnTo>
                      <a:lnTo>
                        <a:pt x="2627" y="1298"/>
                      </a:lnTo>
                      <a:lnTo>
                        <a:pt x="2754" y="704"/>
                      </a:lnTo>
                      <a:lnTo>
                        <a:pt x="2754" y="692"/>
                      </a:lnTo>
                      <a:lnTo>
                        <a:pt x="2752" y="682"/>
                      </a:lnTo>
                      <a:lnTo>
                        <a:pt x="2748" y="672"/>
                      </a:lnTo>
                      <a:lnTo>
                        <a:pt x="2745" y="664"/>
                      </a:lnTo>
                      <a:lnTo>
                        <a:pt x="2736" y="646"/>
                      </a:lnTo>
                      <a:lnTo>
                        <a:pt x="2728" y="627"/>
                      </a:lnTo>
                      <a:lnTo>
                        <a:pt x="2725" y="611"/>
                      </a:lnTo>
                      <a:lnTo>
                        <a:pt x="2720" y="593"/>
                      </a:lnTo>
                      <a:lnTo>
                        <a:pt x="2718" y="577"/>
                      </a:lnTo>
                      <a:lnTo>
                        <a:pt x="2714" y="561"/>
                      </a:lnTo>
                      <a:lnTo>
                        <a:pt x="2711" y="559"/>
                      </a:lnTo>
                      <a:lnTo>
                        <a:pt x="2706" y="559"/>
                      </a:lnTo>
                      <a:lnTo>
                        <a:pt x="2701" y="558"/>
                      </a:lnTo>
                      <a:lnTo>
                        <a:pt x="2696" y="559"/>
                      </a:lnTo>
                      <a:lnTo>
                        <a:pt x="2686" y="560"/>
                      </a:lnTo>
                      <a:lnTo>
                        <a:pt x="2674" y="564"/>
                      </a:lnTo>
                      <a:lnTo>
                        <a:pt x="2662" y="567"/>
                      </a:lnTo>
                      <a:lnTo>
                        <a:pt x="2652" y="572"/>
                      </a:lnTo>
                      <a:lnTo>
                        <a:pt x="2641" y="574"/>
                      </a:lnTo>
                      <a:lnTo>
                        <a:pt x="2631" y="575"/>
                      </a:lnTo>
                      <a:lnTo>
                        <a:pt x="2624" y="575"/>
                      </a:lnTo>
                      <a:lnTo>
                        <a:pt x="2618" y="574"/>
                      </a:lnTo>
                      <a:lnTo>
                        <a:pt x="2613" y="573"/>
                      </a:lnTo>
                      <a:lnTo>
                        <a:pt x="2608" y="572"/>
                      </a:lnTo>
                      <a:lnTo>
                        <a:pt x="2601" y="567"/>
                      </a:lnTo>
                      <a:lnTo>
                        <a:pt x="2597" y="560"/>
                      </a:lnTo>
                      <a:lnTo>
                        <a:pt x="2587" y="546"/>
                      </a:lnTo>
                      <a:lnTo>
                        <a:pt x="2575" y="528"/>
                      </a:lnTo>
                      <a:lnTo>
                        <a:pt x="2565" y="520"/>
                      </a:lnTo>
                      <a:lnTo>
                        <a:pt x="2554" y="514"/>
                      </a:lnTo>
                      <a:lnTo>
                        <a:pt x="2544" y="507"/>
                      </a:lnTo>
                      <a:lnTo>
                        <a:pt x="2532" y="500"/>
                      </a:lnTo>
                      <a:lnTo>
                        <a:pt x="2535" y="496"/>
                      </a:lnTo>
                      <a:lnTo>
                        <a:pt x="2545" y="491"/>
                      </a:lnTo>
                      <a:lnTo>
                        <a:pt x="2558" y="482"/>
                      </a:lnTo>
                      <a:lnTo>
                        <a:pt x="2573" y="474"/>
                      </a:lnTo>
                      <a:lnTo>
                        <a:pt x="2604" y="458"/>
                      </a:lnTo>
                      <a:lnTo>
                        <a:pt x="2622" y="445"/>
                      </a:lnTo>
                      <a:lnTo>
                        <a:pt x="2627" y="440"/>
                      </a:lnTo>
                      <a:lnTo>
                        <a:pt x="2631" y="435"/>
                      </a:lnTo>
                      <a:lnTo>
                        <a:pt x="2632" y="430"/>
                      </a:lnTo>
                      <a:lnTo>
                        <a:pt x="2634" y="426"/>
                      </a:lnTo>
                      <a:lnTo>
                        <a:pt x="2635" y="416"/>
                      </a:lnTo>
                      <a:lnTo>
                        <a:pt x="2638" y="409"/>
                      </a:lnTo>
                      <a:lnTo>
                        <a:pt x="2639" y="406"/>
                      </a:lnTo>
                      <a:lnTo>
                        <a:pt x="2641" y="402"/>
                      </a:lnTo>
                      <a:lnTo>
                        <a:pt x="2644" y="400"/>
                      </a:lnTo>
                      <a:lnTo>
                        <a:pt x="2647" y="397"/>
                      </a:lnTo>
                      <a:lnTo>
                        <a:pt x="2653" y="395"/>
                      </a:lnTo>
                      <a:lnTo>
                        <a:pt x="2659" y="394"/>
                      </a:lnTo>
                      <a:lnTo>
                        <a:pt x="2667" y="393"/>
                      </a:lnTo>
                      <a:lnTo>
                        <a:pt x="2678" y="393"/>
                      </a:lnTo>
                      <a:lnTo>
                        <a:pt x="2687" y="393"/>
                      </a:lnTo>
                      <a:lnTo>
                        <a:pt x="2695" y="392"/>
                      </a:lnTo>
                      <a:lnTo>
                        <a:pt x="2702" y="390"/>
                      </a:lnTo>
                      <a:lnTo>
                        <a:pt x="2711" y="389"/>
                      </a:lnTo>
                      <a:lnTo>
                        <a:pt x="2718" y="387"/>
                      </a:lnTo>
                      <a:lnTo>
                        <a:pt x="2725" y="383"/>
                      </a:lnTo>
                      <a:lnTo>
                        <a:pt x="2732" y="379"/>
                      </a:lnTo>
                      <a:lnTo>
                        <a:pt x="2739" y="374"/>
                      </a:lnTo>
                      <a:lnTo>
                        <a:pt x="2746" y="368"/>
                      </a:lnTo>
                      <a:lnTo>
                        <a:pt x="2752" y="360"/>
                      </a:lnTo>
                      <a:lnTo>
                        <a:pt x="2754" y="353"/>
                      </a:lnTo>
                      <a:lnTo>
                        <a:pt x="2756" y="343"/>
                      </a:lnTo>
                      <a:lnTo>
                        <a:pt x="2756" y="335"/>
                      </a:lnTo>
                      <a:lnTo>
                        <a:pt x="2755" y="326"/>
                      </a:lnTo>
                      <a:lnTo>
                        <a:pt x="2753" y="317"/>
                      </a:lnTo>
                      <a:lnTo>
                        <a:pt x="2750" y="308"/>
                      </a:lnTo>
                      <a:lnTo>
                        <a:pt x="2398" y="307"/>
                      </a:lnTo>
                      <a:lnTo>
                        <a:pt x="2398" y="38"/>
                      </a:lnTo>
                      <a:lnTo>
                        <a:pt x="2398" y="38"/>
                      </a:lnTo>
                      <a:lnTo>
                        <a:pt x="1197" y="0"/>
                      </a:lnTo>
                      <a:lnTo>
                        <a:pt x="1197" y="0"/>
                      </a:lnTo>
                      <a:lnTo>
                        <a:pt x="0" y="4406"/>
                      </a:lnTo>
                      <a:lnTo>
                        <a:pt x="53" y="4654"/>
                      </a:lnTo>
                      <a:lnTo>
                        <a:pt x="101" y="4656"/>
                      </a:lnTo>
                      <a:lnTo>
                        <a:pt x="101" y="4656"/>
                      </a:lnTo>
                      <a:lnTo>
                        <a:pt x="2231" y="4710"/>
                      </a:lnTo>
                      <a:lnTo>
                        <a:pt x="2231" y="4710"/>
                      </a:lnTo>
                      <a:close/>
                    </a:path>
                  </a:pathLst>
                </a:cu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213A57D2-583F-4DB6-8021-ECA220A5FFCF}"/>
                  </a:ext>
                </a:extLst>
              </p:cNvPr>
              <p:cNvGrpSpPr/>
              <p:nvPr/>
            </p:nvGrpSpPr>
            <p:grpSpPr>
              <a:xfrm>
                <a:off x="10269708" y="3732322"/>
                <a:ext cx="1154393" cy="1281008"/>
                <a:chOff x="10269708" y="3732322"/>
                <a:chExt cx="1154393" cy="1281008"/>
              </a:xfrm>
            </p:grpSpPr>
            <p:sp>
              <p:nvSpPr>
                <p:cNvPr id="20" name="Freeform 12">
                  <a:extLst>
                    <a:ext uri="{FF2B5EF4-FFF2-40B4-BE49-F238E27FC236}">
                      <a16:creationId xmlns:a16="http://schemas.microsoft.com/office/drawing/2014/main" id="{F6D17265-D3F3-4902-8FAB-86BD50E31C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566905" y="3732322"/>
                  <a:ext cx="857196" cy="865472"/>
                </a:xfrm>
                <a:custGeom>
                  <a:avLst/>
                  <a:gdLst>
                    <a:gd name="T0" fmla="*/ 3323 w 3738"/>
                    <a:gd name="T1" fmla="*/ 3575 h 3773"/>
                    <a:gd name="T2" fmla="*/ 632 w 3738"/>
                    <a:gd name="T3" fmla="*/ 1969 h 3773"/>
                    <a:gd name="T4" fmla="*/ 1013 w 3738"/>
                    <a:gd name="T5" fmla="*/ 2117 h 3773"/>
                    <a:gd name="T6" fmla="*/ 1074 w 3738"/>
                    <a:gd name="T7" fmla="*/ 2138 h 3773"/>
                    <a:gd name="T8" fmla="*/ 1976 w 3738"/>
                    <a:gd name="T9" fmla="*/ 2329 h 3773"/>
                    <a:gd name="T10" fmla="*/ 1737 w 3738"/>
                    <a:gd name="T11" fmla="*/ 2382 h 3773"/>
                    <a:gd name="T12" fmla="*/ 1932 w 3738"/>
                    <a:gd name="T13" fmla="*/ 2490 h 3773"/>
                    <a:gd name="T14" fmla="*/ 2503 w 3738"/>
                    <a:gd name="T15" fmla="*/ 2200 h 3773"/>
                    <a:gd name="T16" fmla="*/ 2948 w 3738"/>
                    <a:gd name="T17" fmla="*/ 2080 h 3773"/>
                    <a:gd name="T18" fmla="*/ 3367 w 3738"/>
                    <a:gd name="T19" fmla="*/ 1672 h 3773"/>
                    <a:gd name="T20" fmla="*/ 3300 w 3738"/>
                    <a:gd name="T21" fmla="*/ 1277 h 3773"/>
                    <a:gd name="T22" fmla="*/ 3344 w 3738"/>
                    <a:gd name="T23" fmla="*/ 1156 h 3773"/>
                    <a:gd name="T24" fmla="*/ 3257 w 3738"/>
                    <a:gd name="T25" fmla="*/ 1090 h 3773"/>
                    <a:gd name="T26" fmla="*/ 3056 w 3738"/>
                    <a:gd name="T27" fmla="*/ 1024 h 3773"/>
                    <a:gd name="T28" fmla="*/ 3068 w 3738"/>
                    <a:gd name="T29" fmla="*/ 1173 h 3773"/>
                    <a:gd name="T30" fmla="*/ 3007 w 3738"/>
                    <a:gd name="T31" fmla="*/ 918 h 3773"/>
                    <a:gd name="T32" fmla="*/ 2837 w 3738"/>
                    <a:gd name="T33" fmla="*/ 268 h 3773"/>
                    <a:gd name="T34" fmla="*/ 2439 w 3738"/>
                    <a:gd name="T35" fmla="*/ 363 h 3773"/>
                    <a:gd name="T36" fmla="*/ 2408 w 3738"/>
                    <a:gd name="T37" fmla="*/ 412 h 3773"/>
                    <a:gd name="T38" fmla="*/ 2210 w 3738"/>
                    <a:gd name="T39" fmla="*/ 69 h 3773"/>
                    <a:gd name="T40" fmla="*/ 3025 w 3738"/>
                    <a:gd name="T41" fmla="*/ 221 h 3773"/>
                    <a:gd name="T42" fmla="*/ 3489 w 3738"/>
                    <a:gd name="T43" fmla="*/ 971 h 3773"/>
                    <a:gd name="T44" fmla="*/ 3629 w 3738"/>
                    <a:gd name="T45" fmla="*/ 1617 h 3773"/>
                    <a:gd name="T46" fmla="*/ 3626 w 3738"/>
                    <a:gd name="T47" fmla="*/ 1818 h 3773"/>
                    <a:gd name="T48" fmla="*/ 3722 w 3738"/>
                    <a:gd name="T49" fmla="*/ 2640 h 3773"/>
                    <a:gd name="T50" fmla="*/ 3682 w 3738"/>
                    <a:gd name="T51" fmla="*/ 2201 h 3773"/>
                    <a:gd name="T52" fmla="*/ 3652 w 3738"/>
                    <a:gd name="T53" fmla="*/ 2099 h 3773"/>
                    <a:gd name="T54" fmla="*/ 3558 w 3738"/>
                    <a:gd name="T55" fmla="*/ 2068 h 3773"/>
                    <a:gd name="T56" fmla="*/ 3568 w 3738"/>
                    <a:gd name="T57" fmla="*/ 2285 h 3773"/>
                    <a:gd name="T58" fmla="*/ 3549 w 3738"/>
                    <a:gd name="T59" fmla="*/ 2447 h 3773"/>
                    <a:gd name="T60" fmla="*/ 3637 w 3738"/>
                    <a:gd name="T61" fmla="*/ 2641 h 3773"/>
                    <a:gd name="T62" fmla="*/ 3565 w 3738"/>
                    <a:gd name="T63" fmla="*/ 3106 h 3773"/>
                    <a:gd name="T64" fmla="*/ 3635 w 3738"/>
                    <a:gd name="T65" fmla="*/ 2821 h 3773"/>
                    <a:gd name="T66" fmla="*/ 3549 w 3738"/>
                    <a:gd name="T67" fmla="*/ 2786 h 3773"/>
                    <a:gd name="T68" fmla="*/ 3165 w 3738"/>
                    <a:gd name="T69" fmla="*/ 2761 h 3773"/>
                    <a:gd name="T70" fmla="*/ 2437 w 3738"/>
                    <a:gd name="T71" fmla="*/ 2893 h 3773"/>
                    <a:gd name="T72" fmla="*/ 2317 w 3738"/>
                    <a:gd name="T73" fmla="*/ 2959 h 3773"/>
                    <a:gd name="T74" fmla="*/ 2089 w 3738"/>
                    <a:gd name="T75" fmla="*/ 3023 h 3773"/>
                    <a:gd name="T76" fmla="*/ 2045 w 3738"/>
                    <a:gd name="T77" fmla="*/ 2902 h 3773"/>
                    <a:gd name="T78" fmla="*/ 1819 w 3738"/>
                    <a:gd name="T79" fmla="*/ 3029 h 3773"/>
                    <a:gd name="T80" fmla="*/ 1515 w 3738"/>
                    <a:gd name="T81" fmla="*/ 3135 h 3773"/>
                    <a:gd name="T82" fmla="*/ 1398 w 3738"/>
                    <a:gd name="T83" fmla="*/ 3159 h 3773"/>
                    <a:gd name="T84" fmla="*/ 1408 w 3738"/>
                    <a:gd name="T85" fmla="*/ 3024 h 3773"/>
                    <a:gd name="T86" fmla="*/ 1255 w 3738"/>
                    <a:gd name="T87" fmla="*/ 3137 h 3773"/>
                    <a:gd name="T88" fmla="*/ 1115 w 3738"/>
                    <a:gd name="T89" fmla="*/ 3196 h 3773"/>
                    <a:gd name="T90" fmla="*/ 1114 w 3738"/>
                    <a:gd name="T91" fmla="*/ 3302 h 3773"/>
                    <a:gd name="T92" fmla="*/ 1035 w 3738"/>
                    <a:gd name="T93" fmla="*/ 3489 h 3773"/>
                    <a:gd name="T94" fmla="*/ 845 w 3738"/>
                    <a:gd name="T95" fmla="*/ 3412 h 3773"/>
                    <a:gd name="T96" fmla="*/ 765 w 3738"/>
                    <a:gd name="T97" fmla="*/ 3513 h 3773"/>
                    <a:gd name="T98" fmla="*/ 235 w 3738"/>
                    <a:gd name="T99" fmla="*/ 3641 h 3773"/>
                    <a:gd name="T100" fmla="*/ 22 w 3738"/>
                    <a:gd name="T101" fmla="*/ 3710 h 3773"/>
                    <a:gd name="T102" fmla="*/ 130 w 3738"/>
                    <a:gd name="T103" fmla="*/ 3623 h 3773"/>
                    <a:gd name="T104" fmla="*/ 202 w 3738"/>
                    <a:gd name="T105" fmla="*/ 3398 h 3773"/>
                    <a:gd name="T106" fmla="*/ 218 w 3738"/>
                    <a:gd name="T107" fmla="*/ 3200 h 3773"/>
                    <a:gd name="T108" fmla="*/ 215 w 3738"/>
                    <a:gd name="T109" fmla="*/ 2945 h 3773"/>
                    <a:gd name="T110" fmla="*/ 338 w 3738"/>
                    <a:gd name="T111" fmla="*/ 2823 h 3773"/>
                    <a:gd name="T112" fmla="*/ 192 w 3738"/>
                    <a:gd name="T113" fmla="*/ 2757 h 3773"/>
                    <a:gd name="T114" fmla="*/ 325 w 3738"/>
                    <a:gd name="T115" fmla="*/ 2681 h 3773"/>
                    <a:gd name="T116" fmla="*/ 250 w 3738"/>
                    <a:gd name="T117" fmla="*/ 2641 h 3773"/>
                    <a:gd name="T118" fmla="*/ 202 w 3738"/>
                    <a:gd name="T119" fmla="*/ 2599 h 3773"/>
                    <a:gd name="T120" fmla="*/ 344 w 3738"/>
                    <a:gd name="T121" fmla="*/ 2445 h 3773"/>
                    <a:gd name="T122" fmla="*/ 269 w 3738"/>
                    <a:gd name="T123" fmla="*/ 2381 h 3773"/>
                    <a:gd name="T124" fmla="*/ 376 w 3738"/>
                    <a:gd name="T125" fmla="*/ 2172 h 37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738" h="3773">
                      <a:moveTo>
                        <a:pt x="3449" y="3149"/>
                      </a:moveTo>
                      <a:lnTo>
                        <a:pt x="3445" y="3155"/>
                      </a:lnTo>
                      <a:lnTo>
                        <a:pt x="3443" y="3160"/>
                      </a:lnTo>
                      <a:lnTo>
                        <a:pt x="3440" y="3163"/>
                      </a:lnTo>
                      <a:lnTo>
                        <a:pt x="3437" y="3167"/>
                      </a:lnTo>
                      <a:lnTo>
                        <a:pt x="3435" y="3172"/>
                      </a:lnTo>
                      <a:lnTo>
                        <a:pt x="3433" y="3177"/>
                      </a:lnTo>
                      <a:lnTo>
                        <a:pt x="3429" y="3190"/>
                      </a:lnTo>
                      <a:lnTo>
                        <a:pt x="3425" y="3206"/>
                      </a:lnTo>
                      <a:lnTo>
                        <a:pt x="3422" y="3235"/>
                      </a:lnTo>
                      <a:lnTo>
                        <a:pt x="3420" y="3258"/>
                      </a:lnTo>
                      <a:lnTo>
                        <a:pt x="3416" y="3287"/>
                      </a:lnTo>
                      <a:lnTo>
                        <a:pt x="3413" y="3316"/>
                      </a:lnTo>
                      <a:lnTo>
                        <a:pt x="3411" y="3332"/>
                      </a:lnTo>
                      <a:lnTo>
                        <a:pt x="3409" y="3346"/>
                      </a:lnTo>
                      <a:lnTo>
                        <a:pt x="3407" y="3361"/>
                      </a:lnTo>
                      <a:lnTo>
                        <a:pt x="3403" y="3375"/>
                      </a:lnTo>
                      <a:lnTo>
                        <a:pt x="3397" y="3395"/>
                      </a:lnTo>
                      <a:lnTo>
                        <a:pt x="3388" y="3417"/>
                      </a:lnTo>
                      <a:lnTo>
                        <a:pt x="3382" y="3426"/>
                      </a:lnTo>
                      <a:lnTo>
                        <a:pt x="3376" y="3436"/>
                      </a:lnTo>
                      <a:lnTo>
                        <a:pt x="3370" y="3444"/>
                      </a:lnTo>
                      <a:lnTo>
                        <a:pt x="3363" y="3452"/>
                      </a:lnTo>
                      <a:lnTo>
                        <a:pt x="3357" y="3457"/>
                      </a:lnTo>
                      <a:lnTo>
                        <a:pt x="3351" y="3464"/>
                      </a:lnTo>
                      <a:lnTo>
                        <a:pt x="3346" y="3471"/>
                      </a:lnTo>
                      <a:lnTo>
                        <a:pt x="3340" y="3478"/>
                      </a:lnTo>
                      <a:lnTo>
                        <a:pt x="3335" y="3486"/>
                      </a:lnTo>
                      <a:lnTo>
                        <a:pt x="3330" y="3494"/>
                      </a:lnTo>
                      <a:lnTo>
                        <a:pt x="3327" y="3503"/>
                      </a:lnTo>
                      <a:lnTo>
                        <a:pt x="3323" y="3512"/>
                      </a:lnTo>
                      <a:lnTo>
                        <a:pt x="3321" y="3522"/>
                      </a:lnTo>
                      <a:lnTo>
                        <a:pt x="3319" y="3530"/>
                      </a:lnTo>
                      <a:lnTo>
                        <a:pt x="3317" y="3539"/>
                      </a:lnTo>
                      <a:lnTo>
                        <a:pt x="3317" y="3549"/>
                      </a:lnTo>
                      <a:lnTo>
                        <a:pt x="3319" y="3558"/>
                      </a:lnTo>
                      <a:lnTo>
                        <a:pt x="3321" y="3566"/>
                      </a:lnTo>
                      <a:lnTo>
                        <a:pt x="3323" y="3575"/>
                      </a:lnTo>
                      <a:lnTo>
                        <a:pt x="3328" y="3583"/>
                      </a:lnTo>
                      <a:lnTo>
                        <a:pt x="3333" y="3588"/>
                      </a:lnTo>
                      <a:lnTo>
                        <a:pt x="3337" y="3592"/>
                      </a:lnTo>
                      <a:lnTo>
                        <a:pt x="3343" y="3595"/>
                      </a:lnTo>
                      <a:lnTo>
                        <a:pt x="3349" y="3597"/>
                      </a:lnTo>
                      <a:lnTo>
                        <a:pt x="3355" y="3597"/>
                      </a:lnTo>
                      <a:lnTo>
                        <a:pt x="3361" y="3597"/>
                      </a:lnTo>
                      <a:lnTo>
                        <a:pt x="3367" y="3596"/>
                      </a:lnTo>
                      <a:lnTo>
                        <a:pt x="3373" y="3593"/>
                      </a:lnTo>
                      <a:lnTo>
                        <a:pt x="3378" y="3591"/>
                      </a:lnTo>
                      <a:lnTo>
                        <a:pt x="3384" y="3588"/>
                      </a:lnTo>
                      <a:lnTo>
                        <a:pt x="3389" y="3584"/>
                      </a:lnTo>
                      <a:lnTo>
                        <a:pt x="3394" y="3579"/>
                      </a:lnTo>
                      <a:lnTo>
                        <a:pt x="3397" y="3575"/>
                      </a:lnTo>
                      <a:lnTo>
                        <a:pt x="3401" y="3569"/>
                      </a:lnTo>
                      <a:lnTo>
                        <a:pt x="3403" y="3563"/>
                      </a:lnTo>
                      <a:lnTo>
                        <a:pt x="3404" y="3557"/>
                      </a:lnTo>
                      <a:lnTo>
                        <a:pt x="3437" y="3324"/>
                      </a:lnTo>
                      <a:lnTo>
                        <a:pt x="3440" y="3304"/>
                      </a:lnTo>
                      <a:lnTo>
                        <a:pt x="3441" y="3282"/>
                      </a:lnTo>
                      <a:lnTo>
                        <a:pt x="3442" y="3261"/>
                      </a:lnTo>
                      <a:lnTo>
                        <a:pt x="3444" y="3241"/>
                      </a:lnTo>
                      <a:lnTo>
                        <a:pt x="3447" y="3226"/>
                      </a:lnTo>
                      <a:lnTo>
                        <a:pt x="3450" y="3209"/>
                      </a:lnTo>
                      <a:lnTo>
                        <a:pt x="3452" y="3193"/>
                      </a:lnTo>
                      <a:lnTo>
                        <a:pt x="3454" y="3176"/>
                      </a:lnTo>
                      <a:lnTo>
                        <a:pt x="3449" y="3149"/>
                      </a:lnTo>
                      <a:close/>
                      <a:moveTo>
                        <a:pt x="398" y="2107"/>
                      </a:moveTo>
                      <a:lnTo>
                        <a:pt x="539" y="2029"/>
                      </a:lnTo>
                      <a:lnTo>
                        <a:pt x="543" y="2028"/>
                      </a:lnTo>
                      <a:lnTo>
                        <a:pt x="546" y="2026"/>
                      </a:lnTo>
                      <a:lnTo>
                        <a:pt x="559" y="2020"/>
                      </a:lnTo>
                      <a:lnTo>
                        <a:pt x="572" y="2013"/>
                      </a:lnTo>
                      <a:lnTo>
                        <a:pt x="585" y="2006"/>
                      </a:lnTo>
                      <a:lnTo>
                        <a:pt x="597" y="1998"/>
                      </a:lnTo>
                      <a:lnTo>
                        <a:pt x="610" y="1988"/>
                      </a:lnTo>
                      <a:lnTo>
                        <a:pt x="620" y="1979"/>
                      </a:lnTo>
                      <a:lnTo>
                        <a:pt x="632" y="1969"/>
                      </a:lnTo>
                      <a:lnTo>
                        <a:pt x="641" y="1959"/>
                      </a:lnTo>
                      <a:lnTo>
                        <a:pt x="689" y="1909"/>
                      </a:lnTo>
                      <a:lnTo>
                        <a:pt x="755" y="1829"/>
                      </a:lnTo>
                      <a:lnTo>
                        <a:pt x="755" y="1829"/>
                      </a:lnTo>
                      <a:lnTo>
                        <a:pt x="775" y="1861"/>
                      </a:lnTo>
                      <a:lnTo>
                        <a:pt x="798" y="1893"/>
                      </a:lnTo>
                      <a:lnTo>
                        <a:pt x="822" y="1924"/>
                      </a:lnTo>
                      <a:lnTo>
                        <a:pt x="848" y="1954"/>
                      </a:lnTo>
                      <a:lnTo>
                        <a:pt x="860" y="1967"/>
                      </a:lnTo>
                      <a:lnTo>
                        <a:pt x="873" y="1979"/>
                      </a:lnTo>
                      <a:lnTo>
                        <a:pt x="886" y="1990"/>
                      </a:lnTo>
                      <a:lnTo>
                        <a:pt x="897" y="2000"/>
                      </a:lnTo>
                      <a:lnTo>
                        <a:pt x="908" y="2008"/>
                      </a:lnTo>
                      <a:lnTo>
                        <a:pt x="920" y="2015"/>
                      </a:lnTo>
                      <a:lnTo>
                        <a:pt x="929" y="2020"/>
                      </a:lnTo>
                      <a:lnTo>
                        <a:pt x="939" y="2022"/>
                      </a:lnTo>
                      <a:lnTo>
                        <a:pt x="940" y="2023"/>
                      </a:lnTo>
                      <a:lnTo>
                        <a:pt x="942" y="2025"/>
                      </a:lnTo>
                      <a:lnTo>
                        <a:pt x="942" y="2027"/>
                      </a:lnTo>
                      <a:lnTo>
                        <a:pt x="941" y="2029"/>
                      </a:lnTo>
                      <a:lnTo>
                        <a:pt x="940" y="2031"/>
                      </a:lnTo>
                      <a:lnTo>
                        <a:pt x="939" y="2032"/>
                      </a:lnTo>
                      <a:lnTo>
                        <a:pt x="937" y="2033"/>
                      </a:lnTo>
                      <a:lnTo>
                        <a:pt x="937" y="2035"/>
                      </a:lnTo>
                      <a:lnTo>
                        <a:pt x="933" y="2040"/>
                      </a:lnTo>
                      <a:lnTo>
                        <a:pt x="930" y="2046"/>
                      </a:lnTo>
                      <a:lnTo>
                        <a:pt x="929" y="2046"/>
                      </a:lnTo>
                      <a:lnTo>
                        <a:pt x="928" y="2047"/>
                      </a:lnTo>
                      <a:lnTo>
                        <a:pt x="929" y="2047"/>
                      </a:lnTo>
                      <a:lnTo>
                        <a:pt x="929" y="2048"/>
                      </a:lnTo>
                      <a:lnTo>
                        <a:pt x="933" y="2049"/>
                      </a:lnTo>
                      <a:lnTo>
                        <a:pt x="937" y="2051"/>
                      </a:lnTo>
                      <a:lnTo>
                        <a:pt x="947" y="2052"/>
                      </a:lnTo>
                      <a:lnTo>
                        <a:pt x="952" y="2053"/>
                      </a:lnTo>
                      <a:lnTo>
                        <a:pt x="1041" y="2118"/>
                      </a:lnTo>
                      <a:lnTo>
                        <a:pt x="1031" y="2119"/>
                      </a:lnTo>
                      <a:lnTo>
                        <a:pt x="1022" y="2118"/>
                      </a:lnTo>
                      <a:lnTo>
                        <a:pt x="1013" y="2117"/>
                      </a:lnTo>
                      <a:lnTo>
                        <a:pt x="1003" y="2113"/>
                      </a:lnTo>
                      <a:lnTo>
                        <a:pt x="993" y="2111"/>
                      </a:lnTo>
                      <a:lnTo>
                        <a:pt x="983" y="2110"/>
                      </a:lnTo>
                      <a:lnTo>
                        <a:pt x="979" y="2108"/>
                      </a:lnTo>
                      <a:lnTo>
                        <a:pt x="974" y="2110"/>
                      </a:lnTo>
                      <a:lnTo>
                        <a:pt x="969" y="2110"/>
                      </a:lnTo>
                      <a:lnTo>
                        <a:pt x="964" y="2111"/>
                      </a:lnTo>
                      <a:lnTo>
                        <a:pt x="963" y="2113"/>
                      </a:lnTo>
                      <a:lnTo>
                        <a:pt x="962" y="2114"/>
                      </a:lnTo>
                      <a:lnTo>
                        <a:pt x="962" y="2117"/>
                      </a:lnTo>
                      <a:lnTo>
                        <a:pt x="963" y="2120"/>
                      </a:lnTo>
                      <a:lnTo>
                        <a:pt x="968" y="2127"/>
                      </a:lnTo>
                      <a:lnTo>
                        <a:pt x="975" y="2135"/>
                      </a:lnTo>
                      <a:lnTo>
                        <a:pt x="990" y="2151"/>
                      </a:lnTo>
                      <a:lnTo>
                        <a:pt x="1001" y="2160"/>
                      </a:lnTo>
                      <a:lnTo>
                        <a:pt x="1015" y="2168"/>
                      </a:lnTo>
                      <a:lnTo>
                        <a:pt x="1028" y="2176"/>
                      </a:lnTo>
                      <a:lnTo>
                        <a:pt x="1035" y="2178"/>
                      </a:lnTo>
                      <a:lnTo>
                        <a:pt x="1043" y="2179"/>
                      </a:lnTo>
                      <a:lnTo>
                        <a:pt x="1051" y="2180"/>
                      </a:lnTo>
                      <a:lnTo>
                        <a:pt x="1060" y="2180"/>
                      </a:lnTo>
                      <a:lnTo>
                        <a:pt x="1080" y="2181"/>
                      </a:lnTo>
                      <a:lnTo>
                        <a:pt x="1098" y="2180"/>
                      </a:lnTo>
                      <a:lnTo>
                        <a:pt x="1101" y="2180"/>
                      </a:lnTo>
                      <a:lnTo>
                        <a:pt x="1103" y="2179"/>
                      </a:lnTo>
                      <a:lnTo>
                        <a:pt x="1104" y="2178"/>
                      </a:lnTo>
                      <a:lnTo>
                        <a:pt x="1104" y="2176"/>
                      </a:lnTo>
                      <a:lnTo>
                        <a:pt x="1104" y="2173"/>
                      </a:lnTo>
                      <a:lnTo>
                        <a:pt x="1102" y="2170"/>
                      </a:lnTo>
                      <a:lnTo>
                        <a:pt x="1097" y="2166"/>
                      </a:lnTo>
                      <a:lnTo>
                        <a:pt x="1093" y="2161"/>
                      </a:lnTo>
                      <a:lnTo>
                        <a:pt x="1077" y="2156"/>
                      </a:lnTo>
                      <a:lnTo>
                        <a:pt x="1063" y="2147"/>
                      </a:lnTo>
                      <a:lnTo>
                        <a:pt x="1055" y="2138"/>
                      </a:lnTo>
                      <a:lnTo>
                        <a:pt x="1048" y="2130"/>
                      </a:lnTo>
                      <a:lnTo>
                        <a:pt x="1055" y="2131"/>
                      </a:lnTo>
                      <a:lnTo>
                        <a:pt x="1063" y="2133"/>
                      </a:lnTo>
                      <a:lnTo>
                        <a:pt x="1074" y="2138"/>
                      </a:lnTo>
                      <a:lnTo>
                        <a:pt x="1084" y="2143"/>
                      </a:lnTo>
                      <a:lnTo>
                        <a:pt x="1107" y="2153"/>
                      </a:lnTo>
                      <a:lnTo>
                        <a:pt x="1125" y="2160"/>
                      </a:lnTo>
                      <a:lnTo>
                        <a:pt x="1167" y="2174"/>
                      </a:lnTo>
                      <a:lnTo>
                        <a:pt x="1208" y="2191"/>
                      </a:lnTo>
                      <a:lnTo>
                        <a:pt x="1229" y="2199"/>
                      </a:lnTo>
                      <a:lnTo>
                        <a:pt x="1250" y="2207"/>
                      </a:lnTo>
                      <a:lnTo>
                        <a:pt x="1271" y="2214"/>
                      </a:lnTo>
                      <a:lnTo>
                        <a:pt x="1292" y="2220"/>
                      </a:lnTo>
                      <a:lnTo>
                        <a:pt x="1329" y="2230"/>
                      </a:lnTo>
                      <a:lnTo>
                        <a:pt x="1383" y="2246"/>
                      </a:lnTo>
                      <a:lnTo>
                        <a:pt x="1410" y="2255"/>
                      </a:lnTo>
                      <a:lnTo>
                        <a:pt x="1435" y="2264"/>
                      </a:lnTo>
                      <a:lnTo>
                        <a:pt x="1444" y="2269"/>
                      </a:lnTo>
                      <a:lnTo>
                        <a:pt x="1452" y="2273"/>
                      </a:lnTo>
                      <a:lnTo>
                        <a:pt x="1458" y="2278"/>
                      </a:lnTo>
                      <a:lnTo>
                        <a:pt x="1463" y="2282"/>
                      </a:lnTo>
                      <a:lnTo>
                        <a:pt x="1499" y="2286"/>
                      </a:lnTo>
                      <a:lnTo>
                        <a:pt x="1536" y="2293"/>
                      </a:lnTo>
                      <a:lnTo>
                        <a:pt x="1554" y="2297"/>
                      </a:lnTo>
                      <a:lnTo>
                        <a:pt x="1573" y="2299"/>
                      </a:lnTo>
                      <a:lnTo>
                        <a:pt x="1592" y="2302"/>
                      </a:lnTo>
                      <a:lnTo>
                        <a:pt x="1611" y="2303"/>
                      </a:lnTo>
                      <a:lnTo>
                        <a:pt x="1646" y="2303"/>
                      </a:lnTo>
                      <a:lnTo>
                        <a:pt x="1683" y="2302"/>
                      </a:lnTo>
                      <a:lnTo>
                        <a:pt x="1719" y="2300"/>
                      </a:lnTo>
                      <a:lnTo>
                        <a:pt x="1755" y="2298"/>
                      </a:lnTo>
                      <a:lnTo>
                        <a:pt x="1793" y="2298"/>
                      </a:lnTo>
                      <a:lnTo>
                        <a:pt x="1828" y="2299"/>
                      </a:lnTo>
                      <a:lnTo>
                        <a:pt x="1846" y="2300"/>
                      </a:lnTo>
                      <a:lnTo>
                        <a:pt x="1865" y="2303"/>
                      </a:lnTo>
                      <a:lnTo>
                        <a:pt x="1881" y="2305"/>
                      </a:lnTo>
                      <a:lnTo>
                        <a:pt x="1899" y="2309"/>
                      </a:lnTo>
                      <a:lnTo>
                        <a:pt x="1916" y="2312"/>
                      </a:lnTo>
                      <a:lnTo>
                        <a:pt x="1934" y="2316"/>
                      </a:lnTo>
                      <a:lnTo>
                        <a:pt x="1952" y="2319"/>
                      </a:lnTo>
                      <a:lnTo>
                        <a:pt x="1969" y="2324"/>
                      </a:lnTo>
                      <a:lnTo>
                        <a:pt x="1976" y="2329"/>
                      </a:lnTo>
                      <a:lnTo>
                        <a:pt x="1986" y="2335"/>
                      </a:lnTo>
                      <a:lnTo>
                        <a:pt x="1998" y="2344"/>
                      </a:lnTo>
                      <a:lnTo>
                        <a:pt x="2009" y="2355"/>
                      </a:lnTo>
                      <a:lnTo>
                        <a:pt x="2020" y="2366"/>
                      </a:lnTo>
                      <a:lnTo>
                        <a:pt x="2027" y="2377"/>
                      </a:lnTo>
                      <a:lnTo>
                        <a:pt x="2029" y="2382"/>
                      </a:lnTo>
                      <a:lnTo>
                        <a:pt x="2030" y="2387"/>
                      </a:lnTo>
                      <a:lnTo>
                        <a:pt x="2030" y="2391"/>
                      </a:lnTo>
                      <a:lnTo>
                        <a:pt x="2029" y="2395"/>
                      </a:lnTo>
                      <a:lnTo>
                        <a:pt x="2026" y="2398"/>
                      </a:lnTo>
                      <a:lnTo>
                        <a:pt x="2022" y="2399"/>
                      </a:lnTo>
                      <a:lnTo>
                        <a:pt x="2018" y="2399"/>
                      </a:lnTo>
                      <a:lnTo>
                        <a:pt x="2014" y="2398"/>
                      </a:lnTo>
                      <a:lnTo>
                        <a:pt x="2003" y="2392"/>
                      </a:lnTo>
                      <a:lnTo>
                        <a:pt x="1994" y="2384"/>
                      </a:lnTo>
                      <a:lnTo>
                        <a:pt x="1983" y="2376"/>
                      </a:lnTo>
                      <a:lnTo>
                        <a:pt x="1974" y="2370"/>
                      </a:lnTo>
                      <a:lnTo>
                        <a:pt x="1971" y="2368"/>
                      </a:lnTo>
                      <a:lnTo>
                        <a:pt x="1967" y="2366"/>
                      </a:lnTo>
                      <a:lnTo>
                        <a:pt x="1963" y="2368"/>
                      </a:lnTo>
                      <a:lnTo>
                        <a:pt x="1960" y="2370"/>
                      </a:lnTo>
                      <a:lnTo>
                        <a:pt x="1953" y="2378"/>
                      </a:lnTo>
                      <a:lnTo>
                        <a:pt x="1945" y="2383"/>
                      </a:lnTo>
                      <a:lnTo>
                        <a:pt x="1935" y="2388"/>
                      </a:lnTo>
                      <a:lnTo>
                        <a:pt x="1927" y="2389"/>
                      </a:lnTo>
                      <a:lnTo>
                        <a:pt x="1918" y="2390"/>
                      </a:lnTo>
                      <a:lnTo>
                        <a:pt x="1908" y="2389"/>
                      </a:lnTo>
                      <a:lnTo>
                        <a:pt x="1899" y="2387"/>
                      </a:lnTo>
                      <a:lnTo>
                        <a:pt x="1888" y="2384"/>
                      </a:lnTo>
                      <a:lnTo>
                        <a:pt x="1867" y="2378"/>
                      </a:lnTo>
                      <a:lnTo>
                        <a:pt x="1846" y="2371"/>
                      </a:lnTo>
                      <a:lnTo>
                        <a:pt x="1834" y="2369"/>
                      </a:lnTo>
                      <a:lnTo>
                        <a:pt x="1824" y="2368"/>
                      </a:lnTo>
                      <a:lnTo>
                        <a:pt x="1812" y="2366"/>
                      </a:lnTo>
                      <a:lnTo>
                        <a:pt x="1800" y="2368"/>
                      </a:lnTo>
                      <a:lnTo>
                        <a:pt x="1779" y="2371"/>
                      </a:lnTo>
                      <a:lnTo>
                        <a:pt x="1758" y="2377"/>
                      </a:lnTo>
                      <a:lnTo>
                        <a:pt x="1737" y="2382"/>
                      </a:lnTo>
                      <a:lnTo>
                        <a:pt x="1715" y="2384"/>
                      </a:lnTo>
                      <a:lnTo>
                        <a:pt x="1705" y="2384"/>
                      </a:lnTo>
                      <a:lnTo>
                        <a:pt x="1694" y="2383"/>
                      </a:lnTo>
                      <a:lnTo>
                        <a:pt x="1684" y="2381"/>
                      </a:lnTo>
                      <a:lnTo>
                        <a:pt x="1674" y="2378"/>
                      </a:lnTo>
                      <a:lnTo>
                        <a:pt x="1665" y="2375"/>
                      </a:lnTo>
                      <a:lnTo>
                        <a:pt x="1656" y="2372"/>
                      </a:lnTo>
                      <a:lnTo>
                        <a:pt x="1647" y="2371"/>
                      </a:lnTo>
                      <a:lnTo>
                        <a:pt x="1639" y="2370"/>
                      </a:lnTo>
                      <a:lnTo>
                        <a:pt x="1639" y="2376"/>
                      </a:lnTo>
                      <a:lnTo>
                        <a:pt x="1641" y="2383"/>
                      </a:lnTo>
                      <a:lnTo>
                        <a:pt x="1645" y="2390"/>
                      </a:lnTo>
                      <a:lnTo>
                        <a:pt x="1648" y="2397"/>
                      </a:lnTo>
                      <a:lnTo>
                        <a:pt x="1656" y="2412"/>
                      </a:lnTo>
                      <a:lnTo>
                        <a:pt x="1660" y="2425"/>
                      </a:lnTo>
                      <a:lnTo>
                        <a:pt x="1663" y="2454"/>
                      </a:lnTo>
                      <a:lnTo>
                        <a:pt x="1666" y="2478"/>
                      </a:lnTo>
                      <a:lnTo>
                        <a:pt x="1668" y="2483"/>
                      </a:lnTo>
                      <a:lnTo>
                        <a:pt x="1671" y="2488"/>
                      </a:lnTo>
                      <a:lnTo>
                        <a:pt x="1674" y="2491"/>
                      </a:lnTo>
                      <a:lnTo>
                        <a:pt x="1679" y="2495"/>
                      </a:lnTo>
                      <a:lnTo>
                        <a:pt x="1684" y="2498"/>
                      </a:lnTo>
                      <a:lnTo>
                        <a:pt x="1691" y="2500"/>
                      </a:lnTo>
                      <a:lnTo>
                        <a:pt x="1699" y="2501"/>
                      </a:lnTo>
                      <a:lnTo>
                        <a:pt x="1707" y="2502"/>
                      </a:lnTo>
                      <a:lnTo>
                        <a:pt x="1723" y="2501"/>
                      </a:lnTo>
                      <a:lnTo>
                        <a:pt x="1737" y="2498"/>
                      </a:lnTo>
                      <a:lnTo>
                        <a:pt x="1751" y="2496"/>
                      </a:lnTo>
                      <a:lnTo>
                        <a:pt x="1765" y="2493"/>
                      </a:lnTo>
                      <a:lnTo>
                        <a:pt x="1780" y="2490"/>
                      </a:lnTo>
                      <a:lnTo>
                        <a:pt x="1794" y="2487"/>
                      </a:lnTo>
                      <a:lnTo>
                        <a:pt x="1808" y="2486"/>
                      </a:lnTo>
                      <a:lnTo>
                        <a:pt x="1824" y="2484"/>
                      </a:lnTo>
                      <a:lnTo>
                        <a:pt x="1844" y="2486"/>
                      </a:lnTo>
                      <a:lnTo>
                        <a:pt x="1864" y="2488"/>
                      </a:lnTo>
                      <a:lnTo>
                        <a:pt x="1884" y="2490"/>
                      </a:lnTo>
                      <a:lnTo>
                        <a:pt x="1905" y="2491"/>
                      </a:lnTo>
                      <a:lnTo>
                        <a:pt x="1932" y="2490"/>
                      </a:lnTo>
                      <a:lnTo>
                        <a:pt x="1959" y="2487"/>
                      </a:lnTo>
                      <a:lnTo>
                        <a:pt x="1987" y="2483"/>
                      </a:lnTo>
                      <a:lnTo>
                        <a:pt x="2015" y="2481"/>
                      </a:lnTo>
                      <a:lnTo>
                        <a:pt x="2029" y="2480"/>
                      </a:lnTo>
                      <a:lnTo>
                        <a:pt x="2042" y="2477"/>
                      </a:lnTo>
                      <a:lnTo>
                        <a:pt x="2054" y="2473"/>
                      </a:lnTo>
                      <a:lnTo>
                        <a:pt x="2066" y="2468"/>
                      </a:lnTo>
                      <a:lnTo>
                        <a:pt x="2076" y="2463"/>
                      </a:lnTo>
                      <a:lnTo>
                        <a:pt x="2088" y="2460"/>
                      </a:lnTo>
                      <a:lnTo>
                        <a:pt x="2100" y="2456"/>
                      </a:lnTo>
                      <a:lnTo>
                        <a:pt x="2113" y="2455"/>
                      </a:lnTo>
                      <a:lnTo>
                        <a:pt x="2123" y="2450"/>
                      </a:lnTo>
                      <a:lnTo>
                        <a:pt x="2134" y="2443"/>
                      </a:lnTo>
                      <a:lnTo>
                        <a:pt x="2144" y="2436"/>
                      </a:lnTo>
                      <a:lnTo>
                        <a:pt x="2155" y="2427"/>
                      </a:lnTo>
                      <a:lnTo>
                        <a:pt x="2176" y="2407"/>
                      </a:lnTo>
                      <a:lnTo>
                        <a:pt x="2195" y="2383"/>
                      </a:lnTo>
                      <a:lnTo>
                        <a:pt x="2215" y="2359"/>
                      </a:lnTo>
                      <a:lnTo>
                        <a:pt x="2234" y="2336"/>
                      </a:lnTo>
                      <a:lnTo>
                        <a:pt x="2251" y="2315"/>
                      </a:lnTo>
                      <a:lnTo>
                        <a:pt x="2268" y="2296"/>
                      </a:lnTo>
                      <a:lnTo>
                        <a:pt x="2289" y="2278"/>
                      </a:lnTo>
                      <a:lnTo>
                        <a:pt x="2310" y="2262"/>
                      </a:lnTo>
                      <a:lnTo>
                        <a:pt x="2332" y="2246"/>
                      </a:lnTo>
                      <a:lnTo>
                        <a:pt x="2357" y="2233"/>
                      </a:lnTo>
                      <a:lnTo>
                        <a:pt x="2376" y="2223"/>
                      </a:lnTo>
                      <a:lnTo>
                        <a:pt x="2401" y="2210"/>
                      </a:lnTo>
                      <a:lnTo>
                        <a:pt x="2412" y="2204"/>
                      </a:lnTo>
                      <a:lnTo>
                        <a:pt x="2424" y="2198"/>
                      </a:lnTo>
                      <a:lnTo>
                        <a:pt x="2435" y="2194"/>
                      </a:lnTo>
                      <a:lnTo>
                        <a:pt x="2443" y="2193"/>
                      </a:lnTo>
                      <a:lnTo>
                        <a:pt x="2451" y="2200"/>
                      </a:lnTo>
                      <a:lnTo>
                        <a:pt x="2459" y="2205"/>
                      </a:lnTo>
                      <a:lnTo>
                        <a:pt x="2468" y="2207"/>
                      </a:lnTo>
                      <a:lnTo>
                        <a:pt x="2476" y="2209"/>
                      </a:lnTo>
                      <a:lnTo>
                        <a:pt x="2485" y="2207"/>
                      </a:lnTo>
                      <a:lnTo>
                        <a:pt x="2493" y="2204"/>
                      </a:lnTo>
                      <a:lnTo>
                        <a:pt x="2503" y="2200"/>
                      </a:lnTo>
                      <a:lnTo>
                        <a:pt x="2512" y="2194"/>
                      </a:lnTo>
                      <a:lnTo>
                        <a:pt x="2521" y="2190"/>
                      </a:lnTo>
                      <a:lnTo>
                        <a:pt x="2529" y="2185"/>
                      </a:lnTo>
                      <a:lnTo>
                        <a:pt x="2537" y="2181"/>
                      </a:lnTo>
                      <a:lnTo>
                        <a:pt x="2545" y="2179"/>
                      </a:lnTo>
                      <a:lnTo>
                        <a:pt x="2563" y="2176"/>
                      </a:lnTo>
                      <a:lnTo>
                        <a:pt x="2579" y="2172"/>
                      </a:lnTo>
                      <a:lnTo>
                        <a:pt x="2596" y="2170"/>
                      </a:lnTo>
                      <a:lnTo>
                        <a:pt x="2612" y="2166"/>
                      </a:lnTo>
                      <a:lnTo>
                        <a:pt x="2620" y="2163"/>
                      </a:lnTo>
                      <a:lnTo>
                        <a:pt x="2629" y="2159"/>
                      </a:lnTo>
                      <a:lnTo>
                        <a:pt x="2637" y="2156"/>
                      </a:lnTo>
                      <a:lnTo>
                        <a:pt x="2645" y="2150"/>
                      </a:lnTo>
                      <a:lnTo>
                        <a:pt x="2652" y="2145"/>
                      </a:lnTo>
                      <a:lnTo>
                        <a:pt x="2659" y="2141"/>
                      </a:lnTo>
                      <a:lnTo>
                        <a:pt x="2666" y="2139"/>
                      </a:lnTo>
                      <a:lnTo>
                        <a:pt x="2672" y="2138"/>
                      </a:lnTo>
                      <a:lnTo>
                        <a:pt x="2679" y="2138"/>
                      </a:lnTo>
                      <a:lnTo>
                        <a:pt x="2686" y="2139"/>
                      </a:lnTo>
                      <a:lnTo>
                        <a:pt x="2693" y="2141"/>
                      </a:lnTo>
                      <a:lnTo>
                        <a:pt x="2702" y="2144"/>
                      </a:lnTo>
                      <a:lnTo>
                        <a:pt x="2712" y="2147"/>
                      </a:lnTo>
                      <a:lnTo>
                        <a:pt x="2723" y="2150"/>
                      </a:lnTo>
                      <a:lnTo>
                        <a:pt x="2733" y="2151"/>
                      </a:lnTo>
                      <a:lnTo>
                        <a:pt x="2743" y="2152"/>
                      </a:lnTo>
                      <a:lnTo>
                        <a:pt x="2763" y="2151"/>
                      </a:lnTo>
                      <a:lnTo>
                        <a:pt x="2785" y="2150"/>
                      </a:lnTo>
                      <a:lnTo>
                        <a:pt x="2796" y="2144"/>
                      </a:lnTo>
                      <a:lnTo>
                        <a:pt x="2806" y="2139"/>
                      </a:lnTo>
                      <a:lnTo>
                        <a:pt x="2818" y="2135"/>
                      </a:lnTo>
                      <a:lnTo>
                        <a:pt x="2830" y="2132"/>
                      </a:lnTo>
                      <a:lnTo>
                        <a:pt x="2841" y="2128"/>
                      </a:lnTo>
                      <a:lnTo>
                        <a:pt x="2854" y="2125"/>
                      </a:lnTo>
                      <a:lnTo>
                        <a:pt x="2865" y="2120"/>
                      </a:lnTo>
                      <a:lnTo>
                        <a:pt x="2877" y="2115"/>
                      </a:lnTo>
                      <a:lnTo>
                        <a:pt x="2904" y="2100"/>
                      </a:lnTo>
                      <a:lnTo>
                        <a:pt x="2934" y="2087"/>
                      </a:lnTo>
                      <a:lnTo>
                        <a:pt x="2948" y="2080"/>
                      </a:lnTo>
                      <a:lnTo>
                        <a:pt x="2964" y="2075"/>
                      </a:lnTo>
                      <a:lnTo>
                        <a:pt x="2979" y="2071"/>
                      </a:lnTo>
                      <a:lnTo>
                        <a:pt x="2994" y="2066"/>
                      </a:lnTo>
                      <a:lnTo>
                        <a:pt x="3006" y="2064"/>
                      </a:lnTo>
                      <a:lnTo>
                        <a:pt x="3018" y="2064"/>
                      </a:lnTo>
                      <a:lnTo>
                        <a:pt x="3028" y="2065"/>
                      </a:lnTo>
                      <a:lnTo>
                        <a:pt x="3040" y="2066"/>
                      </a:lnTo>
                      <a:lnTo>
                        <a:pt x="3047" y="2066"/>
                      </a:lnTo>
                      <a:lnTo>
                        <a:pt x="3053" y="2066"/>
                      </a:lnTo>
                      <a:lnTo>
                        <a:pt x="3060" y="2064"/>
                      </a:lnTo>
                      <a:lnTo>
                        <a:pt x="3066" y="2061"/>
                      </a:lnTo>
                      <a:lnTo>
                        <a:pt x="3078" y="2055"/>
                      </a:lnTo>
                      <a:lnTo>
                        <a:pt x="3091" y="2053"/>
                      </a:lnTo>
                      <a:lnTo>
                        <a:pt x="3116" y="2034"/>
                      </a:lnTo>
                      <a:lnTo>
                        <a:pt x="3143" y="2018"/>
                      </a:lnTo>
                      <a:lnTo>
                        <a:pt x="3169" y="2002"/>
                      </a:lnTo>
                      <a:lnTo>
                        <a:pt x="3195" y="1988"/>
                      </a:lnTo>
                      <a:lnTo>
                        <a:pt x="3208" y="1981"/>
                      </a:lnTo>
                      <a:lnTo>
                        <a:pt x="3221" y="1973"/>
                      </a:lnTo>
                      <a:lnTo>
                        <a:pt x="3233" y="1965"/>
                      </a:lnTo>
                      <a:lnTo>
                        <a:pt x="3244" y="1955"/>
                      </a:lnTo>
                      <a:lnTo>
                        <a:pt x="3256" y="1945"/>
                      </a:lnTo>
                      <a:lnTo>
                        <a:pt x="3268" y="1934"/>
                      </a:lnTo>
                      <a:lnTo>
                        <a:pt x="3279" y="1921"/>
                      </a:lnTo>
                      <a:lnTo>
                        <a:pt x="3289" y="1907"/>
                      </a:lnTo>
                      <a:lnTo>
                        <a:pt x="3310" y="1884"/>
                      </a:lnTo>
                      <a:lnTo>
                        <a:pt x="3333" y="1862"/>
                      </a:lnTo>
                      <a:lnTo>
                        <a:pt x="3343" y="1850"/>
                      </a:lnTo>
                      <a:lnTo>
                        <a:pt x="3351" y="1837"/>
                      </a:lnTo>
                      <a:lnTo>
                        <a:pt x="3355" y="1830"/>
                      </a:lnTo>
                      <a:lnTo>
                        <a:pt x="3358" y="1824"/>
                      </a:lnTo>
                      <a:lnTo>
                        <a:pt x="3361" y="1816"/>
                      </a:lnTo>
                      <a:lnTo>
                        <a:pt x="3362" y="1809"/>
                      </a:lnTo>
                      <a:lnTo>
                        <a:pt x="3366" y="1777"/>
                      </a:lnTo>
                      <a:lnTo>
                        <a:pt x="3367" y="1742"/>
                      </a:lnTo>
                      <a:lnTo>
                        <a:pt x="3367" y="1708"/>
                      </a:lnTo>
                      <a:lnTo>
                        <a:pt x="3364" y="1677"/>
                      </a:lnTo>
                      <a:lnTo>
                        <a:pt x="3367" y="1672"/>
                      </a:lnTo>
                      <a:lnTo>
                        <a:pt x="3368" y="1666"/>
                      </a:lnTo>
                      <a:lnTo>
                        <a:pt x="3368" y="1659"/>
                      </a:lnTo>
                      <a:lnTo>
                        <a:pt x="3368" y="1651"/>
                      </a:lnTo>
                      <a:lnTo>
                        <a:pt x="3367" y="1632"/>
                      </a:lnTo>
                      <a:lnTo>
                        <a:pt x="3363" y="1612"/>
                      </a:lnTo>
                      <a:lnTo>
                        <a:pt x="3355" y="1573"/>
                      </a:lnTo>
                      <a:lnTo>
                        <a:pt x="3348" y="1544"/>
                      </a:lnTo>
                      <a:lnTo>
                        <a:pt x="3344" y="1524"/>
                      </a:lnTo>
                      <a:lnTo>
                        <a:pt x="3341" y="1500"/>
                      </a:lnTo>
                      <a:lnTo>
                        <a:pt x="3338" y="1474"/>
                      </a:lnTo>
                      <a:lnTo>
                        <a:pt x="3337" y="1446"/>
                      </a:lnTo>
                      <a:lnTo>
                        <a:pt x="3338" y="1419"/>
                      </a:lnTo>
                      <a:lnTo>
                        <a:pt x="3340" y="1392"/>
                      </a:lnTo>
                      <a:lnTo>
                        <a:pt x="3341" y="1380"/>
                      </a:lnTo>
                      <a:lnTo>
                        <a:pt x="3343" y="1369"/>
                      </a:lnTo>
                      <a:lnTo>
                        <a:pt x="3347" y="1359"/>
                      </a:lnTo>
                      <a:lnTo>
                        <a:pt x="3349" y="1350"/>
                      </a:lnTo>
                      <a:lnTo>
                        <a:pt x="3358" y="1332"/>
                      </a:lnTo>
                      <a:lnTo>
                        <a:pt x="3371" y="1306"/>
                      </a:lnTo>
                      <a:lnTo>
                        <a:pt x="3374" y="1299"/>
                      </a:lnTo>
                      <a:lnTo>
                        <a:pt x="3376" y="1294"/>
                      </a:lnTo>
                      <a:lnTo>
                        <a:pt x="3376" y="1289"/>
                      </a:lnTo>
                      <a:lnTo>
                        <a:pt x="3376" y="1284"/>
                      </a:lnTo>
                      <a:lnTo>
                        <a:pt x="3375" y="1282"/>
                      </a:lnTo>
                      <a:lnTo>
                        <a:pt x="3371" y="1282"/>
                      </a:lnTo>
                      <a:lnTo>
                        <a:pt x="3367" y="1282"/>
                      </a:lnTo>
                      <a:lnTo>
                        <a:pt x="3361" y="1286"/>
                      </a:lnTo>
                      <a:lnTo>
                        <a:pt x="3353" y="1289"/>
                      </a:lnTo>
                      <a:lnTo>
                        <a:pt x="3346" y="1292"/>
                      </a:lnTo>
                      <a:lnTo>
                        <a:pt x="3338" y="1293"/>
                      </a:lnTo>
                      <a:lnTo>
                        <a:pt x="3333" y="1294"/>
                      </a:lnTo>
                      <a:lnTo>
                        <a:pt x="3326" y="1294"/>
                      </a:lnTo>
                      <a:lnTo>
                        <a:pt x="3321" y="1293"/>
                      </a:lnTo>
                      <a:lnTo>
                        <a:pt x="3315" y="1290"/>
                      </a:lnTo>
                      <a:lnTo>
                        <a:pt x="3310" y="1288"/>
                      </a:lnTo>
                      <a:lnTo>
                        <a:pt x="3307" y="1284"/>
                      </a:lnTo>
                      <a:lnTo>
                        <a:pt x="3302" y="1281"/>
                      </a:lnTo>
                      <a:lnTo>
                        <a:pt x="3300" y="1277"/>
                      </a:lnTo>
                      <a:lnTo>
                        <a:pt x="3296" y="1273"/>
                      </a:lnTo>
                      <a:lnTo>
                        <a:pt x="3293" y="1264"/>
                      </a:lnTo>
                      <a:lnTo>
                        <a:pt x="3290" y="1255"/>
                      </a:lnTo>
                      <a:lnTo>
                        <a:pt x="3290" y="1250"/>
                      </a:lnTo>
                      <a:lnTo>
                        <a:pt x="3291" y="1247"/>
                      </a:lnTo>
                      <a:lnTo>
                        <a:pt x="3293" y="1242"/>
                      </a:lnTo>
                      <a:lnTo>
                        <a:pt x="3294" y="1239"/>
                      </a:lnTo>
                      <a:lnTo>
                        <a:pt x="3296" y="1236"/>
                      </a:lnTo>
                      <a:lnTo>
                        <a:pt x="3300" y="1233"/>
                      </a:lnTo>
                      <a:lnTo>
                        <a:pt x="3303" y="1231"/>
                      </a:lnTo>
                      <a:lnTo>
                        <a:pt x="3308" y="1230"/>
                      </a:lnTo>
                      <a:lnTo>
                        <a:pt x="3313" y="1229"/>
                      </a:lnTo>
                      <a:lnTo>
                        <a:pt x="3319" y="1229"/>
                      </a:lnTo>
                      <a:lnTo>
                        <a:pt x="3324" y="1231"/>
                      </a:lnTo>
                      <a:lnTo>
                        <a:pt x="3331" y="1234"/>
                      </a:lnTo>
                      <a:lnTo>
                        <a:pt x="3340" y="1237"/>
                      </a:lnTo>
                      <a:lnTo>
                        <a:pt x="3348" y="1241"/>
                      </a:lnTo>
                      <a:lnTo>
                        <a:pt x="3357" y="1247"/>
                      </a:lnTo>
                      <a:lnTo>
                        <a:pt x="3368" y="1255"/>
                      </a:lnTo>
                      <a:lnTo>
                        <a:pt x="3373" y="1259"/>
                      </a:lnTo>
                      <a:lnTo>
                        <a:pt x="3377" y="1260"/>
                      </a:lnTo>
                      <a:lnTo>
                        <a:pt x="3380" y="1260"/>
                      </a:lnTo>
                      <a:lnTo>
                        <a:pt x="3380" y="1257"/>
                      </a:lnTo>
                      <a:lnTo>
                        <a:pt x="3380" y="1250"/>
                      </a:lnTo>
                      <a:lnTo>
                        <a:pt x="3375" y="1239"/>
                      </a:lnTo>
                      <a:lnTo>
                        <a:pt x="3364" y="1214"/>
                      </a:lnTo>
                      <a:lnTo>
                        <a:pt x="3360" y="1198"/>
                      </a:lnTo>
                      <a:lnTo>
                        <a:pt x="3364" y="1190"/>
                      </a:lnTo>
                      <a:lnTo>
                        <a:pt x="3368" y="1183"/>
                      </a:lnTo>
                      <a:lnTo>
                        <a:pt x="3370" y="1177"/>
                      </a:lnTo>
                      <a:lnTo>
                        <a:pt x="3371" y="1173"/>
                      </a:lnTo>
                      <a:lnTo>
                        <a:pt x="3371" y="1169"/>
                      </a:lnTo>
                      <a:lnTo>
                        <a:pt x="3370" y="1165"/>
                      </a:lnTo>
                      <a:lnTo>
                        <a:pt x="3368" y="1164"/>
                      </a:lnTo>
                      <a:lnTo>
                        <a:pt x="3366" y="1162"/>
                      </a:lnTo>
                      <a:lnTo>
                        <a:pt x="3357" y="1160"/>
                      </a:lnTo>
                      <a:lnTo>
                        <a:pt x="3349" y="1157"/>
                      </a:lnTo>
                      <a:lnTo>
                        <a:pt x="3344" y="1156"/>
                      </a:lnTo>
                      <a:lnTo>
                        <a:pt x="3338" y="1154"/>
                      </a:lnTo>
                      <a:lnTo>
                        <a:pt x="3334" y="1151"/>
                      </a:lnTo>
                      <a:lnTo>
                        <a:pt x="3330" y="1147"/>
                      </a:lnTo>
                      <a:lnTo>
                        <a:pt x="3333" y="1161"/>
                      </a:lnTo>
                      <a:lnTo>
                        <a:pt x="3334" y="1173"/>
                      </a:lnTo>
                      <a:lnTo>
                        <a:pt x="3334" y="1180"/>
                      </a:lnTo>
                      <a:lnTo>
                        <a:pt x="3333" y="1185"/>
                      </a:lnTo>
                      <a:lnTo>
                        <a:pt x="3330" y="1189"/>
                      </a:lnTo>
                      <a:lnTo>
                        <a:pt x="3326" y="1190"/>
                      </a:lnTo>
                      <a:lnTo>
                        <a:pt x="3321" y="1190"/>
                      </a:lnTo>
                      <a:lnTo>
                        <a:pt x="3316" y="1188"/>
                      </a:lnTo>
                      <a:lnTo>
                        <a:pt x="3289" y="1171"/>
                      </a:lnTo>
                      <a:lnTo>
                        <a:pt x="3263" y="1155"/>
                      </a:lnTo>
                      <a:lnTo>
                        <a:pt x="3255" y="1145"/>
                      </a:lnTo>
                      <a:lnTo>
                        <a:pt x="3248" y="1137"/>
                      </a:lnTo>
                      <a:lnTo>
                        <a:pt x="3242" y="1129"/>
                      </a:lnTo>
                      <a:lnTo>
                        <a:pt x="3237" y="1119"/>
                      </a:lnTo>
                      <a:lnTo>
                        <a:pt x="3234" y="1110"/>
                      </a:lnTo>
                      <a:lnTo>
                        <a:pt x="3230" y="1101"/>
                      </a:lnTo>
                      <a:lnTo>
                        <a:pt x="3227" y="1091"/>
                      </a:lnTo>
                      <a:lnTo>
                        <a:pt x="3224" y="1081"/>
                      </a:lnTo>
                      <a:lnTo>
                        <a:pt x="3223" y="1070"/>
                      </a:lnTo>
                      <a:lnTo>
                        <a:pt x="3222" y="1062"/>
                      </a:lnTo>
                      <a:lnTo>
                        <a:pt x="3223" y="1055"/>
                      </a:lnTo>
                      <a:lnTo>
                        <a:pt x="3226" y="1051"/>
                      </a:lnTo>
                      <a:lnTo>
                        <a:pt x="3227" y="1050"/>
                      </a:lnTo>
                      <a:lnTo>
                        <a:pt x="3229" y="1050"/>
                      </a:lnTo>
                      <a:lnTo>
                        <a:pt x="3230" y="1051"/>
                      </a:lnTo>
                      <a:lnTo>
                        <a:pt x="3233" y="1053"/>
                      </a:lnTo>
                      <a:lnTo>
                        <a:pt x="3236" y="1059"/>
                      </a:lnTo>
                      <a:lnTo>
                        <a:pt x="3240" y="1071"/>
                      </a:lnTo>
                      <a:lnTo>
                        <a:pt x="3244" y="1083"/>
                      </a:lnTo>
                      <a:lnTo>
                        <a:pt x="3248" y="1090"/>
                      </a:lnTo>
                      <a:lnTo>
                        <a:pt x="3249" y="1092"/>
                      </a:lnTo>
                      <a:lnTo>
                        <a:pt x="3252" y="1094"/>
                      </a:lnTo>
                      <a:lnTo>
                        <a:pt x="3253" y="1094"/>
                      </a:lnTo>
                      <a:lnTo>
                        <a:pt x="3255" y="1094"/>
                      </a:lnTo>
                      <a:lnTo>
                        <a:pt x="3257" y="1090"/>
                      </a:lnTo>
                      <a:lnTo>
                        <a:pt x="3261" y="1085"/>
                      </a:lnTo>
                      <a:lnTo>
                        <a:pt x="3263" y="1077"/>
                      </a:lnTo>
                      <a:lnTo>
                        <a:pt x="3264" y="1069"/>
                      </a:lnTo>
                      <a:lnTo>
                        <a:pt x="3266" y="1059"/>
                      </a:lnTo>
                      <a:lnTo>
                        <a:pt x="3267" y="1050"/>
                      </a:lnTo>
                      <a:lnTo>
                        <a:pt x="3267" y="1040"/>
                      </a:lnTo>
                      <a:lnTo>
                        <a:pt x="3266" y="1032"/>
                      </a:lnTo>
                      <a:lnTo>
                        <a:pt x="3264" y="1025"/>
                      </a:lnTo>
                      <a:lnTo>
                        <a:pt x="3262" y="1019"/>
                      </a:lnTo>
                      <a:lnTo>
                        <a:pt x="3261" y="1017"/>
                      </a:lnTo>
                      <a:lnTo>
                        <a:pt x="3260" y="1016"/>
                      </a:lnTo>
                      <a:lnTo>
                        <a:pt x="3257" y="1015"/>
                      </a:lnTo>
                      <a:lnTo>
                        <a:pt x="3256" y="1016"/>
                      </a:lnTo>
                      <a:lnTo>
                        <a:pt x="3243" y="1017"/>
                      </a:lnTo>
                      <a:lnTo>
                        <a:pt x="3228" y="1017"/>
                      </a:lnTo>
                      <a:lnTo>
                        <a:pt x="3213" y="1017"/>
                      </a:lnTo>
                      <a:lnTo>
                        <a:pt x="3196" y="1017"/>
                      </a:lnTo>
                      <a:lnTo>
                        <a:pt x="3180" y="1017"/>
                      </a:lnTo>
                      <a:lnTo>
                        <a:pt x="3166" y="1018"/>
                      </a:lnTo>
                      <a:lnTo>
                        <a:pt x="3159" y="1019"/>
                      </a:lnTo>
                      <a:lnTo>
                        <a:pt x="3152" y="1022"/>
                      </a:lnTo>
                      <a:lnTo>
                        <a:pt x="3146" y="1024"/>
                      </a:lnTo>
                      <a:lnTo>
                        <a:pt x="3141" y="1028"/>
                      </a:lnTo>
                      <a:lnTo>
                        <a:pt x="3129" y="1037"/>
                      </a:lnTo>
                      <a:lnTo>
                        <a:pt x="3119" y="1043"/>
                      </a:lnTo>
                      <a:lnTo>
                        <a:pt x="3113" y="1044"/>
                      </a:lnTo>
                      <a:lnTo>
                        <a:pt x="3106" y="1045"/>
                      </a:lnTo>
                      <a:lnTo>
                        <a:pt x="3100" y="1044"/>
                      </a:lnTo>
                      <a:lnTo>
                        <a:pt x="3093" y="1042"/>
                      </a:lnTo>
                      <a:lnTo>
                        <a:pt x="3088" y="1039"/>
                      </a:lnTo>
                      <a:lnTo>
                        <a:pt x="3083" y="1036"/>
                      </a:lnTo>
                      <a:lnTo>
                        <a:pt x="3081" y="1032"/>
                      </a:lnTo>
                      <a:lnTo>
                        <a:pt x="3078" y="1029"/>
                      </a:lnTo>
                      <a:lnTo>
                        <a:pt x="3074" y="1025"/>
                      </a:lnTo>
                      <a:lnTo>
                        <a:pt x="3071" y="1022"/>
                      </a:lnTo>
                      <a:lnTo>
                        <a:pt x="3067" y="1020"/>
                      </a:lnTo>
                      <a:lnTo>
                        <a:pt x="3062" y="1022"/>
                      </a:lnTo>
                      <a:lnTo>
                        <a:pt x="3056" y="1024"/>
                      </a:lnTo>
                      <a:lnTo>
                        <a:pt x="3051" y="1029"/>
                      </a:lnTo>
                      <a:lnTo>
                        <a:pt x="3044" y="1033"/>
                      </a:lnTo>
                      <a:lnTo>
                        <a:pt x="3039" y="1039"/>
                      </a:lnTo>
                      <a:lnTo>
                        <a:pt x="3036" y="1042"/>
                      </a:lnTo>
                      <a:lnTo>
                        <a:pt x="3035" y="1045"/>
                      </a:lnTo>
                      <a:lnTo>
                        <a:pt x="3034" y="1048"/>
                      </a:lnTo>
                      <a:lnTo>
                        <a:pt x="3034" y="1050"/>
                      </a:lnTo>
                      <a:lnTo>
                        <a:pt x="3035" y="1053"/>
                      </a:lnTo>
                      <a:lnTo>
                        <a:pt x="3038" y="1056"/>
                      </a:lnTo>
                      <a:lnTo>
                        <a:pt x="3041" y="1058"/>
                      </a:lnTo>
                      <a:lnTo>
                        <a:pt x="3045" y="1059"/>
                      </a:lnTo>
                      <a:lnTo>
                        <a:pt x="3056" y="1062"/>
                      </a:lnTo>
                      <a:lnTo>
                        <a:pt x="3068" y="1064"/>
                      </a:lnTo>
                      <a:lnTo>
                        <a:pt x="3079" y="1064"/>
                      </a:lnTo>
                      <a:lnTo>
                        <a:pt x="3091" y="1065"/>
                      </a:lnTo>
                      <a:lnTo>
                        <a:pt x="3101" y="1065"/>
                      </a:lnTo>
                      <a:lnTo>
                        <a:pt x="3112" y="1065"/>
                      </a:lnTo>
                      <a:lnTo>
                        <a:pt x="3122" y="1066"/>
                      </a:lnTo>
                      <a:lnTo>
                        <a:pt x="3133" y="1068"/>
                      </a:lnTo>
                      <a:lnTo>
                        <a:pt x="3132" y="1072"/>
                      </a:lnTo>
                      <a:lnTo>
                        <a:pt x="3130" y="1076"/>
                      </a:lnTo>
                      <a:lnTo>
                        <a:pt x="3127" y="1079"/>
                      </a:lnTo>
                      <a:lnTo>
                        <a:pt x="3125" y="1083"/>
                      </a:lnTo>
                      <a:lnTo>
                        <a:pt x="3115" y="1089"/>
                      </a:lnTo>
                      <a:lnTo>
                        <a:pt x="3105" y="1095"/>
                      </a:lnTo>
                      <a:lnTo>
                        <a:pt x="3094" y="1099"/>
                      </a:lnTo>
                      <a:lnTo>
                        <a:pt x="3085" y="1105"/>
                      </a:lnTo>
                      <a:lnTo>
                        <a:pt x="3080" y="1109"/>
                      </a:lnTo>
                      <a:lnTo>
                        <a:pt x="3076" y="1114"/>
                      </a:lnTo>
                      <a:lnTo>
                        <a:pt x="3073" y="1117"/>
                      </a:lnTo>
                      <a:lnTo>
                        <a:pt x="3071" y="1122"/>
                      </a:lnTo>
                      <a:lnTo>
                        <a:pt x="3069" y="1129"/>
                      </a:lnTo>
                      <a:lnTo>
                        <a:pt x="3069" y="1136"/>
                      </a:lnTo>
                      <a:lnTo>
                        <a:pt x="3071" y="1143"/>
                      </a:lnTo>
                      <a:lnTo>
                        <a:pt x="3071" y="1150"/>
                      </a:lnTo>
                      <a:lnTo>
                        <a:pt x="3072" y="1157"/>
                      </a:lnTo>
                      <a:lnTo>
                        <a:pt x="3071" y="1164"/>
                      </a:lnTo>
                      <a:lnTo>
                        <a:pt x="3068" y="1173"/>
                      </a:lnTo>
                      <a:lnTo>
                        <a:pt x="3063" y="1181"/>
                      </a:lnTo>
                      <a:lnTo>
                        <a:pt x="3058" y="1193"/>
                      </a:lnTo>
                      <a:lnTo>
                        <a:pt x="3052" y="1204"/>
                      </a:lnTo>
                      <a:lnTo>
                        <a:pt x="3048" y="1216"/>
                      </a:lnTo>
                      <a:lnTo>
                        <a:pt x="3047" y="1229"/>
                      </a:lnTo>
                      <a:lnTo>
                        <a:pt x="3046" y="1241"/>
                      </a:lnTo>
                      <a:lnTo>
                        <a:pt x="3047" y="1253"/>
                      </a:lnTo>
                      <a:lnTo>
                        <a:pt x="3048" y="1266"/>
                      </a:lnTo>
                      <a:lnTo>
                        <a:pt x="3051" y="1277"/>
                      </a:lnTo>
                      <a:lnTo>
                        <a:pt x="3055" y="1302"/>
                      </a:lnTo>
                      <a:lnTo>
                        <a:pt x="3061" y="1328"/>
                      </a:lnTo>
                      <a:lnTo>
                        <a:pt x="3063" y="1340"/>
                      </a:lnTo>
                      <a:lnTo>
                        <a:pt x="3066" y="1353"/>
                      </a:lnTo>
                      <a:lnTo>
                        <a:pt x="3067" y="1366"/>
                      </a:lnTo>
                      <a:lnTo>
                        <a:pt x="3068" y="1379"/>
                      </a:lnTo>
                      <a:lnTo>
                        <a:pt x="3066" y="1376"/>
                      </a:lnTo>
                      <a:lnTo>
                        <a:pt x="3062" y="1372"/>
                      </a:lnTo>
                      <a:lnTo>
                        <a:pt x="3060" y="1366"/>
                      </a:lnTo>
                      <a:lnTo>
                        <a:pt x="3058" y="1358"/>
                      </a:lnTo>
                      <a:lnTo>
                        <a:pt x="3053" y="1336"/>
                      </a:lnTo>
                      <a:lnTo>
                        <a:pt x="3048" y="1313"/>
                      </a:lnTo>
                      <a:lnTo>
                        <a:pt x="3041" y="1266"/>
                      </a:lnTo>
                      <a:lnTo>
                        <a:pt x="3038" y="1236"/>
                      </a:lnTo>
                      <a:lnTo>
                        <a:pt x="3036" y="1213"/>
                      </a:lnTo>
                      <a:lnTo>
                        <a:pt x="3035" y="1189"/>
                      </a:lnTo>
                      <a:lnTo>
                        <a:pt x="3035" y="1164"/>
                      </a:lnTo>
                      <a:lnTo>
                        <a:pt x="3035" y="1141"/>
                      </a:lnTo>
                      <a:lnTo>
                        <a:pt x="3035" y="1117"/>
                      </a:lnTo>
                      <a:lnTo>
                        <a:pt x="3034" y="1092"/>
                      </a:lnTo>
                      <a:lnTo>
                        <a:pt x="3032" y="1069"/>
                      </a:lnTo>
                      <a:lnTo>
                        <a:pt x="3028" y="1046"/>
                      </a:lnTo>
                      <a:lnTo>
                        <a:pt x="3025" y="1025"/>
                      </a:lnTo>
                      <a:lnTo>
                        <a:pt x="3022" y="1004"/>
                      </a:lnTo>
                      <a:lnTo>
                        <a:pt x="3019" y="983"/>
                      </a:lnTo>
                      <a:lnTo>
                        <a:pt x="3014" y="960"/>
                      </a:lnTo>
                      <a:lnTo>
                        <a:pt x="3012" y="947"/>
                      </a:lnTo>
                      <a:lnTo>
                        <a:pt x="3009" y="933"/>
                      </a:lnTo>
                      <a:lnTo>
                        <a:pt x="3007" y="918"/>
                      </a:lnTo>
                      <a:lnTo>
                        <a:pt x="3006" y="901"/>
                      </a:lnTo>
                      <a:lnTo>
                        <a:pt x="3005" y="886"/>
                      </a:lnTo>
                      <a:lnTo>
                        <a:pt x="3002" y="871"/>
                      </a:lnTo>
                      <a:lnTo>
                        <a:pt x="2999" y="858"/>
                      </a:lnTo>
                      <a:lnTo>
                        <a:pt x="2995" y="847"/>
                      </a:lnTo>
                      <a:lnTo>
                        <a:pt x="3000" y="830"/>
                      </a:lnTo>
                      <a:lnTo>
                        <a:pt x="3004" y="809"/>
                      </a:lnTo>
                      <a:lnTo>
                        <a:pt x="3006" y="788"/>
                      </a:lnTo>
                      <a:lnTo>
                        <a:pt x="3006" y="767"/>
                      </a:lnTo>
                      <a:lnTo>
                        <a:pt x="3006" y="723"/>
                      </a:lnTo>
                      <a:lnTo>
                        <a:pt x="3005" y="685"/>
                      </a:lnTo>
                      <a:lnTo>
                        <a:pt x="3004" y="654"/>
                      </a:lnTo>
                      <a:lnTo>
                        <a:pt x="3000" y="620"/>
                      </a:lnTo>
                      <a:lnTo>
                        <a:pt x="2998" y="602"/>
                      </a:lnTo>
                      <a:lnTo>
                        <a:pt x="2994" y="586"/>
                      </a:lnTo>
                      <a:lnTo>
                        <a:pt x="2991" y="570"/>
                      </a:lnTo>
                      <a:lnTo>
                        <a:pt x="2987" y="557"/>
                      </a:lnTo>
                      <a:lnTo>
                        <a:pt x="2981" y="538"/>
                      </a:lnTo>
                      <a:lnTo>
                        <a:pt x="2977" y="518"/>
                      </a:lnTo>
                      <a:lnTo>
                        <a:pt x="2973" y="498"/>
                      </a:lnTo>
                      <a:lnTo>
                        <a:pt x="2971" y="479"/>
                      </a:lnTo>
                      <a:lnTo>
                        <a:pt x="2968" y="466"/>
                      </a:lnTo>
                      <a:lnTo>
                        <a:pt x="2965" y="454"/>
                      </a:lnTo>
                      <a:lnTo>
                        <a:pt x="2960" y="439"/>
                      </a:lnTo>
                      <a:lnTo>
                        <a:pt x="2954" y="424"/>
                      </a:lnTo>
                      <a:lnTo>
                        <a:pt x="2941" y="397"/>
                      </a:lnTo>
                      <a:lnTo>
                        <a:pt x="2928" y="372"/>
                      </a:lnTo>
                      <a:lnTo>
                        <a:pt x="2922" y="362"/>
                      </a:lnTo>
                      <a:lnTo>
                        <a:pt x="2915" y="350"/>
                      </a:lnTo>
                      <a:lnTo>
                        <a:pt x="2907" y="339"/>
                      </a:lnTo>
                      <a:lnTo>
                        <a:pt x="2901" y="327"/>
                      </a:lnTo>
                      <a:lnTo>
                        <a:pt x="2894" y="317"/>
                      </a:lnTo>
                      <a:lnTo>
                        <a:pt x="2884" y="306"/>
                      </a:lnTo>
                      <a:lnTo>
                        <a:pt x="2874" y="296"/>
                      </a:lnTo>
                      <a:lnTo>
                        <a:pt x="2870" y="289"/>
                      </a:lnTo>
                      <a:lnTo>
                        <a:pt x="2858" y="279"/>
                      </a:lnTo>
                      <a:lnTo>
                        <a:pt x="2845" y="272"/>
                      </a:lnTo>
                      <a:lnTo>
                        <a:pt x="2837" y="268"/>
                      </a:lnTo>
                      <a:lnTo>
                        <a:pt x="2827" y="261"/>
                      </a:lnTo>
                      <a:lnTo>
                        <a:pt x="2818" y="254"/>
                      </a:lnTo>
                      <a:lnTo>
                        <a:pt x="2807" y="247"/>
                      </a:lnTo>
                      <a:lnTo>
                        <a:pt x="2788" y="231"/>
                      </a:lnTo>
                      <a:lnTo>
                        <a:pt x="2772" y="215"/>
                      </a:lnTo>
                      <a:lnTo>
                        <a:pt x="2756" y="204"/>
                      </a:lnTo>
                      <a:lnTo>
                        <a:pt x="2739" y="192"/>
                      </a:lnTo>
                      <a:lnTo>
                        <a:pt x="2721" y="182"/>
                      </a:lnTo>
                      <a:lnTo>
                        <a:pt x="2702" y="174"/>
                      </a:lnTo>
                      <a:lnTo>
                        <a:pt x="2682" y="167"/>
                      </a:lnTo>
                      <a:lnTo>
                        <a:pt x="2662" y="161"/>
                      </a:lnTo>
                      <a:lnTo>
                        <a:pt x="2640" y="158"/>
                      </a:lnTo>
                      <a:lnTo>
                        <a:pt x="2619" y="155"/>
                      </a:lnTo>
                      <a:lnTo>
                        <a:pt x="2598" y="155"/>
                      </a:lnTo>
                      <a:lnTo>
                        <a:pt x="2577" y="158"/>
                      </a:lnTo>
                      <a:lnTo>
                        <a:pt x="2568" y="159"/>
                      </a:lnTo>
                      <a:lnTo>
                        <a:pt x="2557" y="161"/>
                      </a:lnTo>
                      <a:lnTo>
                        <a:pt x="2548" y="165"/>
                      </a:lnTo>
                      <a:lnTo>
                        <a:pt x="2538" y="168"/>
                      </a:lnTo>
                      <a:lnTo>
                        <a:pt x="2529" y="172"/>
                      </a:lnTo>
                      <a:lnTo>
                        <a:pt x="2519" y="178"/>
                      </a:lnTo>
                      <a:lnTo>
                        <a:pt x="2511" y="182"/>
                      </a:lnTo>
                      <a:lnTo>
                        <a:pt x="2503" y="190"/>
                      </a:lnTo>
                      <a:lnTo>
                        <a:pt x="2495" y="195"/>
                      </a:lnTo>
                      <a:lnTo>
                        <a:pt x="2486" y="204"/>
                      </a:lnTo>
                      <a:lnTo>
                        <a:pt x="2479" y="212"/>
                      </a:lnTo>
                      <a:lnTo>
                        <a:pt x="2472" y="221"/>
                      </a:lnTo>
                      <a:lnTo>
                        <a:pt x="2462" y="237"/>
                      </a:lnTo>
                      <a:lnTo>
                        <a:pt x="2451" y="256"/>
                      </a:lnTo>
                      <a:lnTo>
                        <a:pt x="2439" y="276"/>
                      </a:lnTo>
                      <a:lnTo>
                        <a:pt x="2431" y="297"/>
                      </a:lnTo>
                      <a:lnTo>
                        <a:pt x="2428" y="307"/>
                      </a:lnTo>
                      <a:lnTo>
                        <a:pt x="2425" y="318"/>
                      </a:lnTo>
                      <a:lnTo>
                        <a:pt x="2425" y="327"/>
                      </a:lnTo>
                      <a:lnTo>
                        <a:pt x="2425" y="337"/>
                      </a:lnTo>
                      <a:lnTo>
                        <a:pt x="2429" y="346"/>
                      </a:lnTo>
                      <a:lnTo>
                        <a:pt x="2432" y="355"/>
                      </a:lnTo>
                      <a:lnTo>
                        <a:pt x="2439" y="363"/>
                      </a:lnTo>
                      <a:lnTo>
                        <a:pt x="2449" y="370"/>
                      </a:lnTo>
                      <a:lnTo>
                        <a:pt x="2461" y="376"/>
                      </a:lnTo>
                      <a:lnTo>
                        <a:pt x="2472" y="379"/>
                      </a:lnTo>
                      <a:lnTo>
                        <a:pt x="2482" y="380"/>
                      </a:lnTo>
                      <a:lnTo>
                        <a:pt x="2491" y="379"/>
                      </a:lnTo>
                      <a:lnTo>
                        <a:pt x="2498" y="376"/>
                      </a:lnTo>
                      <a:lnTo>
                        <a:pt x="2505" y="371"/>
                      </a:lnTo>
                      <a:lnTo>
                        <a:pt x="2512" y="364"/>
                      </a:lnTo>
                      <a:lnTo>
                        <a:pt x="2518" y="358"/>
                      </a:lnTo>
                      <a:lnTo>
                        <a:pt x="2529" y="343"/>
                      </a:lnTo>
                      <a:lnTo>
                        <a:pt x="2538" y="330"/>
                      </a:lnTo>
                      <a:lnTo>
                        <a:pt x="2543" y="325"/>
                      </a:lnTo>
                      <a:lnTo>
                        <a:pt x="2548" y="320"/>
                      </a:lnTo>
                      <a:lnTo>
                        <a:pt x="2553" y="319"/>
                      </a:lnTo>
                      <a:lnTo>
                        <a:pt x="2558" y="319"/>
                      </a:lnTo>
                      <a:lnTo>
                        <a:pt x="2560" y="329"/>
                      </a:lnTo>
                      <a:lnTo>
                        <a:pt x="2560" y="338"/>
                      </a:lnTo>
                      <a:lnTo>
                        <a:pt x="2559" y="349"/>
                      </a:lnTo>
                      <a:lnTo>
                        <a:pt x="2557" y="358"/>
                      </a:lnTo>
                      <a:lnTo>
                        <a:pt x="2553" y="367"/>
                      </a:lnTo>
                      <a:lnTo>
                        <a:pt x="2549" y="376"/>
                      </a:lnTo>
                      <a:lnTo>
                        <a:pt x="2543" y="384"/>
                      </a:lnTo>
                      <a:lnTo>
                        <a:pt x="2537" y="392"/>
                      </a:lnTo>
                      <a:lnTo>
                        <a:pt x="2530" y="399"/>
                      </a:lnTo>
                      <a:lnTo>
                        <a:pt x="2522" y="406"/>
                      </a:lnTo>
                      <a:lnTo>
                        <a:pt x="2513" y="412"/>
                      </a:lnTo>
                      <a:lnTo>
                        <a:pt x="2504" y="418"/>
                      </a:lnTo>
                      <a:lnTo>
                        <a:pt x="2495" y="422"/>
                      </a:lnTo>
                      <a:lnTo>
                        <a:pt x="2485" y="425"/>
                      </a:lnTo>
                      <a:lnTo>
                        <a:pt x="2476" y="428"/>
                      </a:lnTo>
                      <a:lnTo>
                        <a:pt x="2466" y="429"/>
                      </a:lnTo>
                      <a:lnTo>
                        <a:pt x="2457" y="429"/>
                      </a:lnTo>
                      <a:lnTo>
                        <a:pt x="2448" y="428"/>
                      </a:lnTo>
                      <a:lnTo>
                        <a:pt x="2439" y="426"/>
                      </a:lnTo>
                      <a:lnTo>
                        <a:pt x="2431" y="424"/>
                      </a:lnTo>
                      <a:lnTo>
                        <a:pt x="2423" y="421"/>
                      </a:lnTo>
                      <a:lnTo>
                        <a:pt x="2415" y="417"/>
                      </a:lnTo>
                      <a:lnTo>
                        <a:pt x="2408" y="412"/>
                      </a:lnTo>
                      <a:lnTo>
                        <a:pt x="2401" y="408"/>
                      </a:lnTo>
                      <a:lnTo>
                        <a:pt x="2388" y="396"/>
                      </a:lnTo>
                      <a:lnTo>
                        <a:pt x="2375" y="383"/>
                      </a:lnTo>
                      <a:lnTo>
                        <a:pt x="2363" y="370"/>
                      </a:lnTo>
                      <a:lnTo>
                        <a:pt x="2351" y="356"/>
                      </a:lnTo>
                      <a:lnTo>
                        <a:pt x="2343" y="346"/>
                      </a:lnTo>
                      <a:lnTo>
                        <a:pt x="2337" y="336"/>
                      </a:lnTo>
                      <a:lnTo>
                        <a:pt x="2331" y="324"/>
                      </a:lnTo>
                      <a:lnTo>
                        <a:pt x="2325" y="313"/>
                      </a:lnTo>
                      <a:lnTo>
                        <a:pt x="2316" y="289"/>
                      </a:lnTo>
                      <a:lnTo>
                        <a:pt x="2305" y="265"/>
                      </a:lnTo>
                      <a:lnTo>
                        <a:pt x="2301" y="253"/>
                      </a:lnTo>
                      <a:lnTo>
                        <a:pt x="2295" y="243"/>
                      </a:lnTo>
                      <a:lnTo>
                        <a:pt x="2288" y="232"/>
                      </a:lnTo>
                      <a:lnTo>
                        <a:pt x="2281" y="221"/>
                      </a:lnTo>
                      <a:lnTo>
                        <a:pt x="2274" y="213"/>
                      </a:lnTo>
                      <a:lnTo>
                        <a:pt x="2264" y="205"/>
                      </a:lnTo>
                      <a:lnTo>
                        <a:pt x="2254" y="198"/>
                      </a:lnTo>
                      <a:lnTo>
                        <a:pt x="2242" y="193"/>
                      </a:lnTo>
                      <a:lnTo>
                        <a:pt x="2233" y="188"/>
                      </a:lnTo>
                      <a:lnTo>
                        <a:pt x="2223" y="185"/>
                      </a:lnTo>
                      <a:lnTo>
                        <a:pt x="2215" y="180"/>
                      </a:lnTo>
                      <a:lnTo>
                        <a:pt x="2206" y="174"/>
                      </a:lnTo>
                      <a:lnTo>
                        <a:pt x="2198" y="168"/>
                      </a:lnTo>
                      <a:lnTo>
                        <a:pt x="2190" y="161"/>
                      </a:lnTo>
                      <a:lnTo>
                        <a:pt x="2183" y="154"/>
                      </a:lnTo>
                      <a:lnTo>
                        <a:pt x="2177" y="146"/>
                      </a:lnTo>
                      <a:lnTo>
                        <a:pt x="2174" y="140"/>
                      </a:lnTo>
                      <a:lnTo>
                        <a:pt x="2171" y="135"/>
                      </a:lnTo>
                      <a:lnTo>
                        <a:pt x="2170" y="131"/>
                      </a:lnTo>
                      <a:lnTo>
                        <a:pt x="2170" y="125"/>
                      </a:lnTo>
                      <a:lnTo>
                        <a:pt x="2171" y="120"/>
                      </a:lnTo>
                      <a:lnTo>
                        <a:pt x="2174" y="115"/>
                      </a:lnTo>
                      <a:lnTo>
                        <a:pt x="2175" y="111"/>
                      </a:lnTo>
                      <a:lnTo>
                        <a:pt x="2179" y="106"/>
                      </a:lnTo>
                      <a:lnTo>
                        <a:pt x="2191" y="89"/>
                      </a:lnTo>
                      <a:lnTo>
                        <a:pt x="2204" y="73"/>
                      </a:lnTo>
                      <a:lnTo>
                        <a:pt x="2210" y="69"/>
                      </a:lnTo>
                      <a:lnTo>
                        <a:pt x="2218" y="65"/>
                      </a:lnTo>
                      <a:lnTo>
                        <a:pt x="2226" y="59"/>
                      </a:lnTo>
                      <a:lnTo>
                        <a:pt x="2235" y="50"/>
                      </a:lnTo>
                      <a:lnTo>
                        <a:pt x="2243" y="43"/>
                      </a:lnTo>
                      <a:lnTo>
                        <a:pt x="2253" y="36"/>
                      </a:lnTo>
                      <a:lnTo>
                        <a:pt x="2261" y="30"/>
                      </a:lnTo>
                      <a:lnTo>
                        <a:pt x="2269" y="26"/>
                      </a:lnTo>
                      <a:lnTo>
                        <a:pt x="2287" y="20"/>
                      </a:lnTo>
                      <a:lnTo>
                        <a:pt x="2304" y="14"/>
                      </a:lnTo>
                      <a:lnTo>
                        <a:pt x="2322" y="10"/>
                      </a:lnTo>
                      <a:lnTo>
                        <a:pt x="2341" y="7"/>
                      </a:lnTo>
                      <a:lnTo>
                        <a:pt x="2361" y="3"/>
                      </a:lnTo>
                      <a:lnTo>
                        <a:pt x="2379" y="1"/>
                      </a:lnTo>
                      <a:lnTo>
                        <a:pt x="2399" y="0"/>
                      </a:lnTo>
                      <a:lnTo>
                        <a:pt x="2419" y="0"/>
                      </a:lnTo>
                      <a:lnTo>
                        <a:pt x="2439" y="0"/>
                      </a:lnTo>
                      <a:lnTo>
                        <a:pt x="2459" y="1"/>
                      </a:lnTo>
                      <a:lnTo>
                        <a:pt x="2481" y="2"/>
                      </a:lnTo>
                      <a:lnTo>
                        <a:pt x="2501" y="4"/>
                      </a:lnTo>
                      <a:lnTo>
                        <a:pt x="2543" y="10"/>
                      </a:lnTo>
                      <a:lnTo>
                        <a:pt x="2584" y="19"/>
                      </a:lnTo>
                      <a:lnTo>
                        <a:pt x="2625" y="28"/>
                      </a:lnTo>
                      <a:lnTo>
                        <a:pt x="2666" y="41"/>
                      </a:lnTo>
                      <a:lnTo>
                        <a:pt x="2705" y="54"/>
                      </a:lnTo>
                      <a:lnTo>
                        <a:pt x="2744" y="69"/>
                      </a:lnTo>
                      <a:lnTo>
                        <a:pt x="2781" y="87"/>
                      </a:lnTo>
                      <a:lnTo>
                        <a:pt x="2817" y="105"/>
                      </a:lnTo>
                      <a:lnTo>
                        <a:pt x="2850" y="124"/>
                      </a:lnTo>
                      <a:lnTo>
                        <a:pt x="2881" y="142"/>
                      </a:lnTo>
                      <a:lnTo>
                        <a:pt x="2886" y="147"/>
                      </a:lnTo>
                      <a:lnTo>
                        <a:pt x="2891" y="147"/>
                      </a:lnTo>
                      <a:lnTo>
                        <a:pt x="2907" y="160"/>
                      </a:lnTo>
                      <a:lnTo>
                        <a:pt x="2926" y="171"/>
                      </a:lnTo>
                      <a:lnTo>
                        <a:pt x="2946" y="180"/>
                      </a:lnTo>
                      <a:lnTo>
                        <a:pt x="2966" y="191"/>
                      </a:lnTo>
                      <a:lnTo>
                        <a:pt x="2986" y="200"/>
                      </a:lnTo>
                      <a:lnTo>
                        <a:pt x="3006" y="211"/>
                      </a:lnTo>
                      <a:lnTo>
                        <a:pt x="3025" y="221"/>
                      </a:lnTo>
                      <a:lnTo>
                        <a:pt x="3042" y="235"/>
                      </a:lnTo>
                      <a:lnTo>
                        <a:pt x="3069" y="260"/>
                      </a:lnTo>
                      <a:lnTo>
                        <a:pt x="3096" y="284"/>
                      </a:lnTo>
                      <a:lnTo>
                        <a:pt x="3121" y="307"/>
                      </a:lnTo>
                      <a:lnTo>
                        <a:pt x="3145" y="332"/>
                      </a:lnTo>
                      <a:lnTo>
                        <a:pt x="3155" y="345"/>
                      </a:lnTo>
                      <a:lnTo>
                        <a:pt x="3166" y="358"/>
                      </a:lnTo>
                      <a:lnTo>
                        <a:pt x="3176" y="372"/>
                      </a:lnTo>
                      <a:lnTo>
                        <a:pt x="3186" y="386"/>
                      </a:lnTo>
                      <a:lnTo>
                        <a:pt x="3195" y="402"/>
                      </a:lnTo>
                      <a:lnTo>
                        <a:pt x="3205" y="418"/>
                      </a:lnTo>
                      <a:lnTo>
                        <a:pt x="3213" y="435"/>
                      </a:lnTo>
                      <a:lnTo>
                        <a:pt x="3221" y="452"/>
                      </a:lnTo>
                      <a:lnTo>
                        <a:pt x="3236" y="485"/>
                      </a:lnTo>
                      <a:lnTo>
                        <a:pt x="3253" y="517"/>
                      </a:lnTo>
                      <a:lnTo>
                        <a:pt x="3272" y="548"/>
                      </a:lnTo>
                      <a:lnTo>
                        <a:pt x="3290" y="577"/>
                      </a:lnTo>
                      <a:lnTo>
                        <a:pt x="3309" y="608"/>
                      </a:lnTo>
                      <a:lnTo>
                        <a:pt x="3328" y="637"/>
                      </a:lnTo>
                      <a:lnTo>
                        <a:pt x="3346" y="668"/>
                      </a:lnTo>
                      <a:lnTo>
                        <a:pt x="3361" y="700"/>
                      </a:lnTo>
                      <a:lnTo>
                        <a:pt x="3369" y="714"/>
                      </a:lnTo>
                      <a:lnTo>
                        <a:pt x="3376" y="729"/>
                      </a:lnTo>
                      <a:lnTo>
                        <a:pt x="3383" y="745"/>
                      </a:lnTo>
                      <a:lnTo>
                        <a:pt x="3388" y="761"/>
                      </a:lnTo>
                      <a:lnTo>
                        <a:pt x="3400" y="793"/>
                      </a:lnTo>
                      <a:lnTo>
                        <a:pt x="3413" y="824"/>
                      </a:lnTo>
                      <a:lnTo>
                        <a:pt x="3443" y="885"/>
                      </a:lnTo>
                      <a:lnTo>
                        <a:pt x="3451" y="898"/>
                      </a:lnTo>
                      <a:lnTo>
                        <a:pt x="3461" y="913"/>
                      </a:lnTo>
                      <a:lnTo>
                        <a:pt x="3465" y="920"/>
                      </a:lnTo>
                      <a:lnTo>
                        <a:pt x="3470" y="927"/>
                      </a:lnTo>
                      <a:lnTo>
                        <a:pt x="3472" y="934"/>
                      </a:lnTo>
                      <a:lnTo>
                        <a:pt x="3475" y="941"/>
                      </a:lnTo>
                      <a:lnTo>
                        <a:pt x="3478" y="949"/>
                      </a:lnTo>
                      <a:lnTo>
                        <a:pt x="3483" y="954"/>
                      </a:lnTo>
                      <a:lnTo>
                        <a:pt x="3487" y="963"/>
                      </a:lnTo>
                      <a:lnTo>
                        <a:pt x="3489" y="971"/>
                      </a:lnTo>
                      <a:lnTo>
                        <a:pt x="3495" y="989"/>
                      </a:lnTo>
                      <a:lnTo>
                        <a:pt x="3500" y="1007"/>
                      </a:lnTo>
                      <a:lnTo>
                        <a:pt x="3508" y="1046"/>
                      </a:lnTo>
                      <a:lnTo>
                        <a:pt x="3516" y="1079"/>
                      </a:lnTo>
                      <a:lnTo>
                        <a:pt x="3525" y="1110"/>
                      </a:lnTo>
                      <a:lnTo>
                        <a:pt x="3535" y="1145"/>
                      </a:lnTo>
                      <a:lnTo>
                        <a:pt x="3539" y="1163"/>
                      </a:lnTo>
                      <a:lnTo>
                        <a:pt x="3544" y="1180"/>
                      </a:lnTo>
                      <a:lnTo>
                        <a:pt x="3547" y="1196"/>
                      </a:lnTo>
                      <a:lnTo>
                        <a:pt x="3549" y="1211"/>
                      </a:lnTo>
                      <a:lnTo>
                        <a:pt x="3556" y="1226"/>
                      </a:lnTo>
                      <a:lnTo>
                        <a:pt x="3564" y="1246"/>
                      </a:lnTo>
                      <a:lnTo>
                        <a:pt x="3571" y="1266"/>
                      </a:lnTo>
                      <a:lnTo>
                        <a:pt x="3575" y="1281"/>
                      </a:lnTo>
                      <a:lnTo>
                        <a:pt x="3588" y="1319"/>
                      </a:lnTo>
                      <a:lnTo>
                        <a:pt x="3598" y="1356"/>
                      </a:lnTo>
                      <a:lnTo>
                        <a:pt x="3608" y="1395"/>
                      </a:lnTo>
                      <a:lnTo>
                        <a:pt x="3616" y="1433"/>
                      </a:lnTo>
                      <a:lnTo>
                        <a:pt x="3623" y="1472"/>
                      </a:lnTo>
                      <a:lnTo>
                        <a:pt x="3631" y="1511"/>
                      </a:lnTo>
                      <a:lnTo>
                        <a:pt x="3638" y="1550"/>
                      </a:lnTo>
                      <a:lnTo>
                        <a:pt x="3645" y="1589"/>
                      </a:lnTo>
                      <a:lnTo>
                        <a:pt x="3649" y="1616"/>
                      </a:lnTo>
                      <a:lnTo>
                        <a:pt x="3652" y="1645"/>
                      </a:lnTo>
                      <a:lnTo>
                        <a:pt x="3657" y="1675"/>
                      </a:lnTo>
                      <a:lnTo>
                        <a:pt x="3663" y="1702"/>
                      </a:lnTo>
                      <a:lnTo>
                        <a:pt x="3664" y="1716"/>
                      </a:lnTo>
                      <a:lnTo>
                        <a:pt x="3663" y="1735"/>
                      </a:lnTo>
                      <a:lnTo>
                        <a:pt x="3663" y="1751"/>
                      </a:lnTo>
                      <a:lnTo>
                        <a:pt x="3663" y="1761"/>
                      </a:lnTo>
                      <a:lnTo>
                        <a:pt x="3663" y="1749"/>
                      </a:lnTo>
                      <a:lnTo>
                        <a:pt x="3661" y="1737"/>
                      </a:lnTo>
                      <a:lnTo>
                        <a:pt x="3657" y="1724"/>
                      </a:lnTo>
                      <a:lnTo>
                        <a:pt x="3653" y="1712"/>
                      </a:lnTo>
                      <a:lnTo>
                        <a:pt x="3646" y="1686"/>
                      </a:lnTo>
                      <a:lnTo>
                        <a:pt x="3641" y="1663"/>
                      </a:lnTo>
                      <a:lnTo>
                        <a:pt x="3636" y="1644"/>
                      </a:lnTo>
                      <a:lnTo>
                        <a:pt x="3629" y="1617"/>
                      </a:lnTo>
                      <a:lnTo>
                        <a:pt x="3625" y="1605"/>
                      </a:lnTo>
                      <a:lnTo>
                        <a:pt x="3621" y="1598"/>
                      </a:lnTo>
                      <a:lnTo>
                        <a:pt x="3619" y="1597"/>
                      </a:lnTo>
                      <a:lnTo>
                        <a:pt x="3617" y="1597"/>
                      </a:lnTo>
                      <a:lnTo>
                        <a:pt x="3616" y="1600"/>
                      </a:lnTo>
                      <a:lnTo>
                        <a:pt x="3615" y="1605"/>
                      </a:lnTo>
                      <a:lnTo>
                        <a:pt x="3611" y="1615"/>
                      </a:lnTo>
                      <a:lnTo>
                        <a:pt x="3608" y="1624"/>
                      </a:lnTo>
                      <a:lnTo>
                        <a:pt x="3603" y="1633"/>
                      </a:lnTo>
                      <a:lnTo>
                        <a:pt x="3597" y="1640"/>
                      </a:lnTo>
                      <a:lnTo>
                        <a:pt x="3590" y="1648"/>
                      </a:lnTo>
                      <a:lnTo>
                        <a:pt x="3582" y="1653"/>
                      </a:lnTo>
                      <a:lnTo>
                        <a:pt x="3574" y="1658"/>
                      </a:lnTo>
                      <a:lnTo>
                        <a:pt x="3563" y="1662"/>
                      </a:lnTo>
                      <a:lnTo>
                        <a:pt x="3557" y="1664"/>
                      </a:lnTo>
                      <a:lnTo>
                        <a:pt x="3552" y="1668"/>
                      </a:lnTo>
                      <a:lnTo>
                        <a:pt x="3550" y="1672"/>
                      </a:lnTo>
                      <a:lnTo>
                        <a:pt x="3549" y="1678"/>
                      </a:lnTo>
                      <a:lnTo>
                        <a:pt x="3550" y="1685"/>
                      </a:lnTo>
                      <a:lnTo>
                        <a:pt x="3551" y="1691"/>
                      </a:lnTo>
                      <a:lnTo>
                        <a:pt x="3555" y="1699"/>
                      </a:lnTo>
                      <a:lnTo>
                        <a:pt x="3558" y="1706"/>
                      </a:lnTo>
                      <a:lnTo>
                        <a:pt x="3568" y="1723"/>
                      </a:lnTo>
                      <a:lnTo>
                        <a:pt x="3577" y="1739"/>
                      </a:lnTo>
                      <a:lnTo>
                        <a:pt x="3581" y="1747"/>
                      </a:lnTo>
                      <a:lnTo>
                        <a:pt x="3584" y="1754"/>
                      </a:lnTo>
                      <a:lnTo>
                        <a:pt x="3586" y="1761"/>
                      </a:lnTo>
                      <a:lnTo>
                        <a:pt x="3589" y="1767"/>
                      </a:lnTo>
                      <a:lnTo>
                        <a:pt x="3590" y="1774"/>
                      </a:lnTo>
                      <a:lnTo>
                        <a:pt x="3591" y="1778"/>
                      </a:lnTo>
                      <a:lnTo>
                        <a:pt x="3594" y="1783"/>
                      </a:lnTo>
                      <a:lnTo>
                        <a:pt x="3597" y="1788"/>
                      </a:lnTo>
                      <a:lnTo>
                        <a:pt x="3603" y="1795"/>
                      </a:lnTo>
                      <a:lnTo>
                        <a:pt x="3609" y="1801"/>
                      </a:lnTo>
                      <a:lnTo>
                        <a:pt x="3616" y="1807"/>
                      </a:lnTo>
                      <a:lnTo>
                        <a:pt x="3622" y="1813"/>
                      </a:lnTo>
                      <a:lnTo>
                        <a:pt x="3624" y="1815"/>
                      </a:lnTo>
                      <a:lnTo>
                        <a:pt x="3626" y="1818"/>
                      </a:lnTo>
                      <a:lnTo>
                        <a:pt x="3628" y="1823"/>
                      </a:lnTo>
                      <a:lnTo>
                        <a:pt x="3630" y="1828"/>
                      </a:lnTo>
                      <a:lnTo>
                        <a:pt x="3632" y="1842"/>
                      </a:lnTo>
                      <a:lnTo>
                        <a:pt x="3636" y="1854"/>
                      </a:lnTo>
                      <a:lnTo>
                        <a:pt x="3641" y="1866"/>
                      </a:lnTo>
                      <a:lnTo>
                        <a:pt x="3648" y="1877"/>
                      </a:lnTo>
                      <a:lnTo>
                        <a:pt x="3650" y="1880"/>
                      </a:lnTo>
                      <a:lnTo>
                        <a:pt x="3653" y="1880"/>
                      </a:lnTo>
                      <a:lnTo>
                        <a:pt x="3657" y="1880"/>
                      </a:lnTo>
                      <a:lnTo>
                        <a:pt x="3661" y="1880"/>
                      </a:lnTo>
                      <a:lnTo>
                        <a:pt x="3668" y="1876"/>
                      </a:lnTo>
                      <a:lnTo>
                        <a:pt x="3672" y="1873"/>
                      </a:lnTo>
                      <a:lnTo>
                        <a:pt x="3675" y="1867"/>
                      </a:lnTo>
                      <a:lnTo>
                        <a:pt x="3676" y="1861"/>
                      </a:lnTo>
                      <a:lnTo>
                        <a:pt x="3677" y="1854"/>
                      </a:lnTo>
                      <a:lnTo>
                        <a:pt x="3677" y="1846"/>
                      </a:lnTo>
                      <a:lnTo>
                        <a:pt x="3677" y="1830"/>
                      </a:lnTo>
                      <a:lnTo>
                        <a:pt x="3677" y="1813"/>
                      </a:lnTo>
                      <a:lnTo>
                        <a:pt x="3676" y="1796"/>
                      </a:lnTo>
                      <a:lnTo>
                        <a:pt x="3675" y="1778"/>
                      </a:lnTo>
                      <a:lnTo>
                        <a:pt x="3676" y="1763"/>
                      </a:lnTo>
                      <a:lnTo>
                        <a:pt x="3679" y="1749"/>
                      </a:lnTo>
                      <a:lnTo>
                        <a:pt x="3684" y="1758"/>
                      </a:lnTo>
                      <a:lnTo>
                        <a:pt x="3688" y="1772"/>
                      </a:lnTo>
                      <a:lnTo>
                        <a:pt x="3690" y="1789"/>
                      </a:lnTo>
                      <a:lnTo>
                        <a:pt x="3692" y="1808"/>
                      </a:lnTo>
                      <a:lnTo>
                        <a:pt x="3696" y="1843"/>
                      </a:lnTo>
                      <a:lnTo>
                        <a:pt x="3696" y="1869"/>
                      </a:lnTo>
                      <a:lnTo>
                        <a:pt x="3697" y="1867"/>
                      </a:lnTo>
                      <a:lnTo>
                        <a:pt x="3698" y="1866"/>
                      </a:lnTo>
                      <a:lnTo>
                        <a:pt x="3736" y="2417"/>
                      </a:lnTo>
                      <a:lnTo>
                        <a:pt x="3738" y="2441"/>
                      </a:lnTo>
                      <a:lnTo>
                        <a:pt x="3738" y="2478"/>
                      </a:lnTo>
                      <a:lnTo>
                        <a:pt x="3737" y="2524"/>
                      </a:lnTo>
                      <a:lnTo>
                        <a:pt x="3732" y="2573"/>
                      </a:lnTo>
                      <a:lnTo>
                        <a:pt x="3729" y="2596"/>
                      </a:lnTo>
                      <a:lnTo>
                        <a:pt x="3725" y="2620"/>
                      </a:lnTo>
                      <a:lnTo>
                        <a:pt x="3722" y="2640"/>
                      </a:lnTo>
                      <a:lnTo>
                        <a:pt x="3716" y="2659"/>
                      </a:lnTo>
                      <a:lnTo>
                        <a:pt x="3713" y="2666"/>
                      </a:lnTo>
                      <a:lnTo>
                        <a:pt x="3710" y="2673"/>
                      </a:lnTo>
                      <a:lnTo>
                        <a:pt x="3706" y="2679"/>
                      </a:lnTo>
                      <a:lnTo>
                        <a:pt x="3703" y="2684"/>
                      </a:lnTo>
                      <a:lnTo>
                        <a:pt x="3699" y="2687"/>
                      </a:lnTo>
                      <a:lnTo>
                        <a:pt x="3696" y="2689"/>
                      </a:lnTo>
                      <a:lnTo>
                        <a:pt x="3691" y="2691"/>
                      </a:lnTo>
                      <a:lnTo>
                        <a:pt x="3686" y="2691"/>
                      </a:lnTo>
                      <a:lnTo>
                        <a:pt x="3685" y="2680"/>
                      </a:lnTo>
                      <a:lnTo>
                        <a:pt x="3686" y="2667"/>
                      </a:lnTo>
                      <a:lnTo>
                        <a:pt x="3689" y="2653"/>
                      </a:lnTo>
                      <a:lnTo>
                        <a:pt x="3692" y="2638"/>
                      </a:lnTo>
                      <a:lnTo>
                        <a:pt x="3702" y="2607"/>
                      </a:lnTo>
                      <a:lnTo>
                        <a:pt x="3710" y="2581"/>
                      </a:lnTo>
                      <a:lnTo>
                        <a:pt x="3717" y="2556"/>
                      </a:lnTo>
                      <a:lnTo>
                        <a:pt x="3722" y="2531"/>
                      </a:lnTo>
                      <a:lnTo>
                        <a:pt x="3723" y="2519"/>
                      </a:lnTo>
                      <a:lnTo>
                        <a:pt x="3723" y="2506"/>
                      </a:lnTo>
                      <a:lnTo>
                        <a:pt x="3723" y="2494"/>
                      </a:lnTo>
                      <a:lnTo>
                        <a:pt x="3719" y="2481"/>
                      </a:lnTo>
                      <a:lnTo>
                        <a:pt x="3715" y="2461"/>
                      </a:lnTo>
                      <a:lnTo>
                        <a:pt x="3709" y="2444"/>
                      </a:lnTo>
                      <a:lnTo>
                        <a:pt x="3706" y="2435"/>
                      </a:lnTo>
                      <a:lnTo>
                        <a:pt x="3704" y="2425"/>
                      </a:lnTo>
                      <a:lnTo>
                        <a:pt x="3703" y="2415"/>
                      </a:lnTo>
                      <a:lnTo>
                        <a:pt x="3703" y="2403"/>
                      </a:lnTo>
                      <a:lnTo>
                        <a:pt x="3703" y="2376"/>
                      </a:lnTo>
                      <a:lnTo>
                        <a:pt x="3703" y="2350"/>
                      </a:lnTo>
                      <a:lnTo>
                        <a:pt x="3702" y="2323"/>
                      </a:lnTo>
                      <a:lnTo>
                        <a:pt x="3702" y="2298"/>
                      </a:lnTo>
                      <a:lnTo>
                        <a:pt x="3699" y="2272"/>
                      </a:lnTo>
                      <a:lnTo>
                        <a:pt x="3697" y="2247"/>
                      </a:lnTo>
                      <a:lnTo>
                        <a:pt x="3693" y="2222"/>
                      </a:lnTo>
                      <a:lnTo>
                        <a:pt x="3688" y="2197"/>
                      </a:lnTo>
                      <a:lnTo>
                        <a:pt x="3686" y="2196"/>
                      </a:lnTo>
                      <a:lnTo>
                        <a:pt x="3684" y="2196"/>
                      </a:lnTo>
                      <a:lnTo>
                        <a:pt x="3682" y="2201"/>
                      </a:lnTo>
                      <a:lnTo>
                        <a:pt x="3678" y="2206"/>
                      </a:lnTo>
                      <a:lnTo>
                        <a:pt x="3673" y="2212"/>
                      </a:lnTo>
                      <a:lnTo>
                        <a:pt x="3668" y="2218"/>
                      </a:lnTo>
                      <a:lnTo>
                        <a:pt x="3662" y="2223"/>
                      </a:lnTo>
                      <a:lnTo>
                        <a:pt x="3655" y="2226"/>
                      </a:lnTo>
                      <a:lnTo>
                        <a:pt x="3649" y="2229"/>
                      </a:lnTo>
                      <a:lnTo>
                        <a:pt x="3643" y="2230"/>
                      </a:lnTo>
                      <a:lnTo>
                        <a:pt x="3641" y="2226"/>
                      </a:lnTo>
                      <a:lnTo>
                        <a:pt x="3637" y="2219"/>
                      </a:lnTo>
                      <a:lnTo>
                        <a:pt x="3632" y="2207"/>
                      </a:lnTo>
                      <a:lnTo>
                        <a:pt x="3629" y="2196"/>
                      </a:lnTo>
                      <a:lnTo>
                        <a:pt x="3628" y="2190"/>
                      </a:lnTo>
                      <a:lnTo>
                        <a:pt x="3628" y="2184"/>
                      </a:lnTo>
                      <a:lnTo>
                        <a:pt x="3630" y="2179"/>
                      </a:lnTo>
                      <a:lnTo>
                        <a:pt x="3632" y="2176"/>
                      </a:lnTo>
                      <a:lnTo>
                        <a:pt x="3637" y="2173"/>
                      </a:lnTo>
                      <a:lnTo>
                        <a:pt x="3643" y="2171"/>
                      </a:lnTo>
                      <a:lnTo>
                        <a:pt x="3651" y="2172"/>
                      </a:lnTo>
                      <a:lnTo>
                        <a:pt x="3663" y="2173"/>
                      </a:lnTo>
                      <a:lnTo>
                        <a:pt x="3671" y="2177"/>
                      </a:lnTo>
                      <a:lnTo>
                        <a:pt x="3682" y="2181"/>
                      </a:lnTo>
                      <a:lnTo>
                        <a:pt x="3686" y="2184"/>
                      </a:lnTo>
                      <a:lnTo>
                        <a:pt x="3691" y="2184"/>
                      </a:lnTo>
                      <a:lnTo>
                        <a:pt x="3696" y="2183"/>
                      </a:lnTo>
                      <a:lnTo>
                        <a:pt x="3698" y="2180"/>
                      </a:lnTo>
                      <a:lnTo>
                        <a:pt x="3700" y="2176"/>
                      </a:lnTo>
                      <a:lnTo>
                        <a:pt x="3700" y="2171"/>
                      </a:lnTo>
                      <a:lnTo>
                        <a:pt x="3700" y="2166"/>
                      </a:lnTo>
                      <a:lnTo>
                        <a:pt x="3698" y="2160"/>
                      </a:lnTo>
                      <a:lnTo>
                        <a:pt x="3695" y="2150"/>
                      </a:lnTo>
                      <a:lnTo>
                        <a:pt x="3689" y="2141"/>
                      </a:lnTo>
                      <a:lnTo>
                        <a:pt x="3675" y="2132"/>
                      </a:lnTo>
                      <a:lnTo>
                        <a:pt x="3661" y="2125"/>
                      </a:lnTo>
                      <a:lnTo>
                        <a:pt x="3656" y="2123"/>
                      </a:lnTo>
                      <a:lnTo>
                        <a:pt x="3653" y="2119"/>
                      </a:lnTo>
                      <a:lnTo>
                        <a:pt x="3652" y="2115"/>
                      </a:lnTo>
                      <a:lnTo>
                        <a:pt x="3651" y="2111"/>
                      </a:lnTo>
                      <a:lnTo>
                        <a:pt x="3652" y="2099"/>
                      </a:lnTo>
                      <a:lnTo>
                        <a:pt x="3652" y="2087"/>
                      </a:lnTo>
                      <a:lnTo>
                        <a:pt x="3652" y="2084"/>
                      </a:lnTo>
                      <a:lnTo>
                        <a:pt x="3655" y="2080"/>
                      </a:lnTo>
                      <a:lnTo>
                        <a:pt x="3658" y="2077"/>
                      </a:lnTo>
                      <a:lnTo>
                        <a:pt x="3662" y="2073"/>
                      </a:lnTo>
                      <a:lnTo>
                        <a:pt x="3666" y="2068"/>
                      </a:lnTo>
                      <a:lnTo>
                        <a:pt x="3669" y="2062"/>
                      </a:lnTo>
                      <a:lnTo>
                        <a:pt x="3672" y="2056"/>
                      </a:lnTo>
                      <a:lnTo>
                        <a:pt x="3672" y="2049"/>
                      </a:lnTo>
                      <a:lnTo>
                        <a:pt x="3652" y="2048"/>
                      </a:lnTo>
                      <a:lnTo>
                        <a:pt x="3630" y="2048"/>
                      </a:lnTo>
                      <a:lnTo>
                        <a:pt x="3621" y="2049"/>
                      </a:lnTo>
                      <a:lnTo>
                        <a:pt x="3613" y="2052"/>
                      </a:lnTo>
                      <a:lnTo>
                        <a:pt x="3612" y="2054"/>
                      </a:lnTo>
                      <a:lnTo>
                        <a:pt x="3611" y="2056"/>
                      </a:lnTo>
                      <a:lnTo>
                        <a:pt x="3612" y="2060"/>
                      </a:lnTo>
                      <a:lnTo>
                        <a:pt x="3615" y="2064"/>
                      </a:lnTo>
                      <a:lnTo>
                        <a:pt x="3621" y="2075"/>
                      </a:lnTo>
                      <a:lnTo>
                        <a:pt x="3628" y="2092"/>
                      </a:lnTo>
                      <a:lnTo>
                        <a:pt x="3631" y="2100"/>
                      </a:lnTo>
                      <a:lnTo>
                        <a:pt x="3632" y="2108"/>
                      </a:lnTo>
                      <a:lnTo>
                        <a:pt x="3633" y="2115"/>
                      </a:lnTo>
                      <a:lnTo>
                        <a:pt x="3632" y="2121"/>
                      </a:lnTo>
                      <a:lnTo>
                        <a:pt x="3626" y="2126"/>
                      </a:lnTo>
                      <a:lnTo>
                        <a:pt x="3616" y="2131"/>
                      </a:lnTo>
                      <a:lnTo>
                        <a:pt x="3603" y="2135"/>
                      </a:lnTo>
                      <a:lnTo>
                        <a:pt x="3595" y="2139"/>
                      </a:lnTo>
                      <a:lnTo>
                        <a:pt x="3591" y="2139"/>
                      </a:lnTo>
                      <a:lnTo>
                        <a:pt x="3589" y="2138"/>
                      </a:lnTo>
                      <a:lnTo>
                        <a:pt x="3586" y="2135"/>
                      </a:lnTo>
                      <a:lnTo>
                        <a:pt x="3584" y="2131"/>
                      </a:lnTo>
                      <a:lnTo>
                        <a:pt x="3581" y="2118"/>
                      </a:lnTo>
                      <a:lnTo>
                        <a:pt x="3576" y="2102"/>
                      </a:lnTo>
                      <a:lnTo>
                        <a:pt x="3574" y="2095"/>
                      </a:lnTo>
                      <a:lnTo>
                        <a:pt x="3570" y="2087"/>
                      </a:lnTo>
                      <a:lnTo>
                        <a:pt x="3568" y="2080"/>
                      </a:lnTo>
                      <a:lnTo>
                        <a:pt x="3563" y="2073"/>
                      </a:lnTo>
                      <a:lnTo>
                        <a:pt x="3558" y="2068"/>
                      </a:lnTo>
                      <a:lnTo>
                        <a:pt x="3552" y="2064"/>
                      </a:lnTo>
                      <a:lnTo>
                        <a:pt x="3547" y="2061"/>
                      </a:lnTo>
                      <a:lnTo>
                        <a:pt x="3539" y="2060"/>
                      </a:lnTo>
                      <a:lnTo>
                        <a:pt x="3539" y="2065"/>
                      </a:lnTo>
                      <a:lnTo>
                        <a:pt x="3542" y="2068"/>
                      </a:lnTo>
                      <a:lnTo>
                        <a:pt x="3544" y="2073"/>
                      </a:lnTo>
                      <a:lnTo>
                        <a:pt x="3547" y="2078"/>
                      </a:lnTo>
                      <a:lnTo>
                        <a:pt x="3549" y="2082"/>
                      </a:lnTo>
                      <a:lnTo>
                        <a:pt x="3551" y="2087"/>
                      </a:lnTo>
                      <a:lnTo>
                        <a:pt x="3552" y="2092"/>
                      </a:lnTo>
                      <a:lnTo>
                        <a:pt x="3551" y="2098"/>
                      </a:lnTo>
                      <a:lnTo>
                        <a:pt x="3539" y="2115"/>
                      </a:lnTo>
                      <a:lnTo>
                        <a:pt x="3529" y="2132"/>
                      </a:lnTo>
                      <a:lnTo>
                        <a:pt x="3538" y="2132"/>
                      </a:lnTo>
                      <a:lnTo>
                        <a:pt x="3545" y="2134"/>
                      </a:lnTo>
                      <a:lnTo>
                        <a:pt x="3551" y="2137"/>
                      </a:lnTo>
                      <a:lnTo>
                        <a:pt x="3556" y="2140"/>
                      </a:lnTo>
                      <a:lnTo>
                        <a:pt x="3561" y="2145"/>
                      </a:lnTo>
                      <a:lnTo>
                        <a:pt x="3563" y="2151"/>
                      </a:lnTo>
                      <a:lnTo>
                        <a:pt x="3566" y="2158"/>
                      </a:lnTo>
                      <a:lnTo>
                        <a:pt x="3570" y="2166"/>
                      </a:lnTo>
                      <a:lnTo>
                        <a:pt x="3570" y="2168"/>
                      </a:lnTo>
                      <a:lnTo>
                        <a:pt x="3570" y="2170"/>
                      </a:lnTo>
                      <a:lnTo>
                        <a:pt x="3569" y="2172"/>
                      </a:lnTo>
                      <a:lnTo>
                        <a:pt x="3568" y="2174"/>
                      </a:lnTo>
                      <a:lnTo>
                        <a:pt x="3563" y="2178"/>
                      </a:lnTo>
                      <a:lnTo>
                        <a:pt x="3557" y="2181"/>
                      </a:lnTo>
                      <a:lnTo>
                        <a:pt x="3544" y="2189"/>
                      </a:lnTo>
                      <a:lnTo>
                        <a:pt x="3536" y="2196"/>
                      </a:lnTo>
                      <a:lnTo>
                        <a:pt x="3532" y="2201"/>
                      </a:lnTo>
                      <a:lnTo>
                        <a:pt x="3530" y="2210"/>
                      </a:lnTo>
                      <a:lnTo>
                        <a:pt x="3530" y="2217"/>
                      </a:lnTo>
                      <a:lnTo>
                        <a:pt x="3531" y="2226"/>
                      </a:lnTo>
                      <a:lnTo>
                        <a:pt x="3536" y="2243"/>
                      </a:lnTo>
                      <a:lnTo>
                        <a:pt x="3542" y="2257"/>
                      </a:lnTo>
                      <a:lnTo>
                        <a:pt x="3551" y="2267"/>
                      </a:lnTo>
                      <a:lnTo>
                        <a:pt x="3562" y="2279"/>
                      </a:lnTo>
                      <a:lnTo>
                        <a:pt x="3568" y="2285"/>
                      </a:lnTo>
                      <a:lnTo>
                        <a:pt x="3572" y="2291"/>
                      </a:lnTo>
                      <a:lnTo>
                        <a:pt x="3576" y="2298"/>
                      </a:lnTo>
                      <a:lnTo>
                        <a:pt x="3577" y="2306"/>
                      </a:lnTo>
                      <a:lnTo>
                        <a:pt x="3576" y="2308"/>
                      </a:lnTo>
                      <a:lnTo>
                        <a:pt x="3433" y="2308"/>
                      </a:lnTo>
                      <a:lnTo>
                        <a:pt x="3430" y="2310"/>
                      </a:lnTo>
                      <a:lnTo>
                        <a:pt x="3429" y="2313"/>
                      </a:lnTo>
                      <a:lnTo>
                        <a:pt x="3428" y="2319"/>
                      </a:lnTo>
                      <a:lnTo>
                        <a:pt x="3427" y="2325"/>
                      </a:lnTo>
                      <a:lnTo>
                        <a:pt x="3427" y="2339"/>
                      </a:lnTo>
                      <a:lnTo>
                        <a:pt x="3427" y="2349"/>
                      </a:lnTo>
                      <a:lnTo>
                        <a:pt x="3414" y="2432"/>
                      </a:lnTo>
                      <a:lnTo>
                        <a:pt x="3413" y="2441"/>
                      </a:lnTo>
                      <a:lnTo>
                        <a:pt x="3414" y="2447"/>
                      </a:lnTo>
                      <a:lnTo>
                        <a:pt x="3415" y="2448"/>
                      </a:lnTo>
                      <a:lnTo>
                        <a:pt x="3417" y="2449"/>
                      </a:lnTo>
                      <a:lnTo>
                        <a:pt x="3418" y="2450"/>
                      </a:lnTo>
                      <a:lnTo>
                        <a:pt x="3421" y="2450"/>
                      </a:lnTo>
                      <a:lnTo>
                        <a:pt x="3427" y="2448"/>
                      </a:lnTo>
                      <a:lnTo>
                        <a:pt x="3434" y="2444"/>
                      </a:lnTo>
                      <a:lnTo>
                        <a:pt x="3442" y="2440"/>
                      </a:lnTo>
                      <a:lnTo>
                        <a:pt x="3450" y="2435"/>
                      </a:lnTo>
                      <a:lnTo>
                        <a:pt x="3468" y="2422"/>
                      </a:lnTo>
                      <a:lnTo>
                        <a:pt x="3484" y="2411"/>
                      </a:lnTo>
                      <a:lnTo>
                        <a:pt x="3492" y="2407"/>
                      </a:lnTo>
                      <a:lnTo>
                        <a:pt x="3500" y="2403"/>
                      </a:lnTo>
                      <a:lnTo>
                        <a:pt x="3505" y="2402"/>
                      </a:lnTo>
                      <a:lnTo>
                        <a:pt x="3510" y="2403"/>
                      </a:lnTo>
                      <a:lnTo>
                        <a:pt x="3519" y="2407"/>
                      </a:lnTo>
                      <a:lnTo>
                        <a:pt x="3528" y="2411"/>
                      </a:lnTo>
                      <a:lnTo>
                        <a:pt x="3535" y="2415"/>
                      </a:lnTo>
                      <a:lnTo>
                        <a:pt x="3542" y="2421"/>
                      </a:lnTo>
                      <a:lnTo>
                        <a:pt x="3547" y="2425"/>
                      </a:lnTo>
                      <a:lnTo>
                        <a:pt x="3550" y="2431"/>
                      </a:lnTo>
                      <a:lnTo>
                        <a:pt x="3550" y="2435"/>
                      </a:lnTo>
                      <a:lnTo>
                        <a:pt x="3551" y="2440"/>
                      </a:lnTo>
                      <a:lnTo>
                        <a:pt x="3550" y="2443"/>
                      </a:lnTo>
                      <a:lnTo>
                        <a:pt x="3549" y="2447"/>
                      </a:lnTo>
                      <a:lnTo>
                        <a:pt x="3545" y="2448"/>
                      </a:lnTo>
                      <a:lnTo>
                        <a:pt x="3543" y="2449"/>
                      </a:lnTo>
                      <a:lnTo>
                        <a:pt x="3541" y="2450"/>
                      </a:lnTo>
                      <a:lnTo>
                        <a:pt x="3538" y="2453"/>
                      </a:lnTo>
                      <a:lnTo>
                        <a:pt x="3535" y="2458"/>
                      </a:lnTo>
                      <a:lnTo>
                        <a:pt x="3532" y="2465"/>
                      </a:lnTo>
                      <a:lnTo>
                        <a:pt x="3532" y="2471"/>
                      </a:lnTo>
                      <a:lnTo>
                        <a:pt x="3535" y="2476"/>
                      </a:lnTo>
                      <a:lnTo>
                        <a:pt x="3536" y="2477"/>
                      </a:lnTo>
                      <a:lnTo>
                        <a:pt x="3537" y="2477"/>
                      </a:lnTo>
                      <a:lnTo>
                        <a:pt x="3539" y="2477"/>
                      </a:lnTo>
                      <a:lnTo>
                        <a:pt x="3542" y="2476"/>
                      </a:lnTo>
                      <a:lnTo>
                        <a:pt x="3544" y="2475"/>
                      </a:lnTo>
                      <a:lnTo>
                        <a:pt x="3549" y="2474"/>
                      </a:lnTo>
                      <a:lnTo>
                        <a:pt x="3555" y="2475"/>
                      </a:lnTo>
                      <a:lnTo>
                        <a:pt x="3562" y="2475"/>
                      </a:lnTo>
                      <a:lnTo>
                        <a:pt x="3577" y="2478"/>
                      </a:lnTo>
                      <a:lnTo>
                        <a:pt x="3595" y="2483"/>
                      </a:lnTo>
                      <a:lnTo>
                        <a:pt x="3611" y="2488"/>
                      </a:lnTo>
                      <a:lnTo>
                        <a:pt x="3626" y="2494"/>
                      </a:lnTo>
                      <a:lnTo>
                        <a:pt x="3638" y="2498"/>
                      </a:lnTo>
                      <a:lnTo>
                        <a:pt x="3646" y="2503"/>
                      </a:lnTo>
                      <a:lnTo>
                        <a:pt x="3652" y="2509"/>
                      </a:lnTo>
                      <a:lnTo>
                        <a:pt x="3658" y="2513"/>
                      </a:lnTo>
                      <a:lnTo>
                        <a:pt x="3661" y="2516"/>
                      </a:lnTo>
                      <a:lnTo>
                        <a:pt x="3662" y="2519"/>
                      </a:lnTo>
                      <a:lnTo>
                        <a:pt x="3662" y="2522"/>
                      </a:lnTo>
                      <a:lnTo>
                        <a:pt x="3659" y="2527"/>
                      </a:lnTo>
                      <a:lnTo>
                        <a:pt x="3656" y="2531"/>
                      </a:lnTo>
                      <a:lnTo>
                        <a:pt x="3651" y="2540"/>
                      </a:lnTo>
                      <a:lnTo>
                        <a:pt x="3645" y="2547"/>
                      </a:lnTo>
                      <a:lnTo>
                        <a:pt x="3642" y="2554"/>
                      </a:lnTo>
                      <a:lnTo>
                        <a:pt x="3639" y="2561"/>
                      </a:lnTo>
                      <a:lnTo>
                        <a:pt x="3638" y="2568"/>
                      </a:lnTo>
                      <a:lnTo>
                        <a:pt x="3635" y="2583"/>
                      </a:lnTo>
                      <a:lnTo>
                        <a:pt x="3632" y="2600"/>
                      </a:lnTo>
                      <a:lnTo>
                        <a:pt x="3633" y="2620"/>
                      </a:lnTo>
                      <a:lnTo>
                        <a:pt x="3637" y="2641"/>
                      </a:lnTo>
                      <a:lnTo>
                        <a:pt x="3642" y="2662"/>
                      </a:lnTo>
                      <a:lnTo>
                        <a:pt x="3645" y="2681"/>
                      </a:lnTo>
                      <a:lnTo>
                        <a:pt x="3646" y="2692"/>
                      </a:lnTo>
                      <a:lnTo>
                        <a:pt x="3645" y="2702"/>
                      </a:lnTo>
                      <a:lnTo>
                        <a:pt x="3644" y="2712"/>
                      </a:lnTo>
                      <a:lnTo>
                        <a:pt x="3642" y="2721"/>
                      </a:lnTo>
                      <a:lnTo>
                        <a:pt x="3639" y="2730"/>
                      </a:lnTo>
                      <a:lnTo>
                        <a:pt x="3637" y="2739"/>
                      </a:lnTo>
                      <a:lnTo>
                        <a:pt x="3636" y="2748"/>
                      </a:lnTo>
                      <a:lnTo>
                        <a:pt x="3635" y="2759"/>
                      </a:lnTo>
                      <a:lnTo>
                        <a:pt x="3642" y="2761"/>
                      </a:lnTo>
                      <a:lnTo>
                        <a:pt x="3646" y="2764"/>
                      </a:lnTo>
                      <a:lnTo>
                        <a:pt x="3652" y="2767"/>
                      </a:lnTo>
                      <a:lnTo>
                        <a:pt x="3656" y="2771"/>
                      </a:lnTo>
                      <a:lnTo>
                        <a:pt x="3659" y="2775"/>
                      </a:lnTo>
                      <a:lnTo>
                        <a:pt x="3662" y="2779"/>
                      </a:lnTo>
                      <a:lnTo>
                        <a:pt x="3663" y="2785"/>
                      </a:lnTo>
                      <a:lnTo>
                        <a:pt x="3664" y="2790"/>
                      </a:lnTo>
                      <a:lnTo>
                        <a:pt x="3665" y="2800"/>
                      </a:lnTo>
                      <a:lnTo>
                        <a:pt x="3664" y="2812"/>
                      </a:lnTo>
                      <a:lnTo>
                        <a:pt x="3662" y="2824"/>
                      </a:lnTo>
                      <a:lnTo>
                        <a:pt x="3657" y="2837"/>
                      </a:lnTo>
                      <a:lnTo>
                        <a:pt x="3648" y="2863"/>
                      </a:lnTo>
                      <a:lnTo>
                        <a:pt x="3636" y="2889"/>
                      </a:lnTo>
                      <a:lnTo>
                        <a:pt x="3631" y="2900"/>
                      </a:lnTo>
                      <a:lnTo>
                        <a:pt x="3626" y="2912"/>
                      </a:lnTo>
                      <a:lnTo>
                        <a:pt x="3624" y="2923"/>
                      </a:lnTo>
                      <a:lnTo>
                        <a:pt x="3622" y="2932"/>
                      </a:lnTo>
                      <a:lnTo>
                        <a:pt x="3621" y="2950"/>
                      </a:lnTo>
                      <a:lnTo>
                        <a:pt x="3618" y="2971"/>
                      </a:lnTo>
                      <a:lnTo>
                        <a:pt x="3615" y="2992"/>
                      </a:lnTo>
                      <a:lnTo>
                        <a:pt x="3609" y="3015"/>
                      </a:lnTo>
                      <a:lnTo>
                        <a:pt x="3603" y="3037"/>
                      </a:lnTo>
                      <a:lnTo>
                        <a:pt x="3596" y="3057"/>
                      </a:lnTo>
                      <a:lnTo>
                        <a:pt x="3588" y="3076"/>
                      </a:lnTo>
                      <a:lnTo>
                        <a:pt x="3579" y="3091"/>
                      </a:lnTo>
                      <a:lnTo>
                        <a:pt x="3574" y="3098"/>
                      </a:lnTo>
                      <a:lnTo>
                        <a:pt x="3565" y="3106"/>
                      </a:lnTo>
                      <a:lnTo>
                        <a:pt x="3555" y="3114"/>
                      </a:lnTo>
                      <a:lnTo>
                        <a:pt x="3544" y="3120"/>
                      </a:lnTo>
                      <a:lnTo>
                        <a:pt x="3532" y="3126"/>
                      </a:lnTo>
                      <a:lnTo>
                        <a:pt x="3521" y="3129"/>
                      </a:lnTo>
                      <a:lnTo>
                        <a:pt x="3516" y="3129"/>
                      </a:lnTo>
                      <a:lnTo>
                        <a:pt x="3510" y="3129"/>
                      </a:lnTo>
                      <a:lnTo>
                        <a:pt x="3507" y="3128"/>
                      </a:lnTo>
                      <a:lnTo>
                        <a:pt x="3502" y="3126"/>
                      </a:lnTo>
                      <a:lnTo>
                        <a:pt x="3498" y="3121"/>
                      </a:lnTo>
                      <a:lnTo>
                        <a:pt x="3496" y="3117"/>
                      </a:lnTo>
                      <a:lnTo>
                        <a:pt x="3495" y="3113"/>
                      </a:lnTo>
                      <a:lnTo>
                        <a:pt x="3496" y="3108"/>
                      </a:lnTo>
                      <a:lnTo>
                        <a:pt x="3497" y="3103"/>
                      </a:lnTo>
                      <a:lnTo>
                        <a:pt x="3501" y="3098"/>
                      </a:lnTo>
                      <a:lnTo>
                        <a:pt x="3504" y="3094"/>
                      </a:lnTo>
                      <a:lnTo>
                        <a:pt x="3508" y="3089"/>
                      </a:lnTo>
                      <a:lnTo>
                        <a:pt x="3527" y="3072"/>
                      </a:lnTo>
                      <a:lnTo>
                        <a:pt x="3542" y="3060"/>
                      </a:lnTo>
                      <a:lnTo>
                        <a:pt x="3549" y="3051"/>
                      </a:lnTo>
                      <a:lnTo>
                        <a:pt x="3555" y="3044"/>
                      </a:lnTo>
                      <a:lnTo>
                        <a:pt x="3558" y="3036"/>
                      </a:lnTo>
                      <a:lnTo>
                        <a:pt x="3562" y="3027"/>
                      </a:lnTo>
                      <a:lnTo>
                        <a:pt x="3564" y="3018"/>
                      </a:lnTo>
                      <a:lnTo>
                        <a:pt x="3566" y="3009"/>
                      </a:lnTo>
                      <a:lnTo>
                        <a:pt x="3566" y="2998"/>
                      </a:lnTo>
                      <a:lnTo>
                        <a:pt x="3568" y="2988"/>
                      </a:lnTo>
                      <a:lnTo>
                        <a:pt x="3568" y="2981"/>
                      </a:lnTo>
                      <a:lnTo>
                        <a:pt x="3570" y="2972"/>
                      </a:lnTo>
                      <a:lnTo>
                        <a:pt x="3575" y="2965"/>
                      </a:lnTo>
                      <a:lnTo>
                        <a:pt x="3578" y="2957"/>
                      </a:lnTo>
                      <a:lnTo>
                        <a:pt x="3588" y="2942"/>
                      </a:lnTo>
                      <a:lnTo>
                        <a:pt x="3596" y="2929"/>
                      </a:lnTo>
                      <a:lnTo>
                        <a:pt x="3603" y="2910"/>
                      </a:lnTo>
                      <a:lnTo>
                        <a:pt x="3608" y="2891"/>
                      </a:lnTo>
                      <a:lnTo>
                        <a:pt x="3613" y="2872"/>
                      </a:lnTo>
                      <a:lnTo>
                        <a:pt x="3622" y="2852"/>
                      </a:lnTo>
                      <a:lnTo>
                        <a:pt x="3629" y="2836"/>
                      </a:lnTo>
                      <a:lnTo>
                        <a:pt x="3635" y="2821"/>
                      </a:lnTo>
                      <a:lnTo>
                        <a:pt x="3636" y="2814"/>
                      </a:lnTo>
                      <a:lnTo>
                        <a:pt x="3637" y="2806"/>
                      </a:lnTo>
                      <a:lnTo>
                        <a:pt x="3637" y="2798"/>
                      </a:lnTo>
                      <a:lnTo>
                        <a:pt x="3635" y="2790"/>
                      </a:lnTo>
                      <a:lnTo>
                        <a:pt x="3632" y="2790"/>
                      </a:lnTo>
                      <a:lnTo>
                        <a:pt x="3629" y="2791"/>
                      </a:lnTo>
                      <a:lnTo>
                        <a:pt x="3625" y="2793"/>
                      </a:lnTo>
                      <a:lnTo>
                        <a:pt x="3622" y="2797"/>
                      </a:lnTo>
                      <a:lnTo>
                        <a:pt x="3615" y="2807"/>
                      </a:lnTo>
                      <a:lnTo>
                        <a:pt x="3605" y="2819"/>
                      </a:lnTo>
                      <a:lnTo>
                        <a:pt x="3597" y="2832"/>
                      </a:lnTo>
                      <a:lnTo>
                        <a:pt x="3588" y="2843"/>
                      </a:lnTo>
                      <a:lnTo>
                        <a:pt x="3582" y="2849"/>
                      </a:lnTo>
                      <a:lnTo>
                        <a:pt x="3577" y="2852"/>
                      </a:lnTo>
                      <a:lnTo>
                        <a:pt x="3572" y="2856"/>
                      </a:lnTo>
                      <a:lnTo>
                        <a:pt x="3566" y="2857"/>
                      </a:lnTo>
                      <a:lnTo>
                        <a:pt x="3557" y="2858"/>
                      </a:lnTo>
                      <a:lnTo>
                        <a:pt x="3545" y="2857"/>
                      </a:lnTo>
                      <a:lnTo>
                        <a:pt x="3530" y="2854"/>
                      </a:lnTo>
                      <a:lnTo>
                        <a:pt x="3516" y="2851"/>
                      </a:lnTo>
                      <a:lnTo>
                        <a:pt x="3502" y="2846"/>
                      </a:lnTo>
                      <a:lnTo>
                        <a:pt x="3490" y="2840"/>
                      </a:lnTo>
                      <a:lnTo>
                        <a:pt x="3485" y="2837"/>
                      </a:lnTo>
                      <a:lnTo>
                        <a:pt x="3482" y="2832"/>
                      </a:lnTo>
                      <a:lnTo>
                        <a:pt x="3480" y="2829"/>
                      </a:lnTo>
                      <a:lnTo>
                        <a:pt x="3478" y="2824"/>
                      </a:lnTo>
                      <a:lnTo>
                        <a:pt x="3502" y="2826"/>
                      </a:lnTo>
                      <a:lnTo>
                        <a:pt x="3515" y="2826"/>
                      </a:lnTo>
                      <a:lnTo>
                        <a:pt x="3517" y="2826"/>
                      </a:lnTo>
                      <a:lnTo>
                        <a:pt x="3519" y="2825"/>
                      </a:lnTo>
                      <a:lnTo>
                        <a:pt x="3521" y="2823"/>
                      </a:lnTo>
                      <a:lnTo>
                        <a:pt x="3522" y="2819"/>
                      </a:lnTo>
                      <a:lnTo>
                        <a:pt x="3523" y="2810"/>
                      </a:lnTo>
                      <a:lnTo>
                        <a:pt x="3523" y="2797"/>
                      </a:lnTo>
                      <a:lnTo>
                        <a:pt x="3532" y="2793"/>
                      </a:lnTo>
                      <a:lnTo>
                        <a:pt x="3539" y="2791"/>
                      </a:lnTo>
                      <a:lnTo>
                        <a:pt x="3545" y="2788"/>
                      </a:lnTo>
                      <a:lnTo>
                        <a:pt x="3549" y="2786"/>
                      </a:lnTo>
                      <a:lnTo>
                        <a:pt x="3550" y="2784"/>
                      </a:lnTo>
                      <a:lnTo>
                        <a:pt x="3551" y="2781"/>
                      </a:lnTo>
                      <a:lnTo>
                        <a:pt x="3550" y="2779"/>
                      </a:lnTo>
                      <a:lnTo>
                        <a:pt x="3547" y="2777"/>
                      </a:lnTo>
                      <a:lnTo>
                        <a:pt x="3539" y="2774"/>
                      </a:lnTo>
                      <a:lnTo>
                        <a:pt x="3528" y="2773"/>
                      </a:lnTo>
                      <a:lnTo>
                        <a:pt x="3514" y="2773"/>
                      </a:lnTo>
                      <a:lnTo>
                        <a:pt x="3500" y="2775"/>
                      </a:lnTo>
                      <a:lnTo>
                        <a:pt x="3497" y="2786"/>
                      </a:lnTo>
                      <a:lnTo>
                        <a:pt x="3494" y="2796"/>
                      </a:lnTo>
                      <a:lnTo>
                        <a:pt x="3491" y="2803"/>
                      </a:lnTo>
                      <a:lnTo>
                        <a:pt x="3488" y="2810"/>
                      </a:lnTo>
                      <a:lnTo>
                        <a:pt x="3484" y="2814"/>
                      </a:lnTo>
                      <a:lnTo>
                        <a:pt x="3481" y="2818"/>
                      </a:lnTo>
                      <a:lnTo>
                        <a:pt x="3477" y="2821"/>
                      </a:lnTo>
                      <a:lnTo>
                        <a:pt x="3474" y="2824"/>
                      </a:lnTo>
                      <a:lnTo>
                        <a:pt x="3469" y="2825"/>
                      </a:lnTo>
                      <a:lnTo>
                        <a:pt x="3465" y="2825"/>
                      </a:lnTo>
                      <a:lnTo>
                        <a:pt x="3461" y="2824"/>
                      </a:lnTo>
                      <a:lnTo>
                        <a:pt x="3457" y="2823"/>
                      </a:lnTo>
                      <a:lnTo>
                        <a:pt x="3448" y="2818"/>
                      </a:lnTo>
                      <a:lnTo>
                        <a:pt x="3440" y="2811"/>
                      </a:lnTo>
                      <a:lnTo>
                        <a:pt x="3421" y="2793"/>
                      </a:lnTo>
                      <a:lnTo>
                        <a:pt x="3402" y="2772"/>
                      </a:lnTo>
                      <a:lnTo>
                        <a:pt x="3391" y="2763"/>
                      </a:lnTo>
                      <a:lnTo>
                        <a:pt x="3382" y="2753"/>
                      </a:lnTo>
                      <a:lnTo>
                        <a:pt x="3373" y="2745"/>
                      </a:lnTo>
                      <a:lnTo>
                        <a:pt x="3363" y="2739"/>
                      </a:lnTo>
                      <a:lnTo>
                        <a:pt x="3351" y="2735"/>
                      </a:lnTo>
                      <a:lnTo>
                        <a:pt x="3338" y="2733"/>
                      </a:lnTo>
                      <a:lnTo>
                        <a:pt x="3324" y="2732"/>
                      </a:lnTo>
                      <a:lnTo>
                        <a:pt x="3308" y="2732"/>
                      </a:lnTo>
                      <a:lnTo>
                        <a:pt x="3291" y="2733"/>
                      </a:lnTo>
                      <a:lnTo>
                        <a:pt x="3274" y="2735"/>
                      </a:lnTo>
                      <a:lnTo>
                        <a:pt x="3255" y="2739"/>
                      </a:lnTo>
                      <a:lnTo>
                        <a:pt x="3237" y="2742"/>
                      </a:lnTo>
                      <a:lnTo>
                        <a:pt x="3200" y="2752"/>
                      </a:lnTo>
                      <a:lnTo>
                        <a:pt x="3165" y="2761"/>
                      </a:lnTo>
                      <a:lnTo>
                        <a:pt x="3133" y="2771"/>
                      </a:lnTo>
                      <a:lnTo>
                        <a:pt x="3108" y="2778"/>
                      </a:lnTo>
                      <a:lnTo>
                        <a:pt x="3087" y="2777"/>
                      </a:lnTo>
                      <a:lnTo>
                        <a:pt x="3066" y="2777"/>
                      </a:lnTo>
                      <a:lnTo>
                        <a:pt x="3044" y="2779"/>
                      </a:lnTo>
                      <a:lnTo>
                        <a:pt x="3021" y="2783"/>
                      </a:lnTo>
                      <a:lnTo>
                        <a:pt x="2978" y="2791"/>
                      </a:lnTo>
                      <a:lnTo>
                        <a:pt x="2937" y="2799"/>
                      </a:lnTo>
                      <a:lnTo>
                        <a:pt x="2913" y="2804"/>
                      </a:lnTo>
                      <a:lnTo>
                        <a:pt x="2887" y="2811"/>
                      </a:lnTo>
                      <a:lnTo>
                        <a:pt x="2863" y="2818"/>
                      </a:lnTo>
                      <a:lnTo>
                        <a:pt x="2839" y="2827"/>
                      </a:lnTo>
                      <a:lnTo>
                        <a:pt x="2828" y="2831"/>
                      </a:lnTo>
                      <a:lnTo>
                        <a:pt x="2816" y="2836"/>
                      </a:lnTo>
                      <a:lnTo>
                        <a:pt x="2801" y="2838"/>
                      </a:lnTo>
                      <a:lnTo>
                        <a:pt x="2787" y="2841"/>
                      </a:lnTo>
                      <a:lnTo>
                        <a:pt x="2773" y="2845"/>
                      </a:lnTo>
                      <a:lnTo>
                        <a:pt x="2760" y="2850"/>
                      </a:lnTo>
                      <a:lnTo>
                        <a:pt x="2750" y="2854"/>
                      </a:lnTo>
                      <a:lnTo>
                        <a:pt x="2740" y="2860"/>
                      </a:lnTo>
                      <a:lnTo>
                        <a:pt x="2724" y="2864"/>
                      </a:lnTo>
                      <a:lnTo>
                        <a:pt x="2709" y="2869"/>
                      </a:lnTo>
                      <a:lnTo>
                        <a:pt x="2700" y="2871"/>
                      </a:lnTo>
                      <a:lnTo>
                        <a:pt x="2692" y="2873"/>
                      </a:lnTo>
                      <a:lnTo>
                        <a:pt x="2683" y="2874"/>
                      </a:lnTo>
                      <a:lnTo>
                        <a:pt x="2673" y="2876"/>
                      </a:lnTo>
                      <a:lnTo>
                        <a:pt x="2649" y="2874"/>
                      </a:lnTo>
                      <a:lnTo>
                        <a:pt x="2623" y="2872"/>
                      </a:lnTo>
                      <a:lnTo>
                        <a:pt x="2610" y="2871"/>
                      </a:lnTo>
                      <a:lnTo>
                        <a:pt x="2597" y="2870"/>
                      </a:lnTo>
                      <a:lnTo>
                        <a:pt x="2584" y="2870"/>
                      </a:lnTo>
                      <a:lnTo>
                        <a:pt x="2572" y="2871"/>
                      </a:lnTo>
                      <a:lnTo>
                        <a:pt x="2459" y="2882"/>
                      </a:lnTo>
                      <a:lnTo>
                        <a:pt x="2457" y="2885"/>
                      </a:lnTo>
                      <a:lnTo>
                        <a:pt x="2454" y="2887"/>
                      </a:lnTo>
                      <a:lnTo>
                        <a:pt x="2450" y="2890"/>
                      </a:lnTo>
                      <a:lnTo>
                        <a:pt x="2445" y="2892"/>
                      </a:lnTo>
                      <a:lnTo>
                        <a:pt x="2437" y="2893"/>
                      </a:lnTo>
                      <a:lnTo>
                        <a:pt x="2428" y="2895"/>
                      </a:lnTo>
                      <a:lnTo>
                        <a:pt x="2428" y="2893"/>
                      </a:lnTo>
                      <a:lnTo>
                        <a:pt x="2426" y="2892"/>
                      </a:lnTo>
                      <a:lnTo>
                        <a:pt x="2428" y="2883"/>
                      </a:lnTo>
                      <a:lnTo>
                        <a:pt x="2428" y="2874"/>
                      </a:lnTo>
                      <a:lnTo>
                        <a:pt x="2434" y="2874"/>
                      </a:lnTo>
                      <a:lnTo>
                        <a:pt x="2437" y="2873"/>
                      </a:lnTo>
                      <a:lnTo>
                        <a:pt x="2441" y="2871"/>
                      </a:lnTo>
                      <a:lnTo>
                        <a:pt x="2444" y="2869"/>
                      </a:lnTo>
                      <a:lnTo>
                        <a:pt x="2451" y="2865"/>
                      </a:lnTo>
                      <a:lnTo>
                        <a:pt x="2457" y="2862"/>
                      </a:lnTo>
                      <a:lnTo>
                        <a:pt x="2457" y="2859"/>
                      </a:lnTo>
                      <a:lnTo>
                        <a:pt x="2455" y="2858"/>
                      </a:lnTo>
                      <a:lnTo>
                        <a:pt x="2452" y="2854"/>
                      </a:lnTo>
                      <a:lnTo>
                        <a:pt x="2451" y="2850"/>
                      </a:lnTo>
                      <a:lnTo>
                        <a:pt x="2451" y="2844"/>
                      </a:lnTo>
                      <a:lnTo>
                        <a:pt x="2451" y="2834"/>
                      </a:lnTo>
                      <a:lnTo>
                        <a:pt x="2449" y="2829"/>
                      </a:lnTo>
                      <a:lnTo>
                        <a:pt x="2446" y="2827"/>
                      </a:lnTo>
                      <a:lnTo>
                        <a:pt x="2442" y="2831"/>
                      </a:lnTo>
                      <a:lnTo>
                        <a:pt x="2437" y="2836"/>
                      </a:lnTo>
                      <a:lnTo>
                        <a:pt x="2431" y="2841"/>
                      </a:lnTo>
                      <a:lnTo>
                        <a:pt x="2422" y="2854"/>
                      </a:lnTo>
                      <a:lnTo>
                        <a:pt x="2417" y="2864"/>
                      </a:lnTo>
                      <a:lnTo>
                        <a:pt x="2416" y="2876"/>
                      </a:lnTo>
                      <a:lnTo>
                        <a:pt x="2415" y="2892"/>
                      </a:lnTo>
                      <a:lnTo>
                        <a:pt x="2415" y="2900"/>
                      </a:lnTo>
                      <a:lnTo>
                        <a:pt x="2414" y="2909"/>
                      </a:lnTo>
                      <a:lnTo>
                        <a:pt x="2411" y="2913"/>
                      </a:lnTo>
                      <a:lnTo>
                        <a:pt x="2409" y="2917"/>
                      </a:lnTo>
                      <a:lnTo>
                        <a:pt x="2397" y="2922"/>
                      </a:lnTo>
                      <a:lnTo>
                        <a:pt x="2383" y="2925"/>
                      </a:lnTo>
                      <a:lnTo>
                        <a:pt x="2368" y="2929"/>
                      </a:lnTo>
                      <a:lnTo>
                        <a:pt x="2356" y="2932"/>
                      </a:lnTo>
                      <a:lnTo>
                        <a:pt x="2344" y="2937"/>
                      </a:lnTo>
                      <a:lnTo>
                        <a:pt x="2335" y="2943"/>
                      </a:lnTo>
                      <a:lnTo>
                        <a:pt x="2325" y="2951"/>
                      </a:lnTo>
                      <a:lnTo>
                        <a:pt x="2317" y="2959"/>
                      </a:lnTo>
                      <a:lnTo>
                        <a:pt x="2308" y="2966"/>
                      </a:lnTo>
                      <a:lnTo>
                        <a:pt x="2297" y="2973"/>
                      </a:lnTo>
                      <a:lnTo>
                        <a:pt x="2293" y="2977"/>
                      </a:lnTo>
                      <a:lnTo>
                        <a:pt x="2287" y="2979"/>
                      </a:lnTo>
                      <a:lnTo>
                        <a:pt x="2281" y="2982"/>
                      </a:lnTo>
                      <a:lnTo>
                        <a:pt x="2274" y="2984"/>
                      </a:lnTo>
                      <a:lnTo>
                        <a:pt x="2250" y="2989"/>
                      </a:lnTo>
                      <a:lnTo>
                        <a:pt x="2229" y="2996"/>
                      </a:lnTo>
                      <a:lnTo>
                        <a:pt x="2210" y="3004"/>
                      </a:lnTo>
                      <a:lnTo>
                        <a:pt x="2193" y="3014"/>
                      </a:lnTo>
                      <a:lnTo>
                        <a:pt x="2175" y="3025"/>
                      </a:lnTo>
                      <a:lnTo>
                        <a:pt x="2160" y="3039"/>
                      </a:lnTo>
                      <a:lnTo>
                        <a:pt x="2144" y="3055"/>
                      </a:lnTo>
                      <a:lnTo>
                        <a:pt x="2129" y="3072"/>
                      </a:lnTo>
                      <a:lnTo>
                        <a:pt x="2124" y="3078"/>
                      </a:lnTo>
                      <a:lnTo>
                        <a:pt x="2121" y="3087"/>
                      </a:lnTo>
                      <a:lnTo>
                        <a:pt x="2119" y="3094"/>
                      </a:lnTo>
                      <a:lnTo>
                        <a:pt x="2116" y="3101"/>
                      </a:lnTo>
                      <a:lnTo>
                        <a:pt x="2113" y="3116"/>
                      </a:lnTo>
                      <a:lnTo>
                        <a:pt x="2109" y="3129"/>
                      </a:lnTo>
                      <a:lnTo>
                        <a:pt x="2106" y="3135"/>
                      </a:lnTo>
                      <a:lnTo>
                        <a:pt x="2103" y="3141"/>
                      </a:lnTo>
                      <a:lnTo>
                        <a:pt x="2099" y="3144"/>
                      </a:lnTo>
                      <a:lnTo>
                        <a:pt x="2094" y="3148"/>
                      </a:lnTo>
                      <a:lnTo>
                        <a:pt x="2087" y="3150"/>
                      </a:lnTo>
                      <a:lnTo>
                        <a:pt x="2079" y="3150"/>
                      </a:lnTo>
                      <a:lnTo>
                        <a:pt x="2068" y="3149"/>
                      </a:lnTo>
                      <a:lnTo>
                        <a:pt x="2056" y="3147"/>
                      </a:lnTo>
                      <a:lnTo>
                        <a:pt x="2056" y="3111"/>
                      </a:lnTo>
                      <a:lnTo>
                        <a:pt x="2056" y="3081"/>
                      </a:lnTo>
                      <a:lnTo>
                        <a:pt x="2059" y="3067"/>
                      </a:lnTo>
                      <a:lnTo>
                        <a:pt x="2061" y="3051"/>
                      </a:lnTo>
                      <a:lnTo>
                        <a:pt x="2065" y="3035"/>
                      </a:lnTo>
                      <a:lnTo>
                        <a:pt x="2069" y="3017"/>
                      </a:lnTo>
                      <a:lnTo>
                        <a:pt x="2076" y="3018"/>
                      </a:lnTo>
                      <a:lnTo>
                        <a:pt x="2082" y="3022"/>
                      </a:lnTo>
                      <a:lnTo>
                        <a:pt x="2086" y="3022"/>
                      </a:lnTo>
                      <a:lnTo>
                        <a:pt x="2089" y="3023"/>
                      </a:lnTo>
                      <a:lnTo>
                        <a:pt x="2093" y="3023"/>
                      </a:lnTo>
                      <a:lnTo>
                        <a:pt x="2097" y="3022"/>
                      </a:lnTo>
                      <a:lnTo>
                        <a:pt x="2103" y="3019"/>
                      </a:lnTo>
                      <a:lnTo>
                        <a:pt x="2109" y="3016"/>
                      </a:lnTo>
                      <a:lnTo>
                        <a:pt x="2113" y="3012"/>
                      </a:lnTo>
                      <a:lnTo>
                        <a:pt x="2117" y="3008"/>
                      </a:lnTo>
                      <a:lnTo>
                        <a:pt x="2121" y="3004"/>
                      </a:lnTo>
                      <a:lnTo>
                        <a:pt x="2127" y="3002"/>
                      </a:lnTo>
                      <a:lnTo>
                        <a:pt x="2133" y="2999"/>
                      </a:lnTo>
                      <a:lnTo>
                        <a:pt x="2140" y="2998"/>
                      </a:lnTo>
                      <a:lnTo>
                        <a:pt x="2151" y="2997"/>
                      </a:lnTo>
                      <a:lnTo>
                        <a:pt x="2162" y="2996"/>
                      </a:lnTo>
                      <a:lnTo>
                        <a:pt x="2174" y="2995"/>
                      </a:lnTo>
                      <a:lnTo>
                        <a:pt x="2186" y="2994"/>
                      </a:lnTo>
                      <a:lnTo>
                        <a:pt x="2187" y="2988"/>
                      </a:lnTo>
                      <a:lnTo>
                        <a:pt x="2187" y="2981"/>
                      </a:lnTo>
                      <a:lnTo>
                        <a:pt x="2187" y="2973"/>
                      </a:lnTo>
                      <a:lnTo>
                        <a:pt x="2187" y="2968"/>
                      </a:lnTo>
                      <a:lnTo>
                        <a:pt x="2184" y="2953"/>
                      </a:lnTo>
                      <a:lnTo>
                        <a:pt x="2183" y="2940"/>
                      </a:lnTo>
                      <a:lnTo>
                        <a:pt x="2174" y="2942"/>
                      </a:lnTo>
                      <a:lnTo>
                        <a:pt x="2168" y="2944"/>
                      </a:lnTo>
                      <a:lnTo>
                        <a:pt x="2164" y="2944"/>
                      </a:lnTo>
                      <a:lnTo>
                        <a:pt x="2162" y="2942"/>
                      </a:lnTo>
                      <a:lnTo>
                        <a:pt x="2159" y="2938"/>
                      </a:lnTo>
                      <a:lnTo>
                        <a:pt x="2153" y="2931"/>
                      </a:lnTo>
                      <a:lnTo>
                        <a:pt x="2149" y="2926"/>
                      </a:lnTo>
                      <a:lnTo>
                        <a:pt x="2147" y="2924"/>
                      </a:lnTo>
                      <a:lnTo>
                        <a:pt x="2143" y="2922"/>
                      </a:lnTo>
                      <a:lnTo>
                        <a:pt x="2140" y="2919"/>
                      </a:lnTo>
                      <a:lnTo>
                        <a:pt x="2134" y="2918"/>
                      </a:lnTo>
                      <a:lnTo>
                        <a:pt x="2127" y="2918"/>
                      </a:lnTo>
                      <a:lnTo>
                        <a:pt x="2113" y="2920"/>
                      </a:lnTo>
                      <a:lnTo>
                        <a:pt x="2099" y="2919"/>
                      </a:lnTo>
                      <a:lnTo>
                        <a:pt x="2086" y="2916"/>
                      </a:lnTo>
                      <a:lnTo>
                        <a:pt x="2070" y="2910"/>
                      </a:lnTo>
                      <a:lnTo>
                        <a:pt x="2055" y="2904"/>
                      </a:lnTo>
                      <a:lnTo>
                        <a:pt x="2045" y="2902"/>
                      </a:lnTo>
                      <a:lnTo>
                        <a:pt x="2043" y="2910"/>
                      </a:lnTo>
                      <a:lnTo>
                        <a:pt x="2041" y="2915"/>
                      </a:lnTo>
                      <a:lnTo>
                        <a:pt x="2036" y="2919"/>
                      </a:lnTo>
                      <a:lnTo>
                        <a:pt x="2033" y="2922"/>
                      </a:lnTo>
                      <a:lnTo>
                        <a:pt x="2028" y="2925"/>
                      </a:lnTo>
                      <a:lnTo>
                        <a:pt x="2025" y="2930"/>
                      </a:lnTo>
                      <a:lnTo>
                        <a:pt x="2023" y="2936"/>
                      </a:lnTo>
                      <a:lnTo>
                        <a:pt x="2023" y="2945"/>
                      </a:lnTo>
                      <a:lnTo>
                        <a:pt x="2025" y="2952"/>
                      </a:lnTo>
                      <a:lnTo>
                        <a:pt x="2028" y="2959"/>
                      </a:lnTo>
                      <a:lnTo>
                        <a:pt x="2032" y="2965"/>
                      </a:lnTo>
                      <a:lnTo>
                        <a:pt x="2035" y="2971"/>
                      </a:lnTo>
                      <a:lnTo>
                        <a:pt x="2039" y="2977"/>
                      </a:lnTo>
                      <a:lnTo>
                        <a:pt x="2042" y="2983"/>
                      </a:lnTo>
                      <a:lnTo>
                        <a:pt x="2045" y="2990"/>
                      </a:lnTo>
                      <a:lnTo>
                        <a:pt x="2045" y="2998"/>
                      </a:lnTo>
                      <a:lnTo>
                        <a:pt x="2040" y="2998"/>
                      </a:lnTo>
                      <a:lnTo>
                        <a:pt x="2034" y="2996"/>
                      </a:lnTo>
                      <a:lnTo>
                        <a:pt x="2026" y="2992"/>
                      </a:lnTo>
                      <a:lnTo>
                        <a:pt x="2019" y="2988"/>
                      </a:lnTo>
                      <a:lnTo>
                        <a:pt x="2009" y="2984"/>
                      </a:lnTo>
                      <a:lnTo>
                        <a:pt x="2001" y="2979"/>
                      </a:lnTo>
                      <a:lnTo>
                        <a:pt x="1993" y="2977"/>
                      </a:lnTo>
                      <a:lnTo>
                        <a:pt x="1983" y="2976"/>
                      </a:lnTo>
                      <a:lnTo>
                        <a:pt x="1968" y="2976"/>
                      </a:lnTo>
                      <a:lnTo>
                        <a:pt x="1953" y="2978"/>
                      </a:lnTo>
                      <a:lnTo>
                        <a:pt x="1946" y="2979"/>
                      </a:lnTo>
                      <a:lnTo>
                        <a:pt x="1939" y="2983"/>
                      </a:lnTo>
                      <a:lnTo>
                        <a:pt x="1933" y="2986"/>
                      </a:lnTo>
                      <a:lnTo>
                        <a:pt x="1926" y="2992"/>
                      </a:lnTo>
                      <a:lnTo>
                        <a:pt x="1906" y="3003"/>
                      </a:lnTo>
                      <a:lnTo>
                        <a:pt x="1880" y="3017"/>
                      </a:lnTo>
                      <a:lnTo>
                        <a:pt x="1867" y="3024"/>
                      </a:lnTo>
                      <a:lnTo>
                        <a:pt x="1854" y="3030"/>
                      </a:lnTo>
                      <a:lnTo>
                        <a:pt x="1844" y="3035"/>
                      </a:lnTo>
                      <a:lnTo>
                        <a:pt x="1833" y="3036"/>
                      </a:lnTo>
                      <a:lnTo>
                        <a:pt x="1828" y="3034"/>
                      </a:lnTo>
                      <a:lnTo>
                        <a:pt x="1819" y="3029"/>
                      </a:lnTo>
                      <a:lnTo>
                        <a:pt x="1808" y="3022"/>
                      </a:lnTo>
                      <a:lnTo>
                        <a:pt x="1797" y="3012"/>
                      </a:lnTo>
                      <a:lnTo>
                        <a:pt x="1775" y="2995"/>
                      </a:lnTo>
                      <a:lnTo>
                        <a:pt x="1760" y="2983"/>
                      </a:lnTo>
                      <a:lnTo>
                        <a:pt x="1752" y="2978"/>
                      </a:lnTo>
                      <a:lnTo>
                        <a:pt x="1745" y="2975"/>
                      </a:lnTo>
                      <a:lnTo>
                        <a:pt x="1738" y="2971"/>
                      </a:lnTo>
                      <a:lnTo>
                        <a:pt x="1731" y="2969"/>
                      </a:lnTo>
                      <a:lnTo>
                        <a:pt x="1717" y="2965"/>
                      </a:lnTo>
                      <a:lnTo>
                        <a:pt x="1703" y="2964"/>
                      </a:lnTo>
                      <a:lnTo>
                        <a:pt x="1688" y="2965"/>
                      </a:lnTo>
                      <a:lnTo>
                        <a:pt x="1676" y="2969"/>
                      </a:lnTo>
                      <a:lnTo>
                        <a:pt x="1663" y="2973"/>
                      </a:lnTo>
                      <a:lnTo>
                        <a:pt x="1650" y="2979"/>
                      </a:lnTo>
                      <a:lnTo>
                        <a:pt x="1624" y="2992"/>
                      </a:lnTo>
                      <a:lnTo>
                        <a:pt x="1599" y="3008"/>
                      </a:lnTo>
                      <a:lnTo>
                        <a:pt x="1587" y="3015"/>
                      </a:lnTo>
                      <a:lnTo>
                        <a:pt x="1576" y="3022"/>
                      </a:lnTo>
                      <a:lnTo>
                        <a:pt x="1564" y="3028"/>
                      </a:lnTo>
                      <a:lnTo>
                        <a:pt x="1552" y="3032"/>
                      </a:lnTo>
                      <a:lnTo>
                        <a:pt x="1552" y="3034"/>
                      </a:lnTo>
                      <a:lnTo>
                        <a:pt x="1556" y="3036"/>
                      </a:lnTo>
                      <a:lnTo>
                        <a:pt x="1562" y="3039"/>
                      </a:lnTo>
                      <a:lnTo>
                        <a:pt x="1566" y="3044"/>
                      </a:lnTo>
                      <a:lnTo>
                        <a:pt x="1572" y="3051"/>
                      </a:lnTo>
                      <a:lnTo>
                        <a:pt x="1576" y="3058"/>
                      </a:lnTo>
                      <a:lnTo>
                        <a:pt x="1579" y="3065"/>
                      </a:lnTo>
                      <a:lnTo>
                        <a:pt x="1580" y="3068"/>
                      </a:lnTo>
                      <a:lnTo>
                        <a:pt x="1580" y="3071"/>
                      </a:lnTo>
                      <a:lnTo>
                        <a:pt x="1580" y="3074"/>
                      </a:lnTo>
                      <a:lnTo>
                        <a:pt x="1579" y="3077"/>
                      </a:lnTo>
                      <a:lnTo>
                        <a:pt x="1572" y="3087"/>
                      </a:lnTo>
                      <a:lnTo>
                        <a:pt x="1565" y="3096"/>
                      </a:lnTo>
                      <a:lnTo>
                        <a:pt x="1557" y="3104"/>
                      </a:lnTo>
                      <a:lnTo>
                        <a:pt x="1547" y="3113"/>
                      </a:lnTo>
                      <a:lnTo>
                        <a:pt x="1537" y="3121"/>
                      </a:lnTo>
                      <a:lnTo>
                        <a:pt x="1526" y="3128"/>
                      </a:lnTo>
                      <a:lnTo>
                        <a:pt x="1515" y="3135"/>
                      </a:lnTo>
                      <a:lnTo>
                        <a:pt x="1503" y="3141"/>
                      </a:lnTo>
                      <a:lnTo>
                        <a:pt x="1490" y="3146"/>
                      </a:lnTo>
                      <a:lnTo>
                        <a:pt x="1478" y="3150"/>
                      </a:lnTo>
                      <a:lnTo>
                        <a:pt x="1465" y="3154"/>
                      </a:lnTo>
                      <a:lnTo>
                        <a:pt x="1453" y="3156"/>
                      </a:lnTo>
                      <a:lnTo>
                        <a:pt x="1440" y="3157"/>
                      </a:lnTo>
                      <a:lnTo>
                        <a:pt x="1430" y="3157"/>
                      </a:lnTo>
                      <a:lnTo>
                        <a:pt x="1418" y="3157"/>
                      </a:lnTo>
                      <a:lnTo>
                        <a:pt x="1408" y="3155"/>
                      </a:lnTo>
                      <a:lnTo>
                        <a:pt x="1409" y="3148"/>
                      </a:lnTo>
                      <a:lnTo>
                        <a:pt x="1411" y="3141"/>
                      </a:lnTo>
                      <a:lnTo>
                        <a:pt x="1415" y="3134"/>
                      </a:lnTo>
                      <a:lnTo>
                        <a:pt x="1419" y="3127"/>
                      </a:lnTo>
                      <a:lnTo>
                        <a:pt x="1430" y="3111"/>
                      </a:lnTo>
                      <a:lnTo>
                        <a:pt x="1439" y="3097"/>
                      </a:lnTo>
                      <a:lnTo>
                        <a:pt x="1443" y="3091"/>
                      </a:lnTo>
                      <a:lnTo>
                        <a:pt x="1445" y="3087"/>
                      </a:lnTo>
                      <a:lnTo>
                        <a:pt x="1446" y="3082"/>
                      </a:lnTo>
                      <a:lnTo>
                        <a:pt x="1446" y="3078"/>
                      </a:lnTo>
                      <a:lnTo>
                        <a:pt x="1443" y="3076"/>
                      </a:lnTo>
                      <a:lnTo>
                        <a:pt x="1438" y="3074"/>
                      </a:lnTo>
                      <a:lnTo>
                        <a:pt x="1430" y="3075"/>
                      </a:lnTo>
                      <a:lnTo>
                        <a:pt x="1418" y="3076"/>
                      </a:lnTo>
                      <a:lnTo>
                        <a:pt x="1408" y="3077"/>
                      </a:lnTo>
                      <a:lnTo>
                        <a:pt x="1399" y="3076"/>
                      </a:lnTo>
                      <a:lnTo>
                        <a:pt x="1393" y="3075"/>
                      </a:lnTo>
                      <a:lnTo>
                        <a:pt x="1389" y="3074"/>
                      </a:lnTo>
                      <a:lnTo>
                        <a:pt x="1388" y="3074"/>
                      </a:lnTo>
                      <a:lnTo>
                        <a:pt x="1386" y="3075"/>
                      </a:lnTo>
                      <a:lnTo>
                        <a:pt x="1386" y="3076"/>
                      </a:lnTo>
                      <a:lnTo>
                        <a:pt x="1386" y="3078"/>
                      </a:lnTo>
                      <a:lnTo>
                        <a:pt x="1388" y="3085"/>
                      </a:lnTo>
                      <a:lnTo>
                        <a:pt x="1391" y="3100"/>
                      </a:lnTo>
                      <a:lnTo>
                        <a:pt x="1393" y="3114"/>
                      </a:lnTo>
                      <a:lnTo>
                        <a:pt x="1395" y="3128"/>
                      </a:lnTo>
                      <a:lnTo>
                        <a:pt x="1396" y="3143"/>
                      </a:lnTo>
                      <a:lnTo>
                        <a:pt x="1398" y="3157"/>
                      </a:lnTo>
                      <a:lnTo>
                        <a:pt x="1398" y="3159"/>
                      </a:lnTo>
                      <a:lnTo>
                        <a:pt x="1377" y="3159"/>
                      </a:lnTo>
                      <a:lnTo>
                        <a:pt x="1358" y="3161"/>
                      </a:lnTo>
                      <a:lnTo>
                        <a:pt x="1342" y="3164"/>
                      </a:lnTo>
                      <a:lnTo>
                        <a:pt x="1321" y="3168"/>
                      </a:lnTo>
                      <a:lnTo>
                        <a:pt x="1309" y="3169"/>
                      </a:lnTo>
                      <a:lnTo>
                        <a:pt x="1299" y="3169"/>
                      </a:lnTo>
                      <a:lnTo>
                        <a:pt x="1291" y="3168"/>
                      </a:lnTo>
                      <a:lnTo>
                        <a:pt x="1284" y="3167"/>
                      </a:lnTo>
                      <a:lnTo>
                        <a:pt x="1271" y="3162"/>
                      </a:lnTo>
                      <a:lnTo>
                        <a:pt x="1252" y="3156"/>
                      </a:lnTo>
                      <a:lnTo>
                        <a:pt x="1268" y="3151"/>
                      </a:lnTo>
                      <a:lnTo>
                        <a:pt x="1287" y="3146"/>
                      </a:lnTo>
                      <a:lnTo>
                        <a:pt x="1296" y="3139"/>
                      </a:lnTo>
                      <a:lnTo>
                        <a:pt x="1301" y="3133"/>
                      </a:lnTo>
                      <a:lnTo>
                        <a:pt x="1302" y="3128"/>
                      </a:lnTo>
                      <a:lnTo>
                        <a:pt x="1302" y="3123"/>
                      </a:lnTo>
                      <a:lnTo>
                        <a:pt x="1299" y="3118"/>
                      </a:lnTo>
                      <a:lnTo>
                        <a:pt x="1296" y="3113"/>
                      </a:lnTo>
                      <a:lnTo>
                        <a:pt x="1295" y="3106"/>
                      </a:lnTo>
                      <a:lnTo>
                        <a:pt x="1296" y="3096"/>
                      </a:lnTo>
                      <a:lnTo>
                        <a:pt x="1298" y="3090"/>
                      </a:lnTo>
                      <a:lnTo>
                        <a:pt x="1303" y="3082"/>
                      </a:lnTo>
                      <a:lnTo>
                        <a:pt x="1310" y="3071"/>
                      </a:lnTo>
                      <a:lnTo>
                        <a:pt x="1317" y="3061"/>
                      </a:lnTo>
                      <a:lnTo>
                        <a:pt x="1325" y="3050"/>
                      </a:lnTo>
                      <a:lnTo>
                        <a:pt x="1334" y="3041"/>
                      </a:lnTo>
                      <a:lnTo>
                        <a:pt x="1341" y="3034"/>
                      </a:lnTo>
                      <a:lnTo>
                        <a:pt x="1346" y="3030"/>
                      </a:lnTo>
                      <a:lnTo>
                        <a:pt x="1351" y="3028"/>
                      </a:lnTo>
                      <a:lnTo>
                        <a:pt x="1356" y="3027"/>
                      </a:lnTo>
                      <a:lnTo>
                        <a:pt x="1359" y="3027"/>
                      </a:lnTo>
                      <a:lnTo>
                        <a:pt x="1364" y="3028"/>
                      </a:lnTo>
                      <a:lnTo>
                        <a:pt x="1373" y="3031"/>
                      </a:lnTo>
                      <a:lnTo>
                        <a:pt x="1382" y="3035"/>
                      </a:lnTo>
                      <a:lnTo>
                        <a:pt x="1389" y="3035"/>
                      </a:lnTo>
                      <a:lnTo>
                        <a:pt x="1395" y="3034"/>
                      </a:lnTo>
                      <a:lnTo>
                        <a:pt x="1401" y="3029"/>
                      </a:lnTo>
                      <a:lnTo>
                        <a:pt x="1408" y="3024"/>
                      </a:lnTo>
                      <a:lnTo>
                        <a:pt x="1415" y="3019"/>
                      </a:lnTo>
                      <a:lnTo>
                        <a:pt x="1423" y="3016"/>
                      </a:lnTo>
                      <a:lnTo>
                        <a:pt x="1431" y="3012"/>
                      </a:lnTo>
                      <a:lnTo>
                        <a:pt x="1439" y="3011"/>
                      </a:lnTo>
                      <a:lnTo>
                        <a:pt x="1438" y="3008"/>
                      </a:lnTo>
                      <a:lnTo>
                        <a:pt x="1435" y="3004"/>
                      </a:lnTo>
                      <a:lnTo>
                        <a:pt x="1430" y="3001"/>
                      </a:lnTo>
                      <a:lnTo>
                        <a:pt x="1424" y="2997"/>
                      </a:lnTo>
                      <a:lnTo>
                        <a:pt x="1413" y="2991"/>
                      </a:lnTo>
                      <a:lnTo>
                        <a:pt x="1405" y="2985"/>
                      </a:lnTo>
                      <a:lnTo>
                        <a:pt x="1401" y="2977"/>
                      </a:lnTo>
                      <a:lnTo>
                        <a:pt x="1396" y="2969"/>
                      </a:lnTo>
                      <a:lnTo>
                        <a:pt x="1393" y="2964"/>
                      </a:lnTo>
                      <a:lnTo>
                        <a:pt x="1391" y="2962"/>
                      </a:lnTo>
                      <a:lnTo>
                        <a:pt x="1388" y="2959"/>
                      </a:lnTo>
                      <a:lnTo>
                        <a:pt x="1383" y="2958"/>
                      </a:lnTo>
                      <a:lnTo>
                        <a:pt x="1379" y="2971"/>
                      </a:lnTo>
                      <a:lnTo>
                        <a:pt x="1377" y="2982"/>
                      </a:lnTo>
                      <a:lnTo>
                        <a:pt x="1375" y="2989"/>
                      </a:lnTo>
                      <a:lnTo>
                        <a:pt x="1371" y="2995"/>
                      </a:lnTo>
                      <a:lnTo>
                        <a:pt x="1366" y="2999"/>
                      </a:lnTo>
                      <a:lnTo>
                        <a:pt x="1361" y="3005"/>
                      </a:lnTo>
                      <a:lnTo>
                        <a:pt x="1352" y="3010"/>
                      </a:lnTo>
                      <a:lnTo>
                        <a:pt x="1341" y="3017"/>
                      </a:lnTo>
                      <a:lnTo>
                        <a:pt x="1321" y="3032"/>
                      </a:lnTo>
                      <a:lnTo>
                        <a:pt x="1289" y="3056"/>
                      </a:lnTo>
                      <a:lnTo>
                        <a:pt x="1275" y="3069"/>
                      </a:lnTo>
                      <a:lnTo>
                        <a:pt x="1262" y="3081"/>
                      </a:lnTo>
                      <a:lnTo>
                        <a:pt x="1256" y="3085"/>
                      </a:lnTo>
                      <a:lnTo>
                        <a:pt x="1252" y="3090"/>
                      </a:lnTo>
                      <a:lnTo>
                        <a:pt x="1250" y="3094"/>
                      </a:lnTo>
                      <a:lnTo>
                        <a:pt x="1249" y="3096"/>
                      </a:lnTo>
                      <a:lnTo>
                        <a:pt x="1252" y="3108"/>
                      </a:lnTo>
                      <a:lnTo>
                        <a:pt x="1258" y="3121"/>
                      </a:lnTo>
                      <a:lnTo>
                        <a:pt x="1259" y="3127"/>
                      </a:lnTo>
                      <a:lnTo>
                        <a:pt x="1258" y="3133"/>
                      </a:lnTo>
                      <a:lnTo>
                        <a:pt x="1257" y="3135"/>
                      </a:lnTo>
                      <a:lnTo>
                        <a:pt x="1255" y="3137"/>
                      </a:lnTo>
                      <a:lnTo>
                        <a:pt x="1252" y="3140"/>
                      </a:lnTo>
                      <a:lnTo>
                        <a:pt x="1249" y="3141"/>
                      </a:lnTo>
                      <a:lnTo>
                        <a:pt x="1242" y="3144"/>
                      </a:lnTo>
                      <a:lnTo>
                        <a:pt x="1238" y="3148"/>
                      </a:lnTo>
                      <a:lnTo>
                        <a:pt x="1235" y="3153"/>
                      </a:lnTo>
                      <a:lnTo>
                        <a:pt x="1234" y="3159"/>
                      </a:lnTo>
                      <a:lnTo>
                        <a:pt x="1232" y="3167"/>
                      </a:lnTo>
                      <a:lnTo>
                        <a:pt x="1232" y="3172"/>
                      </a:lnTo>
                      <a:lnTo>
                        <a:pt x="1229" y="3179"/>
                      </a:lnTo>
                      <a:lnTo>
                        <a:pt x="1227" y="3188"/>
                      </a:lnTo>
                      <a:lnTo>
                        <a:pt x="1218" y="3202"/>
                      </a:lnTo>
                      <a:lnTo>
                        <a:pt x="1211" y="3216"/>
                      </a:lnTo>
                      <a:lnTo>
                        <a:pt x="1204" y="3232"/>
                      </a:lnTo>
                      <a:lnTo>
                        <a:pt x="1198" y="3246"/>
                      </a:lnTo>
                      <a:lnTo>
                        <a:pt x="1196" y="3256"/>
                      </a:lnTo>
                      <a:lnTo>
                        <a:pt x="1192" y="3267"/>
                      </a:lnTo>
                      <a:lnTo>
                        <a:pt x="1184" y="3275"/>
                      </a:lnTo>
                      <a:lnTo>
                        <a:pt x="1177" y="3282"/>
                      </a:lnTo>
                      <a:lnTo>
                        <a:pt x="1175" y="3282"/>
                      </a:lnTo>
                      <a:lnTo>
                        <a:pt x="1174" y="3285"/>
                      </a:lnTo>
                      <a:lnTo>
                        <a:pt x="1170" y="3286"/>
                      </a:lnTo>
                      <a:lnTo>
                        <a:pt x="1167" y="3286"/>
                      </a:lnTo>
                      <a:lnTo>
                        <a:pt x="1161" y="3286"/>
                      </a:lnTo>
                      <a:lnTo>
                        <a:pt x="1156" y="3285"/>
                      </a:lnTo>
                      <a:lnTo>
                        <a:pt x="1153" y="3283"/>
                      </a:lnTo>
                      <a:lnTo>
                        <a:pt x="1149" y="3281"/>
                      </a:lnTo>
                      <a:lnTo>
                        <a:pt x="1147" y="3279"/>
                      </a:lnTo>
                      <a:lnTo>
                        <a:pt x="1145" y="3267"/>
                      </a:lnTo>
                      <a:lnTo>
                        <a:pt x="1145" y="3253"/>
                      </a:lnTo>
                      <a:lnTo>
                        <a:pt x="1145" y="3239"/>
                      </a:lnTo>
                      <a:lnTo>
                        <a:pt x="1144" y="3226"/>
                      </a:lnTo>
                      <a:lnTo>
                        <a:pt x="1131" y="3226"/>
                      </a:lnTo>
                      <a:lnTo>
                        <a:pt x="1121" y="3226"/>
                      </a:lnTo>
                      <a:lnTo>
                        <a:pt x="1116" y="3225"/>
                      </a:lnTo>
                      <a:lnTo>
                        <a:pt x="1114" y="3221"/>
                      </a:lnTo>
                      <a:lnTo>
                        <a:pt x="1111" y="3215"/>
                      </a:lnTo>
                      <a:lnTo>
                        <a:pt x="1111" y="3207"/>
                      </a:lnTo>
                      <a:lnTo>
                        <a:pt x="1115" y="3196"/>
                      </a:lnTo>
                      <a:lnTo>
                        <a:pt x="1120" y="3184"/>
                      </a:lnTo>
                      <a:lnTo>
                        <a:pt x="1127" y="3173"/>
                      </a:lnTo>
                      <a:lnTo>
                        <a:pt x="1133" y="3163"/>
                      </a:lnTo>
                      <a:lnTo>
                        <a:pt x="1140" y="3150"/>
                      </a:lnTo>
                      <a:lnTo>
                        <a:pt x="1144" y="3140"/>
                      </a:lnTo>
                      <a:lnTo>
                        <a:pt x="1145" y="3129"/>
                      </a:lnTo>
                      <a:lnTo>
                        <a:pt x="1147" y="3114"/>
                      </a:lnTo>
                      <a:lnTo>
                        <a:pt x="1147" y="3109"/>
                      </a:lnTo>
                      <a:lnTo>
                        <a:pt x="1147" y="3107"/>
                      </a:lnTo>
                      <a:lnTo>
                        <a:pt x="1145" y="3104"/>
                      </a:lnTo>
                      <a:lnTo>
                        <a:pt x="1144" y="3104"/>
                      </a:lnTo>
                      <a:lnTo>
                        <a:pt x="1141" y="3106"/>
                      </a:lnTo>
                      <a:lnTo>
                        <a:pt x="1137" y="3110"/>
                      </a:lnTo>
                      <a:lnTo>
                        <a:pt x="1128" y="3122"/>
                      </a:lnTo>
                      <a:lnTo>
                        <a:pt x="1123" y="3133"/>
                      </a:lnTo>
                      <a:lnTo>
                        <a:pt x="1118" y="3146"/>
                      </a:lnTo>
                      <a:lnTo>
                        <a:pt x="1114" y="3159"/>
                      </a:lnTo>
                      <a:lnTo>
                        <a:pt x="1109" y="3172"/>
                      </a:lnTo>
                      <a:lnTo>
                        <a:pt x="1102" y="3184"/>
                      </a:lnTo>
                      <a:lnTo>
                        <a:pt x="1097" y="3200"/>
                      </a:lnTo>
                      <a:lnTo>
                        <a:pt x="1095" y="3214"/>
                      </a:lnTo>
                      <a:lnTo>
                        <a:pt x="1090" y="3232"/>
                      </a:lnTo>
                      <a:lnTo>
                        <a:pt x="1082" y="3249"/>
                      </a:lnTo>
                      <a:lnTo>
                        <a:pt x="1078" y="3258"/>
                      </a:lnTo>
                      <a:lnTo>
                        <a:pt x="1075" y="3267"/>
                      </a:lnTo>
                      <a:lnTo>
                        <a:pt x="1073" y="3275"/>
                      </a:lnTo>
                      <a:lnTo>
                        <a:pt x="1071" y="3283"/>
                      </a:lnTo>
                      <a:lnTo>
                        <a:pt x="1073" y="3287"/>
                      </a:lnTo>
                      <a:lnTo>
                        <a:pt x="1075" y="3288"/>
                      </a:lnTo>
                      <a:lnTo>
                        <a:pt x="1080" y="3289"/>
                      </a:lnTo>
                      <a:lnTo>
                        <a:pt x="1086" y="3289"/>
                      </a:lnTo>
                      <a:lnTo>
                        <a:pt x="1096" y="3289"/>
                      </a:lnTo>
                      <a:lnTo>
                        <a:pt x="1106" y="3288"/>
                      </a:lnTo>
                      <a:lnTo>
                        <a:pt x="1109" y="3289"/>
                      </a:lnTo>
                      <a:lnTo>
                        <a:pt x="1110" y="3291"/>
                      </a:lnTo>
                      <a:lnTo>
                        <a:pt x="1113" y="3293"/>
                      </a:lnTo>
                      <a:lnTo>
                        <a:pt x="1114" y="3295"/>
                      </a:lnTo>
                      <a:lnTo>
                        <a:pt x="1114" y="3302"/>
                      </a:lnTo>
                      <a:lnTo>
                        <a:pt x="1114" y="3311"/>
                      </a:lnTo>
                      <a:lnTo>
                        <a:pt x="1114" y="3318"/>
                      </a:lnTo>
                      <a:lnTo>
                        <a:pt x="1115" y="3325"/>
                      </a:lnTo>
                      <a:lnTo>
                        <a:pt x="1116" y="3328"/>
                      </a:lnTo>
                      <a:lnTo>
                        <a:pt x="1117" y="3331"/>
                      </a:lnTo>
                      <a:lnTo>
                        <a:pt x="1120" y="3332"/>
                      </a:lnTo>
                      <a:lnTo>
                        <a:pt x="1123" y="3333"/>
                      </a:lnTo>
                      <a:lnTo>
                        <a:pt x="1125" y="3333"/>
                      </a:lnTo>
                      <a:lnTo>
                        <a:pt x="1128" y="3332"/>
                      </a:lnTo>
                      <a:lnTo>
                        <a:pt x="1130" y="3331"/>
                      </a:lnTo>
                      <a:lnTo>
                        <a:pt x="1133" y="3328"/>
                      </a:lnTo>
                      <a:lnTo>
                        <a:pt x="1137" y="3322"/>
                      </a:lnTo>
                      <a:lnTo>
                        <a:pt x="1141" y="3315"/>
                      </a:lnTo>
                      <a:lnTo>
                        <a:pt x="1145" y="3308"/>
                      </a:lnTo>
                      <a:lnTo>
                        <a:pt x="1150" y="3302"/>
                      </a:lnTo>
                      <a:lnTo>
                        <a:pt x="1153" y="3299"/>
                      </a:lnTo>
                      <a:lnTo>
                        <a:pt x="1155" y="3298"/>
                      </a:lnTo>
                      <a:lnTo>
                        <a:pt x="1158" y="3296"/>
                      </a:lnTo>
                      <a:lnTo>
                        <a:pt x="1161" y="3295"/>
                      </a:lnTo>
                      <a:lnTo>
                        <a:pt x="1156" y="3309"/>
                      </a:lnTo>
                      <a:lnTo>
                        <a:pt x="1150" y="3322"/>
                      </a:lnTo>
                      <a:lnTo>
                        <a:pt x="1144" y="3337"/>
                      </a:lnTo>
                      <a:lnTo>
                        <a:pt x="1137" y="3351"/>
                      </a:lnTo>
                      <a:lnTo>
                        <a:pt x="1130" y="3360"/>
                      </a:lnTo>
                      <a:lnTo>
                        <a:pt x="1123" y="3370"/>
                      </a:lnTo>
                      <a:lnTo>
                        <a:pt x="1115" y="3380"/>
                      </a:lnTo>
                      <a:lnTo>
                        <a:pt x="1109" y="3390"/>
                      </a:lnTo>
                      <a:lnTo>
                        <a:pt x="1104" y="3397"/>
                      </a:lnTo>
                      <a:lnTo>
                        <a:pt x="1100" y="3404"/>
                      </a:lnTo>
                      <a:lnTo>
                        <a:pt x="1096" y="3410"/>
                      </a:lnTo>
                      <a:lnTo>
                        <a:pt x="1093" y="3414"/>
                      </a:lnTo>
                      <a:lnTo>
                        <a:pt x="1093" y="3415"/>
                      </a:lnTo>
                      <a:lnTo>
                        <a:pt x="1091" y="3417"/>
                      </a:lnTo>
                      <a:lnTo>
                        <a:pt x="1075" y="3438"/>
                      </a:lnTo>
                      <a:lnTo>
                        <a:pt x="1060" y="3459"/>
                      </a:lnTo>
                      <a:lnTo>
                        <a:pt x="1053" y="3470"/>
                      </a:lnTo>
                      <a:lnTo>
                        <a:pt x="1044" y="3479"/>
                      </a:lnTo>
                      <a:lnTo>
                        <a:pt x="1035" y="3489"/>
                      </a:lnTo>
                      <a:lnTo>
                        <a:pt x="1023" y="3497"/>
                      </a:lnTo>
                      <a:lnTo>
                        <a:pt x="1009" y="3504"/>
                      </a:lnTo>
                      <a:lnTo>
                        <a:pt x="996" y="3510"/>
                      </a:lnTo>
                      <a:lnTo>
                        <a:pt x="982" y="3513"/>
                      </a:lnTo>
                      <a:lnTo>
                        <a:pt x="968" y="3516"/>
                      </a:lnTo>
                      <a:lnTo>
                        <a:pt x="940" y="3518"/>
                      </a:lnTo>
                      <a:lnTo>
                        <a:pt x="909" y="3523"/>
                      </a:lnTo>
                      <a:lnTo>
                        <a:pt x="888" y="3525"/>
                      </a:lnTo>
                      <a:lnTo>
                        <a:pt x="858" y="3530"/>
                      </a:lnTo>
                      <a:lnTo>
                        <a:pt x="842" y="3532"/>
                      </a:lnTo>
                      <a:lnTo>
                        <a:pt x="829" y="3536"/>
                      </a:lnTo>
                      <a:lnTo>
                        <a:pt x="823" y="3538"/>
                      </a:lnTo>
                      <a:lnTo>
                        <a:pt x="819" y="3540"/>
                      </a:lnTo>
                      <a:lnTo>
                        <a:pt x="814" y="3543"/>
                      </a:lnTo>
                      <a:lnTo>
                        <a:pt x="812" y="3545"/>
                      </a:lnTo>
                      <a:lnTo>
                        <a:pt x="808" y="3545"/>
                      </a:lnTo>
                      <a:lnTo>
                        <a:pt x="807" y="3547"/>
                      </a:lnTo>
                      <a:lnTo>
                        <a:pt x="805" y="3549"/>
                      </a:lnTo>
                      <a:lnTo>
                        <a:pt x="801" y="3549"/>
                      </a:lnTo>
                      <a:lnTo>
                        <a:pt x="798" y="3546"/>
                      </a:lnTo>
                      <a:lnTo>
                        <a:pt x="795" y="3544"/>
                      </a:lnTo>
                      <a:lnTo>
                        <a:pt x="793" y="3542"/>
                      </a:lnTo>
                      <a:lnTo>
                        <a:pt x="791" y="3538"/>
                      </a:lnTo>
                      <a:lnTo>
                        <a:pt x="791" y="3533"/>
                      </a:lnTo>
                      <a:lnTo>
                        <a:pt x="807" y="3527"/>
                      </a:lnTo>
                      <a:lnTo>
                        <a:pt x="827" y="3524"/>
                      </a:lnTo>
                      <a:lnTo>
                        <a:pt x="836" y="3522"/>
                      </a:lnTo>
                      <a:lnTo>
                        <a:pt x="846" y="3518"/>
                      </a:lnTo>
                      <a:lnTo>
                        <a:pt x="854" y="3514"/>
                      </a:lnTo>
                      <a:lnTo>
                        <a:pt x="862" y="3511"/>
                      </a:lnTo>
                      <a:lnTo>
                        <a:pt x="860" y="3503"/>
                      </a:lnTo>
                      <a:lnTo>
                        <a:pt x="854" y="3493"/>
                      </a:lnTo>
                      <a:lnTo>
                        <a:pt x="849" y="3483"/>
                      </a:lnTo>
                      <a:lnTo>
                        <a:pt x="846" y="3473"/>
                      </a:lnTo>
                      <a:lnTo>
                        <a:pt x="846" y="3454"/>
                      </a:lnTo>
                      <a:lnTo>
                        <a:pt x="847" y="3432"/>
                      </a:lnTo>
                      <a:lnTo>
                        <a:pt x="846" y="3421"/>
                      </a:lnTo>
                      <a:lnTo>
                        <a:pt x="845" y="3412"/>
                      </a:lnTo>
                      <a:lnTo>
                        <a:pt x="842" y="3407"/>
                      </a:lnTo>
                      <a:lnTo>
                        <a:pt x="840" y="3404"/>
                      </a:lnTo>
                      <a:lnTo>
                        <a:pt x="838" y="3400"/>
                      </a:lnTo>
                      <a:lnTo>
                        <a:pt x="833" y="3398"/>
                      </a:lnTo>
                      <a:lnTo>
                        <a:pt x="831" y="3394"/>
                      </a:lnTo>
                      <a:lnTo>
                        <a:pt x="828" y="3388"/>
                      </a:lnTo>
                      <a:lnTo>
                        <a:pt x="826" y="3381"/>
                      </a:lnTo>
                      <a:lnTo>
                        <a:pt x="822" y="3372"/>
                      </a:lnTo>
                      <a:lnTo>
                        <a:pt x="820" y="3362"/>
                      </a:lnTo>
                      <a:lnTo>
                        <a:pt x="818" y="3354"/>
                      </a:lnTo>
                      <a:lnTo>
                        <a:pt x="814" y="3346"/>
                      </a:lnTo>
                      <a:lnTo>
                        <a:pt x="809" y="3340"/>
                      </a:lnTo>
                      <a:lnTo>
                        <a:pt x="806" y="3337"/>
                      </a:lnTo>
                      <a:lnTo>
                        <a:pt x="802" y="3335"/>
                      </a:lnTo>
                      <a:lnTo>
                        <a:pt x="800" y="3337"/>
                      </a:lnTo>
                      <a:lnTo>
                        <a:pt x="798" y="3340"/>
                      </a:lnTo>
                      <a:lnTo>
                        <a:pt x="793" y="3351"/>
                      </a:lnTo>
                      <a:lnTo>
                        <a:pt x="791" y="3365"/>
                      </a:lnTo>
                      <a:lnTo>
                        <a:pt x="788" y="3397"/>
                      </a:lnTo>
                      <a:lnTo>
                        <a:pt x="786" y="3418"/>
                      </a:lnTo>
                      <a:lnTo>
                        <a:pt x="782" y="3433"/>
                      </a:lnTo>
                      <a:lnTo>
                        <a:pt x="774" y="3457"/>
                      </a:lnTo>
                      <a:lnTo>
                        <a:pt x="769" y="3469"/>
                      </a:lnTo>
                      <a:lnTo>
                        <a:pt x="765" y="3478"/>
                      </a:lnTo>
                      <a:lnTo>
                        <a:pt x="762" y="3483"/>
                      </a:lnTo>
                      <a:lnTo>
                        <a:pt x="760" y="3486"/>
                      </a:lnTo>
                      <a:lnTo>
                        <a:pt x="758" y="3489"/>
                      </a:lnTo>
                      <a:lnTo>
                        <a:pt x="755" y="3490"/>
                      </a:lnTo>
                      <a:lnTo>
                        <a:pt x="751" y="3496"/>
                      </a:lnTo>
                      <a:lnTo>
                        <a:pt x="746" y="3502"/>
                      </a:lnTo>
                      <a:lnTo>
                        <a:pt x="746" y="3503"/>
                      </a:lnTo>
                      <a:lnTo>
                        <a:pt x="746" y="3504"/>
                      </a:lnTo>
                      <a:lnTo>
                        <a:pt x="745" y="3505"/>
                      </a:lnTo>
                      <a:lnTo>
                        <a:pt x="746" y="3506"/>
                      </a:lnTo>
                      <a:lnTo>
                        <a:pt x="749" y="3509"/>
                      </a:lnTo>
                      <a:lnTo>
                        <a:pt x="754" y="3510"/>
                      </a:lnTo>
                      <a:lnTo>
                        <a:pt x="760" y="3512"/>
                      </a:lnTo>
                      <a:lnTo>
                        <a:pt x="765" y="3513"/>
                      </a:lnTo>
                      <a:lnTo>
                        <a:pt x="768" y="3516"/>
                      </a:lnTo>
                      <a:lnTo>
                        <a:pt x="769" y="3518"/>
                      </a:lnTo>
                      <a:lnTo>
                        <a:pt x="773" y="3520"/>
                      </a:lnTo>
                      <a:lnTo>
                        <a:pt x="775" y="3526"/>
                      </a:lnTo>
                      <a:lnTo>
                        <a:pt x="778" y="3533"/>
                      </a:lnTo>
                      <a:lnTo>
                        <a:pt x="779" y="3540"/>
                      </a:lnTo>
                      <a:lnTo>
                        <a:pt x="779" y="3547"/>
                      </a:lnTo>
                      <a:lnTo>
                        <a:pt x="776" y="3552"/>
                      </a:lnTo>
                      <a:lnTo>
                        <a:pt x="775" y="3553"/>
                      </a:lnTo>
                      <a:lnTo>
                        <a:pt x="773" y="3553"/>
                      </a:lnTo>
                      <a:lnTo>
                        <a:pt x="771" y="3552"/>
                      </a:lnTo>
                      <a:lnTo>
                        <a:pt x="767" y="3550"/>
                      </a:lnTo>
                      <a:lnTo>
                        <a:pt x="755" y="3544"/>
                      </a:lnTo>
                      <a:lnTo>
                        <a:pt x="738" y="3537"/>
                      </a:lnTo>
                      <a:lnTo>
                        <a:pt x="719" y="3532"/>
                      </a:lnTo>
                      <a:lnTo>
                        <a:pt x="707" y="3530"/>
                      </a:lnTo>
                      <a:lnTo>
                        <a:pt x="705" y="3527"/>
                      </a:lnTo>
                      <a:lnTo>
                        <a:pt x="701" y="3527"/>
                      </a:lnTo>
                      <a:lnTo>
                        <a:pt x="698" y="3527"/>
                      </a:lnTo>
                      <a:lnTo>
                        <a:pt x="694" y="3527"/>
                      </a:lnTo>
                      <a:lnTo>
                        <a:pt x="693" y="3530"/>
                      </a:lnTo>
                      <a:lnTo>
                        <a:pt x="691" y="3531"/>
                      </a:lnTo>
                      <a:lnTo>
                        <a:pt x="651" y="3539"/>
                      </a:lnTo>
                      <a:lnTo>
                        <a:pt x="612" y="3547"/>
                      </a:lnTo>
                      <a:lnTo>
                        <a:pt x="572" y="3556"/>
                      </a:lnTo>
                      <a:lnTo>
                        <a:pt x="533" y="3563"/>
                      </a:lnTo>
                      <a:lnTo>
                        <a:pt x="493" y="3570"/>
                      </a:lnTo>
                      <a:lnTo>
                        <a:pt x="453" y="3576"/>
                      </a:lnTo>
                      <a:lnTo>
                        <a:pt x="413" y="3579"/>
                      </a:lnTo>
                      <a:lnTo>
                        <a:pt x="372" y="3583"/>
                      </a:lnTo>
                      <a:lnTo>
                        <a:pt x="352" y="3584"/>
                      </a:lnTo>
                      <a:lnTo>
                        <a:pt x="332" y="3588"/>
                      </a:lnTo>
                      <a:lnTo>
                        <a:pt x="313" y="3593"/>
                      </a:lnTo>
                      <a:lnTo>
                        <a:pt x="295" y="3599"/>
                      </a:lnTo>
                      <a:lnTo>
                        <a:pt x="278" y="3608"/>
                      </a:lnTo>
                      <a:lnTo>
                        <a:pt x="263" y="3617"/>
                      </a:lnTo>
                      <a:lnTo>
                        <a:pt x="248" y="3628"/>
                      </a:lnTo>
                      <a:lnTo>
                        <a:pt x="235" y="3641"/>
                      </a:lnTo>
                      <a:lnTo>
                        <a:pt x="222" y="3654"/>
                      </a:lnTo>
                      <a:lnTo>
                        <a:pt x="210" y="3668"/>
                      </a:lnTo>
                      <a:lnTo>
                        <a:pt x="199" y="3683"/>
                      </a:lnTo>
                      <a:lnTo>
                        <a:pt x="190" y="3700"/>
                      </a:lnTo>
                      <a:lnTo>
                        <a:pt x="182" y="3716"/>
                      </a:lnTo>
                      <a:lnTo>
                        <a:pt x="175" y="3734"/>
                      </a:lnTo>
                      <a:lnTo>
                        <a:pt x="168" y="3753"/>
                      </a:lnTo>
                      <a:lnTo>
                        <a:pt x="163" y="3773"/>
                      </a:lnTo>
                      <a:lnTo>
                        <a:pt x="149" y="3763"/>
                      </a:lnTo>
                      <a:lnTo>
                        <a:pt x="134" y="3754"/>
                      </a:lnTo>
                      <a:lnTo>
                        <a:pt x="118" y="3750"/>
                      </a:lnTo>
                      <a:lnTo>
                        <a:pt x="104" y="3748"/>
                      </a:lnTo>
                      <a:lnTo>
                        <a:pt x="98" y="3747"/>
                      </a:lnTo>
                      <a:lnTo>
                        <a:pt x="92" y="3743"/>
                      </a:lnTo>
                      <a:lnTo>
                        <a:pt x="88" y="3738"/>
                      </a:lnTo>
                      <a:lnTo>
                        <a:pt x="83" y="3730"/>
                      </a:lnTo>
                      <a:lnTo>
                        <a:pt x="80" y="3718"/>
                      </a:lnTo>
                      <a:lnTo>
                        <a:pt x="75" y="3703"/>
                      </a:lnTo>
                      <a:lnTo>
                        <a:pt x="71" y="3696"/>
                      </a:lnTo>
                      <a:lnTo>
                        <a:pt x="68" y="3690"/>
                      </a:lnTo>
                      <a:lnTo>
                        <a:pt x="65" y="3689"/>
                      </a:lnTo>
                      <a:lnTo>
                        <a:pt x="63" y="3687"/>
                      </a:lnTo>
                      <a:lnTo>
                        <a:pt x="61" y="3685"/>
                      </a:lnTo>
                      <a:lnTo>
                        <a:pt x="57" y="3685"/>
                      </a:lnTo>
                      <a:lnTo>
                        <a:pt x="49" y="3683"/>
                      </a:lnTo>
                      <a:lnTo>
                        <a:pt x="40" y="3681"/>
                      </a:lnTo>
                      <a:lnTo>
                        <a:pt x="35" y="3680"/>
                      </a:lnTo>
                      <a:lnTo>
                        <a:pt x="30" y="3678"/>
                      </a:lnTo>
                      <a:lnTo>
                        <a:pt x="25" y="3678"/>
                      </a:lnTo>
                      <a:lnTo>
                        <a:pt x="23" y="3680"/>
                      </a:lnTo>
                      <a:lnTo>
                        <a:pt x="22" y="3682"/>
                      </a:lnTo>
                      <a:lnTo>
                        <a:pt x="21" y="3684"/>
                      </a:lnTo>
                      <a:lnTo>
                        <a:pt x="21" y="3687"/>
                      </a:lnTo>
                      <a:lnTo>
                        <a:pt x="21" y="3689"/>
                      </a:lnTo>
                      <a:lnTo>
                        <a:pt x="22" y="3694"/>
                      </a:lnTo>
                      <a:lnTo>
                        <a:pt x="23" y="3698"/>
                      </a:lnTo>
                      <a:lnTo>
                        <a:pt x="23" y="3704"/>
                      </a:lnTo>
                      <a:lnTo>
                        <a:pt x="22" y="3710"/>
                      </a:lnTo>
                      <a:lnTo>
                        <a:pt x="21" y="3714"/>
                      </a:lnTo>
                      <a:lnTo>
                        <a:pt x="18" y="3717"/>
                      </a:lnTo>
                      <a:lnTo>
                        <a:pt x="15" y="3720"/>
                      </a:lnTo>
                      <a:lnTo>
                        <a:pt x="11" y="3723"/>
                      </a:lnTo>
                      <a:lnTo>
                        <a:pt x="9" y="3724"/>
                      </a:lnTo>
                      <a:lnTo>
                        <a:pt x="7" y="3723"/>
                      </a:lnTo>
                      <a:lnTo>
                        <a:pt x="5" y="3721"/>
                      </a:lnTo>
                      <a:lnTo>
                        <a:pt x="4" y="3717"/>
                      </a:lnTo>
                      <a:lnTo>
                        <a:pt x="2" y="3708"/>
                      </a:lnTo>
                      <a:lnTo>
                        <a:pt x="1" y="3696"/>
                      </a:lnTo>
                      <a:lnTo>
                        <a:pt x="0" y="3683"/>
                      </a:lnTo>
                      <a:lnTo>
                        <a:pt x="0" y="3671"/>
                      </a:lnTo>
                      <a:lnTo>
                        <a:pt x="1" y="3662"/>
                      </a:lnTo>
                      <a:lnTo>
                        <a:pt x="2" y="3656"/>
                      </a:lnTo>
                      <a:lnTo>
                        <a:pt x="14" y="3657"/>
                      </a:lnTo>
                      <a:lnTo>
                        <a:pt x="29" y="3662"/>
                      </a:lnTo>
                      <a:lnTo>
                        <a:pt x="45" y="3667"/>
                      </a:lnTo>
                      <a:lnTo>
                        <a:pt x="58" y="3671"/>
                      </a:lnTo>
                      <a:lnTo>
                        <a:pt x="64" y="3671"/>
                      </a:lnTo>
                      <a:lnTo>
                        <a:pt x="68" y="3671"/>
                      </a:lnTo>
                      <a:lnTo>
                        <a:pt x="71" y="3669"/>
                      </a:lnTo>
                      <a:lnTo>
                        <a:pt x="74" y="3665"/>
                      </a:lnTo>
                      <a:lnTo>
                        <a:pt x="78" y="3656"/>
                      </a:lnTo>
                      <a:lnTo>
                        <a:pt x="81" y="3644"/>
                      </a:lnTo>
                      <a:lnTo>
                        <a:pt x="83" y="3631"/>
                      </a:lnTo>
                      <a:lnTo>
                        <a:pt x="84" y="3621"/>
                      </a:lnTo>
                      <a:lnTo>
                        <a:pt x="87" y="3616"/>
                      </a:lnTo>
                      <a:lnTo>
                        <a:pt x="88" y="3612"/>
                      </a:lnTo>
                      <a:lnTo>
                        <a:pt x="90" y="3610"/>
                      </a:lnTo>
                      <a:lnTo>
                        <a:pt x="92" y="3608"/>
                      </a:lnTo>
                      <a:lnTo>
                        <a:pt x="95" y="3614"/>
                      </a:lnTo>
                      <a:lnTo>
                        <a:pt x="98" y="3618"/>
                      </a:lnTo>
                      <a:lnTo>
                        <a:pt x="103" y="3621"/>
                      </a:lnTo>
                      <a:lnTo>
                        <a:pt x="108" y="3623"/>
                      </a:lnTo>
                      <a:lnTo>
                        <a:pt x="112" y="3624"/>
                      </a:lnTo>
                      <a:lnTo>
                        <a:pt x="118" y="3624"/>
                      </a:lnTo>
                      <a:lnTo>
                        <a:pt x="124" y="3624"/>
                      </a:lnTo>
                      <a:lnTo>
                        <a:pt x="130" y="3623"/>
                      </a:lnTo>
                      <a:lnTo>
                        <a:pt x="136" y="3621"/>
                      </a:lnTo>
                      <a:lnTo>
                        <a:pt x="141" y="3618"/>
                      </a:lnTo>
                      <a:lnTo>
                        <a:pt x="145" y="3615"/>
                      </a:lnTo>
                      <a:lnTo>
                        <a:pt x="150" y="3612"/>
                      </a:lnTo>
                      <a:lnTo>
                        <a:pt x="154" y="3609"/>
                      </a:lnTo>
                      <a:lnTo>
                        <a:pt x="156" y="3604"/>
                      </a:lnTo>
                      <a:lnTo>
                        <a:pt x="158" y="3601"/>
                      </a:lnTo>
                      <a:lnTo>
                        <a:pt x="158" y="3596"/>
                      </a:lnTo>
                      <a:lnTo>
                        <a:pt x="149" y="3593"/>
                      </a:lnTo>
                      <a:lnTo>
                        <a:pt x="141" y="3591"/>
                      </a:lnTo>
                      <a:lnTo>
                        <a:pt x="136" y="3588"/>
                      </a:lnTo>
                      <a:lnTo>
                        <a:pt x="132" y="3585"/>
                      </a:lnTo>
                      <a:lnTo>
                        <a:pt x="131" y="3583"/>
                      </a:lnTo>
                      <a:lnTo>
                        <a:pt x="132" y="3579"/>
                      </a:lnTo>
                      <a:lnTo>
                        <a:pt x="134" y="3576"/>
                      </a:lnTo>
                      <a:lnTo>
                        <a:pt x="136" y="3573"/>
                      </a:lnTo>
                      <a:lnTo>
                        <a:pt x="143" y="3565"/>
                      </a:lnTo>
                      <a:lnTo>
                        <a:pt x="150" y="3557"/>
                      </a:lnTo>
                      <a:lnTo>
                        <a:pt x="154" y="3551"/>
                      </a:lnTo>
                      <a:lnTo>
                        <a:pt x="156" y="3545"/>
                      </a:lnTo>
                      <a:lnTo>
                        <a:pt x="158" y="3539"/>
                      </a:lnTo>
                      <a:lnTo>
                        <a:pt x="158" y="3532"/>
                      </a:lnTo>
                      <a:lnTo>
                        <a:pt x="158" y="3512"/>
                      </a:lnTo>
                      <a:lnTo>
                        <a:pt x="157" y="3491"/>
                      </a:lnTo>
                      <a:lnTo>
                        <a:pt x="156" y="3470"/>
                      </a:lnTo>
                      <a:lnTo>
                        <a:pt x="158" y="3450"/>
                      </a:lnTo>
                      <a:lnTo>
                        <a:pt x="159" y="3445"/>
                      </a:lnTo>
                      <a:lnTo>
                        <a:pt x="161" y="3441"/>
                      </a:lnTo>
                      <a:lnTo>
                        <a:pt x="163" y="3438"/>
                      </a:lnTo>
                      <a:lnTo>
                        <a:pt x="165" y="3436"/>
                      </a:lnTo>
                      <a:lnTo>
                        <a:pt x="170" y="3431"/>
                      </a:lnTo>
                      <a:lnTo>
                        <a:pt x="176" y="3427"/>
                      </a:lnTo>
                      <a:lnTo>
                        <a:pt x="183" y="3425"/>
                      </a:lnTo>
                      <a:lnTo>
                        <a:pt x="188" y="3421"/>
                      </a:lnTo>
                      <a:lnTo>
                        <a:pt x="192" y="3418"/>
                      </a:lnTo>
                      <a:lnTo>
                        <a:pt x="195" y="3413"/>
                      </a:lnTo>
                      <a:lnTo>
                        <a:pt x="198" y="3405"/>
                      </a:lnTo>
                      <a:lnTo>
                        <a:pt x="202" y="3398"/>
                      </a:lnTo>
                      <a:lnTo>
                        <a:pt x="206" y="3393"/>
                      </a:lnTo>
                      <a:lnTo>
                        <a:pt x="211" y="3388"/>
                      </a:lnTo>
                      <a:lnTo>
                        <a:pt x="216" y="3384"/>
                      </a:lnTo>
                      <a:lnTo>
                        <a:pt x="219" y="3378"/>
                      </a:lnTo>
                      <a:lnTo>
                        <a:pt x="222" y="3370"/>
                      </a:lnTo>
                      <a:lnTo>
                        <a:pt x="222" y="3358"/>
                      </a:lnTo>
                      <a:lnTo>
                        <a:pt x="221" y="3337"/>
                      </a:lnTo>
                      <a:lnTo>
                        <a:pt x="218" y="3311"/>
                      </a:lnTo>
                      <a:lnTo>
                        <a:pt x="216" y="3298"/>
                      </a:lnTo>
                      <a:lnTo>
                        <a:pt x="212" y="3286"/>
                      </a:lnTo>
                      <a:lnTo>
                        <a:pt x="208" y="3275"/>
                      </a:lnTo>
                      <a:lnTo>
                        <a:pt x="202" y="3267"/>
                      </a:lnTo>
                      <a:lnTo>
                        <a:pt x="201" y="3261"/>
                      </a:lnTo>
                      <a:lnTo>
                        <a:pt x="199" y="3255"/>
                      </a:lnTo>
                      <a:lnTo>
                        <a:pt x="197" y="3249"/>
                      </a:lnTo>
                      <a:lnTo>
                        <a:pt x="195" y="3243"/>
                      </a:lnTo>
                      <a:lnTo>
                        <a:pt x="189" y="3232"/>
                      </a:lnTo>
                      <a:lnTo>
                        <a:pt x="183" y="3220"/>
                      </a:lnTo>
                      <a:lnTo>
                        <a:pt x="176" y="3209"/>
                      </a:lnTo>
                      <a:lnTo>
                        <a:pt x="170" y="3197"/>
                      </a:lnTo>
                      <a:lnTo>
                        <a:pt x="169" y="3192"/>
                      </a:lnTo>
                      <a:lnTo>
                        <a:pt x="166" y="3186"/>
                      </a:lnTo>
                      <a:lnTo>
                        <a:pt x="165" y="3181"/>
                      </a:lnTo>
                      <a:lnTo>
                        <a:pt x="165" y="3175"/>
                      </a:lnTo>
                      <a:lnTo>
                        <a:pt x="189" y="3174"/>
                      </a:lnTo>
                      <a:lnTo>
                        <a:pt x="201" y="3174"/>
                      </a:lnTo>
                      <a:lnTo>
                        <a:pt x="202" y="3175"/>
                      </a:lnTo>
                      <a:lnTo>
                        <a:pt x="203" y="3176"/>
                      </a:lnTo>
                      <a:lnTo>
                        <a:pt x="204" y="3179"/>
                      </a:lnTo>
                      <a:lnTo>
                        <a:pt x="204" y="3181"/>
                      </a:lnTo>
                      <a:lnTo>
                        <a:pt x="204" y="3190"/>
                      </a:lnTo>
                      <a:lnTo>
                        <a:pt x="204" y="3202"/>
                      </a:lnTo>
                      <a:lnTo>
                        <a:pt x="204" y="3209"/>
                      </a:lnTo>
                      <a:lnTo>
                        <a:pt x="205" y="3214"/>
                      </a:lnTo>
                      <a:lnTo>
                        <a:pt x="206" y="3216"/>
                      </a:lnTo>
                      <a:lnTo>
                        <a:pt x="209" y="3216"/>
                      </a:lnTo>
                      <a:lnTo>
                        <a:pt x="214" y="3210"/>
                      </a:lnTo>
                      <a:lnTo>
                        <a:pt x="218" y="3200"/>
                      </a:lnTo>
                      <a:lnTo>
                        <a:pt x="223" y="3186"/>
                      </a:lnTo>
                      <a:lnTo>
                        <a:pt x="228" y="3170"/>
                      </a:lnTo>
                      <a:lnTo>
                        <a:pt x="231" y="3157"/>
                      </a:lnTo>
                      <a:lnTo>
                        <a:pt x="232" y="3149"/>
                      </a:lnTo>
                      <a:lnTo>
                        <a:pt x="221" y="3149"/>
                      </a:lnTo>
                      <a:lnTo>
                        <a:pt x="209" y="3151"/>
                      </a:lnTo>
                      <a:lnTo>
                        <a:pt x="198" y="3154"/>
                      </a:lnTo>
                      <a:lnTo>
                        <a:pt x="185" y="3154"/>
                      </a:lnTo>
                      <a:lnTo>
                        <a:pt x="177" y="3154"/>
                      </a:lnTo>
                      <a:lnTo>
                        <a:pt x="172" y="3153"/>
                      </a:lnTo>
                      <a:lnTo>
                        <a:pt x="170" y="3151"/>
                      </a:lnTo>
                      <a:lnTo>
                        <a:pt x="170" y="3149"/>
                      </a:lnTo>
                      <a:lnTo>
                        <a:pt x="175" y="3142"/>
                      </a:lnTo>
                      <a:lnTo>
                        <a:pt x="182" y="3133"/>
                      </a:lnTo>
                      <a:lnTo>
                        <a:pt x="188" y="3124"/>
                      </a:lnTo>
                      <a:lnTo>
                        <a:pt x="192" y="3116"/>
                      </a:lnTo>
                      <a:lnTo>
                        <a:pt x="197" y="3108"/>
                      </a:lnTo>
                      <a:lnTo>
                        <a:pt x="201" y="3100"/>
                      </a:lnTo>
                      <a:lnTo>
                        <a:pt x="208" y="3083"/>
                      </a:lnTo>
                      <a:lnTo>
                        <a:pt x="217" y="3067"/>
                      </a:lnTo>
                      <a:lnTo>
                        <a:pt x="221" y="3060"/>
                      </a:lnTo>
                      <a:lnTo>
                        <a:pt x="223" y="3052"/>
                      </a:lnTo>
                      <a:lnTo>
                        <a:pt x="223" y="3047"/>
                      </a:lnTo>
                      <a:lnTo>
                        <a:pt x="223" y="3039"/>
                      </a:lnTo>
                      <a:lnTo>
                        <a:pt x="219" y="3028"/>
                      </a:lnTo>
                      <a:lnTo>
                        <a:pt x="215" y="3017"/>
                      </a:lnTo>
                      <a:lnTo>
                        <a:pt x="209" y="3006"/>
                      </a:lnTo>
                      <a:lnTo>
                        <a:pt x="205" y="2997"/>
                      </a:lnTo>
                      <a:lnTo>
                        <a:pt x="204" y="2992"/>
                      </a:lnTo>
                      <a:lnTo>
                        <a:pt x="204" y="2989"/>
                      </a:lnTo>
                      <a:lnTo>
                        <a:pt x="206" y="2984"/>
                      </a:lnTo>
                      <a:lnTo>
                        <a:pt x="209" y="2981"/>
                      </a:lnTo>
                      <a:lnTo>
                        <a:pt x="211" y="2977"/>
                      </a:lnTo>
                      <a:lnTo>
                        <a:pt x="214" y="2971"/>
                      </a:lnTo>
                      <a:lnTo>
                        <a:pt x="216" y="2965"/>
                      </a:lnTo>
                      <a:lnTo>
                        <a:pt x="216" y="2958"/>
                      </a:lnTo>
                      <a:lnTo>
                        <a:pt x="216" y="2951"/>
                      </a:lnTo>
                      <a:lnTo>
                        <a:pt x="215" y="2945"/>
                      </a:lnTo>
                      <a:lnTo>
                        <a:pt x="215" y="2943"/>
                      </a:lnTo>
                      <a:lnTo>
                        <a:pt x="212" y="2942"/>
                      </a:lnTo>
                      <a:lnTo>
                        <a:pt x="211" y="2940"/>
                      </a:lnTo>
                      <a:lnTo>
                        <a:pt x="209" y="2940"/>
                      </a:lnTo>
                      <a:lnTo>
                        <a:pt x="204" y="2940"/>
                      </a:lnTo>
                      <a:lnTo>
                        <a:pt x="201" y="2943"/>
                      </a:lnTo>
                      <a:lnTo>
                        <a:pt x="196" y="2946"/>
                      </a:lnTo>
                      <a:lnTo>
                        <a:pt x="191" y="2950"/>
                      </a:lnTo>
                      <a:lnTo>
                        <a:pt x="186" y="2953"/>
                      </a:lnTo>
                      <a:lnTo>
                        <a:pt x="181" y="2956"/>
                      </a:lnTo>
                      <a:lnTo>
                        <a:pt x="176" y="2958"/>
                      </a:lnTo>
                      <a:lnTo>
                        <a:pt x="170" y="2959"/>
                      </a:lnTo>
                      <a:lnTo>
                        <a:pt x="172" y="2951"/>
                      </a:lnTo>
                      <a:lnTo>
                        <a:pt x="177" y="2942"/>
                      </a:lnTo>
                      <a:lnTo>
                        <a:pt x="178" y="2937"/>
                      </a:lnTo>
                      <a:lnTo>
                        <a:pt x="179" y="2931"/>
                      </a:lnTo>
                      <a:lnTo>
                        <a:pt x="181" y="2926"/>
                      </a:lnTo>
                      <a:lnTo>
                        <a:pt x="179" y="2922"/>
                      </a:lnTo>
                      <a:lnTo>
                        <a:pt x="179" y="2917"/>
                      </a:lnTo>
                      <a:lnTo>
                        <a:pt x="179" y="2913"/>
                      </a:lnTo>
                      <a:lnTo>
                        <a:pt x="179" y="2910"/>
                      </a:lnTo>
                      <a:lnTo>
                        <a:pt x="181" y="2907"/>
                      </a:lnTo>
                      <a:lnTo>
                        <a:pt x="184" y="2905"/>
                      </a:lnTo>
                      <a:lnTo>
                        <a:pt x="189" y="2903"/>
                      </a:lnTo>
                      <a:lnTo>
                        <a:pt x="202" y="2900"/>
                      </a:lnTo>
                      <a:lnTo>
                        <a:pt x="216" y="2896"/>
                      </a:lnTo>
                      <a:lnTo>
                        <a:pt x="237" y="2887"/>
                      </a:lnTo>
                      <a:lnTo>
                        <a:pt x="263" y="2878"/>
                      </a:lnTo>
                      <a:lnTo>
                        <a:pt x="277" y="2872"/>
                      </a:lnTo>
                      <a:lnTo>
                        <a:pt x="289" y="2867"/>
                      </a:lnTo>
                      <a:lnTo>
                        <a:pt x="298" y="2862"/>
                      </a:lnTo>
                      <a:lnTo>
                        <a:pt x="304" y="2854"/>
                      </a:lnTo>
                      <a:lnTo>
                        <a:pt x="310" y="2847"/>
                      </a:lnTo>
                      <a:lnTo>
                        <a:pt x="317" y="2840"/>
                      </a:lnTo>
                      <a:lnTo>
                        <a:pt x="324" y="2836"/>
                      </a:lnTo>
                      <a:lnTo>
                        <a:pt x="332" y="2831"/>
                      </a:lnTo>
                      <a:lnTo>
                        <a:pt x="336" y="2827"/>
                      </a:lnTo>
                      <a:lnTo>
                        <a:pt x="338" y="2823"/>
                      </a:lnTo>
                      <a:lnTo>
                        <a:pt x="339" y="2817"/>
                      </a:lnTo>
                      <a:lnTo>
                        <a:pt x="339" y="2811"/>
                      </a:lnTo>
                      <a:lnTo>
                        <a:pt x="337" y="2798"/>
                      </a:lnTo>
                      <a:lnTo>
                        <a:pt x="335" y="2787"/>
                      </a:lnTo>
                      <a:lnTo>
                        <a:pt x="326" y="2793"/>
                      </a:lnTo>
                      <a:lnTo>
                        <a:pt x="318" y="2801"/>
                      </a:lnTo>
                      <a:lnTo>
                        <a:pt x="313" y="2804"/>
                      </a:lnTo>
                      <a:lnTo>
                        <a:pt x="309" y="2805"/>
                      </a:lnTo>
                      <a:lnTo>
                        <a:pt x="305" y="2805"/>
                      </a:lnTo>
                      <a:lnTo>
                        <a:pt x="302" y="2804"/>
                      </a:lnTo>
                      <a:lnTo>
                        <a:pt x="298" y="2803"/>
                      </a:lnTo>
                      <a:lnTo>
                        <a:pt x="293" y="2800"/>
                      </a:lnTo>
                      <a:lnTo>
                        <a:pt x="289" y="2797"/>
                      </a:lnTo>
                      <a:lnTo>
                        <a:pt x="283" y="2794"/>
                      </a:lnTo>
                      <a:lnTo>
                        <a:pt x="278" y="2793"/>
                      </a:lnTo>
                      <a:lnTo>
                        <a:pt x="273" y="2792"/>
                      </a:lnTo>
                      <a:lnTo>
                        <a:pt x="270" y="2792"/>
                      </a:lnTo>
                      <a:lnTo>
                        <a:pt x="266" y="2793"/>
                      </a:lnTo>
                      <a:lnTo>
                        <a:pt x="263" y="2794"/>
                      </a:lnTo>
                      <a:lnTo>
                        <a:pt x="261" y="2796"/>
                      </a:lnTo>
                      <a:lnTo>
                        <a:pt x="255" y="2800"/>
                      </a:lnTo>
                      <a:lnTo>
                        <a:pt x="249" y="2805"/>
                      </a:lnTo>
                      <a:lnTo>
                        <a:pt x="242" y="2810"/>
                      </a:lnTo>
                      <a:lnTo>
                        <a:pt x="235" y="2813"/>
                      </a:lnTo>
                      <a:lnTo>
                        <a:pt x="228" y="2813"/>
                      </a:lnTo>
                      <a:lnTo>
                        <a:pt x="221" y="2812"/>
                      </a:lnTo>
                      <a:lnTo>
                        <a:pt x="214" y="2810"/>
                      </a:lnTo>
                      <a:lnTo>
                        <a:pt x="206" y="2806"/>
                      </a:lnTo>
                      <a:lnTo>
                        <a:pt x="191" y="2798"/>
                      </a:lnTo>
                      <a:lnTo>
                        <a:pt x="178" y="2791"/>
                      </a:lnTo>
                      <a:lnTo>
                        <a:pt x="175" y="2788"/>
                      </a:lnTo>
                      <a:lnTo>
                        <a:pt x="174" y="2785"/>
                      </a:lnTo>
                      <a:lnTo>
                        <a:pt x="174" y="2781"/>
                      </a:lnTo>
                      <a:lnTo>
                        <a:pt x="175" y="2777"/>
                      </a:lnTo>
                      <a:lnTo>
                        <a:pt x="177" y="2772"/>
                      </a:lnTo>
                      <a:lnTo>
                        <a:pt x="182" y="2766"/>
                      </a:lnTo>
                      <a:lnTo>
                        <a:pt x="186" y="2761"/>
                      </a:lnTo>
                      <a:lnTo>
                        <a:pt x="192" y="2757"/>
                      </a:lnTo>
                      <a:lnTo>
                        <a:pt x="198" y="2753"/>
                      </a:lnTo>
                      <a:lnTo>
                        <a:pt x="205" y="2750"/>
                      </a:lnTo>
                      <a:lnTo>
                        <a:pt x="212" y="2747"/>
                      </a:lnTo>
                      <a:lnTo>
                        <a:pt x="218" y="2745"/>
                      </a:lnTo>
                      <a:lnTo>
                        <a:pt x="225" y="2745"/>
                      </a:lnTo>
                      <a:lnTo>
                        <a:pt x="231" y="2746"/>
                      </a:lnTo>
                      <a:lnTo>
                        <a:pt x="237" y="2748"/>
                      </a:lnTo>
                      <a:lnTo>
                        <a:pt x="242" y="2752"/>
                      </a:lnTo>
                      <a:lnTo>
                        <a:pt x="249" y="2761"/>
                      </a:lnTo>
                      <a:lnTo>
                        <a:pt x="256" y="2770"/>
                      </a:lnTo>
                      <a:lnTo>
                        <a:pt x="261" y="2773"/>
                      </a:lnTo>
                      <a:lnTo>
                        <a:pt x="265" y="2777"/>
                      </a:lnTo>
                      <a:lnTo>
                        <a:pt x="270" y="2778"/>
                      </a:lnTo>
                      <a:lnTo>
                        <a:pt x="276" y="2779"/>
                      </a:lnTo>
                      <a:lnTo>
                        <a:pt x="280" y="2779"/>
                      </a:lnTo>
                      <a:lnTo>
                        <a:pt x="285" y="2778"/>
                      </a:lnTo>
                      <a:lnTo>
                        <a:pt x="288" y="2777"/>
                      </a:lnTo>
                      <a:lnTo>
                        <a:pt x="291" y="2775"/>
                      </a:lnTo>
                      <a:lnTo>
                        <a:pt x="295" y="2771"/>
                      </a:lnTo>
                      <a:lnTo>
                        <a:pt x="296" y="2765"/>
                      </a:lnTo>
                      <a:lnTo>
                        <a:pt x="295" y="2752"/>
                      </a:lnTo>
                      <a:lnTo>
                        <a:pt x="293" y="2738"/>
                      </a:lnTo>
                      <a:lnTo>
                        <a:pt x="310" y="2740"/>
                      </a:lnTo>
                      <a:lnTo>
                        <a:pt x="322" y="2742"/>
                      </a:lnTo>
                      <a:lnTo>
                        <a:pt x="328" y="2741"/>
                      </a:lnTo>
                      <a:lnTo>
                        <a:pt x="332" y="2738"/>
                      </a:lnTo>
                      <a:lnTo>
                        <a:pt x="338" y="2732"/>
                      </a:lnTo>
                      <a:lnTo>
                        <a:pt x="344" y="2721"/>
                      </a:lnTo>
                      <a:lnTo>
                        <a:pt x="349" y="2714"/>
                      </a:lnTo>
                      <a:lnTo>
                        <a:pt x="350" y="2709"/>
                      </a:lnTo>
                      <a:lnTo>
                        <a:pt x="350" y="2706"/>
                      </a:lnTo>
                      <a:lnTo>
                        <a:pt x="347" y="2704"/>
                      </a:lnTo>
                      <a:lnTo>
                        <a:pt x="338" y="2701"/>
                      </a:lnTo>
                      <a:lnTo>
                        <a:pt x="326" y="2697"/>
                      </a:lnTo>
                      <a:lnTo>
                        <a:pt x="324" y="2694"/>
                      </a:lnTo>
                      <a:lnTo>
                        <a:pt x="323" y="2691"/>
                      </a:lnTo>
                      <a:lnTo>
                        <a:pt x="323" y="2686"/>
                      </a:lnTo>
                      <a:lnTo>
                        <a:pt x="325" y="2681"/>
                      </a:lnTo>
                      <a:lnTo>
                        <a:pt x="330" y="2672"/>
                      </a:lnTo>
                      <a:lnTo>
                        <a:pt x="333" y="2664"/>
                      </a:lnTo>
                      <a:lnTo>
                        <a:pt x="333" y="2659"/>
                      </a:lnTo>
                      <a:lnTo>
                        <a:pt x="332" y="2652"/>
                      </a:lnTo>
                      <a:lnTo>
                        <a:pt x="331" y="2648"/>
                      </a:lnTo>
                      <a:lnTo>
                        <a:pt x="330" y="2646"/>
                      </a:lnTo>
                      <a:lnTo>
                        <a:pt x="329" y="2643"/>
                      </a:lnTo>
                      <a:lnTo>
                        <a:pt x="326" y="2643"/>
                      </a:lnTo>
                      <a:lnTo>
                        <a:pt x="323" y="2647"/>
                      </a:lnTo>
                      <a:lnTo>
                        <a:pt x="318" y="2656"/>
                      </a:lnTo>
                      <a:lnTo>
                        <a:pt x="316" y="2660"/>
                      </a:lnTo>
                      <a:lnTo>
                        <a:pt x="312" y="2665"/>
                      </a:lnTo>
                      <a:lnTo>
                        <a:pt x="309" y="2667"/>
                      </a:lnTo>
                      <a:lnTo>
                        <a:pt x="303" y="2668"/>
                      </a:lnTo>
                      <a:lnTo>
                        <a:pt x="288" y="2661"/>
                      </a:lnTo>
                      <a:lnTo>
                        <a:pt x="275" y="2653"/>
                      </a:lnTo>
                      <a:lnTo>
                        <a:pt x="273" y="2654"/>
                      </a:lnTo>
                      <a:lnTo>
                        <a:pt x="271" y="2655"/>
                      </a:lnTo>
                      <a:lnTo>
                        <a:pt x="271" y="2658"/>
                      </a:lnTo>
                      <a:lnTo>
                        <a:pt x="270" y="2660"/>
                      </a:lnTo>
                      <a:lnTo>
                        <a:pt x="269" y="2667"/>
                      </a:lnTo>
                      <a:lnTo>
                        <a:pt x="268" y="2675"/>
                      </a:lnTo>
                      <a:lnTo>
                        <a:pt x="268" y="2693"/>
                      </a:lnTo>
                      <a:lnTo>
                        <a:pt x="268" y="2705"/>
                      </a:lnTo>
                      <a:lnTo>
                        <a:pt x="265" y="2705"/>
                      </a:lnTo>
                      <a:lnTo>
                        <a:pt x="265" y="2698"/>
                      </a:lnTo>
                      <a:lnTo>
                        <a:pt x="262" y="2692"/>
                      </a:lnTo>
                      <a:lnTo>
                        <a:pt x="258" y="2687"/>
                      </a:lnTo>
                      <a:lnTo>
                        <a:pt x="252" y="2684"/>
                      </a:lnTo>
                      <a:lnTo>
                        <a:pt x="242" y="2676"/>
                      </a:lnTo>
                      <a:lnTo>
                        <a:pt x="232" y="2669"/>
                      </a:lnTo>
                      <a:lnTo>
                        <a:pt x="229" y="2667"/>
                      </a:lnTo>
                      <a:lnTo>
                        <a:pt x="228" y="2664"/>
                      </a:lnTo>
                      <a:lnTo>
                        <a:pt x="226" y="2660"/>
                      </a:lnTo>
                      <a:lnTo>
                        <a:pt x="226" y="2658"/>
                      </a:lnTo>
                      <a:lnTo>
                        <a:pt x="230" y="2653"/>
                      </a:lnTo>
                      <a:lnTo>
                        <a:pt x="236" y="2648"/>
                      </a:lnTo>
                      <a:lnTo>
                        <a:pt x="250" y="2641"/>
                      </a:lnTo>
                      <a:lnTo>
                        <a:pt x="265" y="2635"/>
                      </a:lnTo>
                      <a:lnTo>
                        <a:pt x="271" y="2633"/>
                      </a:lnTo>
                      <a:lnTo>
                        <a:pt x="279" y="2629"/>
                      </a:lnTo>
                      <a:lnTo>
                        <a:pt x="286" y="2626"/>
                      </a:lnTo>
                      <a:lnTo>
                        <a:pt x="290" y="2621"/>
                      </a:lnTo>
                      <a:lnTo>
                        <a:pt x="291" y="2614"/>
                      </a:lnTo>
                      <a:lnTo>
                        <a:pt x="289" y="2603"/>
                      </a:lnTo>
                      <a:lnTo>
                        <a:pt x="288" y="2598"/>
                      </a:lnTo>
                      <a:lnTo>
                        <a:pt x="286" y="2594"/>
                      </a:lnTo>
                      <a:lnTo>
                        <a:pt x="284" y="2590"/>
                      </a:lnTo>
                      <a:lnTo>
                        <a:pt x="282" y="2589"/>
                      </a:lnTo>
                      <a:lnTo>
                        <a:pt x="279" y="2594"/>
                      </a:lnTo>
                      <a:lnTo>
                        <a:pt x="276" y="2600"/>
                      </a:lnTo>
                      <a:lnTo>
                        <a:pt x="271" y="2605"/>
                      </a:lnTo>
                      <a:lnTo>
                        <a:pt x="266" y="2609"/>
                      </a:lnTo>
                      <a:lnTo>
                        <a:pt x="255" y="2618"/>
                      </a:lnTo>
                      <a:lnTo>
                        <a:pt x="244" y="2623"/>
                      </a:lnTo>
                      <a:lnTo>
                        <a:pt x="238" y="2627"/>
                      </a:lnTo>
                      <a:lnTo>
                        <a:pt x="232" y="2632"/>
                      </a:lnTo>
                      <a:lnTo>
                        <a:pt x="225" y="2638"/>
                      </a:lnTo>
                      <a:lnTo>
                        <a:pt x="218" y="2645"/>
                      </a:lnTo>
                      <a:lnTo>
                        <a:pt x="204" y="2660"/>
                      </a:lnTo>
                      <a:lnTo>
                        <a:pt x="192" y="2672"/>
                      </a:lnTo>
                      <a:lnTo>
                        <a:pt x="188" y="2674"/>
                      </a:lnTo>
                      <a:lnTo>
                        <a:pt x="179" y="2675"/>
                      </a:lnTo>
                      <a:lnTo>
                        <a:pt x="169" y="2676"/>
                      </a:lnTo>
                      <a:lnTo>
                        <a:pt x="156" y="2676"/>
                      </a:lnTo>
                      <a:lnTo>
                        <a:pt x="132" y="2678"/>
                      </a:lnTo>
                      <a:lnTo>
                        <a:pt x="116" y="2676"/>
                      </a:lnTo>
                      <a:lnTo>
                        <a:pt x="116" y="2674"/>
                      </a:lnTo>
                      <a:lnTo>
                        <a:pt x="117" y="2671"/>
                      </a:lnTo>
                      <a:lnTo>
                        <a:pt x="121" y="2667"/>
                      </a:lnTo>
                      <a:lnTo>
                        <a:pt x="124" y="2664"/>
                      </a:lnTo>
                      <a:lnTo>
                        <a:pt x="135" y="2654"/>
                      </a:lnTo>
                      <a:lnTo>
                        <a:pt x="147" y="2645"/>
                      </a:lnTo>
                      <a:lnTo>
                        <a:pt x="174" y="2626"/>
                      </a:lnTo>
                      <a:lnTo>
                        <a:pt x="191" y="2612"/>
                      </a:lnTo>
                      <a:lnTo>
                        <a:pt x="202" y="2599"/>
                      </a:lnTo>
                      <a:lnTo>
                        <a:pt x="209" y="2589"/>
                      </a:lnTo>
                      <a:lnTo>
                        <a:pt x="214" y="2586"/>
                      </a:lnTo>
                      <a:lnTo>
                        <a:pt x="218" y="2582"/>
                      </a:lnTo>
                      <a:lnTo>
                        <a:pt x="225" y="2580"/>
                      </a:lnTo>
                      <a:lnTo>
                        <a:pt x="235" y="2576"/>
                      </a:lnTo>
                      <a:lnTo>
                        <a:pt x="259" y="2570"/>
                      </a:lnTo>
                      <a:lnTo>
                        <a:pt x="286" y="2562"/>
                      </a:lnTo>
                      <a:lnTo>
                        <a:pt x="300" y="2557"/>
                      </a:lnTo>
                      <a:lnTo>
                        <a:pt x="312" y="2552"/>
                      </a:lnTo>
                      <a:lnTo>
                        <a:pt x="324" y="2546"/>
                      </a:lnTo>
                      <a:lnTo>
                        <a:pt x="335" y="2537"/>
                      </a:lnTo>
                      <a:lnTo>
                        <a:pt x="338" y="2535"/>
                      </a:lnTo>
                      <a:lnTo>
                        <a:pt x="342" y="2531"/>
                      </a:lnTo>
                      <a:lnTo>
                        <a:pt x="344" y="2527"/>
                      </a:lnTo>
                      <a:lnTo>
                        <a:pt x="346" y="2522"/>
                      </a:lnTo>
                      <a:lnTo>
                        <a:pt x="349" y="2513"/>
                      </a:lnTo>
                      <a:lnTo>
                        <a:pt x="351" y="2502"/>
                      </a:lnTo>
                      <a:lnTo>
                        <a:pt x="351" y="2480"/>
                      </a:lnTo>
                      <a:lnTo>
                        <a:pt x="351" y="2458"/>
                      </a:lnTo>
                      <a:lnTo>
                        <a:pt x="351" y="2458"/>
                      </a:lnTo>
                      <a:lnTo>
                        <a:pt x="347" y="2461"/>
                      </a:lnTo>
                      <a:lnTo>
                        <a:pt x="344" y="2467"/>
                      </a:lnTo>
                      <a:lnTo>
                        <a:pt x="339" y="2475"/>
                      </a:lnTo>
                      <a:lnTo>
                        <a:pt x="336" y="2484"/>
                      </a:lnTo>
                      <a:lnTo>
                        <a:pt x="326" y="2503"/>
                      </a:lnTo>
                      <a:lnTo>
                        <a:pt x="323" y="2515"/>
                      </a:lnTo>
                      <a:lnTo>
                        <a:pt x="319" y="2509"/>
                      </a:lnTo>
                      <a:lnTo>
                        <a:pt x="316" y="2496"/>
                      </a:lnTo>
                      <a:lnTo>
                        <a:pt x="312" y="2482"/>
                      </a:lnTo>
                      <a:lnTo>
                        <a:pt x="311" y="2473"/>
                      </a:lnTo>
                      <a:lnTo>
                        <a:pt x="311" y="2469"/>
                      </a:lnTo>
                      <a:lnTo>
                        <a:pt x="312" y="2465"/>
                      </a:lnTo>
                      <a:lnTo>
                        <a:pt x="315" y="2463"/>
                      </a:lnTo>
                      <a:lnTo>
                        <a:pt x="317" y="2461"/>
                      </a:lnTo>
                      <a:lnTo>
                        <a:pt x="323" y="2457"/>
                      </a:lnTo>
                      <a:lnTo>
                        <a:pt x="330" y="2454"/>
                      </a:lnTo>
                      <a:lnTo>
                        <a:pt x="337" y="2450"/>
                      </a:lnTo>
                      <a:lnTo>
                        <a:pt x="344" y="2445"/>
                      </a:lnTo>
                      <a:lnTo>
                        <a:pt x="346" y="2442"/>
                      </a:lnTo>
                      <a:lnTo>
                        <a:pt x="349" y="2438"/>
                      </a:lnTo>
                      <a:lnTo>
                        <a:pt x="350" y="2434"/>
                      </a:lnTo>
                      <a:lnTo>
                        <a:pt x="350" y="2429"/>
                      </a:lnTo>
                      <a:lnTo>
                        <a:pt x="349" y="2417"/>
                      </a:lnTo>
                      <a:lnTo>
                        <a:pt x="346" y="2407"/>
                      </a:lnTo>
                      <a:lnTo>
                        <a:pt x="342" y="2397"/>
                      </a:lnTo>
                      <a:lnTo>
                        <a:pt x="336" y="2389"/>
                      </a:lnTo>
                      <a:lnTo>
                        <a:pt x="332" y="2385"/>
                      </a:lnTo>
                      <a:lnTo>
                        <a:pt x="329" y="2383"/>
                      </a:lnTo>
                      <a:lnTo>
                        <a:pt x="324" y="2381"/>
                      </a:lnTo>
                      <a:lnTo>
                        <a:pt x="319" y="2379"/>
                      </a:lnTo>
                      <a:lnTo>
                        <a:pt x="315" y="2378"/>
                      </a:lnTo>
                      <a:lnTo>
                        <a:pt x="310" y="2378"/>
                      </a:lnTo>
                      <a:lnTo>
                        <a:pt x="304" y="2379"/>
                      </a:lnTo>
                      <a:lnTo>
                        <a:pt x="298" y="2382"/>
                      </a:lnTo>
                      <a:lnTo>
                        <a:pt x="292" y="2384"/>
                      </a:lnTo>
                      <a:lnTo>
                        <a:pt x="288" y="2388"/>
                      </a:lnTo>
                      <a:lnTo>
                        <a:pt x="284" y="2392"/>
                      </a:lnTo>
                      <a:lnTo>
                        <a:pt x="280" y="2397"/>
                      </a:lnTo>
                      <a:lnTo>
                        <a:pt x="277" y="2407"/>
                      </a:lnTo>
                      <a:lnTo>
                        <a:pt x="275" y="2418"/>
                      </a:lnTo>
                      <a:lnTo>
                        <a:pt x="272" y="2429"/>
                      </a:lnTo>
                      <a:lnTo>
                        <a:pt x="271" y="2441"/>
                      </a:lnTo>
                      <a:lnTo>
                        <a:pt x="269" y="2445"/>
                      </a:lnTo>
                      <a:lnTo>
                        <a:pt x="268" y="2449"/>
                      </a:lnTo>
                      <a:lnTo>
                        <a:pt x="264" y="2454"/>
                      </a:lnTo>
                      <a:lnTo>
                        <a:pt x="261" y="2456"/>
                      </a:lnTo>
                      <a:lnTo>
                        <a:pt x="252" y="2449"/>
                      </a:lnTo>
                      <a:lnTo>
                        <a:pt x="245" y="2440"/>
                      </a:lnTo>
                      <a:lnTo>
                        <a:pt x="243" y="2435"/>
                      </a:lnTo>
                      <a:lnTo>
                        <a:pt x="242" y="2429"/>
                      </a:lnTo>
                      <a:lnTo>
                        <a:pt x="242" y="2424"/>
                      </a:lnTo>
                      <a:lnTo>
                        <a:pt x="244" y="2420"/>
                      </a:lnTo>
                      <a:lnTo>
                        <a:pt x="251" y="2403"/>
                      </a:lnTo>
                      <a:lnTo>
                        <a:pt x="258" y="2387"/>
                      </a:lnTo>
                      <a:lnTo>
                        <a:pt x="263" y="2384"/>
                      </a:lnTo>
                      <a:lnTo>
                        <a:pt x="269" y="2381"/>
                      </a:lnTo>
                      <a:lnTo>
                        <a:pt x="275" y="2379"/>
                      </a:lnTo>
                      <a:lnTo>
                        <a:pt x="282" y="2377"/>
                      </a:lnTo>
                      <a:lnTo>
                        <a:pt x="288" y="2375"/>
                      </a:lnTo>
                      <a:lnTo>
                        <a:pt x="293" y="2371"/>
                      </a:lnTo>
                      <a:lnTo>
                        <a:pt x="298" y="2368"/>
                      </a:lnTo>
                      <a:lnTo>
                        <a:pt x="302" y="2362"/>
                      </a:lnTo>
                      <a:lnTo>
                        <a:pt x="304" y="2352"/>
                      </a:lnTo>
                      <a:lnTo>
                        <a:pt x="305" y="2341"/>
                      </a:lnTo>
                      <a:lnTo>
                        <a:pt x="306" y="2328"/>
                      </a:lnTo>
                      <a:lnTo>
                        <a:pt x="309" y="2317"/>
                      </a:lnTo>
                      <a:lnTo>
                        <a:pt x="312" y="2312"/>
                      </a:lnTo>
                      <a:lnTo>
                        <a:pt x="317" y="2306"/>
                      </a:lnTo>
                      <a:lnTo>
                        <a:pt x="309" y="2304"/>
                      </a:lnTo>
                      <a:lnTo>
                        <a:pt x="303" y="2302"/>
                      </a:lnTo>
                      <a:lnTo>
                        <a:pt x="299" y="2298"/>
                      </a:lnTo>
                      <a:lnTo>
                        <a:pt x="297" y="2295"/>
                      </a:lnTo>
                      <a:lnTo>
                        <a:pt x="296" y="2291"/>
                      </a:lnTo>
                      <a:lnTo>
                        <a:pt x="296" y="2288"/>
                      </a:lnTo>
                      <a:lnTo>
                        <a:pt x="297" y="2283"/>
                      </a:lnTo>
                      <a:lnTo>
                        <a:pt x="299" y="2279"/>
                      </a:lnTo>
                      <a:lnTo>
                        <a:pt x="311" y="2263"/>
                      </a:lnTo>
                      <a:lnTo>
                        <a:pt x="322" y="2247"/>
                      </a:lnTo>
                      <a:lnTo>
                        <a:pt x="323" y="2239"/>
                      </a:lnTo>
                      <a:lnTo>
                        <a:pt x="323" y="2232"/>
                      </a:lnTo>
                      <a:lnTo>
                        <a:pt x="320" y="2225"/>
                      </a:lnTo>
                      <a:lnTo>
                        <a:pt x="318" y="2218"/>
                      </a:lnTo>
                      <a:lnTo>
                        <a:pt x="317" y="2212"/>
                      </a:lnTo>
                      <a:lnTo>
                        <a:pt x="316" y="2205"/>
                      </a:lnTo>
                      <a:lnTo>
                        <a:pt x="317" y="2201"/>
                      </a:lnTo>
                      <a:lnTo>
                        <a:pt x="318" y="2198"/>
                      </a:lnTo>
                      <a:lnTo>
                        <a:pt x="320" y="2193"/>
                      </a:lnTo>
                      <a:lnTo>
                        <a:pt x="324" y="2189"/>
                      </a:lnTo>
                      <a:lnTo>
                        <a:pt x="331" y="2183"/>
                      </a:lnTo>
                      <a:lnTo>
                        <a:pt x="342" y="2177"/>
                      </a:lnTo>
                      <a:lnTo>
                        <a:pt x="353" y="2172"/>
                      </a:lnTo>
                      <a:lnTo>
                        <a:pt x="363" y="2170"/>
                      </a:lnTo>
                      <a:lnTo>
                        <a:pt x="372" y="2171"/>
                      </a:lnTo>
                      <a:lnTo>
                        <a:pt x="376" y="2172"/>
                      </a:lnTo>
                      <a:lnTo>
                        <a:pt x="379" y="2171"/>
                      </a:lnTo>
                      <a:lnTo>
                        <a:pt x="385" y="2164"/>
                      </a:lnTo>
                      <a:lnTo>
                        <a:pt x="390" y="2158"/>
                      </a:lnTo>
                      <a:lnTo>
                        <a:pt x="396" y="2152"/>
                      </a:lnTo>
                      <a:lnTo>
                        <a:pt x="399" y="2145"/>
                      </a:lnTo>
                      <a:lnTo>
                        <a:pt x="404" y="2138"/>
                      </a:lnTo>
                      <a:lnTo>
                        <a:pt x="405" y="2130"/>
                      </a:lnTo>
                      <a:lnTo>
                        <a:pt x="405" y="2123"/>
                      </a:lnTo>
                      <a:lnTo>
                        <a:pt x="405" y="2118"/>
                      </a:lnTo>
                      <a:lnTo>
                        <a:pt x="403" y="2114"/>
                      </a:lnTo>
                      <a:lnTo>
                        <a:pt x="400" y="2111"/>
                      </a:lnTo>
                      <a:lnTo>
                        <a:pt x="398" y="2107"/>
                      </a:lnTo>
                      <a:lnTo>
                        <a:pt x="398" y="2107"/>
                      </a:lnTo>
                      <a:close/>
                    </a:path>
                  </a:pathLst>
                </a:custGeom>
                <a:solidFill>
                  <a:srgbClr val="FF7F7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15">
                  <a:extLst>
                    <a:ext uri="{FF2B5EF4-FFF2-40B4-BE49-F238E27FC236}">
                      <a16:creationId xmlns:a16="http://schemas.microsoft.com/office/drawing/2014/main" id="{56C2EA4B-F792-4A05-A667-63EA92B94DA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90000" y="4781482"/>
                  <a:ext cx="398327" cy="231848"/>
                </a:xfrm>
                <a:custGeom>
                  <a:avLst/>
                  <a:gdLst>
                    <a:gd name="T0" fmla="*/ 397 w 1735"/>
                    <a:gd name="T1" fmla="*/ 730 h 1010"/>
                    <a:gd name="T2" fmla="*/ 422 w 1735"/>
                    <a:gd name="T3" fmla="*/ 712 h 1010"/>
                    <a:gd name="T4" fmla="*/ 471 w 1735"/>
                    <a:gd name="T5" fmla="*/ 747 h 1010"/>
                    <a:gd name="T6" fmla="*/ 534 w 1735"/>
                    <a:gd name="T7" fmla="*/ 776 h 1010"/>
                    <a:gd name="T8" fmla="*/ 598 w 1735"/>
                    <a:gd name="T9" fmla="*/ 710 h 1010"/>
                    <a:gd name="T10" fmla="*/ 578 w 1735"/>
                    <a:gd name="T11" fmla="*/ 671 h 1010"/>
                    <a:gd name="T12" fmla="*/ 516 w 1735"/>
                    <a:gd name="T13" fmla="*/ 678 h 1010"/>
                    <a:gd name="T14" fmla="*/ 567 w 1735"/>
                    <a:gd name="T15" fmla="*/ 631 h 1010"/>
                    <a:gd name="T16" fmla="*/ 598 w 1735"/>
                    <a:gd name="T17" fmla="*/ 633 h 1010"/>
                    <a:gd name="T18" fmla="*/ 715 w 1735"/>
                    <a:gd name="T19" fmla="*/ 654 h 1010"/>
                    <a:gd name="T20" fmla="*/ 1021 w 1735"/>
                    <a:gd name="T21" fmla="*/ 628 h 1010"/>
                    <a:gd name="T22" fmla="*/ 1090 w 1735"/>
                    <a:gd name="T23" fmla="*/ 672 h 1010"/>
                    <a:gd name="T24" fmla="*/ 1071 w 1735"/>
                    <a:gd name="T25" fmla="*/ 727 h 1010"/>
                    <a:gd name="T26" fmla="*/ 1120 w 1735"/>
                    <a:gd name="T27" fmla="*/ 746 h 1010"/>
                    <a:gd name="T28" fmla="*/ 1198 w 1735"/>
                    <a:gd name="T29" fmla="*/ 677 h 1010"/>
                    <a:gd name="T30" fmla="*/ 1216 w 1735"/>
                    <a:gd name="T31" fmla="*/ 646 h 1010"/>
                    <a:gd name="T32" fmla="*/ 1340 w 1735"/>
                    <a:gd name="T33" fmla="*/ 620 h 1010"/>
                    <a:gd name="T34" fmla="*/ 1408 w 1735"/>
                    <a:gd name="T35" fmla="*/ 571 h 1010"/>
                    <a:gd name="T36" fmla="*/ 1383 w 1735"/>
                    <a:gd name="T37" fmla="*/ 506 h 1010"/>
                    <a:gd name="T38" fmla="*/ 1483 w 1735"/>
                    <a:gd name="T39" fmla="*/ 481 h 1010"/>
                    <a:gd name="T40" fmla="*/ 1536 w 1735"/>
                    <a:gd name="T41" fmla="*/ 407 h 1010"/>
                    <a:gd name="T42" fmla="*/ 1501 w 1735"/>
                    <a:gd name="T43" fmla="*/ 338 h 1010"/>
                    <a:gd name="T44" fmla="*/ 1435 w 1735"/>
                    <a:gd name="T45" fmla="*/ 314 h 1010"/>
                    <a:gd name="T46" fmla="*/ 1393 w 1735"/>
                    <a:gd name="T47" fmla="*/ 395 h 1010"/>
                    <a:gd name="T48" fmla="*/ 1366 w 1735"/>
                    <a:gd name="T49" fmla="*/ 429 h 1010"/>
                    <a:gd name="T50" fmla="*/ 1328 w 1735"/>
                    <a:gd name="T51" fmla="*/ 457 h 1010"/>
                    <a:gd name="T52" fmla="*/ 1312 w 1735"/>
                    <a:gd name="T53" fmla="*/ 505 h 1010"/>
                    <a:gd name="T54" fmla="*/ 1279 w 1735"/>
                    <a:gd name="T55" fmla="*/ 528 h 1010"/>
                    <a:gd name="T56" fmla="*/ 1220 w 1735"/>
                    <a:gd name="T57" fmla="*/ 574 h 1010"/>
                    <a:gd name="T58" fmla="*/ 1208 w 1735"/>
                    <a:gd name="T59" fmla="*/ 607 h 1010"/>
                    <a:gd name="T60" fmla="*/ 1157 w 1735"/>
                    <a:gd name="T61" fmla="*/ 618 h 1010"/>
                    <a:gd name="T62" fmla="*/ 1106 w 1735"/>
                    <a:gd name="T63" fmla="*/ 640 h 1010"/>
                    <a:gd name="T64" fmla="*/ 1164 w 1735"/>
                    <a:gd name="T65" fmla="*/ 580 h 1010"/>
                    <a:gd name="T66" fmla="*/ 1328 w 1735"/>
                    <a:gd name="T67" fmla="*/ 424 h 1010"/>
                    <a:gd name="T68" fmla="*/ 1407 w 1735"/>
                    <a:gd name="T69" fmla="*/ 287 h 1010"/>
                    <a:gd name="T70" fmla="*/ 1423 w 1735"/>
                    <a:gd name="T71" fmla="*/ 166 h 1010"/>
                    <a:gd name="T72" fmla="*/ 1379 w 1735"/>
                    <a:gd name="T73" fmla="*/ 103 h 1010"/>
                    <a:gd name="T74" fmla="*/ 1319 w 1735"/>
                    <a:gd name="T75" fmla="*/ 71 h 1010"/>
                    <a:gd name="T76" fmla="*/ 1283 w 1735"/>
                    <a:gd name="T77" fmla="*/ 4 h 1010"/>
                    <a:gd name="T78" fmla="*/ 1339 w 1735"/>
                    <a:gd name="T79" fmla="*/ 43 h 1010"/>
                    <a:gd name="T80" fmla="*/ 1528 w 1735"/>
                    <a:gd name="T81" fmla="*/ 330 h 1010"/>
                    <a:gd name="T82" fmla="*/ 1641 w 1735"/>
                    <a:gd name="T83" fmla="*/ 534 h 1010"/>
                    <a:gd name="T84" fmla="*/ 1708 w 1735"/>
                    <a:gd name="T85" fmla="*/ 686 h 1010"/>
                    <a:gd name="T86" fmla="*/ 1734 w 1735"/>
                    <a:gd name="T87" fmla="*/ 804 h 1010"/>
                    <a:gd name="T88" fmla="*/ 1701 w 1735"/>
                    <a:gd name="T89" fmla="*/ 932 h 1010"/>
                    <a:gd name="T90" fmla="*/ 1671 w 1735"/>
                    <a:gd name="T91" fmla="*/ 963 h 1010"/>
                    <a:gd name="T92" fmla="*/ 1600 w 1735"/>
                    <a:gd name="T93" fmla="*/ 1000 h 1010"/>
                    <a:gd name="T94" fmla="*/ 1342 w 1735"/>
                    <a:gd name="T95" fmla="*/ 997 h 1010"/>
                    <a:gd name="T96" fmla="*/ 1080 w 1735"/>
                    <a:gd name="T97" fmla="*/ 990 h 1010"/>
                    <a:gd name="T98" fmla="*/ 992 w 1735"/>
                    <a:gd name="T99" fmla="*/ 1000 h 1010"/>
                    <a:gd name="T100" fmla="*/ 190 w 1735"/>
                    <a:gd name="T101" fmla="*/ 532 h 1010"/>
                    <a:gd name="T102" fmla="*/ 155 w 1735"/>
                    <a:gd name="T103" fmla="*/ 540 h 1010"/>
                    <a:gd name="T104" fmla="*/ 219 w 1735"/>
                    <a:gd name="T105" fmla="*/ 622 h 1010"/>
                    <a:gd name="T106" fmla="*/ 314 w 1735"/>
                    <a:gd name="T107" fmla="*/ 683 h 1010"/>
                    <a:gd name="T108" fmla="*/ 336 w 1735"/>
                    <a:gd name="T109" fmla="*/ 687 h 1010"/>
                    <a:gd name="T110" fmla="*/ 335 w 1735"/>
                    <a:gd name="T111" fmla="*/ 655 h 1010"/>
                    <a:gd name="T112" fmla="*/ 353 w 1735"/>
                    <a:gd name="T113" fmla="*/ 600 h 1010"/>
                    <a:gd name="T114" fmla="*/ 85 w 1735"/>
                    <a:gd name="T115" fmla="*/ 353 h 1010"/>
                    <a:gd name="T116" fmla="*/ 2 w 1735"/>
                    <a:gd name="T117" fmla="*/ 363 h 1010"/>
                    <a:gd name="T118" fmla="*/ 49 w 1735"/>
                    <a:gd name="T119" fmla="*/ 397 h 1010"/>
                    <a:gd name="T120" fmla="*/ 107 w 1735"/>
                    <a:gd name="T121" fmla="*/ 389 h 10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735" h="1010">
                      <a:moveTo>
                        <a:pt x="795" y="930"/>
                      </a:moveTo>
                      <a:lnTo>
                        <a:pt x="563" y="823"/>
                      </a:lnTo>
                      <a:lnTo>
                        <a:pt x="547" y="815"/>
                      </a:lnTo>
                      <a:lnTo>
                        <a:pt x="522" y="803"/>
                      </a:lnTo>
                      <a:lnTo>
                        <a:pt x="493" y="789"/>
                      </a:lnTo>
                      <a:lnTo>
                        <a:pt x="462" y="772"/>
                      </a:lnTo>
                      <a:lnTo>
                        <a:pt x="433" y="754"/>
                      </a:lnTo>
                      <a:lnTo>
                        <a:pt x="407" y="738"/>
                      </a:lnTo>
                      <a:lnTo>
                        <a:pt x="397" y="730"/>
                      </a:lnTo>
                      <a:lnTo>
                        <a:pt x="389" y="721"/>
                      </a:lnTo>
                      <a:lnTo>
                        <a:pt x="383" y="714"/>
                      </a:lnTo>
                      <a:lnTo>
                        <a:pt x="380" y="707"/>
                      </a:lnTo>
                      <a:lnTo>
                        <a:pt x="382" y="706"/>
                      </a:lnTo>
                      <a:lnTo>
                        <a:pt x="386" y="706"/>
                      </a:lnTo>
                      <a:lnTo>
                        <a:pt x="390" y="706"/>
                      </a:lnTo>
                      <a:lnTo>
                        <a:pt x="395" y="706"/>
                      </a:lnTo>
                      <a:lnTo>
                        <a:pt x="408" y="708"/>
                      </a:lnTo>
                      <a:lnTo>
                        <a:pt x="422" y="712"/>
                      </a:lnTo>
                      <a:lnTo>
                        <a:pt x="436" y="717"/>
                      </a:lnTo>
                      <a:lnTo>
                        <a:pt x="448" y="723"/>
                      </a:lnTo>
                      <a:lnTo>
                        <a:pt x="453" y="725"/>
                      </a:lnTo>
                      <a:lnTo>
                        <a:pt x="456" y="729"/>
                      </a:lnTo>
                      <a:lnTo>
                        <a:pt x="460" y="731"/>
                      </a:lnTo>
                      <a:lnTo>
                        <a:pt x="461" y="733"/>
                      </a:lnTo>
                      <a:lnTo>
                        <a:pt x="465" y="737"/>
                      </a:lnTo>
                      <a:lnTo>
                        <a:pt x="469" y="741"/>
                      </a:lnTo>
                      <a:lnTo>
                        <a:pt x="471" y="747"/>
                      </a:lnTo>
                      <a:lnTo>
                        <a:pt x="475" y="752"/>
                      </a:lnTo>
                      <a:lnTo>
                        <a:pt x="478" y="758"/>
                      </a:lnTo>
                      <a:lnTo>
                        <a:pt x="482" y="763"/>
                      </a:lnTo>
                      <a:lnTo>
                        <a:pt x="487" y="766"/>
                      </a:lnTo>
                      <a:lnTo>
                        <a:pt x="494" y="770"/>
                      </a:lnTo>
                      <a:lnTo>
                        <a:pt x="507" y="772"/>
                      </a:lnTo>
                      <a:lnTo>
                        <a:pt x="521" y="774"/>
                      </a:lnTo>
                      <a:lnTo>
                        <a:pt x="528" y="776"/>
                      </a:lnTo>
                      <a:lnTo>
                        <a:pt x="534" y="776"/>
                      </a:lnTo>
                      <a:lnTo>
                        <a:pt x="541" y="773"/>
                      </a:lnTo>
                      <a:lnTo>
                        <a:pt x="547" y="771"/>
                      </a:lnTo>
                      <a:lnTo>
                        <a:pt x="558" y="764"/>
                      </a:lnTo>
                      <a:lnTo>
                        <a:pt x="568" y="757"/>
                      </a:lnTo>
                      <a:lnTo>
                        <a:pt x="576" y="749"/>
                      </a:lnTo>
                      <a:lnTo>
                        <a:pt x="584" y="740"/>
                      </a:lnTo>
                      <a:lnTo>
                        <a:pt x="590" y="731"/>
                      </a:lnTo>
                      <a:lnTo>
                        <a:pt x="595" y="720"/>
                      </a:lnTo>
                      <a:lnTo>
                        <a:pt x="598" y="710"/>
                      </a:lnTo>
                      <a:lnTo>
                        <a:pt x="599" y="697"/>
                      </a:lnTo>
                      <a:lnTo>
                        <a:pt x="598" y="691"/>
                      </a:lnTo>
                      <a:lnTo>
                        <a:pt x="597" y="685"/>
                      </a:lnTo>
                      <a:lnTo>
                        <a:pt x="596" y="680"/>
                      </a:lnTo>
                      <a:lnTo>
                        <a:pt x="594" y="677"/>
                      </a:lnTo>
                      <a:lnTo>
                        <a:pt x="590" y="674"/>
                      </a:lnTo>
                      <a:lnTo>
                        <a:pt x="587" y="672"/>
                      </a:lnTo>
                      <a:lnTo>
                        <a:pt x="583" y="671"/>
                      </a:lnTo>
                      <a:lnTo>
                        <a:pt x="578" y="671"/>
                      </a:lnTo>
                      <a:lnTo>
                        <a:pt x="570" y="671"/>
                      </a:lnTo>
                      <a:lnTo>
                        <a:pt x="561" y="672"/>
                      </a:lnTo>
                      <a:lnTo>
                        <a:pt x="550" y="675"/>
                      </a:lnTo>
                      <a:lnTo>
                        <a:pt x="542" y="678"/>
                      </a:lnTo>
                      <a:lnTo>
                        <a:pt x="532" y="681"/>
                      </a:lnTo>
                      <a:lnTo>
                        <a:pt x="523" y="683"/>
                      </a:lnTo>
                      <a:lnTo>
                        <a:pt x="520" y="681"/>
                      </a:lnTo>
                      <a:lnTo>
                        <a:pt x="517" y="680"/>
                      </a:lnTo>
                      <a:lnTo>
                        <a:pt x="516" y="678"/>
                      </a:lnTo>
                      <a:lnTo>
                        <a:pt x="515" y="673"/>
                      </a:lnTo>
                      <a:lnTo>
                        <a:pt x="517" y="666"/>
                      </a:lnTo>
                      <a:lnTo>
                        <a:pt x="521" y="659"/>
                      </a:lnTo>
                      <a:lnTo>
                        <a:pt x="527" y="653"/>
                      </a:lnTo>
                      <a:lnTo>
                        <a:pt x="532" y="648"/>
                      </a:lnTo>
                      <a:lnTo>
                        <a:pt x="541" y="644"/>
                      </a:lnTo>
                      <a:lnTo>
                        <a:pt x="549" y="640"/>
                      </a:lnTo>
                      <a:lnTo>
                        <a:pt x="558" y="637"/>
                      </a:lnTo>
                      <a:lnTo>
                        <a:pt x="567" y="631"/>
                      </a:lnTo>
                      <a:lnTo>
                        <a:pt x="569" y="631"/>
                      </a:lnTo>
                      <a:lnTo>
                        <a:pt x="570" y="631"/>
                      </a:lnTo>
                      <a:lnTo>
                        <a:pt x="572" y="628"/>
                      </a:lnTo>
                      <a:lnTo>
                        <a:pt x="576" y="626"/>
                      </a:lnTo>
                      <a:lnTo>
                        <a:pt x="577" y="625"/>
                      </a:lnTo>
                      <a:lnTo>
                        <a:pt x="578" y="625"/>
                      </a:lnTo>
                      <a:lnTo>
                        <a:pt x="584" y="625"/>
                      </a:lnTo>
                      <a:lnTo>
                        <a:pt x="589" y="625"/>
                      </a:lnTo>
                      <a:lnTo>
                        <a:pt x="598" y="633"/>
                      </a:lnTo>
                      <a:lnTo>
                        <a:pt x="609" y="640"/>
                      </a:lnTo>
                      <a:lnTo>
                        <a:pt x="621" y="645"/>
                      </a:lnTo>
                      <a:lnTo>
                        <a:pt x="631" y="648"/>
                      </a:lnTo>
                      <a:lnTo>
                        <a:pt x="643" y="651"/>
                      </a:lnTo>
                      <a:lnTo>
                        <a:pt x="656" y="652"/>
                      </a:lnTo>
                      <a:lnTo>
                        <a:pt x="669" y="653"/>
                      </a:lnTo>
                      <a:lnTo>
                        <a:pt x="682" y="653"/>
                      </a:lnTo>
                      <a:lnTo>
                        <a:pt x="698" y="653"/>
                      </a:lnTo>
                      <a:lnTo>
                        <a:pt x="715" y="654"/>
                      </a:lnTo>
                      <a:lnTo>
                        <a:pt x="731" y="654"/>
                      </a:lnTo>
                      <a:lnTo>
                        <a:pt x="748" y="657"/>
                      </a:lnTo>
                      <a:lnTo>
                        <a:pt x="768" y="658"/>
                      </a:lnTo>
                      <a:lnTo>
                        <a:pt x="788" y="658"/>
                      </a:lnTo>
                      <a:lnTo>
                        <a:pt x="806" y="658"/>
                      </a:lnTo>
                      <a:lnTo>
                        <a:pt x="826" y="659"/>
                      </a:lnTo>
                      <a:lnTo>
                        <a:pt x="1008" y="621"/>
                      </a:lnTo>
                      <a:lnTo>
                        <a:pt x="1013" y="622"/>
                      </a:lnTo>
                      <a:lnTo>
                        <a:pt x="1021" y="628"/>
                      </a:lnTo>
                      <a:lnTo>
                        <a:pt x="1031" y="635"/>
                      </a:lnTo>
                      <a:lnTo>
                        <a:pt x="1043" y="645"/>
                      </a:lnTo>
                      <a:lnTo>
                        <a:pt x="1055" y="654"/>
                      </a:lnTo>
                      <a:lnTo>
                        <a:pt x="1070" y="661"/>
                      </a:lnTo>
                      <a:lnTo>
                        <a:pt x="1075" y="665"/>
                      </a:lnTo>
                      <a:lnTo>
                        <a:pt x="1083" y="667"/>
                      </a:lnTo>
                      <a:lnTo>
                        <a:pt x="1090" y="670"/>
                      </a:lnTo>
                      <a:lnTo>
                        <a:pt x="1095" y="670"/>
                      </a:lnTo>
                      <a:lnTo>
                        <a:pt x="1090" y="672"/>
                      </a:lnTo>
                      <a:lnTo>
                        <a:pt x="1084" y="677"/>
                      </a:lnTo>
                      <a:lnTo>
                        <a:pt x="1079" y="681"/>
                      </a:lnTo>
                      <a:lnTo>
                        <a:pt x="1075" y="687"/>
                      </a:lnTo>
                      <a:lnTo>
                        <a:pt x="1073" y="693"/>
                      </a:lnTo>
                      <a:lnTo>
                        <a:pt x="1071" y="700"/>
                      </a:lnTo>
                      <a:lnTo>
                        <a:pt x="1070" y="707"/>
                      </a:lnTo>
                      <a:lnTo>
                        <a:pt x="1068" y="714"/>
                      </a:lnTo>
                      <a:lnTo>
                        <a:pt x="1070" y="720"/>
                      </a:lnTo>
                      <a:lnTo>
                        <a:pt x="1071" y="727"/>
                      </a:lnTo>
                      <a:lnTo>
                        <a:pt x="1073" y="733"/>
                      </a:lnTo>
                      <a:lnTo>
                        <a:pt x="1077" y="739"/>
                      </a:lnTo>
                      <a:lnTo>
                        <a:pt x="1080" y="744"/>
                      </a:lnTo>
                      <a:lnTo>
                        <a:pt x="1085" y="747"/>
                      </a:lnTo>
                      <a:lnTo>
                        <a:pt x="1092" y="750"/>
                      </a:lnTo>
                      <a:lnTo>
                        <a:pt x="1098" y="751"/>
                      </a:lnTo>
                      <a:lnTo>
                        <a:pt x="1106" y="751"/>
                      </a:lnTo>
                      <a:lnTo>
                        <a:pt x="1113" y="749"/>
                      </a:lnTo>
                      <a:lnTo>
                        <a:pt x="1120" y="746"/>
                      </a:lnTo>
                      <a:lnTo>
                        <a:pt x="1126" y="741"/>
                      </a:lnTo>
                      <a:lnTo>
                        <a:pt x="1138" y="731"/>
                      </a:lnTo>
                      <a:lnTo>
                        <a:pt x="1149" y="717"/>
                      </a:lnTo>
                      <a:lnTo>
                        <a:pt x="1160" y="704"/>
                      </a:lnTo>
                      <a:lnTo>
                        <a:pt x="1172" y="691"/>
                      </a:lnTo>
                      <a:lnTo>
                        <a:pt x="1178" y="686"/>
                      </a:lnTo>
                      <a:lnTo>
                        <a:pt x="1184" y="681"/>
                      </a:lnTo>
                      <a:lnTo>
                        <a:pt x="1191" y="679"/>
                      </a:lnTo>
                      <a:lnTo>
                        <a:pt x="1198" y="677"/>
                      </a:lnTo>
                      <a:lnTo>
                        <a:pt x="1201" y="675"/>
                      </a:lnTo>
                      <a:lnTo>
                        <a:pt x="1205" y="674"/>
                      </a:lnTo>
                      <a:lnTo>
                        <a:pt x="1207" y="673"/>
                      </a:lnTo>
                      <a:lnTo>
                        <a:pt x="1209" y="671"/>
                      </a:lnTo>
                      <a:lnTo>
                        <a:pt x="1212" y="665"/>
                      </a:lnTo>
                      <a:lnTo>
                        <a:pt x="1213" y="659"/>
                      </a:lnTo>
                      <a:lnTo>
                        <a:pt x="1214" y="653"/>
                      </a:lnTo>
                      <a:lnTo>
                        <a:pt x="1215" y="648"/>
                      </a:lnTo>
                      <a:lnTo>
                        <a:pt x="1216" y="646"/>
                      </a:lnTo>
                      <a:lnTo>
                        <a:pt x="1218" y="645"/>
                      </a:lnTo>
                      <a:lnTo>
                        <a:pt x="1220" y="644"/>
                      </a:lnTo>
                      <a:lnTo>
                        <a:pt x="1221" y="644"/>
                      </a:lnTo>
                      <a:lnTo>
                        <a:pt x="1242" y="642"/>
                      </a:lnTo>
                      <a:lnTo>
                        <a:pt x="1272" y="638"/>
                      </a:lnTo>
                      <a:lnTo>
                        <a:pt x="1288" y="634"/>
                      </a:lnTo>
                      <a:lnTo>
                        <a:pt x="1306" y="631"/>
                      </a:lnTo>
                      <a:lnTo>
                        <a:pt x="1323" y="626"/>
                      </a:lnTo>
                      <a:lnTo>
                        <a:pt x="1340" y="620"/>
                      </a:lnTo>
                      <a:lnTo>
                        <a:pt x="1356" y="614"/>
                      </a:lnTo>
                      <a:lnTo>
                        <a:pt x="1370" y="608"/>
                      </a:lnTo>
                      <a:lnTo>
                        <a:pt x="1385" y="600"/>
                      </a:lnTo>
                      <a:lnTo>
                        <a:pt x="1395" y="593"/>
                      </a:lnTo>
                      <a:lnTo>
                        <a:pt x="1399" y="588"/>
                      </a:lnTo>
                      <a:lnTo>
                        <a:pt x="1402" y="585"/>
                      </a:lnTo>
                      <a:lnTo>
                        <a:pt x="1406" y="580"/>
                      </a:lnTo>
                      <a:lnTo>
                        <a:pt x="1407" y="575"/>
                      </a:lnTo>
                      <a:lnTo>
                        <a:pt x="1408" y="571"/>
                      </a:lnTo>
                      <a:lnTo>
                        <a:pt x="1408" y="566"/>
                      </a:lnTo>
                      <a:lnTo>
                        <a:pt x="1407" y="561"/>
                      </a:lnTo>
                      <a:lnTo>
                        <a:pt x="1405" y="556"/>
                      </a:lnTo>
                      <a:lnTo>
                        <a:pt x="1387" y="528"/>
                      </a:lnTo>
                      <a:lnTo>
                        <a:pt x="1377" y="513"/>
                      </a:lnTo>
                      <a:lnTo>
                        <a:pt x="1377" y="510"/>
                      </a:lnTo>
                      <a:lnTo>
                        <a:pt x="1377" y="508"/>
                      </a:lnTo>
                      <a:lnTo>
                        <a:pt x="1380" y="507"/>
                      </a:lnTo>
                      <a:lnTo>
                        <a:pt x="1383" y="506"/>
                      </a:lnTo>
                      <a:lnTo>
                        <a:pt x="1395" y="505"/>
                      </a:lnTo>
                      <a:lnTo>
                        <a:pt x="1414" y="503"/>
                      </a:lnTo>
                      <a:lnTo>
                        <a:pt x="1423" y="503"/>
                      </a:lnTo>
                      <a:lnTo>
                        <a:pt x="1434" y="502"/>
                      </a:lnTo>
                      <a:lnTo>
                        <a:pt x="1443" y="500"/>
                      </a:lnTo>
                      <a:lnTo>
                        <a:pt x="1454" y="496"/>
                      </a:lnTo>
                      <a:lnTo>
                        <a:pt x="1464" y="492"/>
                      </a:lnTo>
                      <a:lnTo>
                        <a:pt x="1474" y="487"/>
                      </a:lnTo>
                      <a:lnTo>
                        <a:pt x="1483" y="481"/>
                      </a:lnTo>
                      <a:lnTo>
                        <a:pt x="1494" y="475"/>
                      </a:lnTo>
                      <a:lnTo>
                        <a:pt x="1502" y="468"/>
                      </a:lnTo>
                      <a:lnTo>
                        <a:pt x="1510" y="461"/>
                      </a:lnTo>
                      <a:lnTo>
                        <a:pt x="1517" y="453"/>
                      </a:lnTo>
                      <a:lnTo>
                        <a:pt x="1524" y="444"/>
                      </a:lnTo>
                      <a:lnTo>
                        <a:pt x="1529" y="435"/>
                      </a:lnTo>
                      <a:lnTo>
                        <a:pt x="1533" y="426"/>
                      </a:lnTo>
                      <a:lnTo>
                        <a:pt x="1535" y="416"/>
                      </a:lnTo>
                      <a:lnTo>
                        <a:pt x="1536" y="407"/>
                      </a:lnTo>
                      <a:lnTo>
                        <a:pt x="1536" y="400"/>
                      </a:lnTo>
                      <a:lnTo>
                        <a:pt x="1534" y="391"/>
                      </a:lnTo>
                      <a:lnTo>
                        <a:pt x="1531" y="384"/>
                      </a:lnTo>
                      <a:lnTo>
                        <a:pt x="1528" y="376"/>
                      </a:lnTo>
                      <a:lnTo>
                        <a:pt x="1524" y="368"/>
                      </a:lnTo>
                      <a:lnTo>
                        <a:pt x="1520" y="360"/>
                      </a:lnTo>
                      <a:lnTo>
                        <a:pt x="1514" y="353"/>
                      </a:lnTo>
                      <a:lnTo>
                        <a:pt x="1508" y="345"/>
                      </a:lnTo>
                      <a:lnTo>
                        <a:pt x="1501" y="338"/>
                      </a:lnTo>
                      <a:lnTo>
                        <a:pt x="1494" y="331"/>
                      </a:lnTo>
                      <a:lnTo>
                        <a:pt x="1487" y="325"/>
                      </a:lnTo>
                      <a:lnTo>
                        <a:pt x="1480" y="321"/>
                      </a:lnTo>
                      <a:lnTo>
                        <a:pt x="1472" y="317"/>
                      </a:lnTo>
                      <a:lnTo>
                        <a:pt x="1463" y="314"/>
                      </a:lnTo>
                      <a:lnTo>
                        <a:pt x="1456" y="311"/>
                      </a:lnTo>
                      <a:lnTo>
                        <a:pt x="1448" y="311"/>
                      </a:lnTo>
                      <a:lnTo>
                        <a:pt x="1441" y="311"/>
                      </a:lnTo>
                      <a:lnTo>
                        <a:pt x="1435" y="314"/>
                      </a:lnTo>
                      <a:lnTo>
                        <a:pt x="1430" y="316"/>
                      </a:lnTo>
                      <a:lnTo>
                        <a:pt x="1425" y="320"/>
                      </a:lnTo>
                      <a:lnTo>
                        <a:pt x="1421" y="323"/>
                      </a:lnTo>
                      <a:lnTo>
                        <a:pt x="1417" y="329"/>
                      </a:lnTo>
                      <a:lnTo>
                        <a:pt x="1414" y="334"/>
                      </a:lnTo>
                      <a:lnTo>
                        <a:pt x="1410" y="340"/>
                      </a:lnTo>
                      <a:lnTo>
                        <a:pt x="1402" y="365"/>
                      </a:lnTo>
                      <a:lnTo>
                        <a:pt x="1395" y="390"/>
                      </a:lnTo>
                      <a:lnTo>
                        <a:pt x="1393" y="395"/>
                      </a:lnTo>
                      <a:lnTo>
                        <a:pt x="1390" y="397"/>
                      </a:lnTo>
                      <a:lnTo>
                        <a:pt x="1387" y="397"/>
                      </a:lnTo>
                      <a:lnTo>
                        <a:pt x="1382" y="397"/>
                      </a:lnTo>
                      <a:lnTo>
                        <a:pt x="1379" y="398"/>
                      </a:lnTo>
                      <a:lnTo>
                        <a:pt x="1374" y="400"/>
                      </a:lnTo>
                      <a:lnTo>
                        <a:pt x="1370" y="403"/>
                      </a:lnTo>
                      <a:lnTo>
                        <a:pt x="1367" y="409"/>
                      </a:lnTo>
                      <a:lnTo>
                        <a:pt x="1366" y="416"/>
                      </a:lnTo>
                      <a:lnTo>
                        <a:pt x="1366" y="429"/>
                      </a:lnTo>
                      <a:lnTo>
                        <a:pt x="1365" y="440"/>
                      </a:lnTo>
                      <a:lnTo>
                        <a:pt x="1363" y="446"/>
                      </a:lnTo>
                      <a:lnTo>
                        <a:pt x="1360" y="449"/>
                      </a:lnTo>
                      <a:lnTo>
                        <a:pt x="1356" y="450"/>
                      </a:lnTo>
                      <a:lnTo>
                        <a:pt x="1353" y="452"/>
                      </a:lnTo>
                      <a:lnTo>
                        <a:pt x="1349" y="453"/>
                      </a:lnTo>
                      <a:lnTo>
                        <a:pt x="1340" y="454"/>
                      </a:lnTo>
                      <a:lnTo>
                        <a:pt x="1332" y="456"/>
                      </a:lnTo>
                      <a:lnTo>
                        <a:pt x="1328" y="457"/>
                      </a:lnTo>
                      <a:lnTo>
                        <a:pt x="1325" y="460"/>
                      </a:lnTo>
                      <a:lnTo>
                        <a:pt x="1321" y="463"/>
                      </a:lnTo>
                      <a:lnTo>
                        <a:pt x="1319" y="467"/>
                      </a:lnTo>
                      <a:lnTo>
                        <a:pt x="1316" y="472"/>
                      </a:lnTo>
                      <a:lnTo>
                        <a:pt x="1314" y="477"/>
                      </a:lnTo>
                      <a:lnTo>
                        <a:pt x="1313" y="486"/>
                      </a:lnTo>
                      <a:lnTo>
                        <a:pt x="1313" y="495"/>
                      </a:lnTo>
                      <a:lnTo>
                        <a:pt x="1313" y="501"/>
                      </a:lnTo>
                      <a:lnTo>
                        <a:pt x="1312" y="505"/>
                      </a:lnTo>
                      <a:lnTo>
                        <a:pt x="1311" y="508"/>
                      </a:lnTo>
                      <a:lnTo>
                        <a:pt x="1309" y="512"/>
                      </a:lnTo>
                      <a:lnTo>
                        <a:pt x="1305" y="514"/>
                      </a:lnTo>
                      <a:lnTo>
                        <a:pt x="1300" y="516"/>
                      </a:lnTo>
                      <a:lnTo>
                        <a:pt x="1294" y="518"/>
                      </a:lnTo>
                      <a:lnTo>
                        <a:pt x="1288" y="520"/>
                      </a:lnTo>
                      <a:lnTo>
                        <a:pt x="1285" y="522"/>
                      </a:lnTo>
                      <a:lnTo>
                        <a:pt x="1282" y="525"/>
                      </a:lnTo>
                      <a:lnTo>
                        <a:pt x="1279" y="528"/>
                      </a:lnTo>
                      <a:lnTo>
                        <a:pt x="1276" y="532"/>
                      </a:lnTo>
                      <a:lnTo>
                        <a:pt x="1269" y="542"/>
                      </a:lnTo>
                      <a:lnTo>
                        <a:pt x="1265" y="548"/>
                      </a:lnTo>
                      <a:lnTo>
                        <a:pt x="1259" y="553"/>
                      </a:lnTo>
                      <a:lnTo>
                        <a:pt x="1253" y="556"/>
                      </a:lnTo>
                      <a:lnTo>
                        <a:pt x="1240" y="561"/>
                      </a:lnTo>
                      <a:lnTo>
                        <a:pt x="1224" y="569"/>
                      </a:lnTo>
                      <a:lnTo>
                        <a:pt x="1221" y="572"/>
                      </a:lnTo>
                      <a:lnTo>
                        <a:pt x="1220" y="574"/>
                      </a:lnTo>
                      <a:lnTo>
                        <a:pt x="1219" y="576"/>
                      </a:lnTo>
                      <a:lnTo>
                        <a:pt x="1218" y="580"/>
                      </a:lnTo>
                      <a:lnTo>
                        <a:pt x="1216" y="587"/>
                      </a:lnTo>
                      <a:lnTo>
                        <a:pt x="1216" y="594"/>
                      </a:lnTo>
                      <a:lnTo>
                        <a:pt x="1215" y="598"/>
                      </a:lnTo>
                      <a:lnTo>
                        <a:pt x="1215" y="601"/>
                      </a:lnTo>
                      <a:lnTo>
                        <a:pt x="1213" y="604"/>
                      </a:lnTo>
                      <a:lnTo>
                        <a:pt x="1212" y="606"/>
                      </a:lnTo>
                      <a:lnTo>
                        <a:pt x="1208" y="607"/>
                      </a:lnTo>
                      <a:lnTo>
                        <a:pt x="1205" y="607"/>
                      </a:lnTo>
                      <a:lnTo>
                        <a:pt x="1200" y="607"/>
                      </a:lnTo>
                      <a:lnTo>
                        <a:pt x="1195" y="606"/>
                      </a:lnTo>
                      <a:lnTo>
                        <a:pt x="1188" y="606"/>
                      </a:lnTo>
                      <a:lnTo>
                        <a:pt x="1181" y="606"/>
                      </a:lnTo>
                      <a:lnTo>
                        <a:pt x="1174" y="607"/>
                      </a:lnTo>
                      <a:lnTo>
                        <a:pt x="1168" y="609"/>
                      </a:lnTo>
                      <a:lnTo>
                        <a:pt x="1161" y="614"/>
                      </a:lnTo>
                      <a:lnTo>
                        <a:pt x="1157" y="618"/>
                      </a:lnTo>
                      <a:lnTo>
                        <a:pt x="1153" y="624"/>
                      </a:lnTo>
                      <a:lnTo>
                        <a:pt x="1151" y="630"/>
                      </a:lnTo>
                      <a:lnTo>
                        <a:pt x="1147" y="645"/>
                      </a:lnTo>
                      <a:lnTo>
                        <a:pt x="1144" y="654"/>
                      </a:lnTo>
                      <a:lnTo>
                        <a:pt x="1141" y="655"/>
                      </a:lnTo>
                      <a:lnTo>
                        <a:pt x="1138" y="655"/>
                      </a:lnTo>
                      <a:lnTo>
                        <a:pt x="1132" y="654"/>
                      </a:lnTo>
                      <a:lnTo>
                        <a:pt x="1125" y="650"/>
                      </a:lnTo>
                      <a:lnTo>
                        <a:pt x="1106" y="640"/>
                      </a:lnTo>
                      <a:lnTo>
                        <a:pt x="1093" y="633"/>
                      </a:lnTo>
                      <a:lnTo>
                        <a:pt x="1085" y="628"/>
                      </a:lnTo>
                      <a:lnTo>
                        <a:pt x="1083" y="625"/>
                      </a:lnTo>
                      <a:lnTo>
                        <a:pt x="1085" y="621"/>
                      </a:lnTo>
                      <a:lnTo>
                        <a:pt x="1092" y="618"/>
                      </a:lnTo>
                      <a:lnTo>
                        <a:pt x="1104" y="613"/>
                      </a:lnTo>
                      <a:lnTo>
                        <a:pt x="1120" y="605"/>
                      </a:lnTo>
                      <a:lnTo>
                        <a:pt x="1142" y="593"/>
                      </a:lnTo>
                      <a:lnTo>
                        <a:pt x="1164" y="580"/>
                      </a:lnTo>
                      <a:lnTo>
                        <a:pt x="1185" y="566"/>
                      </a:lnTo>
                      <a:lnTo>
                        <a:pt x="1206" y="552"/>
                      </a:lnTo>
                      <a:lnTo>
                        <a:pt x="1225" y="535"/>
                      </a:lnTo>
                      <a:lnTo>
                        <a:pt x="1245" y="519"/>
                      </a:lnTo>
                      <a:lnTo>
                        <a:pt x="1262" y="502"/>
                      </a:lnTo>
                      <a:lnTo>
                        <a:pt x="1280" y="483"/>
                      </a:lnTo>
                      <a:lnTo>
                        <a:pt x="1296" y="464"/>
                      </a:lnTo>
                      <a:lnTo>
                        <a:pt x="1313" y="444"/>
                      </a:lnTo>
                      <a:lnTo>
                        <a:pt x="1328" y="424"/>
                      </a:lnTo>
                      <a:lnTo>
                        <a:pt x="1342" y="403"/>
                      </a:lnTo>
                      <a:lnTo>
                        <a:pt x="1356" y="381"/>
                      </a:lnTo>
                      <a:lnTo>
                        <a:pt x="1369" y="358"/>
                      </a:lnTo>
                      <a:lnTo>
                        <a:pt x="1381" y="335"/>
                      </a:lnTo>
                      <a:lnTo>
                        <a:pt x="1393" y="311"/>
                      </a:lnTo>
                      <a:lnTo>
                        <a:pt x="1396" y="307"/>
                      </a:lnTo>
                      <a:lnTo>
                        <a:pt x="1400" y="301"/>
                      </a:lnTo>
                      <a:lnTo>
                        <a:pt x="1403" y="294"/>
                      </a:lnTo>
                      <a:lnTo>
                        <a:pt x="1407" y="287"/>
                      </a:lnTo>
                      <a:lnTo>
                        <a:pt x="1413" y="269"/>
                      </a:lnTo>
                      <a:lnTo>
                        <a:pt x="1417" y="251"/>
                      </a:lnTo>
                      <a:lnTo>
                        <a:pt x="1421" y="232"/>
                      </a:lnTo>
                      <a:lnTo>
                        <a:pt x="1423" y="213"/>
                      </a:lnTo>
                      <a:lnTo>
                        <a:pt x="1426" y="197"/>
                      </a:lnTo>
                      <a:lnTo>
                        <a:pt x="1426" y="184"/>
                      </a:lnTo>
                      <a:lnTo>
                        <a:pt x="1426" y="177"/>
                      </a:lnTo>
                      <a:lnTo>
                        <a:pt x="1425" y="171"/>
                      </a:lnTo>
                      <a:lnTo>
                        <a:pt x="1423" y="166"/>
                      </a:lnTo>
                      <a:lnTo>
                        <a:pt x="1421" y="160"/>
                      </a:lnTo>
                      <a:lnTo>
                        <a:pt x="1414" y="151"/>
                      </a:lnTo>
                      <a:lnTo>
                        <a:pt x="1407" y="143"/>
                      </a:lnTo>
                      <a:lnTo>
                        <a:pt x="1400" y="134"/>
                      </a:lnTo>
                      <a:lnTo>
                        <a:pt x="1393" y="126"/>
                      </a:lnTo>
                      <a:lnTo>
                        <a:pt x="1387" y="117"/>
                      </a:lnTo>
                      <a:lnTo>
                        <a:pt x="1383" y="107"/>
                      </a:lnTo>
                      <a:lnTo>
                        <a:pt x="1381" y="105"/>
                      </a:lnTo>
                      <a:lnTo>
                        <a:pt x="1379" y="103"/>
                      </a:lnTo>
                      <a:lnTo>
                        <a:pt x="1373" y="97"/>
                      </a:lnTo>
                      <a:lnTo>
                        <a:pt x="1367" y="91"/>
                      </a:lnTo>
                      <a:lnTo>
                        <a:pt x="1358" y="89"/>
                      </a:lnTo>
                      <a:lnTo>
                        <a:pt x="1342" y="84"/>
                      </a:lnTo>
                      <a:lnTo>
                        <a:pt x="1335" y="81"/>
                      </a:lnTo>
                      <a:lnTo>
                        <a:pt x="1329" y="79"/>
                      </a:lnTo>
                      <a:lnTo>
                        <a:pt x="1325" y="76"/>
                      </a:lnTo>
                      <a:lnTo>
                        <a:pt x="1322" y="73"/>
                      </a:lnTo>
                      <a:lnTo>
                        <a:pt x="1319" y="71"/>
                      </a:lnTo>
                      <a:lnTo>
                        <a:pt x="1314" y="67"/>
                      </a:lnTo>
                      <a:lnTo>
                        <a:pt x="1309" y="58"/>
                      </a:lnTo>
                      <a:lnTo>
                        <a:pt x="1301" y="46"/>
                      </a:lnTo>
                      <a:lnTo>
                        <a:pt x="1296" y="40"/>
                      </a:lnTo>
                      <a:lnTo>
                        <a:pt x="1292" y="33"/>
                      </a:lnTo>
                      <a:lnTo>
                        <a:pt x="1288" y="27"/>
                      </a:lnTo>
                      <a:lnTo>
                        <a:pt x="1286" y="20"/>
                      </a:lnTo>
                      <a:lnTo>
                        <a:pt x="1283" y="11"/>
                      </a:lnTo>
                      <a:lnTo>
                        <a:pt x="1283" y="4"/>
                      </a:lnTo>
                      <a:lnTo>
                        <a:pt x="1285" y="2"/>
                      </a:lnTo>
                      <a:lnTo>
                        <a:pt x="1286" y="0"/>
                      </a:lnTo>
                      <a:lnTo>
                        <a:pt x="1287" y="0"/>
                      </a:lnTo>
                      <a:lnTo>
                        <a:pt x="1289" y="0"/>
                      </a:lnTo>
                      <a:lnTo>
                        <a:pt x="1294" y="1"/>
                      </a:lnTo>
                      <a:lnTo>
                        <a:pt x="1299" y="5"/>
                      </a:lnTo>
                      <a:lnTo>
                        <a:pt x="1306" y="10"/>
                      </a:lnTo>
                      <a:lnTo>
                        <a:pt x="1312" y="15"/>
                      </a:lnTo>
                      <a:lnTo>
                        <a:pt x="1339" y="43"/>
                      </a:lnTo>
                      <a:lnTo>
                        <a:pt x="1354" y="59"/>
                      </a:lnTo>
                      <a:lnTo>
                        <a:pt x="1374" y="78"/>
                      </a:lnTo>
                      <a:lnTo>
                        <a:pt x="1394" y="97"/>
                      </a:lnTo>
                      <a:lnTo>
                        <a:pt x="1402" y="106"/>
                      </a:lnTo>
                      <a:lnTo>
                        <a:pt x="1412" y="117"/>
                      </a:lnTo>
                      <a:lnTo>
                        <a:pt x="1420" y="129"/>
                      </a:lnTo>
                      <a:lnTo>
                        <a:pt x="1427" y="142"/>
                      </a:lnTo>
                      <a:lnTo>
                        <a:pt x="1508" y="292"/>
                      </a:lnTo>
                      <a:lnTo>
                        <a:pt x="1528" y="330"/>
                      </a:lnTo>
                      <a:lnTo>
                        <a:pt x="1547" y="369"/>
                      </a:lnTo>
                      <a:lnTo>
                        <a:pt x="1568" y="407"/>
                      </a:lnTo>
                      <a:lnTo>
                        <a:pt x="1590" y="443"/>
                      </a:lnTo>
                      <a:lnTo>
                        <a:pt x="1597" y="461"/>
                      </a:lnTo>
                      <a:lnTo>
                        <a:pt x="1605" y="479"/>
                      </a:lnTo>
                      <a:lnTo>
                        <a:pt x="1616" y="496"/>
                      </a:lnTo>
                      <a:lnTo>
                        <a:pt x="1627" y="512"/>
                      </a:lnTo>
                      <a:lnTo>
                        <a:pt x="1634" y="522"/>
                      </a:lnTo>
                      <a:lnTo>
                        <a:pt x="1641" y="534"/>
                      </a:lnTo>
                      <a:lnTo>
                        <a:pt x="1648" y="548"/>
                      </a:lnTo>
                      <a:lnTo>
                        <a:pt x="1654" y="562"/>
                      </a:lnTo>
                      <a:lnTo>
                        <a:pt x="1665" y="592"/>
                      </a:lnTo>
                      <a:lnTo>
                        <a:pt x="1677" y="618"/>
                      </a:lnTo>
                      <a:lnTo>
                        <a:pt x="1684" y="631"/>
                      </a:lnTo>
                      <a:lnTo>
                        <a:pt x="1691" y="646"/>
                      </a:lnTo>
                      <a:lnTo>
                        <a:pt x="1698" y="660"/>
                      </a:lnTo>
                      <a:lnTo>
                        <a:pt x="1704" y="673"/>
                      </a:lnTo>
                      <a:lnTo>
                        <a:pt x="1708" y="686"/>
                      </a:lnTo>
                      <a:lnTo>
                        <a:pt x="1712" y="703"/>
                      </a:lnTo>
                      <a:lnTo>
                        <a:pt x="1717" y="719"/>
                      </a:lnTo>
                      <a:lnTo>
                        <a:pt x="1723" y="729"/>
                      </a:lnTo>
                      <a:lnTo>
                        <a:pt x="1723" y="741"/>
                      </a:lnTo>
                      <a:lnTo>
                        <a:pt x="1725" y="753"/>
                      </a:lnTo>
                      <a:lnTo>
                        <a:pt x="1727" y="765"/>
                      </a:lnTo>
                      <a:lnTo>
                        <a:pt x="1730" y="778"/>
                      </a:lnTo>
                      <a:lnTo>
                        <a:pt x="1732" y="791"/>
                      </a:lnTo>
                      <a:lnTo>
                        <a:pt x="1734" y="804"/>
                      </a:lnTo>
                      <a:lnTo>
                        <a:pt x="1735" y="817"/>
                      </a:lnTo>
                      <a:lnTo>
                        <a:pt x="1735" y="831"/>
                      </a:lnTo>
                      <a:lnTo>
                        <a:pt x="1732" y="846"/>
                      </a:lnTo>
                      <a:lnTo>
                        <a:pt x="1730" y="861"/>
                      </a:lnTo>
                      <a:lnTo>
                        <a:pt x="1725" y="876"/>
                      </a:lnTo>
                      <a:lnTo>
                        <a:pt x="1721" y="890"/>
                      </a:lnTo>
                      <a:lnTo>
                        <a:pt x="1715" y="904"/>
                      </a:lnTo>
                      <a:lnTo>
                        <a:pt x="1708" y="918"/>
                      </a:lnTo>
                      <a:lnTo>
                        <a:pt x="1701" y="932"/>
                      </a:lnTo>
                      <a:lnTo>
                        <a:pt x="1692" y="944"/>
                      </a:lnTo>
                      <a:lnTo>
                        <a:pt x="1688" y="949"/>
                      </a:lnTo>
                      <a:lnTo>
                        <a:pt x="1683" y="952"/>
                      </a:lnTo>
                      <a:lnTo>
                        <a:pt x="1682" y="954"/>
                      </a:lnTo>
                      <a:lnTo>
                        <a:pt x="1680" y="955"/>
                      </a:lnTo>
                      <a:lnTo>
                        <a:pt x="1678" y="957"/>
                      </a:lnTo>
                      <a:lnTo>
                        <a:pt x="1676" y="958"/>
                      </a:lnTo>
                      <a:lnTo>
                        <a:pt x="1675" y="958"/>
                      </a:lnTo>
                      <a:lnTo>
                        <a:pt x="1671" y="963"/>
                      </a:lnTo>
                      <a:lnTo>
                        <a:pt x="1665" y="967"/>
                      </a:lnTo>
                      <a:lnTo>
                        <a:pt x="1658" y="971"/>
                      </a:lnTo>
                      <a:lnTo>
                        <a:pt x="1651" y="975"/>
                      </a:lnTo>
                      <a:lnTo>
                        <a:pt x="1635" y="981"/>
                      </a:lnTo>
                      <a:lnTo>
                        <a:pt x="1623" y="984"/>
                      </a:lnTo>
                      <a:lnTo>
                        <a:pt x="1618" y="989"/>
                      </a:lnTo>
                      <a:lnTo>
                        <a:pt x="1614" y="993"/>
                      </a:lnTo>
                      <a:lnTo>
                        <a:pt x="1607" y="996"/>
                      </a:lnTo>
                      <a:lnTo>
                        <a:pt x="1600" y="1000"/>
                      </a:lnTo>
                      <a:lnTo>
                        <a:pt x="1584" y="1004"/>
                      </a:lnTo>
                      <a:lnTo>
                        <a:pt x="1566" y="1008"/>
                      </a:lnTo>
                      <a:lnTo>
                        <a:pt x="1544" y="1010"/>
                      </a:lnTo>
                      <a:lnTo>
                        <a:pt x="1522" y="1010"/>
                      </a:lnTo>
                      <a:lnTo>
                        <a:pt x="1499" y="1010"/>
                      </a:lnTo>
                      <a:lnTo>
                        <a:pt x="1474" y="1010"/>
                      </a:lnTo>
                      <a:lnTo>
                        <a:pt x="1426" y="1007"/>
                      </a:lnTo>
                      <a:lnTo>
                        <a:pt x="1380" y="1002"/>
                      </a:lnTo>
                      <a:lnTo>
                        <a:pt x="1342" y="997"/>
                      </a:lnTo>
                      <a:lnTo>
                        <a:pt x="1314" y="995"/>
                      </a:lnTo>
                      <a:lnTo>
                        <a:pt x="1149" y="978"/>
                      </a:lnTo>
                      <a:lnTo>
                        <a:pt x="1139" y="978"/>
                      </a:lnTo>
                      <a:lnTo>
                        <a:pt x="1130" y="978"/>
                      </a:lnTo>
                      <a:lnTo>
                        <a:pt x="1119" y="978"/>
                      </a:lnTo>
                      <a:lnTo>
                        <a:pt x="1108" y="981"/>
                      </a:lnTo>
                      <a:lnTo>
                        <a:pt x="1099" y="983"/>
                      </a:lnTo>
                      <a:lnTo>
                        <a:pt x="1090" y="985"/>
                      </a:lnTo>
                      <a:lnTo>
                        <a:pt x="1080" y="990"/>
                      </a:lnTo>
                      <a:lnTo>
                        <a:pt x="1071" y="995"/>
                      </a:lnTo>
                      <a:lnTo>
                        <a:pt x="1059" y="1002"/>
                      </a:lnTo>
                      <a:lnTo>
                        <a:pt x="1050" y="1007"/>
                      </a:lnTo>
                      <a:lnTo>
                        <a:pt x="1041" y="1010"/>
                      </a:lnTo>
                      <a:lnTo>
                        <a:pt x="1033" y="1010"/>
                      </a:lnTo>
                      <a:lnTo>
                        <a:pt x="1025" y="1009"/>
                      </a:lnTo>
                      <a:lnTo>
                        <a:pt x="1016" y="1007"/>
                      </a:lnTo>
                      <a:lnTo>
                        <a:pt x="1005" y="1003"/>
                      </a:lnTo>
                      <a:lnTo>
                        <a:pt x="992" y="1000"/>
                      </a:lnTo>
                      <a:lnTo>
                        <a:pt x="795" y="930"/>
                      </a:lnTo>
                      <a:close/>
                      <a:moveTo>
                        <a:pt x="295" y="552"/>
                      </a:moveTo>
                      <a:lnTo>
                        <a:pt x="270" y="551"/>
                      </a:lnTo>
                      <a:lnTo>
                        <a:pt x="246" y="549"/>
                      </a:lnTo>
                      <a:lnTo>
                        <a:pt x="234" y="548"/>
                      </a:lnTo>
                      <a:lnTo>
                        <a:pt x="223" y="545"/>
                      </a:lnTo>
                      <a:lnTo>
                        <a:pt x="212" y="541"/>
                      </a:lnTo>
                      <a:lnTo>
                        <a:pt x="201" y="536"/>
                      </a:lnTo>
                      <a:lnTo>
                        <a:pt x="190" y="532"/>
                      </a:lnTo>
                      <a:lnTo>
                        <a:pt x="179" y="528"/>
                      </a:lnTo>
                      <a:lnTo>
                        <a:pt x="174" y="527"/>
                      </a:lnTo>
                      <a:lnTo>
                        <a:pt x="169" y="527"/>
                      </a:lnTo>
                      <a:lnTo>
                        <a:pt x="165" y="528"/>
                      </a:lnTo>
                      <a:lnTo>
                        <a:pt x="161" y="529"/>
                      </a:lnTo>
                      <a:lnTo>
                        <a:pt x="158" y="531"/>
                      </a:lnTo>
                      <a:lnTo>
                        <a:pt x="155" y="533"/>
                      </a:lnTo>
                      <a:lnTo>
                        <a:pt x="155" y="536"/>
                      </a:lnTo>
                      <a:lnTo>
                        <a:pt x="155" y="540"/>
                      </a:lnTo>
                      <a:lnTo>
                        <a:pt x="156" y="545"/>
                      </a:lnTo>
                      <a:lnTo>
                        <a:pt x="159" y="551"/>
                      </a:lnTo>
                      <a:lnTo>
                        <a:pt x="162" y="556"/>
                      </a:lnTo>
                      <a:lnTo>
                        <a:pt x="168" y="564"/>
                      </a:lnTo>
                      <a:lnTo>
                        <a:pt x="178" y="574"/>
                      </a:lnTo>
                      <a:lnTo>
                        <a:pt x="188" y="585"/>
                      </a:lnTo>
                      <a:lnTo>
                        <a:pt x="198" y="595"/>
                      </a:lnTo>
                      <a:lnTo>
                        <a:pt x="207" y="606"/>
                      </a:lnTo>
                      <a:lnTo>
                        <a:pt x="219" y="622"/>
                      </a:lnTo>
                      <a:lnTo>
                        <a:pt x="232" y="639"/>
                      </a:lnTo>
                      <a:lnTo>
                        <a:pt x="239" y="645"/>
                      </a:lnTo>
                      <a:lnTo>
                        <a:pt x="248" y="650"/>
                      </a:lnTo>
                      <a:lnTo>
                        <a:pt x="259" y="654"/>
                      </a:lnTo>
                      <a:lnTo>
                        <a:pt x="267" y="657"/>
                      </a:lnTo>
                      <a:lnTo>
                        <a:pt x="277" y="660"/>
                      </a:lnTo>
                      <a:lnTo>
                        <a:pt x="292" y="667"/>
                      </a:lnTo>
                      <a:lnTo>
                        <a:pt x="306" y="675"/>
                      </a:lnTo>
                      <a:lnTo>
                        <a:pt x="314" y="683"/>
                      </a:lnTo>
                      <a:lnTo>
                        <a:pt x="320" y="688"/>
                      </a:lnTo>
                      <a:lnTo>
                        <a:pt x="329" y="694"/>
                      </a:lnTo>
                      <a:lnTo>
                        <a:pt x="334" y="697"/>
                      </a:lnTo>
                      <a:lnTo>
                        <a:pt x="339" y="699"/>
                      </a:lnTo>
                      <a:lnTo>
                        <a:pt x="343" y="699"/>
                      </a:lnTo>
                      <a:lnTo>
                        <a:pt x="347" y="699"/>
                      </a:lnTo>
                      <a:lnTo>
                        <a:pt x="346" y="696"/>
                      </a:lnTo>
                      <a:lnTo>
                        <a:pt x="342" y="692"/>
                      </a:lnTo>
                      <a:lnTo>
                        <a:pt x="336" y="687"/>
                      </a:lnTo>
                      <a:lnTo>
                        <a:pt x="330" y="683"/>
                      </a:lnTo>
                      <a:lnTo>
                        <a:pt x="324" y="677"/>
                      </a:lnTo>
                      <a:lnTo>
                        <a:pt x="320" y="671"/>
                      </a:lnTo>
                      <a:lnTo>
                        <a:pt x="316" y="666"/>
                      </a:lnTo>
                      <a:lnTo>
                        <a:pt x="314" y="660"/>
                      </a:lnTo>
                      <a:lnTo>
                        <a:pt x="320" y="660"/>
                      </a:lnTo>
                      <a:lnTo>
                        <a:pt x="326" y="659"/>
                      </a:lnTo>
                      <a:lnTo>
                        <a:pt x="330" y="658"/>
                      </a:lnTo>
                      <a:lnTo>
                        <a:pt x="335" y="655"/>
                      </a:lnTo>
                      <a:lnTo>
                        <a:pt x="339" y="653"/>
                      </a:lnTo>
                      <a:lnTo>
                        <a:pt x="342" y="651"/>
                      </a:lnTo>
                      <a:lnTo>
                        <a:pt x="346" y="647"/>
                      </a:lnTo>
                      <a:lnTo>
                        <a:pt x="348" y="644"/>
                      </a:lnTo>
                      <a:lnTo>
                        <a:pt x="351" y="635"/>
                      </a:lnTo>
                      <a:lnTo>
                        <a:pt x="354" y="627"/>
                      </a:lnTo>
                      <a:lnTo>
                        <a:pt x="355" y="617"/>
                      </a:lnTo>
                      <a:lnTo>
                        <a:pt x="355" y="606"/>
                      </a:lnTo>
                      <a:lnTo>
                        <a:pt x="353" y="600"/>
                      </a:lnTo>
                      <a:lnTo>
                        <a:pt x="350" y="593"/>
                      </a:lnTo>
                      <a:lnTo>
                        <a:pt x="346" y="585"/>
                      </a:lnTo>
                      <a:lnTo>
                        <a:pt x="340" y="576"/>
                      </a:lnTo>
                      <a:lnTo>
                        <a:pt x="334" y="569"/>
                      </a:lnTo>
                      <a:lnTo>
                        <a:pt x="327" y="564"/>
                      </a:lnTo>
                      <a:lnTo>
                        <a:pt x="321" y="559"/>
                      </a:lnTo>
                      <a:lnTo>
                        <a:pt x="315" y="556"/>
                      </a:lnTo>
                      <a:lnTo>
                        <a:pt x="295" y="552"/>
                      </a:lnTo>
                      <a:close/>
                      <a:moveTo>
                        <a:pt x="85" y="353"/>
                      </a:moveTo>
                      <a:lnTo>
                        <a:pt x="71" y="354"/>
                      </a:lnTo>
                      <a:lnTo>
                        <a:pt x="55" y="355"/>
                      </a:lnTo>
                      <a:lnTo>
                        <a:pt x="44" y="355"/>
                      </a:lnTo>
                      <a:lnTo>
                        <a:pt x="32" y="355"/>
                      </a:lnTo>
                      <a:lnTo>
                        <a:pt x="21" y="354"/>
                      </a:lnTo>
                      <a:lnTo>
                        <a:pt x="11" y="354"/>
                      </a:lnTo>
                      <a:lnTo>
                        <a:pt x="7" y="355"/>
                      </a:lnTo>
                      <a:lnTo>
                        <a:pt x="4" y="358"/>
                      </a:lnTo>
                      <a:lnTo>
                        <a:pt x="2" y="363"/>
                      </a:lnTo>
                      <a:lnTo>
                        <a:pt x="0" y="367"/>
                      </a:lnTo>
                      <a:lnTo>
                        <a:pt x="2" y="373"/>
                      </a:lnTo>
                      <a:lnTo>
                        <a:pt x="6" y="378"/>
                      </a:lnTo>
                      <a:lnTo>
                        <a:pt x="11" y="382"/>
                      </a:lnTo>
                      <a:lnTo>
                        <a:pt x="18" y="386"/>
                      </a:lnTo>
                      <a:lnTo>
                        <a:pt x="26" y="388"/>
                      </a:lnTo>
                      <a:lnTo>
                        <a:pt x="32" y="390"/>
                      </a:lnTo>
                      <a:lnTo>
                        <a:pt x="41" y="395"/>
                      </a:lnTo>
                      <a:lnTo>
                        <a:pt x="49" y="397"/>
                      </a:lnTo>
                      <a:lnTo>
                        <a:pt x="61" y="398"/>
                      </a:lnTo>
                      <a:lnTo>
                        <a:pt x="78" y="400"/>
                      </a:lnTo>
                      <a:lnTo>
                        <a:pt x="86" y="398"/>
                      </a:lnTo>
                      <a:lnTo>
                        <a:pt x="93" y="397"/>
                      </a:lnTo>
                      <a:lnTo>
                        <a:pt x="96" y="396"/>
                      </a:lnTo>
                      <a:lnTo>
                        <a:pt x="99" y="395"/>
                      </a:lnTo>
                      <a:lnTo>
                        <a:pt x="101" y="393"/>
                      </a:lnTo>
                      <a:lnTo>
                        <a:pt x="102" y="390"/>
                      </a:lnTo>
                      <a:lnTo>
                        <a:pt x="107" y="389"/>
                      </a:lnTo>
                      <a:lnTo>
                        <a:pt x="109" y="384"/>
                      </a:lnTo>
                      <a:lnTo>
                        <a:pt x="111" y="380"/>
                      </a:lnTo>
                      <a:lnTo>
                        <a:pt x="112" y="376"/>
                      </a:lnTo>
                      <a:lnTo>
                        <a:pt x="111" y="370"/>
                      </a:lnTo>
                      <a:lnTo>
                        <a:pt x="108" y="364"/>
                      </a:lnTo>
                      <a:lnTo>
                        <a:pt x="105" y="360"/>
                      </a:lnTo>
                      <a:lnTo>
                        <a:pt x="100" y="357"/>
                      </a:lnTo>
                      <a:lnTo>
                        <a:pt x="85" y="353"/>
                      </a:lnTo>
                      <a:close/>
                    </a:path>
                  </a:pathLst>
                </a:custGeom>
                <a:solidFill>
                  <a:srgbClr val="FF7F7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2" name="Freeform 19">
                  <a:extLst>
                    <a:ext uri="{FF2B5EF4-FFF2-40B4-BE49-F238E27FC236}">
                      <a16:creationId xmlns:a16="http://schemas.microsoft.com/office/drawing/2014/main" id="{F6494A03-00EC-4449-9838-3CDE5A704E8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269708" y="4585411"/>
                  <a:ext cx="567565" cy="411409"/>
                </a:xfrm>
                <a:custGeom>
                  <a:avLst/>
                  <a:gdLst>
                    <a:gd name="T0" fmla="*/ 721 w 2475"/>
                    <a:gd name="T1" fmla="*/ 1767 h 1794"/>
                    <a:gd name="T2" fmla="*/ 577 w 2475"/>
                    <a:gd name="T3" fmla="*/ 1733 h 1794"/>
                    <a:gd name="T4" fmla="*/ 2316 w 2475"/>
                    <a:gd name="T5" fmla="*/ 1151 h 1794"/>
                    <a:gd name="T6" fmla="*/ 2368 w 2475"/>
                    <a:gd name="T7" fmla="*/ 1121 h 1794"/>
                    <a:gd name="T8" fmla="*/ 2204 w 2475"/>
                    <a:gd name="T9" fmla="*/ 987 h 1794"/>
                    <a:gd name="T10" fmla="*/ 2305 w 2475"/>
                    <a:gd name="T11" fmla="*/ 894 h 1794"/>
                    <a:gd name="T12" fmla="*/ 2429 w 2475"/>
                    <a:gd name="T13" fmla="*/ 933 h 1794"/>
                    <a:gd name="T14" fmla="*/ 2417 w 2475"/>
                    <a:gd name="T15" fmla="*/ 682 h 1794"/>
                    <a:gd name="T16" fmla="*/ 2471 w 2475"/>
                    <a:gd name="T17" fmla="*/ 862 h 1794"/>
                    <a:gd name="T18" fmla="*/ 1879 w 2475"/>
                    <a:gd name="T19" fmla="*/ 1118 h 1794"/>
                    <a:gd name="T20" fmla="*/ 1922 w 2475"/>
                    <a:gd name="T21" fmla="*/ 1046 h 1794"/>
                    <a:gd name="T22" fmla="*/ 1974 w 2475"/>
                    <a:gd name="T23" fmla="*/ 1082 h 1794"/>
                    <a:gd name="T24" fmla="*/ 2016 w 2475"/>
                    <a:gd name="T25" fmla="*/ 1143 h 1794"/>
                    <a:gd name="T26" fmla="*/ 2197 w 2475"/>
                    <a:gd name="T27" fmla="*/ 1081 h 1794"/>
                    <a:gd name="T28" fmla="*/ 2180 w 2475"/>
                    <a:gd name="T29" fmla="*/ 870 h 1794"/>
                    <a:gd name="T30" fmla="*/ 2081 w 2475"/>
                    <a:gd name="T31" fmla="*/ 764 h 1794"/>
                    <a:gd name="T32" fmla="*/ 2043 w 2475"/>
                    <a:gd name="T33" fmla="*/ 772 h 1794"/>
                    <a:gd name="T34" fmla="*/ 1882 w 2475"/>
                    <a:gd name="T35" fmla="*/ 693 h 1794"/>
                    <a:gd name="T36" fmla="*/ 1920 w 2475"/>
                    <a:gd name="T37" fmla="*/ 578 h 1794"/>
                    <a:gd name="T38" fmla="*/ 1925 w 2475"/>
                    <a:gd name="T39" fmla="*/ 424 h 1794"/>
                    <a:gd name="T40" fmla="*/ 1800 w 2475"/>
                    <a:gd name="T41" fmla="*/ 422 h 1794"/>
                    <a:gd name="T42" fmla="*/ 1747 w 2475"/>
                    <a:gd name="T43" fmla="*/ 505 h 1794"/>
                    <a:gd name="T44" fmla="*/ 1721 w 2475"/>
                    <a:gd name="T45" fmla="*/ 457 h 1794"/>
                    <a:gd name="T46" fmla="*/ 1707 w 2475"/>
                    <a:gd name="T47" fmla="*/ 263 h 1794"/>
                    <a:gd name="T48" fmla="*/ 1596 w 2475"/>
                    <a:gd name="T49" fmla="*/ 467 h 1794"/>
                    <a:gd name="T50" fmla="*/ 1508 w 2475"/>
                    <a:gd name="T51" fmla="*/ 405 h 1794"/>
                    <a:gd name="T52" fmla="*/ 1361 w 2475"/>
                    <a:gd name="T53" fmla="*/ 547 h 1794"/>
                    <a:gd name="T54" fmla="*/ 1221 w 2475"/>
                    <a:gd name="T55" fmla="*/ 614 h 1794"/>
                    <a:gd name="T56" fmla="*/ 1090 w 2475"/>
                    <a:gd name="T57" fmla="*/ 820 h 1794"/>
                    <a:gd name="T58" fmla="*/ 961 w 2475"/>
                    <a:gd name="T59" fmla="*/ 994 h 1794"/>
                    <a:gd name="T60" fmla="*/ 918 w 2475"/>
                    <a:gd name="T61" fmla="*/ 1220 h 1794"/>
                    <a:gd name="T62" fmla="*/ 815 w 2475"/>
                    <a:gd name="T63" fmla="*/ 1224 h 1794"/>
                    <a:gd name="T64" fmla="*/ 883 w 2475"/>
                    <a:gd name="T65" fmla="*/ 1125 h 1794"/>
                    <a:gd name="T66" fmla="*/ 621 w 2475"/>
                    <a:gd name="T67" fmla="*/ 1114 h 1794"/>
                    <a:gd name="T68" fmla="*/ 645 w 2475"/>
                    <a:gd name="T69" fmla="*/ 1280 h 1794"/>
                    <a:gd name="T70" fmla="*/ 836 w 2475"/>
                    <a:gd name="T71" fmla="*/ 1442 h 1794"/>
                    <a:gd name="T72" fmla="*/ 828 w 2475"/>
                    <a:gd name="T73" fmla="*/ 1385 h 1794"/>
                    <a:gd name="T74" fmla="*/ 799 w 2475"/>
                    <a:gd name="T75" fmla="*/ 1299 h 1794"/>
                    <a:gd name="T76" fmla="*/ 943 w 2475"/>
                    <a:gd name="T77" fmla="*/ 1318 h 1794"/>
                    <a:gd name="T78" fmla="*/ 1193 w 2475"/>
                    <a:gd name="T79" fmla="*/ 1188 h 1794"/>
                    <a:gd name="T80" fmla="*/ 1271 w 2475"/>
                    <a:gd name="T81" fmla="*/ 1126 h 1794"/>
                    <a:gd name="T82" fmla="*/ 1472 w 2475"/>
                    <a:gd name="T83" fmla="*/ 1147 h 1794"/>
                    <a:gd name="T84" fmla="*/ 1444 w 2475"/>
                    <a:gd name="T85" fmla="*/ 1078 h 1794"/>
                    <a:gd name="T86" fmla="*/ 1665 w 2475"/>
                    <a:gd name="T87" fmla="*/ 1145 h 1794"/>
                    <a:gd name="T88" fmla="*/ 51 w 2475"/>
                    <a:gd name="T89" fmla="*/ 651 h 1794"/>
                    <a:gd name="T90" fmla="*/ 42 w 2475"/>
                    <a:gd name="T91" fmla="*/ 734 h 1794"/>
                    <a:gd name="T92" fmla="*/ 390 w 2475"/>
                    <a:gd name="T93" fmla="*/ 541 h 1794"/>
                    <a:gd name="T94" fmla="*/ 231 w 2475"/>
                    <a:gd name="T95" fmla="*/ 623 h 1794"/>
                    <a:gd name="T96" fmla="*/ 466 w 2475"/>
                    <a:gd name="T97" fmla="*/ 619 h 1794"/>
                    <a:gd name="T98" fmla="*/ 674 w 2475"/>
                    <a:gd name="T99" fmla="*/ 454 h 1794"/>
                    <a:gd name="T100" fmla="*/ 600 w 2475"/>
                    <a:gd name="T101" fmla="*/ 432 h 1794"/>
                    <a:gd name="T102" fmla="*/ 548 w 2475"/>
                    <a:gd name="T103" fmla="*/ 531 h 1794"/>
                    <a:gd name="T104" fmla="*/ 694 w 2475"/>
                    <a:gd name="T105" fmla="*/ 514 h 1794"/>
                    <a:gd name="T106" fmla="*/ 721 w 2475"/>
                    <a:gd name="T107" fmla="*/ 365 h 1794"/>
                    <a:gd name="T108" fmla="*/ 887 w 2475"/>
                    <a:gd name="T109" fmla="*/ 254 h 1794"/>
                    <a:gd name="T110" fmla="*/ 1068 w 2475"/>
                    <a:gd name="T111" fmla="*/ 123 h 1794"/>
                    <a:gd name="T112" fmla="*/ 1185 w 2475"/>
                    <a:gd name="T113" fmla="*/ 28 h 1794"/>
                    <a:gd name="T114" fmla="*/ 1242 w 2475"/>
                    <a:gd name="T115" fmla="*/ 65 h 1794"/>
                    <a:gd name="T116" fmla="*/ 1322 w 2475"/>
                    <a:gd name="T117" fmla="*/ 105 h 1794"/>
                    <a:gd name="T118" fmla="*/ 1213 w 2475"/>
                    <a:gd name="T119" fmla="*/ 124 h 1794"/>
                    <a:gd name="T120" fmla="*/ 1073 w 2475"/>
                    <a:gd name="T121" fmla="*/ 230 h 1794"/>
                    <a:gd name="T122" fmla="*/ 941 w 2475"/>
                    <a:gd name="T123" fmla="*/ 346 h 1794"/>
                    <a:gd name="T124" fmla="*/ 824 w 2475"/>
                    <a:gd name="T125" fmla="*/ 477 h 17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475" h="1794">
                      <a:moveTo>
                        <a:pt x="597" y="1725"/>
                      </a:moveTo>
                      <a:lnTo>
                        <a:pt x="601" y="1727"/>
                      </a:lnTo>
                      <a:lnTo>
                        <a:pt x="607" y="1728"/>
                      </a:lnTo>
                      <a:lnTo>
                        <a:pt x="613" y="1729"/>
                      </a:lnTo>
                      <a:lnTo>
                        <a:pt x="619" y="1729"/>
                      </a:lnTo>
                      <a:lnTo>
                        <a:pt x="631" y="1729"/>
                      </a:lnTo>
                      <a:lnTo>
                        <a:pt x="643" y="1726"/>
                      </a:lnTo>
                      <a:lnTo>
                        <a:pt x="654" y="1720"/>
                      </a:lnTo>
                      <a:lnTo>
                        <a:pt x="665" y="1713"/>
                      </a:lnTo>
                      <a:lnTo>
                        <a:pt x="678" y="1704"/>
                      </a:lnTo>
                      <a:lnTo>
                        <a:pt x="687" y="1694"/>
                      </a:lnTo>
                      <a:lnTo>
                        <a:pt x="694" y="1707"/>
                      </a:lnTo>
                      <a:lnTo>
                        <a:pt x="700" y="1722"/>
                      </a:lnTo>
                      <a:lnTo>
                        <a:pt x="702" y="1726"/>
                      </a:lnTo>
                      <a:lnTo>
                        <a:pt x="705" y="1729"/>
                      </a:lnTo>
                      <a:lnTo>
                        <a:pt x="707" y="1732"/>
                      </a:lnTo>
                      <a:lnTo>
                        <a:pt x="711" y="1733"/>
                      </a:lnTo>
                      <a:lnTo>
                        <a:pt x="719" y="1734"/>
                      </a:lnTo>
                      <a:lnTo>
                        <a:pt x="727" y="1735"/>
                      </a:lnTo>
                      <a:lnTo>
                        <a:pt x="725" y="1746"/>
                      </a:lnTo>
                      <a:lnTo>
                        <a:pt x="722" y="1757"/>
                      </a:lnTo>
                      <a:lnTo>
                        <a:pt x="721" y="1767"/>
                      </a:lnTo>
                      <a:lnTo>
                        <a:pt x="720" y="1780"/>
                      </a:lnTo>
                      <a:lnTo>
                        <a:pt x="718" y="1786"/>
                      </a:lnTo>
                      <a:lnTo>
                        <a:pt x="714" y="1791"/>
                      </a:lnTo>
                      <a:lnTo>
                        <a:pt x="711" y="1793"/>
                      </a:lnTo>
                      <a:lnTo>
                        <a:pt x="705" y="1794"/>
                      </a:lnTo>
                      <a:lnTo>
                        <a:pt x="693" y="1794"/>
                      </a:lnTo>
                      <a:lnTo>
                        <a:pt x="681" y="1793"/>
                      </a:lnTo>
                      <a:lnTo>
                        <a:pt x="670" y="1791"/>
                      </a:lnTo>
                      <a:lnTo>
                        <a:pt x="659" y="1788"/>
                      </a:lnTo>
                      <a:lnTo>
                        <a:pt x="644" y="1785"/>
                      </a:lnTo>
                      <a:lnTo>
                        <a:pt x="631" y="1783"/>
                      </a:lnTo>
                      <a:lnTo>
                        <a:pt x="625" y="1780"/>
                      </a:lnTo>
                      <a:lnTo>
                        <a:pt x="619" y="1778"/>
                      </a:lnTo>
                      <a:lnTo>
                        <a:pt x="612" y="1774"/>
                      </a:lnTo>
                      <a:lnTo>
                        <a:pt x="607" y="1770"/>
                      </a:lnTo>
                      <a:lnTo>
                        <a:pt x="597" y="1762"/>
                      </a:lnTo>
                      <a:lnTo>
                        <a:pt x="585" y="1752"/>
                      </a:lnTo>
                      <a:lnTo>
                        <a:pt x="580" y="1747"/>
                      </a:lnTo>
                      <a:lnTo>
                        <a:pt x="577" y="1741"/>
                      </a:lnTo>
                      <a:lnTo>
                        <a:pt x="576" y="1739"/>
                      </a:lnTo>
                      <a:lnTo>
                        <a:pt x="576" y="1735"/>
                      </a:lnTo>
                      <a:lnTo>
                        <a:pt x="577" y="1733"/>
                      </a:lnTo>
                      <a:lnTo>
                        <a:pt x="578" y="1731"/>
                      </a:lnTo>
                      <a:lnTo>
                        <a:pt x="597" y="1725"/>
                      </a:lnTo>
                      <a:close/>
                      <a:moveTo>
                        <a:pt x="2471" y="949"/>
                      </a:moveTo>
                      <a:lnTo>
                        <a:pt x="2471" y="967"/>
                      </a:lnTo>
                      <a:lnTo>
                        <a:pt x="2470" y="985"/>
                      </a:lnTo>
                      <a:lnTo>
                        <a:pt x="2468" y="1002"/>
                      </a:lnTo>
                      <a:lnTo>
                        <a:pt x="2464" y="1020"/>
                      </a:lnTo>
                      <a:lnTo>
                        <a:pt x="2458" y="1056"/>
                      </a:lnTo>
                      <a:lnTo>
                        <a:pt x="2455" y="1093"/>
                      </a:lnTo>
                      <a:lnTo>
                        <a:pt x="2455" y="1099"/>
                      </a:lnTo>
                      <a:lnTo>
                        <a:pt x="2454" y="1105"/>
                      </a:lnTo>
                      <a:lnTo>
                        <a:pt x="2451" y="1110"/>
                      </a:lnTo>
                      <a:lnTo>
                        <a:pt x="2450" y="1114"/>
                      </a:lnTo>
                      <a:lnTo>
                        <a:pt x="2443" y="1122"/>
                      </a:lnTo>
                      <a:lnTo>
                        <a:pt x="2436" y="1130"/>
                      </a:lnTo>
                      <a:lnTo>
                        <a:pt x="2427" y="1135"/>
                      </a:lnTo>
                      <a:lnTo>
                        <a:pt x="2416" y="1140"/>
                      </a:lnTo>
                      <a:lnTo>
                        <a:pt x="2404" y="1144"/>
                      </a:lnTo>
                      <a:lnTo>
                        <a:pt x="2392" y="1146"/>
                      </a:lnTo>
                      <a:lnTo>
                        <a:pt x="2367" y="1150"/>
                      </a:lnTo>
                      <a:lnTo>
                        <a:pt x="2341" y="1151"/>
                      </a:lnTo>
                      <a:lnTo>
                        <a:pt x="2316" y="1151"/>
                      </a:lnTo>
                      <a:lnTo>
                        <a:pt x="2296" y="1151"/>
                      </a:lnTo>
                      <a:lnTo>
                        <a:pt x="2284" y="1151"/>
                      </a:lnTo>
                      <a:lnTo>
                        <a:pt x="2268" y="1151"/>
                      </a:lnTo>
                      <a:lnTo>
                        <a:pt x="2250" y="1152"/>
                      </a:lnTo>
                      <a:lnTo>
                        <a:pt x="2235" y="1152"/>
                      </a:lnTo>
                      <a:lnTo>
                        <a:pt x="2228" y="1152"/>
                      </a:lnTo>
                      <a:lnTo>
                        <a:pt x="2223" y="1151"/>
                      </a:lnTo>
                      <a:lnTo>
                        <a:pt x="2220" y="1150"/>
                      </a:lnTo>
                      <a:lnTo>
                        <a:pt x="2217" y="1148"/>
                      </a:lnTo>
                      <a:lnTo>
                        <a:pt x="2219" y="1147"/>
                      </a:lnTo>
                      <a:lnTo>
                        <a:pt x="2222" y="1144"/>
                      </a:lnTo>
                      <a:lnTo>
                        <a:pt x="2228" y="1141"/>
                      </a:lnTo>
                      <a:lnTo>
                        <a:pt x="2237" y="1138"/>
                      </a:lnTo>
                      <a:lnTo>
                        <a:pt x="2249" y="1135"/>
                      </a:lnTo>
                      <a:lnTo>
                        <a:pt x="2267" y="1134"/>
                      </a:lnTo>
                      <a:lnTo>
                        <a:pt x="2288" y="1132"/>
                      </a:lnTo>
                      <a:lnTo>
                        <a:pt x="2310" y="1131"/>
                      </a:lnTo>
                      <a:lnTo>
                        <a:pt x="2333" y="1130"/>
                      </a:lnTo>
                      <a:lnTo>
                        <a:pt x="2350" y="1127"/>
                      </a:lnTo>
                      <a:lnTo>
                        <a:pt x="2358" y="1126"/>
                      </a:lnTo>
                      <a:lnTo>
                        <a:pt x="2364" y="1124"/>
                      </a:lnTo>
                      <a:lnTo>
                        <a:pt x="2368" y="1121"/>
                      </a:lnTo>
                      <a:lnTo>
                        <a:pt x="2369" y="1119"/>
                      </a:lnTo>
                      <a:lnTo>
                        <a:pt x="2369" y="1115"/>
                      </a:lnTo>
                      <a:lnTo>
                        <a:pt x="2368" y="1111"/>
                      </a:lnTo>
                      <a:lnTo>
                        <a:pt x="2365" y="1106"/>
                      </a:lnTo>
                      <a:lnTo>
                        <a:pt x="2363" y="1102"/>
                      </a:lnTo>
                      <a:lnTo>
                        <a:pt x="2356" y="1093"/>
                      </a:lnTo>
                      <a:lnTo>
                        <a:pt x="2348" y="1084"/>
                      </a:lnTo>
                      <a:lnTo>
                        <a:pt x="2338" y="1074"/>
                      </a:lnTo>
                      <a:lnTo>
                        <a:pt x="2329" y="1067"/>
                      </a:lnTo>
                      <a:lnTo>
                        <a:pt x="2320" y="1061"/>
                      </a:lnTo>
                      <a:lnTo>
                        <a:pt x="2313" y="1058"/>
                      </a:lnTo>
                      <a:lnTo>
                        <a:pt x="2282" y="1047"/>
                      </a:lnTo>
                      <a:lnTo>
                        <a:pt x="2253" y="1040"/>
                      </a:lnTo>
                      <a:lnTo>
                        <a:pt x="2247" y="1038"/>
                      </a:lnTo>
                      <a:lnTo>
                        <a:pt x="2240" y="1035"/>
                      </a:lnTo>
                      <a:lnTo>
                        <a:pt x="2234" y="1032"/>
                      </a:lnTo>
                      <a:lnTo>
                        <a:pt x="2228" y="1027"/>
                      </a:lnTo>
                      <a:lnTo>
                        <a:pt x="2222" y="1022"/>
                      </a:lnTo>
                      <a:lnTo>
                        <a:pt x="2217" y="1015"/>
                      </a:lnTo>
                      <a:lnTo>
                        <a:pt x="2213" y="1008"/>
                      </a:lnTo>
                      <a:lnTo>
                        <a:pt x="2208" y="1000"/>
                      </a:lnTo>
                      <a:lnTo>
                        <a:pt x="2204" y="987"/>
                      </a:lnTo>
                      <a:lnTo>
                        <a:pt x="2203" y="973"/>
                      </a:lnTo>
                      <a:lnTo>
                        <a:pt x="2203" y="956"/>
                      </a:lnTo>
                      <a:lnTo>
                        <a:pt x="2202" y="940"/>
                      </a:lnTo>
                      <a:lnTo>
                        <a:pt x="2201" y="923"/>
                      </a:lnTo>
                      <a:lnTo>
                        <a:pt x="2199" y="908"/>
                      </a:lnTo>
                      <a:lnTo>
                        <a:pt x="2196" y="902"/>
                      </a:lnTo>
                      <a:lnTo>
                        <a:pt x="2193" y="895"/>
                      </a:lnTo>
                      <a:lnTo>
                        <a:pt x="2189" y="890"/>
                      </a:lnTo>
                      <a:lnTo>
                        <a:pt x="2184" y="886"/>
                      </a:lnTo>
                      <a:lnTo>
                        <a:pt x="2193" y="887"/>
                      </a:lnTo>
                      <a:lnTo>
                        <a:pt x="2202" y="889"/>
                      </a:lnTo>
                      <a:lnTo>
                        <a:pt x="2210" y="893"/>
                      </a:lnTo>
                      <a:lnTo>
                        <a:pt x="2219" y="897"/>
                      </a:lnTo>
                      <a:lnTo>
                        <a:pt x="2228" y="902"/>
                      </a:lnTo>
                      <a:lnTo>
                        <a:pt x="2236" y="906"/>
                      </a:lnTo>
                      <a:lnTo>
                        <a:pt x="2246" y="908"/>
                      </a:lnTo>
                      <a:lnTo>
                        <a:pt x="2256" y="909"/>
                      </a:lnTo>
                      <a:lnTo>
                        <a:pt x="2264" y="909"/>
                      </a:lnTo>
                      <a:lnTo>
                        <a:pt x="2274" y="908"/>
                      </a:lnTo>
                      <a:lnTo>
                        <a:pt x="2282" y="906"/>
                      </a:lnTo>
                      <a:lnTo>
                        <a:pt x="2289" y="902"/>
                      </a:lnTo>
                      <a:lnTo>
                        <a:pt x="2305" y="894"/>
                      </a:lnTo>
                      <a:lnTo>
                        <a:pt x="2320" y="884"/>
                      </a:lnTo>
                      <a:lnTo>
                        <a:pt x="2334" y="873"/>
                      </a:lnTo>
                      <a:lnTo>
                        <a:pt x="2348" y="860"/>
                      </a:lnTo>
                      <a:lnTo>
                        <a:pt x="2361" y="848"/>
                      </a:lnTo>
                      <a:lnTo>
                        <a:pt x="2372" y="836"/>
                      </a:lnTo>
                      <a:lnTo>
                        <a:pt x="2380" y="821"/>
                      </a:lnTo>
                      <a:lnTo>
                        <a:pt x="2384" y="810"/>
                      </a:lnTo>
                      <a:lnTo>
                        <a:pt x="2387" y="814"/>
                      </a:lnTo>
                      <a:lnTo>
                        <a:pt x="2387" y="823"/>
                      </a:lnTo>
                      <a:lnTo>
                        <a:pt x="2387" y="836"/>
                      </a:lnTo>
                      <a:lnTo>
                        <a:pt x="2387" y="851"/>
                      </a:lnTo>
                      <a:lnTo>
                        <a:pt x="2384" y="882"/>
                      </a:lnTo>
                      <a:lnTo>
                        <a:pt x="2385" y="902"/>
                      </a:lnTo>
                      <a:lnTo>
                        <a:pt x="2388" y="912"/>
                      </a:lnTo>
                      <a:lnTo>
                        <a:pt x="2391" y="919"/>
                      </a:lnTo>
                      <a:lnTo>
                        <a:pt x="2396" y="924"/>
                      </a:lnTo>
                      <a:lnTo>
                        <a:pt x="2401" y="929"/>
                      </a:lnTo>
                      <a:lnTo>
                        <a:pt x="2405" y="932"/>
                      </a:lnTo>
                      <a:lnTo>
                        <a:pt x="2411" y="934"/>
                      </a:lnTo>
                      <a:lnTo>
                        <a:pt x="2417" y="935"/>
                      </a:lnTo>
                      <a:lnTo>
                        <a:pt x="2423" y="934"/>
                      </a:lnTo>
                      <a:lnTo>
                        <a:pt x="2429" y="933"/>
                      </a:lnTo>
                      <a:lnTo>
                        <a:pt x="2434" y="930"/>
                      </a:lnTo>
                      <a:lnTo>
                        <a:pt x="2439" y="926"/>
                      </a:lnTo>
                      <a:lnTo>
                        <a:pt x="2444" y="921"/>
                      </a:lnTo>
                      <a:lnTo>
                        <a:pt x="2448" y="916"/>
                      </a:lnTo>
                      <a:lnTo>
                        <a:pt x="2451" y="909"/>
                      </a:lnTo>
                      <a:lnTo>
                        <a:pt x="2454" y="901"/>
                      </a:lnTo>
                      <a:lnTo>
                        <a:pt x="2455" y="893"/>
                      </a:lnTo>
                      <a:lnTo>
                        <a:pt x="2457" y="871"/>
                      </a:lnTo>
                      <a:lnTo>
                        <a:pt x="2458" y="851"/>
                      </a:lnTo>
                      <a:lnTo>
                        <a:pt x="2458" y="833"/>
                      </a:lnTo>
                      <a:lnTo>
                        <a:pt x="2457" y="812"/>
                      </a:lnTo>
                      <a:lnTo>
                        <a:pt x="2456" y="794"/>
                      </a:lnTo>
                      <a:lnTo>
                        <a:pt x="2452" y="775"/>
                      </a:lnTo>
                      <a:lnTo>
                        <a:pt x="2448" y="756"/>
                      </a:lnTo>
                      <a:lnTo>
                        <a:pt x="2442" y="736"/>
                      </a:lnTo>
                      <a:lnTo>
                        <a:pt x="2434" y="723"/>
                      </a:lnTo>
                      <a:lnTo>
                        <a:pt x="2421" y="704"/>
                      </a:lnTo>
                      <a:lnTo>
                        <a:pt x="2418" y="698"/>
                      </a:lnTo>
                      <a:lnTo>
                        <a:pt x="2417" y="693"/>
                      </a:lnTo>
                      <a:lnTo>
                        <a:pt x="2416" y="690"/>
                      </a:lnTo>
                      <a:lnTo>
                        <a:pt x="2416" y="685"/>
                      </a:lnTo>
                      <a:lnTo>
                        <a:pt x="2417" y="682"/>
                      </a:lnTo>
                      <a:lnTo>
                        <a:pt x="2421" y="679"/>
                      </a:lnTo>
                      <a:lnTo>
                        <a:pt x="2425" y="677"/>
                      </a:lnTo>
                      <a:lnTo>
                        <a:pt x="2431" y="676"/>
                      </a:lnTo>
                      <a:lnTo>
                        <a:pt x="2436" y="673"/>
                      </a:lnTo>
                      <a:lnTo>
                        <a:pt x="2444" y="670"/>
                      </a:lnTo>
                      <a:lnTo>
                        <a:pt x="2448" y="669"/>
                      </a:lnTo>
                      <a:lnTo>
                        <a:pt x="2451" y="669"/>
                      </a:lnTo>
                      <a:lnTo>
                        <a:pt x="2454" y="670"/>
                      </a:lnTo>
                      <a:lnTo>
                        <a:pt x="2455" y="672"/>
                      </a:lnTo>
                      <a:lnTo>
                        <a:pt x="2459" y="676"/>
                      </a:lnTo>
                      <a:lnTo>
                        <a:pt x="2463" y="679"/>
                      </a:lnTo>
                      <a:lnTo>
                        <a:pt x="2465" y="685"/>
                      </a:lnTo>
                      <a:lnTo>
                        <a:pt x="2468" y="691"/>
                      </a:lnTo>
                      <a:lnTo>
                        <a:pt x="2471" y="706"/>
                      </a:lnTo>
                      <a:lnTo>
                        <a:pt x="2474" y="723"/>
                      </a:lnTo>
                      <a:lnTo>
                        <a:pt x="2475" y="757"/>
                      </a:lnTo>
                      <a:lnTo>
                        <a:pt x="2475" y="783"/>
                      </a:lnTo>
                      <a:lnTo>
                        <a:pt x="2475" y="800"/>
                      </a:lnTo>
                      <a:lnTo>
                        <a:pt x="2472" y="816"/>
                      </a:lnTo>
                      <a:lnTo>
                        <a:pt x="2471" y="833"/>
                      </a:lnTo>
                      <a:lnTo>
                        <a:pt x="2471" y="849"/>
                      </a:lnTo>
                      <a:lnTo>
                        <a:pt x="2471" y="862"/>
                      </a:lnTo>
                      <a:lnTo>
                        <a:pt x="2471" y="876"/>
                      </a:lnTo>
                      <a:lnTo>
                        <a:pt x="2472" y="889"/>
                      </a:lnTo>
                      <a:lnTo>
                        <a:pt x="2472" y="901"/>
                      </a:lnTo>
                      <a:lnTo>
                        <a:pt x="2471" y="949"/>
                      </a:lnTo>
                      <a:close/>
                      <a:moveTo>
                        <a:pt x="1866" y="1140"/>
                      </a:moveTo>
                      <a:lnTo>
                        <a:pt x="1879" y="1139"/>
                      </a:lnTo>
                      <a:lnTo>
                        <a:pt x="1900" y="1137"/>
                      </a:lnTo>
                      <a:lnTo>
                        <a:pt x="1912" y="1137"/>
                      </a:lnTo>
                      <a:lnTo>
                        <a:pt x="1921" y="1135"/>
                      </a:lnTo>
                      <a:lnTo>
                        <a:pt x="1928" y="1133"/>
                      </a:lnTo>
                      <a:lnTo>
                        <a:pt x="1932" y="1131"/>
                      </a:lnTo>
                      <a:lnTo>
                        <a:pt x="1933" y="1131"/>
                      </a:lnTo>
                      <a:lnTo>
                        <a:pt x="1933" y="1130"/>
                      </a:lnTo>
                      <a:lnTo>
                        <a:pt x="1933" y="1130"/>
                      </a:lnTo>
                      <a:lnTo>
                        <a:pt x="1932" y="1130"/>
                      </a:lnTo>
                      <a:lnTo>
                        <a:pt x="1927" y="1127"/>
                      </a:lnTo>
                      <a:lnTo>
                        <a:pt x="1921" y="1126"/>
                      </a:lnTo>
                      <a:lnTo>
                        <a:pt x="1908" y="1122"/>
                      </a:lnTo>
                      <a:lnTo>
                        <a:pt x="1898" y="1120"/>
                      </a:lnTo>
                      <a:lnTo>
                        <a:pt x="1891" y="1120"/>
                      </a:lnTo>
                      <a:lnTo>
                        <a:pt x="1884" y="1119"/>
                      </a:lnTo>
                      <a:lnTo>
                        <a:pt x="1879" y="1118"/>
                      </a:lnTo>
                      <a:lnTo>
                        <a:pt x="1874" y="1114"/>
                      </a:lnTo>
                      <a:lnTo>
                        <a:pt x="1871" y="1111"/>
                      </a:lnTo>
                      <a:lnTo>
                        <a:pt x="1868" y="1105"/>
                      </a:lnTo>
                      <a:lnTo>
                        <a:pt x="1867" y="1098"/>
                      </a:lnTo>
                      <a:lnTo>
                        <a:pt x="1866" y="1089"/>
                      </a:lnTo>
                      <a:lnTo>
                        <a:pt x="1878" y="1089"/>
                      </a:lnTo>
                      <a:lnTo>
                        <a:pt x="1887" y="1089"/>
                      </a:lnTo>
                      <a:lnTo>
                        <a:pt x="1897" y="1088"/>
                      </a:lnTo>
                      <a:lnTo>
                        <a:pt x="1908" y="1086"/>
                      </a:lnTo>
                      <a:lnTo>
                        <a:pt x="1914" y="1086"/>
                      </a:lnTo>
                      <a:lnTo>
                        <a:pt x="1921" y="1086"/>
                      </a:lnTo>
                      <a:lnTo>
                        <a:pt x="1926" y="1086"/>
                      </a:lnTo>
                      <a:lnTo>
                        <a:pt x="1932" y="1087"/>
                      </a:lnTo>
                      <a:lnTo>
                        <a:pt x="1942" y="1089"/>
                      </a:lnTo>
                      <a:lnTo>
                        <a:pt x="1954" y="1091"/>
                      </a:lnTo>
                      <a:lnTo>
                        <a:pt x="1952" y="1084"/>
                      </a:lnTo>
                      <a:lnTo>
                        <a:pt x="1949" y="1077"/>
                      </a:lnTo>
                      <a:lnTo>
                        <a:pt x="1944" y="1071"/>
                      </a:lnTo>
                      <a:lnTo>
                        <a:pt x="1939" y="1065"/>
                      </a:lnTo>
                      <a:lnTo>
                        <a:pt x="1933" y="1059"/>
                      </a:lnTo>
                      <a:lnTo>
                        <a:pt x="1927" y="1053"/>
                      </a:lnTo>
                      <a:lnTo>
                        <a:pt x="1922" y="1046"/>
                      </a:lnTo>
                      <a:lnTo>
                        <a:pt x="1920" y="1038"/>
                      </a:lnTo>
                      <a:lnTo>
                        <a:pt x="1918" y="1026"/>
                      </a:lnTo>
                      <a:lnTo>
                        <a:pt x="1913" y="1006"/>
                      </a:lnTo>
                      <a:lnTo>
                        <a:pt x="1911" y="998"/>
                      </a:lnTo>
                      <a:lnTo>
                        <a:pt x="1911" y="992"/>
                      </a:lnTo>
                      <a:lnTo>
                        <a:pt x="1911" y="989"/>
                      </a:lnTo>
                      <a:lnTo>
                        <a:pt x="1912" y="989"/>
                      </a:lnTo>
                      <a:lnTo>
                        <a:pt x="1913" y="990"/>
                      </a:lnTo>
                      <a:lnTo>
                        <a:pt x="1914" y="994"/>
                      </a:lnTo>
                      <a:lnTo>
                        <a:pt x="1919" y="1005"/>
                      </a:lnTo>
                      <a:lnTo>
                        <a:pt x="1924" y="1015"/>
                      </a:lnTo>
                      <a:lnTo>
                        <a:pt x="1928" y="1026"/>
                      </a:lnTo>
                      <a:lnTo>
                        <a:pt x="1934" y="1036"/>
                      </a:lnTo>
                      <a:lnTo>
                        <a:pt x="1939" y="1042"/>
                      </a:lnTo>
                      <a:lnTo>
                        <a:pt x="1944" y="1046"/>
                      </a:lnTo>
                      <a:lnTo>
                        <a:pt x="1948" y="1047"/>
                      </a:lnTo>
                      <a:lnTo>
                        <a:pt x="1952" y="1048"/>
                      </a:lnTo>
                      <a:lnTo>
                        <a:pt x="1961" y="1047"/>
                      </a:lnTo>
                      <a:lnTo>
                        <a:pt x="1971" y="1048"/>
                      </a:lnTo>
                      <a:lnTo>
                        <a:pt x="1972" y="1060"/>
                      </a:lnTo>
                      <a:lnTo>
                        <a:pt x="1972" y="1072"/>
                      </a:lnTo>
                      <a:lnTo>
                        <a:pt x="1974" y="1082"/>
                      </a:lnTo>
                      <a:lnTo>
                        <a:pt x="1978" y="1093"/>
                      </a:lnTo>
                      <a:lnTo>
                        <a:pt x="1980" y="1099"/>
                      </a:lnTo>
                      <a:lnTo>
                        <a:pt x="1983" y="1102"/>
                      </a:lnTo>
                      <a:lnTo>
                        <a:pt x="1986" y="1107"/>
                      </a:lnTo>
                      <a:lnTo>
                        <a:pt x="1991" y="1111"/>
                      </a:lnTo>
                      <a:lnTo>
                        <a:pt x="1995" y="1114"/>
                      </a:lnTo>
                      <a:lnTo>
                        <a:pt x="2000" y="1117"/>
                      </a:lnTo>
                      <a:lnTo>
                        <a:pt x="2006" y="1119"/>
                      </a:lnTo>
                      <a:lnTo>
                        <a:pt x="2012" y="1121"/>
                      </a:lnTo>
                      <a:lnTo>
                        <a:pt x="2007" y="1125"/>
                      </a:lnTo>
                      <a:lnTo>
                        <a:pt x="1995" y="1130"/>
                      </a:lnTo>
                      <a:lnTo>
                        <a:pt x="1983" y="1133"/>
                      </a:lnTo>
                      <a:lnTo>
                        <a:pt x="1975" y="1135"/>
                      </a:lnTo>
                      <a:lnTo>
                        <a:pt x="1968" y="1135"/>
                      </a:lnTo>
                      <a:lnTo>
                        <a:pt x="1955" y="1135"/>
                      </a:lnTo>
                      <a:lnTo>
                        <a:pt x="1945" y="1137"/>
                      </a:lnTo>
                      <a:lnTo>
                        <a:pt x="1939" y="1138"/>
                      </a:lnTo>
                      <a:lnTo>
                        <a:pt x="1953" y="1139"/>
                      </a:lnTo>
                      <a:lnTo>
                        <a:pt x="1968" y="1140"/>
                      </a:lnTo>
                      <a:lnTo>
                        <a:pt x="1983" y="1141"/>
                      </a:lnTo>
                      <a:lnTo>
                        <a:pt x="1999" y="1143"/>
                      </a:lnTo>
                      <a:lnTo>
                        <a:pt x="2016" y="1143"/>
                      </a:lnTo>
                      <a:lnTo>
                        <a:pt x="2033" y="1141"/>
                      </a:lnTo>
                      <a:lnTo>
                        <a:pt x="2050" y="1141"/>
                      </a:lnTo>
                      <a:lnTo>
                        <a:pt x="2067" y="1144"/>
                      </a:lnTo>
                      <a:lnTo>
                        <a:pt x="2081" y="1146"/>
                      </a:lnTo>
                      <a:lnTo>
                        <a:pt x="2097" y="1147"/>
                      </a:lnTo>
                      <a:lnTo>
                        <a:pt x="2114" y="1148"/>
                      </a:lnTo>
                      <a:lnTo>
                        <a:pt x="2133" y="1148"/>
                      </a:lnTo>
                      <a:lnTo>
                        <a:pt x="2150" y="1148"/>
                      </a:lnTo>
                      <a:lnTo>
                        <a:pt x="2168" y="1146"/>
                      </a:lnTo>
                      <a:lnTo>
                        <a:pt x="2183" y="1144"/>
                      </a:lnTo>
                      <a:lnTo>
                        <a:pt x="2196" y="1139"/>
                      </a:lnTo>
                      <a:lnTo>
                        <a:pt x="2206" y="1132"/>
                      </a:lnTo>
                      <a:lnTo>
                        <a:pt x="2215" y="1124"/>
                      </a:lnTo>
                      <a:lnTo>
                        <a:pt x="2220" y="1120"/>
                      </a:lnTo>
                      <a:lnTo>
                        <a:pt x="2224" y="1117"/>
                      </a:lnTo>
                      <a:lnTo>
                        <a:pt x="2230" y="1113"/>
                      </a:lnTo>
                      <a:lnTo>
                        <a:pt x="2236" y="1111"/>
                      </a:lnTo>
                      <a:lnTo>
                        <a:pt x="2233" y="1106"/>
                      </a:lnTo>
                      <a:lnTo>
                        <a:pt x="2229" y="1100"/>
                      </a:lnTo>
                      <a:lnTo>
                        <a:pt x="2219" y="1097"/>
                      </a:lnTo>
                      <a:lnTo>
                        <a:pt x="2208" y="1089"/>
                      </a:lnTo>
                      <a:lnTo>
                        <a:pt x="2197" y="1081"/>
                      </a:lnTo>
                      <a:lnTo>
                        <a:pt x="2188" y="1074"/>
                      </a:lnTo>
                      <a:lnTo>
                        <a:pt x="2186" y="1065"/>
                      </a:lnTo>
                      <a:lnTo>
                        <a:pt x="2183" y="1055"/>
                      </a:lnTo>
                      <a:lnTo>
                        <a:pt x="2182" y="1046"/>
                      </a:lnTo>
                      <a:lnTo>
                        <a:pt x="2181" y="1036"/>
                      </a:lnTo>
                      <a:lnTo>
                        <a:pt x="2181" y="1019"/>
                      </a:lnTo>
                      <a:lnTo>
                        <a:pt x="2182" y="1001"/>
                      </a:lnTo>
                      <a:lnTo>
                        <a:pt x="2183" y="983"/>
                      </a:lnTo>
                      <a:lnTo>
                        <a:pt x="2183" y="966"/>
                      </a:lnTo>
                      <a:lnTo>
                        <a:pt x="2182" y="957"/>
                      </a:lnTo>
                      <a:lnTo>
                        <a:pt x="2181" y="948"/>
                      </a:lnTo>
                      <a:lnTo>
                        <a:pt x="2179" y="940"/>
                      </a:lnTo>
                      <a:lnTo>
                        <a:pt x="2176" y="933"/>
                      </a:lnTo>
                      <a:lnTo>
                        <a:pt x="2170" y="919"/>
                      </a:lnTo>
                      <a:lnTo>
                        <a:pt x="2166" y="907"/>
                      </a:lnTo>
                      <a:lnTo>
                        <a:pt x="2162" y="897"/>
                      </a:lnTo>
                      <a:lnTo>
                        <a:pt x="2161" y="890"/>
                      </a:lnTo>
                      <a:lnTo>
                        <a:pt x="2161" y="887"/>
                      </a:lnTo>
                      <a:lnTo>
                        <a:pt x="2163" y="883"/>
                      </a:lnTo>
                      <a:lnTo>
                        <a:pt x="2166" y="880"/>
                      </a:lnTo>
                      <a:lnTo>
                        <a:pt x="2169" y="877"/>
                      </a:lnTo>
                      <a:lnTo>
                        <a:pt x="2180" y="870"/>
                      </a:lnTo>
                      <a:lnTo>
                        <a:pt x="2196" y="864"/>
                      </a:lnTo>
                      <a:lnTo>
                        <a:pt x="2199" y="863"/>
                      </a:lnTo>
                      <a:lnTo>
                        <a:pt x="2200" y="861"/>
                      </a:lnTo>
                      <a:lnTo>
                        <a:pt x="2201" y="858"/>
                      </a:lnTo>
                      <a:lnTo>
                        <a:pt x="2201" y="856"/>
                      </a:lnTo>
                      <a:lnTo>
                        <a:pt x="2200" y="849"/>
                      </a:lnTo>
                      <a:lnTo>
                        <a:pt x="2196" y="841"/>
                      </a:lnTo>
                      <a:lnTo>
                        <a:pt x="2189" y="827"/>
                      </a:lnTo>
                      <a:lnTo>
                        <a:pt x="2182" y="817"/>
                      </a:lnTo>
                      <a:lnTo>
                        <a:pt x="2166" y="817"/>
                      </a:lnTo>
                      <a:lnTo>
                        <a:pt x="2149" y="817"/>
                      </a:lnTo>
                      <a:lnTo>
                        <a:pt x="2144" y="812"/>
                      </a:lnTo>
                      <a:lnTo>
                        <a:pt x="2141" y="808"/>
                      </a:lnTo>
                      <a:lnTo>
                        <a:pt x="2140" y="803"/>
                      </a:lnTo>
                      <a:lnTo>
                        <a:pt x="2137" y="798"/>
                      </a:lnTo>
                      <a:lnTo>
                        <a:pt x="2136" y="794"/>
                      </a:lnTo>
                      <a:lnTo>
                        <a:pt x="2134" y="790"/>
                      </a:lnTo>
                      <a:lnTo>
                        <a:pt x="2130" y="785"/>
                      </a:lnTo>
                      <a:lnTo>
                        <a:pt x="2125" y="782"/>
                      </a:lnTo>
                      <a:lnTo>
                        <a:pt x="2109" y="776"/>
                      </a:lnTo>
                      <a:lnTo>
                        <a:pt x="2095" y="770"/>
                      </a:lnTo>
                      <a:lnTo>
                        <a:pt x="2081" y="764"/>
                      </a:lnTo>
                      <a:lnTo>
                        <a:pt x="2067" y="756"/>
                      </a:lnTo>
                      <a:lnTo>
                        <a:pt x="2052" y="746"/>
                      </a:lnTo>
                      <a:lnTo>
                        <a:pt x="2036" y="737"/>
                      </a:lnTo>
                      <a:lnTo>
                        <a:pt x="2028" y="731"/>
                      </a:lnTo>
                      <a:lnTo>
                        <a:pt x="2021" y="726"/>
                      </a:lnTo>
                      <a:lnTo>
                        <a:pt x="2014" y="721"/>
                      </a:lnTo>
                      <a:lnTo>
                        <a:pt x="2008" y="715"/>
                      </a:lnTo>
                      <a:lnTo>
                        <a:pt x="1952" y="647"/>
                      </a:lnTo>
                      <a:lnTo>
                        <a:pt x="1952" y="658"/>
                      </a:lnTo>
                      <a:lnTo>
                        <a:pt x="1954" y="668"/>
                      </a:lnTo>
                      <a:lnTo>
                        <a:pt x="1956" y="677"/>
                      </a:lnTo>
                      <a:lnTo>
                        <a:pt x="1961" y="685"/>
                      </a:lnTo>
                      <a:lnTo>
                        <a:pt x="1966" y="693"/>
                      </a:lnTo>
                      <a:lnTo>
                        <a:pt x="1972" y="702"/>
                      </a:lnTo>
                      <a:lnTo>
                        <a:pt x="1978" y="709"/>
                      </a:lnTo>
                      <a:lnTo>
                        <a:pt x="1985" y="716"/>
                      </a:lnTo>
                      <a:lnTo>
                        <a:pt x="2015" y="742"/>
                      </a:lnTo>
                      <a:lnTo>
                        <a:pt x="2046" y="767"/>
                      </a:lnTo>
                      <a:lnTo>
                        <a:pt x="2047" y="769"/>
                      </a:lnTo>
                      <a:lnTo>
                        <a:pt x="2048" y="770"/>
                      </a:lnTo>
                      <a:lnTo>
                        <a:pt x="2047" y="771"/>
                      </a:lnTo>
                      <a:lnTo>
                        <a:pt x="2043" y="772"/>
                      </a:lnTo>
                      <a:lnTo>
                        <a:pt x="2036" y="774"/>
                      </a:lnTo>
                      <a:lnTo>
                        <a:pt x="2026" y="775"/>
                      </a:lnTo>
                      <a:lnTo>
                        <a:pt x="2014" y="774"/>
                      </a:lnTo>
                      <a:lnTo>
                        <a:pt x="2003" y="772"/>
                      </a:lnTo>
                      <a:lnTo>
                        <a:pt x="1994" y="770"/>
                      </a:lnTo>
                      <a:lnTo>
                        <a:pt x="1987" y="767"/>
                      </a:lnTo>
                      <a:lnTo>
                        <a:pt x="1975" y="756"/>
                      </a:lnTo>
                      <a:lnTo>
                        <a:pt x="1955" y="737"/>
                      </a:lnTo>
                      <a:lnTo>
                        <a:pt x="1938" y="718"/>
                      </a:lnTo>
                      <a:lnTo>
                        <a:pt x="1929" y="708"/>
                      </a:lnTo>
                      <a:lnTo>
                        <a:pt x="1931" y="697"/>
                      </a:lnTo>
                      <a:lnTo>
                        <a:pt x="1932" y="684"/>
                      </a:lnTo>
                      <a:lnTo>
                        <a:pt x="1931" y="677"/>
                      </a:lnTo>
                      <a:lnTo>
                        <a:pt x="1929" y="672"/>
                      </a:lnTo>
                      <a:lnTo>
                        <a:pt x="1928" y="671"/>
                      </a:lnTo>
                      <a:lnTo>
                        <a:pt x="1926" y="670"/>
                      </a:lnTo>
                      <a:lnTo>
                        <a:pt x="1924" y="670"/>
                      </a:lnTo>
                      <a:lnTo>
                        <a:pt x="1920" y="670"/>
                      </a:lnTo>
                      <a:lnTo>
                        <a:pt x="1905" y="679"/>
                      </a:lnTo>
                      <a:lnTo>
                        <a:pt x="1888" y="690"/>
                      </a:lnTo>
                      <a:lnTo>
                        <a:pt x="1885" y="692"/>
                      </a:lnTo>
                      <a:lnTo>
                        <a:pt x="1882" y="693"/>
                      </a:lnTo>
                      <a:lnTo>
                        <a:pt x="1880" y="693"/>
                      </a:lnTo>
                      <a:lnTo>
                        <a:pt x="1878" y="693"/>
                      </a:lnTo>
                      <a:lnTo>
                        <a:pt x="1877" y="692"/>
                      </a:lnTo>
                      <a:lnTo>
                        <a:pt x="1877" y="689"/>
                      </a:lnTo>
                      <a:lnTo>
                        <a:pt x="1878" y="684"/>
                      </a:lnTo>
                      <a:lnTo>
                        <a:pt x="1880" y="678"/>
                      </a:lnTo>
                      <a:lnTo>
                        <a:pt x="1888" y="657"/>
                      </a:lnTo>
                      <a:lnTo>
                        <a:pt x="1895" y="646"/>
                      </a:lnTo>
                      <a:lnTo>
                        <a:pt x="1895" y="642"/>
                      </a:lnTo>
                      <a:lnTo>
                        <a:pt x="1894" y="636"/>
                      </a:lnTo>
                      <a:lnTo>
                        <a:pt x="1891" y="627"/>
                      </a:lnTo>
                      <a:lnTo>
                        <a:pt x="1885" y="617"/>
                      </a:lnTo>
                      <a:lnTo>
                        <a:pt x="1884" y="613"/>
                      </a:lnTo>
                      <a:lnTo>
                        <a:pt x="1884" y="611"/>
                      </a:lnTo>
                      <a:lnTo>
                        <a:pt x="1884" y="607"/>
                      </a:lnTo>
                      <a:lnTo>
                        <a:pt x="1885" y="604"/>
                      </a:lnTo>
                      <a:lnTo>
                        <a:pt x="1888" y="597"/>
                      </a:lnTo>
                      <a:lnTo>
                        <a:pt x="1893" y="591"/>
                      </a:lnTo>
                      <a:lnTo>
                        <a:pt x="1900" y="585"/>
                      </a:lnTo>
                      <a:lnTo>
                        <a:pt x="1907" y="581"/>
                      </a:lnTo>
                      <a:lnTo>
                        <a:pt x="1914" y="579"/>
                      </a:lnTo>
                      <a:lnTo>
                        <a:pt x="1920" y="578"/>
                      </a:lnTo>
                      <a:lnTo>
                        <a:pt x="1922" y="579"/>
                      </a:lnTo>
                      <a:lnTo>
                        <a:pt x="1925" y="580"/>
                      </a:lnTo>
                      <a:lnTo>
                        <a:pt x="1927" y="583"/>
                      </a:lnTo>
                      <a:lnTo>
                        <a:pt x="1931" y="586"/>
                      </a:lnTo>
                      <a:lnTo>
                        <a:pt x="1935" y="593"/>
                      </a:lnTo>
                      <a:lnTo>
                        <a:pt x="1940" y="603"/>
                      </a:lnTo>
                      <a:lnTo>
                        <a:pt x="1948" y="622"/>
                      </a:lnTo>
                      <a:lnTo>
                        <a:pt x="1953" y="636"/>
                      </a:lnTo>
                      <a:lnTo>
                        <a:pt x="1954" y="635"/>
                      </a:lnTo>
                      <a:lnTo>
                        <a:pt x="1955" y="632"/>
                      </a:lnTo>
                      <a:lnTo>
                        <a:pt x="1955" y="630"/>
                      </a:lnTo>
                      <a:lnTo>
                        <a:pt x="1955" y="627"/>
                      </a:lnTo>
                      <a:lnTo>
                        <a:pt x="1953" y="619"/>
                      </a:lnTo>
                      <a:lnTo>
                        <a:pt x="1951" y="611"/>
                      </a:lnTo>
                      <a:lnTo>
                        <a:pt x="1944" y="593"/>
                      </a:lnTo>
                      <a:lnTo>
                        <a:pt x="1940" y="584"/>
                      </a:lnTo>
                      <a:lnTo>
                        <a:pt x="1940" y="543"/>
                      </a:lnTo>
                      <a:lnTo>
                        <a:pt x="1936" y="503"/>
                      </a:lnTo>
                      <a:lnTo>
                        <a:pt x="1935" y="484"/>
                      </a:lnTo>
                      <a:lnTo>
                        <a:pt x="1933" y="464"/>
                      </a:lnTo>
                      <a:lnTo>
                        <a:pt x="1929" y="444"/>
                      </a:lnTo>
                      <a:lnTo>
                        <a:pt x="1925" y="424"/>
                      </a:lnTo>
                      <a:lnTo>
                        <a:pt x="1921" y="405"/>
                      </a:lnTo>
                      <a:lnTo>
                        <a:pt x="1918" y="386"/>
                      </a:lnTo>
                      <a:lnTo>
                        <a:pt x="1915" y="376"/>
                      </a:lnTo>
                      <a:lnTo>
                        <a:pt x="1912" y="368"/>
                      </a:lnTo>
                      <a:lnTo>
                        <a:pt x="1908" y="361"/>
                      </a:lnTo>
                      <a:lnTo>
                        <a:pt x="1905" y="354"/>
                      </a:lnTo>
                      <a:lnTo>
                        <a:pt x="1900" y="348"/>
                      </a:lnTo>
                      <a:lnTo>
                        <a:pt x="1895" y="343"/>
                      </a:lnTo>
                      <a:lnTo>
                        <a:pt x="1889" y="340"/>
                      </a:lnTo>
                      <a:lnTo>
                        <a:pt x="1884" y="339"/>
                      </a:lnTo>
                      <a:lnTo>
                        <a:pt x="1877" y="340"/>
                      </a:lnTo>
                      <a:lnTo>
                        <a:pt x="1868" y="343"/>
                      </a:lnTo>
                      <a:lnTo>
                        <a:pt x="1859" y="348"/>
                      </a:lnTo>
                      <a:lnTo>
                        <a:pt x="1849" y="356"/>
                      </a:lnTo>
                      <a:lnTo>
                        <a:pt x="1834" y="369"/>
                      </a:lnTo>
                      <a:lnTo>
                        <a:pt x="1811" y="391"/>
                      </a:lnTo>
                      <a:lnTo>
                        <a:pt x="1798" y="401"/>
                      </a:lnTo>
                      <a:lnTo>
                        <a:pt x="1788" y="412"/>
                      </a:lnTo>
                      <a:lnTo>
                        <a:pt x="1781" y="420"/>
                      </a:lnTo>
                      <a:lnTo>
                        <a:pt x="1778" y="425"/>
                      </a:lnTo>
                      <a:lnTo>
                        <a:pt x="1787" y="424"/>
                      </a:lnTo>
                      <a:lnTo>
                        <a:pt x="1800" y="422"/>
                      </a:lnTo>
                      <a:lnTo>
                        <a:pt x="1807" y="422"/>
                      </a:lnTo>
                      <a:lnTo>
                        <a:pt x="1812" y="422"/>
                      </a:lnTo>
                      <a:lnTo>
                        <a:pt x="1817" y="424"/>
                      </a:lnTo>
                      <a:lnTo>
                        <a:pt x="1819" y="426"/>
                      </a:lnTo>
                      <a:lnTo>
                        <a:pt x="1821" y="432"/>
                      </a:lnTo>
                      <a:lnTo>
                        <a:pt x="1821" y="439"/>
                      </a:lnTo>
                      <a:lnTo>
                        <a:pt x="1821" y="446"/>
                      </a:lnTo>
                      <a:lnTo>
                        <a:pt x="1819" y="454"/>
                      </a:lnTo>
                      <a:lnTo>
                        <a:pt x="1817" y="462"/>
                      </a:lnTo>
                      <a:lnTo>
                        <a:pt x="1813" y="471"/>
                      </a:lnTo>
                      <a:lnTo>
                        <a:pt x="1810" y="477"/>
                      </a:lnTo>
                      <a:lnTo>
                        <a:pt x="1806" y="481"/>
                      </a:lnTo>
                      <a:lnTo>
                        <a:pt x="1712" y="611"/>
                      </a:lnTo>
                      <a:lnTo>
                        <a:pt x="1713" y="596"/>
                      </a:lnTo>
                      <a:lnTo>
                        <a:pt x="1714" y="581"/>
                      </a:lnTo>
                      <a:lnTo>
                        <a:pt x="1717" y="570"/>
                      </a:lnTo>
                      <a:lnTo>
                        <a:pt x="1720" y="557"/>
                      </a:lnTo>
                      <a:lnTo>
                        <a:pt x="1724" y="546"/>
                      </a:lnTo>
                      <a:lnTo>
                        <a:pt x="1730" y="534"/>
                      </a:lnTo>
                      <a:lnTo>
                        <a:pt x="1735" y="523"/>
                      </a:lnTo>
                      <a:lnTo>
                        <a:pt x="1744" y="510"/>
                      </a:lnTo>
                      <a:lnTo>
                        <a:pt x="1747" y="505"/>
                      </a:lnTo>
                      <a:lnTo>
                        <a:pt x="1753" y="495"/>
                      </a:lnTo>
                      <a:lnTo>
                        <a:pt x="1757" y="492"/>
                      </a:lnTo>
                      <a:lnTo>
                        <a:pt x="1758" y="487"/>
                      </a:lnTo>
                      <a:lnTo>
                        <a:pt x="1759" y="485"/>
                      </a:lnTo>
                      <a:lnTo>
                        <a:pt x="1758" y="482"/>
                      </a:lnTo>
                      <a:lnTo>
                        <a:pt x="1752" y="485"/>
                      </a:lnTo>
                      <a:lnTo>
                        <a:pt x="1745" y="488"/>
                      </a:lnTo>
                      <a:lnTo>
                        <a:pt x="1741" y="490"/>
                      </a:lnTo>
                      <a:lnTo>
                        <a:pt x="1738" y="490"/>
                      </a:lnTo>
                      <a:lnTo>
                        <a:pt x="1737" y="486"/>
                      </a:lnTo>
                      <a:lnTo>
                        <a:pt x="1738" y="479"/>
                      </a:lnTo>
                      <a:lnTo>
                        <a:pt x="1743" y="467"/>
                      </a:lnTo>
                      <a:lnTo>
                        <a:pt x="1750" y="455"/>
                      </a:lnTo>
                      <a:lnTo>
                        <a:pt x="1754" y="449"/>
                      </a:lnTo>
                      <a:lnTo>
                        <a:pt x="1757" y="444"/>
                      </a:lnTo>
                      <a:lnTo>
                        <a:pt x="1759" y="439"/>
                      </a:lnTo>
                      <a:lnTo>
                        <a:pt x="1760" y="434"/>
                      </a:lnTo>
                      <a:lnTo>
                        <a:pt x="1752" y="439"/>
                      </a:lnTo>
                      <a:lnTo>
                        <a:pt x="1738" y="448"/>
                      </a:lnTo>
                      <a:lnTo>
                        <a:pt x="1731" y="453"/>
                      </a:lnTo>
                      <a:lnTo>
                        <a:pt x="1724" y="455"/>
                      </a:lnTo>
                      <a:lnTo>
                        <a:pt x="1721" y="457"/>
                      </a:lnTo>
                      <a:lnTo>
                        <a:pt x="1719" y="457"/>
                      </a:lnTo>
                      <a:lnTo>
                        <a:pt x="1717" y="457"/>
                      </a:lnTo>
                      <a:lnTo>
                        <a:pt x="1716" y="455"/>
                      </a:lnTo>
                      <a:lnTo>
                        <a:pt x="1714" y="448"/>
                      </a:lnTo>
                      <a:lnTo>
                        <a:pt x="1716" y="439"/>
                      </a:lnTo>
                      <a:lnTo>
                        <a:pt x="1719" y="427"/>
                      </a:lnTo>
                      <a:lnTo>
                        <a:pt x="1724" y="414"/>
                      </a:lnTo>
                      <a:lnTo>
                        <a:pt x="1733" y="389"/>
                      </a:lnTo>
                      <a:lnTo>
                        <a:pt x="1739" y="372"/>
                      </a:lnTo>
                      <a:lnTo>
                        <a:pt x="1744" y="349"/>
                      </a:lnTo>
                      <a:lnTo>
                        <a:pt x="1746" y="325"/>
                      </a:lnTo>
                      <a:lnTo>
                        <a:pt x="1746" y="314"/>
                      </a:lnTo>
                      <a:lnTo>
                        <a:pt x="1745" y="302"/>
                      </a:lnTo>
                      <a:lnTo>
                        <a:pt x="1744" y="293"/>
                      </a:lnTo>
                      <a:lnTo>
                        <a:pt x="1740" y="283"/>
                      </a:lnTo>
                      <a:lnTo>
                        <a:pt x="1737" y="276"/>
                      </a:lnTo>
                      <a:lnTo>
                        <a:pt x="1731" y="269"/>
                      </a:lnTo>
                      <a:lnTo>
                        <a:pt x="1728" y="267"/>
                      </a:lnTo>
                      <a:lnTo>
                        <a:pt x="1725" y="266"/>
                      </a:lnTo>
                      <a:lnTo>
                        <a:pt x="1721" y="264"/>
                      </a:lnTo>
                      <a:lnTo>
                        <a:pt x="1717" y="263"/>
                      </a:lnTo>
                      <a:lnTo>
                        <a:pt x="1707" y="263"/>
                      </a:lnTo>
                      <a:lnTo>
                        <a:pt x="1697" y="267"/>
                      </a:lnTo>
                      <a:lnTo>
                        <a:pt x="1684" y="273"/>
                      </a:lnTo>
                      <a:lnTo>
                        <a:pt x="1669" y="281"/>
                      </a:lnTo>
                      <a:lnTo>
                        <a:pt x="1647" y="296"/>
                      </a:lnTo>
                      <a:lnTo>
                        <a:pt x="1618" y="320"/>
                      </a:lnTo>
                      <a:lnTo>
                        <a:pt x="1604" y="333"/>
                      </a:lnTo>
                      <a:lnTo>
                        <a:pt x="1592" y="345"/>
                      </a:lnTo>
                      <a:lnTo>
                        <a:pt x="1589" y="349"/>
                      </a:lnTo>
                      <a:lnTo>
                        <a:pt x="1585" y="354"/>
                      </a:lnTo>
                      <a:lnTo>
                        <a:pt x="1584" y="358"/>
                      </a:lnTo>
                      <a:lnTo>
                        <a:pt x="1585" y="360"/>
                      </a:lnTo>
                      <a:lnTo>
                        <a:pt x="1593" y="375"/>
                      </a:lnTo>
                      <a:lnTo>
                        <a:pt x="1600" y="388"/>
                      </a:lnTo>
                      <a:lnTo>
                        <a:pt x="1604" y="402"/>
                      </a:lnTo>
                      <a:lnTo>
                        <a:pt x="1605" y="415"/>
                      </a:lnTo>
                      <a:lnTo>
                        <a:pt x="1606" y="445"/>
                      </a:lnTo>
                      <a:lnTo>
                        <a:pt x="1605" y="481"/>
                      </a:lnTo>
                      <a:lnTo>
                        <a:pt x="1604" y="480"/>
                      </a:lnTo>
                      <a:lnTo>
                        <a:pt x="1602" y="479"/>
                      </a:lnTo>
                      <a:lnTo>
                        <a:pt x="1600" y="477"/>
                      </a:lnTo>
                      <a:lnTo>
                        <a:pt x="1598" y="474"/>
                      </a:lnTo>
                      <a:lnTo>
                        <a:pt x="1596" y="467"/>
                      </a:lnTo>
                      <a:lnTo>
                        <a:pt x="1592" y="459"/>
                      </a:lnTo>
                      <a:lnTo>
                        <a:pt x="1589" y="442"/>
                      </a:lnTo>
                      <a:lnTo>
                        <a:pt x="1587" y="431"/>
                      </a:lnTo>
                      <a:lnTo>
                        <a:pt x="1586" y="419"/>
                      </a:lnTo>
                      <a:lnTo>
                        <a:pt x="1584" y="412"/>
                      </a:lnTo>
                      <a:lnTo>
                        <a:pt x="1580" y="407"/>
                      </a:lnTo>
                      <a:lnTo>
                        <a:pt x="1577" y="405"/>
                      </a:lnTo>
                      <a:lnTo>
                        <a:pt x="1571" y="404"/>
                      </a:lnTo>
                      <a:lnTo>
                        <a:pt x="1566" y="402"/>
                      </a:lnTo>
                      <a:lnTo>
                        <a:pt x="1560" y="400"/>
                      </a:lnTo>
                      <a:lnTo>
                        <a:pt x="1555" y="395"/>
                      </a:lnTo>
                      <a:lnTo>
                        <a:pt x="1553" y="393"/>
                      </a:lnTo>
                      <a:lnTo>
                        <a:pt x="1553" y="391"/>
                      </a:lnTo>
                      <a:lnTo>
                        <a:pt x="1555" y="386"/>
                      </a:lnTo>
                      <a:lnTo>
                        <a:pt x="1556" y="382"/>
                      </a:lnTo>
                      <a:lnTo>
                        <a:pt x="1559" y="374"/>
                      </a:lnTo>
                      <a:lnTo>
                        <a:pt x="1562" y="368"/>
                      </a:lnTo>
                      <a:lnTo>
                        <a:pt x="1551" y="378"/>
                      </a:lnTo>
                      <a:lnTo>
                        <a:pt x="1539" y="388"/>
                      </a:lnTo>
                      <a:lnTo>
                        <a:pt x="1530" y="395"/>
                      </a:lnTo>
                      <a:lnTo>
                        <a:pt x="1519" y="400"/>
                      </a:lnTo>
                      <a:lnTo>
                        <a:pt x="1508" y="405"/>
                      </a:lnTo>
                      <a:lnTo>
                        <a:pt x="1496" y="408"/>
                      </a:lnTo>
                      <a:lnTo>
                        <a:pt x="1475" y="406"/>
                      </a:lnTo>
                      <a:lnTo>
                        <a:pt x="1451" y="402"/>
                      </a:lnTo>
                      <a:lnTo>
                        <a:pt x="1441" y="402"/>
                      </a:lnTo>
                      <a:lnTo>
                        <a:pt x="1430" y="404"/>
                      </a:lnTo>
                      <a:lnTo>
                        <a:pt x="1425" y="406"/>
                      </a:lnTo>
                      <a:lnTo>
                        <a:pt x="1421" y="408"/>
                      </a:lnTo>
                      <a:lnTo>
                        <a:pt x="1417" y="412"/>
                      </a:lnTo>
                      <a:lnTo>
                        <a:pt x="1413" y="416"/>
                      </a:lnTo>
                      <a:lnTo>
                        <a:pt x="1408" y="426"/>
                      </a:lnTo>
                      <a:lnTo>
                        <a:pt x="1403" y="438"/>
                      </a:lnTo>
                      <a:lnTo>
                        <a:pt x="1397" y="449"/>
                      </a:lnTo>
                      <a:lnTo>
                        <a:pt x="1392" y="464"/>
                      </a:lnTo>
                      <a:lnTo>
                        <a:pt x="1384" y="490"/>
                      </a:lnTo>
                      <a:lnTo>
                        <a:pt x="1378" y="513"/>
                      </a:lnTo>
                      <a:lnTo>
                        <a:pt x="1377" y="525"/>
                      </a:lnTo>
                      <a:lnTo>
                        <a:pt x="1375" y="541"/>
                      </a:lnTo>
                      <a:lnTo>
                        <a:pt x="1374" y="558"/>
                      </a:lnTo>
                      <a:lnTo>
                        <a:pt x="1371" y="566"/>
                      </a:lnTo>
                      <a:lnTo>
                        <a:pt x="1369" y="566"/>
                      </a:lnTo>
                      <a:lnTo>
                        <a:pt x="1365" y="556"/>
                      </a:lnTo>
                      <a:lnTo>
                        <a:pt x="1361" y="547"/>
                      </a:lnTo>
                      <a:lnTo>
                        <a:pt x="1356" y="541"/>
                      </a:lnTo>
                      <a:lnTo>
                        <a:pt x="1351" y="536"/>
                      </a:lnTo>
                      <a:lnTo>
                        <a:pt x="1345" y="532"/>
                      </a:lnTo>
                      <a:lnTo>
                        <a:pt x="1339" y="531"/>
                      </a:lnTo>
                      <a:lnTo>
                        <a:pt x="1334" y="530"/>
                      </a:lnTo>
                      <a:lnTo>
                        <a:pt x="1327" y="530"/>
                      </a:lnTo>
                      <a:lnTo>
                        <a:pt x="1321" y="532"/>
                      </a:lnTo>
                      <a:lnTo>
                        <a:pt x="1314" y="534"/>
                      </a:lnTo>
                      <a:lnTo>
                        <a:pt x="1307" y="538"/>
                      </a:lnTo>
                      <a:lnTo>
                        <a:pt x="1299" y="541"/>
                      </a:lnTo>
                      <a:lnTo>
                        <a:pt x="1287" y="552"/>
                      </a:lnTo>
                      <a:lnTo>
                        <a:pt x="1274" y="563"/>
                      </a:lnTo>
                      <a:lnTo>
                        <a:pt x="1269" y="567"/>
                      </a:lnTo>
                      <a:lnTo>
                        <a:pt x="1263" y="571"/>
                      </a:lnTo>
                      <a:lnTo>
                        <a:pt x="1258" y="572"/>
                      </a:lnTo>
                      <a:lnTo>
                        <a:pt x="1254" y="574"/>
                      </a:lnTo>
                      <a:lnTo>
                        <a:pt x="1245" y="577"/>
                      </a:lnTo>
                      <a:lnTo>
                        <a:pt x="1237" y="581"/>
                      </a:lnTo>
                      <a:lnTo>
                        <a:pt x="1231" y="589"/>
                      </a:lnTo>
                      <a:lnTo>
                        <a:pt x="1227" y="596"/>
                      </a:lnTo>
                      <a:lnTo>
                        <a:pt x="1223" y="605"/>
                      </a:lnTo>
                      <a:lnTo>
                        <a:pt x="1221" y="614"/>
                      </a:lnTo>
                      <a:lnTo>
                        <a:pt x="1218" y="624"/>
                      </a:lnTo>
                      <a:lnTo>
                        <a:pt x="1216" y="633"/>
                      </a:lnTo>
                      <a:lnTo>
                        <a:pt x="1213" y="643"/>
                      </a:lnTo>
                      <a:lnTo>
                        <a:pt x="1208" y="651"/>
                      </a:lnTo>
                      <a:lnTo>
                        <a:pt x="1201" y="663"/>
                      </a:lnTo>
                      <a:lnTo>
                        <a:pt x="1195" y="676"/>
                      </a:lnTo>
                      <a:lnTo>
                        <a:pt x="1190" y="689"/>
                      </a:lnTo>
                      <a:lnTo>
                        <a:pt x="1185" y="702"/>
                      </a:lnTo>
                      <a:lnTo>
                        <a:pt x="1182" y="715"/>
                      </a:lnTo>
                      <a:lnTo>
                        <a:pt x="1177" y="728"/>
                      </a:lnTo>
                      <a:lnTo>
                        <a:pt x="1171" y="741"/>
                      </a:lnTo>
                      <a:lnTo>
                        <a:pt x="1166" y="752"/>
                      </a:lnTo>
                      <a:lnTo>
                        <a:pt x="1160" y="759"/>
                      </a:lnTo>
                      <a:lnTo>
                        <a:pt x="1151" y="771"/>
                      </a:lnTo>
                      <a:lnTo>
                        <a:pt x="1140" y="784"/>
                      </a:lnTo>
                      <a:lnTo>
                        <a:pt x="1127" y="798"/>
                      </a:lnTo>
                      <a:lnTo>
                        <a:pt x="1121" y="804"/>
                      </a:lnTo>
                      <a:lnTo>
                        <a:pt x="1114" y="810"/>
                      </a:lnTo>
                      <a:lnTo>
                        <a:pt x="1108" y="815"/>
                      </a:lnTo>
                      <a:lnTo>
                        <a:pt x="1101" y="818"/>
                      </a:lnTo>
                      <a:lnTo>
                        <a:pt x="1095" y="820"/>
                      </a:lnTo>
                      <a:lnTo>
                        <a:pt x="1090" y="820"/>
                      </a:lnTo>
                      <a:lnTo>
                        <a:pt x="1084" y="818"/>
                      </a:lnTo>
                      <a:lnTo>
                        <a:pt x="1081" y="814"/>
                      </a:lnTo>
                      <a:lnTo>
                        <a:pt x="1079" y="815"/>
                      </a:lnTo>
                      <a:lnTo>
                        <a:pt x="1076" y="816"/>
                      </a:lnTo>
                      <a:lnTo>
                        <a:pt x="1073" y="820"/>
                      </a:lnTo>
                      <a:lnTo>
                        <a:pt x="1070" y="823"/>
                      </a:lnTo>
                      <a:lnTo>
                        <a:pt x="1064" y="833"/>
                      </a:lnTo>
                      <a:lnTo>
                        <a:pt x="1057" y="844"/>
                      </a:lnTo>
                      <a:lnTo>
                        <a:pt x="1047" y="868"/>
                      </a:lnTo>
                      <a:lnTo>
                        <a:pt x="1041" y="884"/>
                      </a:lnTo>
                      <a:lnTo>
                        <a:pt x="1036" y="894"/>
                      </a:lnTo>
                      <a:lnTo>
                        <a:pt x="1034" y="903"/>
                      </a:lnTo>
                      <a:lnTo>
                        <a:pt x="1030" y="914"/>
                      </a:lnTo>
                      <a:lnTo>
                        <a:pt x="1026" y="923"/>
                      </a:lnTo>
                      <a:lnTo>
                        <a:pt x="1020" y="937"/>
                      </a:lnTo>
                      <a:lnTo>
                        <a:pt x="1015" y="952"/>
                      </a:lnTo>
                      <a:lnTo>
                        <a:pt x="1006" y="966"/>
                      </a:lnTo>
                      <a:lnTo>
                        <a:pt x="993" y="979"/>
                      </a:lnTo>
                      <a:lnTo>
                        <a:pt x="982" y="981"/>
                      </a:lnTo>
                      <a:lnTo>
                        <a:pt x="973" y="983"/>
                      </a:lnTo>
                      <a:lnTo>
                        <a:pt x="967" y="988"/>
                      </a:lnTo>
                      <a:lnTo>
                        <a:pt x="961" y="994"/>
                      </a:lnTo>
                      <a:lnTo>
                        <a:pt x="956" y="999"/>
                      </a:lnTo>
                      <a:lnTo>
                        <a:pt x="952" y="1006"/>
                      </a:lnTo>
                      <a:lnTo>
                        <a:pt x="945" y="1018"/>
                      </a:lnTo>
                      <a:lnTo>
                        <a:pt x="938" y="1032"/>
                      </a:lnTo>
                      <a:lnTo>
                        <a:pt x="933" y="1044"/>
                      </a:lnTo>
                      <a:lnTo>
                        <a:pt x="929" y="1055"/>
                      </a:lnTo>
                      <a:lnTo>
                        <a:pt x="926" y="1067"/>
                      </a:lnTo>
                      <a:lnTo>
                        <a:pt x="920" y="1079"/>
                      </a:lnTo>
                      <a:lnTo>
                        <a:pt x="914" y="1088"/>
                      </a:lnTo>
                      <a:lnTo>
                        <a:pt x="909" y="1097"/>
                      </a:lnTo>
                      <a:lnTo>
                        <a:pt x="906" y="1102"/>
                      </a:lnTo>
                      <a:lnTo>
                        <a:pt x="903" y="1110"/>
                      </a:lnTo>
                      <a:lnTo>
                        <a:pt x="903" y="1115"/>
                      </a:lnTo>
                      <a:lnTo>
                        <a:pt x="902" y="1122"/>
                      </a:lnTo>
                      <a:lnTo>
                        <a:pt x="903" y="1131"/>
                      </a:lnTo>
                      <a:lnTo>
                        <a:pt x="903" y="1141"/>
                      </a:lnTo>
                      <a:lnTo>
                        <a:pt x="909" y="1164"/>
                      </a:lnTo>
                      <a:lnTo>
                        <a:pt x="916" y="1186"/>
                      </a:lnTo>
                      <a:lnTo>
                        <a:pt x="919" y="1198"/>
                      </a:lnTo>
                      <a:lnTo>
                        <a:pt x="920" y="1209"/>
                      </a:lnTo>
                      <a:lnTo>
                        <a:pt x="919" y="1214"/>
                      </a:lnTo>
                      <a:lnTo>
                        <a:pt x="918" y="1220"/>
                      </a:lnTo>
                      <a:lnTo>
                        <a:pt x="916" y="1226"/>
                      </a:lnTo>
                      <a:lnTo>
                        <a:pt x="913" y="1232"/>
                      </a:lnTo>
                      <a:lnTo>
                        <a:pt x="908" y="1244"/>
                      </a:lnTo>
                      <a:lnTo>
                        <a:pt x="902" y="1259"/>
                      </a:lnTo>
                      <a:lnTo>
                        <a:pt x="898" y="1273"/>
                      </a:lnTo>
                      <a:lnTo>
                        <a:pt x="892" y="1284"/>
                      </a:lnTo>
                      <a:lnTo>
                        <a:pt x="887" y="1276"/>
                      </a:lnTo>
                      <a:lnTo>
                        <a:pt x="879" y="1267"/>
                      </a:lnTo>
                      <a:lnTo>
                        <a:pt x="874" y="1263"/>
                      </a:lnTo>
                      <a:lnTo>
                        <a:pt x="869" y="1260"/>
                      </a:lnTo>
                      <a:lnTo>
                        <a:pt x="863" y="1258"/>
                      </a:lnTo>
                      <a:lnTo>
                        <a:pt x="859" y="1257"/>
                      </a:lnTo>
                      <a:lnTo>
                        <a:pt x="846" y="1258"/>
                      </a:lnTo>
                      <a:lnTo>
                        <a:pt x="832" y="1259"/>
                      </a:lnTo>
                      <a:lnTo>
                        <a:pt x="825" y="1258"/>
                      </a:lnTo>
                      <a:lnTo>
                        <a:pt x="820" y="1257"/>
                      </a:lnTo>
                      <a:lnTo>
                        <a:pt x="818" y="1254"/>
                      </a:lnTo>
                      <a:lnTo>
                        <a:pt x="815" y="1253"/>
                      </a:lnTo>
                      <a:lnTo>
                        <a:pt x="814" y="1251"/>
                      </a:lnTo>
                      <a:lnTo>
                        <a:pt x="814" y="1249"/>
                      </a:lnTo>
                      <a:lnTo>
                        <a:pt x="815" y="1236"/>
                      </a:lnTo>
                      <a:lnTo>
                        <a:pt x="815" y="1224"/>
                      </a:lnTo>
                      <a:lnTo>
                        <a:pt x="816" y="1211"/>
                      </a:lnTo>
                      <a:lnTo>
                        <a:pt x="818" y="1198"/>
                      </a:lnTo>
                      <a:lnTo>
                        <a:pt x="818" y="1193"/>
                      </a:lnTo>
                      <a:lnTo>
                        <a:pt x="819" y="1188"/>
                      </a:lnTo>
                      <a:lnTo>
                        <a:pt x="820" y="1186"/>
                      </a:lnTo>
                      <a:lnTo>
                        <a:pt x="821" y="1184"/>
                      </a:lnTo>
                      <a:lnTo>
                        <a:pt x="825" y="1181"/>
                      </a:lnTo>
                      <a:lnTo>
                        <a:pt x="831" y="1180"/>
                      </a:lnTo>
                      <a:lnTo>
                        <a:pt x="843" y="1183"/>
                      </a:lnTo>
                      <a:lnTo>
                        <a:pt x="860" y="1185"/>
                      </a:lnTo>
                      <a:lnTo>
                        <a:pt x="866" y="1185"/>
                      </a:lnTo>
                      <a:lnTo>
                        <a:pt x="871" y="1184"/>
                      </a:lnTo>
                      <a:lnTo>
                        <a:pt x="875" y="1181"/>
                      </a:lnTo>
                      <a:lnTo>
                        <a:pt x="879" y="1179"/>
                      </a:lnTo>
                      <a:lnTo>
                        <a:pt x="881" y="1177"/>
                      </a:lnTo>
                      <a:lnTo>
                        <a:pt x="883" y="1173"/>
                      </a:lnTo>
                      <a:lnTo>
                        <a:pt x="885" y="1170"/>
                      </a:lnTo>
                      <a:lnTo>
                        <a:pt x="886" y="1165"/>
                      </a:lnTo>
                      <a:lnTo>
                        <a:pt x="887" y="1146"/>
                      </a:lnTo>
                      <a:lnTo>
                        <a:pt x="887" y="1126"/>
                      </a:lnTo>
                      <a:lnTo>
                        <a:pt x="886" y="1125"/>
                      </a:lnTo>
                      <a:lnTo>
                        <a:pt x="883" y="1125"/>
                      </a:lnTo>
                      <a:lnTo>
                        <a:pt x="879" y="1125"/>
                      </a:lnTo>
                      <a:lnTo>
                        <a:pt x="874" y="1126"/>
                      </a:lnTo>
                      <a:lnTo>
                        <a:pt x="863" y="1128"/>
                      </a:lnTo>
                      <a:lnTo>
                        <a:pt x="856" y="1130"/>
                      </a:lnTo>
                      <a:lnTo>
                        <a:pt x="826" y="1132"/>
                      </a:lnTo>
                      <a:lnTo>
                        <a:pt x="798" y="1133"/>
                      </a:lnTo>
                      <a:lnTo>
                        <a:pt x="784" y="1132"/>
                      </a:lnTo>
                      <a:lnTo>
                        <a:pt x="768" y="1131"/>
                      </a:lnTo>
                      <a:lnTo>
                        <a:pt x="754" y="1127"/>
                      </a:lnTo>
                      <a:lnTo>
                        <a:pt x="739" y="1122"/>
                      </a:lnTo>
                      <a:lnTo>
                        <a:pt x="721" y="1114"/>
                      </a:lnTo>
                      <a:lnTo>
                        <a:pt x="705" y="1104"/>
                      </a:lnTo>
                      <a:lnTo>
                        <a:pt x="695" y="1100"/>
                      </a:lnTo>
                      <a:lnTo>
                        <a:pt x="687" y="1098"/>
                      </a:lnTo>
                      <a:lnTo>
                        <a:pt x="682" y="1098"/>
                      </a:lnTo>
                      <a:lnTo>
                        <a:pt x="678" y="1098"/>
                      </a:lnTo>
                      <a:lnTo>
                        <a:pt x="673" y="1099"/>
                      </a:lnTo>
                      <a:lnTo>
                        <a:pt x="668" y="1101"/>
                      </a:lnTo>
                      <a:lnTo>
                        <a:pt x="655" y="1106"/>
                      </a:lnTo>
                      <a:lnTo>
                        <a:pt x="644" y="1110"/>
                      </a:lnTo>
                      <a:lnTo>
                        <a:pt x="633" y="1113"/>
                      </a:lnTo>
                      <a:lnTo>
                        <a:pt x="621" y="1114"/>
                      </a:lnTo>
                      <a:lnTo>
                        <a:pt x="611" y="1117"/>
                      </a:lnTo>
                      <a:lnTo>
                        <a:pt x="600" y="1118"/>
                      </a:lnTo>
                      <a:lnTo>
                        <a:pt x="588" y="1120"/>
                      </a:lnTo>
                      <a:lnTo>
                        <a:pt x="578" y="1125"/>
                      </a:lnTo>
                      <a:lnTo>
                        <a:pt x="571" y="1128"/>
                      </a:lnTo>
                      <a:lnTo>
                        <a:pt x="565" y="1132"/>
                      </a:lnTo>
                      <a:lnTo>
                        <a:pt x="561" y="1134"/>
                      </a:lnTo>
                      <a:lnTo>
                        <a:pt x="558" y="1135"/>
                      </a:lnTo>
                      <a:lnTo>
                        <a:pt x="554" y="1135"/>
                      </a:lnTo>
                      <a:lnTo>
                        <a:pt x="551" y="1135"/>
                      </a:lnTo>
                      <a:lnTo>
                        <a:pt x="552" y="1147"/>
                      </a:lnTo>
                      <a:lnTo>
                        <a:pt x="553" y="1159"/>
                      </a:lnTo>
                      <a:lnTo>
                        <a:pt x="557" y="1171"/>
                      </a:lnTo>
                      <a:lnTo>
                        <a:pt x="561" y="1184"/>
                      </a:lnTo>
                      <a:lnTo>
                        <a:pt x="566" y="1196"/>
                      </a:lnTo>
                      <a:lnTo>
                        <a:pt x="573" y="1206"/>
                      </a:lnTo>
                      <a:lnTo>
                        <a:pt x="579" y="1217"/>
                      </a:lnTo>
                      <a:lnTo>
                        <a:pt x="586" y="1225"/>
                      </a:lnTo>
                      <a:lnTo>
                        <a:pt x="605" y="1244"/>
                      </a:lnTo>
                      <a:lnTo>
                        <a:pt x="625" y="1262"/>
                      </a:lnTo>
                      <a:lnTo>
                        <a:pt x="635" y="1271"/>
                      </a:lnTo>
                      <a:lnTo>
                        <a:pt x="645" y="1280"/>
                      </a:lnTo>
                      <a:lnTo>
                        <a:pt x="653" y="1290"/>
                      </a:lnTo>
                      <a:lnTo>
                        <a:pt x="661" y="1299"/>
                      </a:lnTo>
                      <a:lnTo>
                        <a:pt x="670" y="1311"/>
                      </a:lnTo>
                      <a:lnTo>
                        <a:pt x="678" y="1322"/>
                      </a:lnTo>
                      <a:lnTo>
                        <a:pt x="687" y="1332"/>
                      </a:lnTo>
                      <a:lnTo>
                        <a:pt x="697" y="1342"/>
                      </a:lnTo>
                      <a:lnTo>
                        <a:pt x="704" y="1346"/>
                      </a:lnTo>
                      <a:lnTo>
                        <a:pt x="711" y="1353"/>
                      </a:lnTo>
                      <a:lnTo>
                        <a:pt x="718" y="1361"/>
                      </a:lnTo>
                      <a:lnTo>
                        <a:pt x="724" y="1368"/>
                      </a:lnTo>
                      <a:lnTo>
                        <a:pt x="729" y="1376"/>
                      </a:lnTo>
                      <a:lnTo>
                        <a:pt x="735" y="1383"/>
                      </a:lnTo>
                      <a:lnTo>
                        <a:pt x="742" y="1390"/>
                      </a:lnTo>
                      <a:lnTo>
                        <a:pt x="749" y="1395"/>
                      </a:lnTo>
                      <a:lnTo>
                        <a:pt x="760" y="1402"/>
                      </a:lnTo>
                      <a:lnTo>
                        <a:pt x="773" y="1407"/>
                      </a:lnTo>
                      <a:lnTo>
                        <a:pt x="787" y="1411"/>
                      </a:lnTo>
                      <a:lnTo>
                        <a:pt x="799" y="1415"/>
                      </a:lnTo>
                      <a:lnTo>
                        <a:pt x="809" y="1420"/>
                      </a:lnTo>
                      <a:lnTo>
                        <a:pt x="819" y="1427"/>
                      </a:lnTo>
                      <a:lnTo>
                        <a:pt x="827" y="1434"/>
                      </a:lnTo>
                      <a:lnTo>
                        <a:pt x="836" y="1442"/>
                      </a:lnTo>
                      <a:lnTo>
                        <a:pt x="845" y="1448"/>
                      </a:lnTo>
                      <a:lnTo>
                        <a:pt x="854" y="1453"/>
                      </a:lnTo>
                      <a:lnTo>
                        <a:pt x="860" y="1455"/>
                      </a:lnTo>
                      <a:lnTo>
                        <a:pt x="865" y="1455"/>
                      </a:lnTo>
                      <a:lnTo>
                        <a:pt x="871" y="1455"/>
                      </a:lnTo>
                      <a:lnTo>
                        <a:pt x="878" y="1454"/>
                      </a:lnTo>
                      <a:lnTo>
                        <a:pt x="881" y="1453"/>
                      </a:lnTo>
                      <a:lnTo>
                        <a:pt x="885" y="1449"/>
                      </a:lnTo>
                      <a:lnTo>
                        <a:pt x="888" y="1445"/>
                      </a:lnTo>
                      <a:lnTo>
                        <a:pt x="890" y="1442"/>
                      </a:lnTo>
                      <a:lnTo>
                        <a:pt x="894" y="1431"/>
                      </a:lnTo>
                      <a:lnTo>
                        <a:pt x="896" y="1418"/>
                      </a:lnTo>
                      <a:lnTo>
                        <a:pt x="896" y="1407"/>
                      </a:lnTo>
                      <a:lnTo>
                        <a:pt x="896" y="1394"/>
                      </a:lnTo>
                      <a:lnTo>
                        <a:pt x="895" y="1384"/>
                      </a:lnTo>
                      <a:lnTo>
                        <a:pt x="894" y="1376"/>
                      </a:lnTo>
                      <a:lnTo>
                        <a:pt x="846" y="1374"/>
                      </a:lnTo>
                      <a:lnTo>
                        <a:pt x="841" y="1375"/>
                      </a:lnTo>
                      <a:lnTo>
                        <a:pt x="836" y="1375"/>
                      </a:lnTo>
                      <a:lnTo>
                        <a:pt x="834" y="1377"/>
                      </a:lnTo>
                      <a:lnTo>
                        <a:pt x="832" y="1379"/>
                      </a:lnTo>
                      <a:lnTo>
                        <a:pt x="828" y="1385"/>
                      </a:lnTo>
                      <a:lnTo>
                        <a:pt x="826" y="1391"/>
                      </a:lnTo>
                      <a:lnTo>
                        <a:pt x="824" y="1397"/>
                      </a:lnTo>
                      <a:lnTo>
                        <a:pt x="819" y="1401"/>
                      </a:lnTo>
                      <a:lnTo>
                        <a:pt x="816" y="1402"/>
                      </a:lnTo>
                      <a:lnTo>
                        <a:pt x="813" y="1403"/>
                      </a:lnTo>
                      <a:lnTo>
                        <a:pt x="808" y="1402"/>
                      </a:lnTo>
                      <a:lnTo>
                        <a:pt x="802" y="1401"/>
                      </a:lnTo>
                      <a:lnTo>
                        <a:pt x="794" y="1397"/>
                      </a:lnTo>
                      <a:lnTo>
                        <a:pt x="785" y="1390"/>
                      </a:lnTo>
                      <a:lnTo>
                        <a:pt x="774" y="1382"/>
                      </a:lnTo>
                      <a:lnTo>
                        <a:pt x="765" y="1371"/>
                      </a:lnTo>
                      <a:lnTo>
                        <a:pt x="757" y="1361"/>
                      </a:lnTo>
                      <a:lnTo>
                        <a:pt x="749" y="1350"/>
                      </a:lnTo>
                      <a:lnTo>
                        <a:pt x="745" y="1339"/>
                      </a:lnTo>
                      <a:lnTo>
                        <a:pt x="744" y="1330"/>
                      </a:lnTo>
                      <a:lnTo>
                        <a:pt x="753" y="1330"/>
                      </a:lnTo>
                      <a:lnTo>
                        <a:pt x="762" y="1328"/>
                      </a:lnTo>
                      <a:lnTo>
                        <a:pt x="771" y="1324"/>
                      </a:lnTo>
                      <a:lnTo>
                        <a:pt x="779" y="1319"/>
                      </a:lnTo>
                      <a:lnTo>
                        <a:pt x="786" y="1313"/>
                      </a:lnTo>
                      <a:lnTo>
                        <a:pt x="792" y="1306"/>
                      </a:lnTo>
                      <a:lnTo>
                        <a:pt x="799" y="1299"/>
                      </a:lnTo>
                      <a:lnTo>
                        <a:pt x="804" y="1291"/>
                      </a:lnTo>
                      <a:lnTo>
                        <a:pt x="807" y="1286"/>
                      </a:lnTo>
                      <a:lnTo>
                        <a:pt x="811" y="1283"/>
                      </a:lnTo>
                      <a:lnTo>
                        <a:pt x="813" y="1282"/>
                      </a:lnTo>
                      <a:lnTo>
                        <a:pt x="814" y="1280"/>
                      </a:lnTo>
                      <a:lnTo>
                        <a:pt x="816" y="1282"/>
                      </a:lnTo>
                      <a:lnTo>
                        <a:pt x="818" y="1283"/>
                      </a:lnTo>
                      <a:lnTo>
                        <a:pt x="819" y="1284"/>
                      </a:lnTo>
                      <a:lnTo>
                        <a:pt x="820" y="1286"/>
                      </a:lnTo>
                      <a:lnTo>
                        <a:pt x="824" y="1300"/>
                      </a:lnTo>
                      <a:lnTo>
                        <a:pt x="831" y="1313"/>
                      </a:lnTo>
                      <a:lnTo>
                        <a:pt x="840" y="1324"/>
                      </a:lnTo>
                      <a:lnTo>
                        <a:pt x="849" y="1331"/>
                      </a:lnTo>
                      <a:lnTo>
                        <a:pt x="858" y="1336"/>
                      </a:lnTo>
                      <a:lnTo>
                        <a:pt x="866" y="1338"/>
                      </a:lnTo>
                      <a:lnTo>
                        <a:pt x="883" y="1342"/>
                      </a:lnTo>
                      <a:lnTo>
                        <a:pt x="908" y="1348"/>
                      </a:lnTo>
                      <a:lnTo>
                        <a:pt x="912" y="1348"/>
                      </a:lnTo>
                      <a:lnTo>
                        <a:pt x="916" y="1344"/>
                      </a:lnTo>
                      <a:lnTo>
                        <a:pt x="922" y="1338"/>
                      </a:lnTo>
                      <a:lnTo>
                        <a:pt x="929" y="1331"/>
                      </a:lnTo>
                      <a:lnTo>
                        <a:pt x="943" y="1318"/>
                      </a:lnTo>
                      <a:lnTo>
                        <a:pt x="954" y="1309"/>
                      </a:lnTo>
                      <a:lnTo>
                        <a:pt x="961" y="1306"/>
                      </a:lnTo>
                      <a:lnTo>
                        <a:pt x="967" y="1302"/>
                      </a:lnTo>
                      <a:lnTo>
                        <a:pt x="973" y="1298"/>
                      </a:lnTo>
                      <a:lnTo>
                        <a:pt x="977" y="1293"/>
                      </a:lnTo>
                      <a:lnTo>
                        <a:pt x="986" y="1284"/>
                      </a:lnTo>
                      <a:lnTo>
                        <a:pt x="994" y="1273"/>
                      </a:lnTo>
                      <a:lnTo>
                        <a:pt x="1002" y="1263"/>
                      </a:lnTo>
                      <a:lnTo>
                        <a:pt x="1010" y="1253"/>
                      </a:lnTo>
                      <a:lnTo>
                        <a:pt x="1015" y="1249"/>
                      </a:lnTo>
                      <a:lnTo>
                        <a:pt x="1021" y="1245"/>
                      </a:lnTo>
                      <a:lnTo>
                        <a:pt x="1026" y="1242"/>
                      </a:lnTo>
                      <a:lnTo>
                        <a:pt x="1032" y="1238"/>
                      </a:lnTo>
                      <a:lnTo>
                        <a:pt x="1048" y="1231"/>
                      </a:lnTo>
                      <a:lnTo>
                        <a:pt x="1067" y="1224"/>
                      </a:lnTo>
                      <a:lnTo>
                        <a:pt x="1086" y="1217"/>
                      </a:lnTo>
                      <a:lnTo>
                        <a:pt x="1106" y="1210"/>
                      </a:lnTo>
                      <a:lnTo>
                        <a:pt x="1127" y="1204"/>
                      </a:lnTo>
                      <a:lnTo>
                        <a:pt x="1147" y="1199"/>
                      </a:lnTo>
                      <a:lnTo>
                        <a:pt x="1166" y="1196"/>
                      </a:lnTo>
                      <a:lnTo>
                        <a:pt x="1182" y="1194"/>
                      </a:lnTo>
                      <a:lnTo>
                        <a:pt x="1193" y="1188"/>
                      </a:lnTo>
                      <a:lnTo>
                        <a:pt x="1207" y="1184"/>
                      </a:lnTo>
                      <a:lnTo>
                        <a:pt x="1221" y="1180"/>
                      </a:lnTo>
                      <a:lnTo>
                        <a:pt x="1232" y="1179"/>
                      </a:lnTo>
                      <a:lnTo>
                        <a:pt x="1237" y="1179"/>
                      </a:lnTo>
                      <a:lnTo>
                        <a:pt x="1238" y="1179"/>
                      </a:lnTo>
                      <a:lnTo>
                        <a:pt x="1237" y="1178"/>
                      </a:lnTo>
                      <a:lnTo>
                        <a:pt x="1234" y="1177"/>
                      </a:lnTo>
                      <a:lnTo>
                        <a:pt x="1224" y="1174"/>
                      </a:lnTo>
                      <a:lnTo>
                        <a:pt x="1215" y="1172"/>
                      </a:lnTo>
                      <a:lnTo>
                        <a:pt x="1210" y="1170"/>
                      </a:lnTo>
                      <a:lnTo>
                        <a:pt x="1209" y="1167"/>
                      </a:lnTo>
                      <a:lnTo>
                        <a:pt x="1210" y="1165"/>
                      </a:lnTo>
                      <a:lnTo>
                        <a:pt x="1213" y="1163"/>
                      </a:lnTo>
                      <a:lnTo>
                        <a:pt x="1221" y="1158"/>
                      </a:lnTo>
                      <a:lnTo>
                        <a:pt x="1228" y="1153"/>
                      </a:lnTo>
                      <a:lnTo>
                        <a:pt x="1241" y="1140"/>
                      </a:lnTo>
                      <a:lnTo>
                        <a:pt x="1256" y="1126"/>
                      </a:lnTo>
                      <a:lnTo>
                        <a:pt x="1261" y="1124"/>
                      </a:lnTo>
                      <a:lnTo>
                        <a:pt x="1263" y="1122"/>
                      </a:lnTo>
                      <a:lnTo>
                        <a:pt x="1267" y="1122"/>
                      </a:lnTo>
                      <a:lnTo>
                        <a:pt x="1269" y="1124"/>
                      </a:lnTo>
                      <a:lnTo>
                        <a:pt x="1271" y="1126"/>
                      </a:lnTo>
                      <a:lnTo>
                        <a:pt x="1272" y="1131"/>
                      </a:lnTo>
                      <a:lnTo>
                        <a:pt x="1274" y="1137"/>
                      </a:lnTo>
                      <a:lnTo>
                        <a:pt x="1274" y="1144"/>
                      </a:lnTo>
                      <a:lnTo>
                        <a:pt x="1267" y="1154"/>
                      </a:lnTo>
                      <a:lnTo>
                        <a:pt x="1256" y="1166"/>
                      </a:lnTo>
                      <a:lnTo>
                        <a:pt x="1252" y="1172"/>
                      </a:lnTo>
                      <a:lnTo>
                        <a:pt x="1252" y="1176"/>
                      </a:lnTo>
                      <a:lnTo>
                        <a:pt x="1254" y="1176"/>
                      </a:lnTo>
                      <a:lnTo>
                        <a:pt x="1256" y="1176"/>
                      </a:lnTo>
                      <a:lnTo>
                        <a:pt x="1261" y="1176"/>
                      </a:lnTo>
                      <a:lnTo>
                        <a:pt x="1267" y="1173"/>
                      </a:lnTo>
                      <a:lnTo>
                        <a:pt x="1282" y="1168"/>
                      </a:lnTo>
                      <a:lnTo>
                        <a:pt x="1297" y="1166"/>
                      </a:lnTo>
                      <a:lnTo>
                        <a:pt x="1314" y="1165"/>
                      </a:lnTo>
                      <a:lnTo>
                        <a:pt x="1330" y="1164"/>
                      </a:lnTo>
                      <a:lnTo>
                        <a:pt x="1363" y="1163"/>
                      </a:lnTo>
                      <a:lnTo>
                        <a:pt x="1396" y="1160"/>
                      </a:lnTo>
                      <a:lnTo>
                        <a:pt x="1418" y="1157"/>
                      </a:lnTo>
                      <a:lnTo>
                        <a:pt x="1444" y="1154"/>
                      </a:lnTo>
                      <a:lnTo>
                        <a:pt x="1468" y="1153"/>
                      </a:lnTo>
                      <a:lnTo>
                        <a:pt x="1491" y="1153"/>
                      </a:lnTo>
                      <a:lnTo>
                        <a:pt x="1472" y="1147"/>
                      </a:lnTo>
                      <a:lnTo>
                        <a:pt x="1452" y="1140"/>
                      </a:lnTo>
                      <a:lnTo>
                        <a:pt x="1444" y="1135"/>
                      </a:lnTo>
                      <a:lnTo>
                        <a:pt x="1436" y="1130"/>
                      </a:lnTo>
                      <a:lnTo>
                        <a:pt x="1432" y="1126"/>
                      </a:lnTo>
                      <a:lnTo>
                        <a:pt x="1430" y="1121"/>
                      </a:lnTo>
                      <a:lnTo>
                        <a:pt x="1428" y="1118"/>
                      </a:lnTo>
                      <a:lnTo>
                        <a:pt x="1425" y="1112"/>
                      </a:lnTo>
                      <a:lnTo>
                        <a:pt x="1422" y="1102"/>
                      </a:lnTo>
                      <a:lnTo>
                        <a:pt x="1417" y="1094"/>
                      </a:lnTo>
                      <a:lnTo>
                        <a:pt x="1413" y="1084"/>
                      </a:lnTo>
                      <a:lnTo>
                        <a:pt x="1410" y="1074"/>
                      </a:lnTo>
                      <a:lnTo>
                        <a:pt x="1406" y="1062"/>
                      </a:lnTo>
                      <a:lnTo>
                        <a:pt x="1405" y="1049"/>
                      </a:lnTo>
                      <a:lnTo>
                        <a:pt x="1405" y="1047"/>
                      </a:lnTo>
                      <a:lnTo>
                        <a:pt x="1406" y="1046"/>
                      </a:lnTo>
                      <a:lnTo>
                        <a:pt x="1408" y="1047"/>
                      </a:lnTo>
                      <a:lnTo>
                        <a:pt x="1409" y="1048"/>
                      </a:lnTo>
                      <a:lnTo>
                        <a:pt x="1412" y="1052"/>
                      </a:lnTo>
                      <a:lnTo>
                        <a:pt x="1415" y="1055"/>
                      </a:lnTo>
                      <a:lnTo>
                        <a:pt x="1425" y="1062"/>
                      </a:lnTo>
                      <a:lnTo>
                        <a:pt x="1435" y="1069"/>
                      </a:lnTo>
                      <a:lnTo>
                        <a:pt x="1444" y="1078"/>
                      </a:lnTo>
                      <a:lnTo>
                        <a:pt x="1456" y="1084"/>
                      </a:lnTo>
                      <a:lnTo>
                        <a:pt x="1463" y="1085"/>
                      </a:lnTo>
                      <a:lnTo>
                        <a:pt x="1469" y="1086"/>
                      </a:lnTo>
                      <a:lnTo>
                        <a:pt x="1476" y="1087"/>
                      </a:lnTo>
                      <a:lnTo>
                        <a:pt x="1482" y="1087"/>
                      </a:lnTo>
                      <a:lnTo>
                        <a:pt x="1495" y="1086"/>
                      </a:lnTo>
                      <a:lnTo>
                        <a:pt x="1509" y="1086"/>
                      </a:lnTo>
                      <a:lnTo>
                        <a:pt x="1512" y="1100"/>
                      </a:lnTo>
                      <a:lnTo>
                        <a:pt x="1517" y="1115"/>
                      </a:lnTo>
                      <a:lnTo>
                        <a:pt x="1519" y="1125"/>
                      </a:lnTo>
                      <a:lnTo>
                        <a:pt x="1518" y="1131"/>
                      </a:lnTo>
                      <a:lnTo>
                        <a:pt x="1517" y="1137"/>
                      </a:lnTo>
                      <a:lnTo>
                        <a:pt x="1517" y="1144"/>
                      </a:lnTo>
                      <a:lnTo>
                        <a:pt x="1511" y="1146"/>
                      </a:lnTo>
                      <a:lnTo>
                        <a:pt x="1506" y="1151"/>
                      </a:lnTo>
                      <a:lnTo>
                        <a:pt x="1529" y="1151"/>
                      </a:lnTo>
                      <a:lnTo>
                        <a:pt x="1551" y="1150"/>
                      </a:lnTo>
                      <a:lnTo>
                        <a:pt x="1573" y="1150"/>
                      </a:lnTo>
                      <a:lnTo>
                        <a:pt x="1597" y="1148"/>
                      </a:lnTo>
                      <a:lnTo>
                        <a:pt x="1619" y="1147"/>
                      </a:lnTo>
                      <a:lnTo>
                        <a:pt x="1641" y="1146"/>
                      </a:lnTo>
                      <a:lnTo>
                        <a:pt x="1665" y="1145"/>
                      </a:lnTo>
                      <a:lnTo>
                        <a:pt x="1687" y="1145"/>
                      </a:lnTo>
                      <a:lnTo>
                        <a:pt x="1866" y="1140"/>
                      </a:lnTo>
                      <a:close/>
                      <a:moveTo>
                        <a:pt x="168" y="646"/>
                      </a:moveTo>
                      <a:lnTo>
                        <a:pt x="165" y="649"/>
                      </a:lnTo>
                      <a:lnTo>
                        <a:pt x="162" y="647"/>
                      </a:lnTo>
                      <a:lnTo>
                        <a:pt x="158" y="646"/>
                      </a:lnTo>
                      <a:lnTo>
                        <a:pt x="154" y="643"/>
                      </a:lnTo>
                      <a:lnTo>
                        <a:pt x="151" y="639"/>
                      </a:lnTo>
                      <a:lnTo>
                        <a:pt x="145" y="631"/>
                      </a:lnTo>
                      <a:lnTo>
                        <a:pt x="141" y="624"/>
                      </a:lnTo>
                      <a:lnTo>
                        <a:pt x="134" y="614"/>
                      </a:lnTo>
                      <a:lnTo>
                        <a:pt x="128" y="607"/>
                      </a:lnTo>
                      <a:lnTo>
                        <a:pt x="121" y="603"/>
                      </a:lnTo>
                      <a:lnTo>
                        <a:pt x="111" y="598"/>
                      </a:lnTo>
                      <a:lnTo>
                        <a:pt x="101" y="612"/>
                      </a:lnTo>
                      <a:lnTo>
                        <a:pt x="89" y="629"/>
                      </a:lnTo>
                      <a:lnTo>
                        <a:pt x="82" y="635"/>
                      </a:lnTo>
                      <a:lnTo>
                        <a:pt x="75" y="639"/>
                      </a:lnTo>
                      <a:lnTo>
                        <a:pt x="67" y="643"/>
                      </a:lnTo>
                      <a:lnTo>
                        <a:pt x="58" y="646"/>
                      </a:lnTo>
                      <a:lnTo>
                        <a:pt x="54" y="649"/>
                      </a:lnTo>
                      <a:lnTo>
                        <a:pt x="51" y="651"/>
                      </a:lnTo>
                      <a:lnTo>
                        <a:pt x="49" y="655"/>
                      </a:lnTo>
                      <a:lnTo>
                        <a:pt x="47" y="658"/>
                      </a:lnTo>
                      <a:lnTo>
                        <a:pt x="43" y="664"/>
                      </a:lnTo>
                      <a:lnTo>
                        <a:pt x="41" y="672"/>
                      </a:lnTo>
                      <a:lnTo>
                        <a:pt x="38" y="679"/>
                      </a:lnTo>
                      <a:lnTo>
                        <a:pt x="35" y="686"/>
                      </a:lnTo>
                      <a:lnTo>
                        <a:pt x="30" y="693"/>
                      </a:lnTo>
                      <a:lnTo>
                        <a:pt x="23" y="698"/>
                      </a:lnTo>
                      <a:lnTo>
                        <a:pt x="14" y="702"/>
                      </a:lnTo>
                      <a:lnTo>
                        <a:pt x="6" y="706"/>
                      </a:lnTo>
                      <a:lnTo>
                        <a:pt x="2" y="715"/>
                      </a:lnTo>
                      <a:lnTo>
                        <a:pt x="0" y="726"/>
                      </a:lnTo>
                      <a:lnTo>
                        <a:pt x="0" y="732"/>
                      </a:lnTo>
                      <a:lnTo>
                        <a:pt x="0" y="737"/>
                      </a:lnTo>
                      <a:lnTo>
                        <a:pt x="1" y="742"/>
                      </a:lnTo>
                      <a:lnTo>
                        <a:pt x="3" y="744"/>
                      </a:lnTo>
                      <a:lnTo>
                        <a:pt x="7" y="745"/>
                      </a:lnTo>
                      <a:lnTo>
                        <a:pt x="10" y="745"/>
                      </a:lnTo>
                      <a:lnTo>
                        <a:pt x="15" y="745"/>
                      </a:lnTo>
                      <a:lnTo>
                        <a:pt x="20" y="744"/>
                      </a:lnTo>
                      <a:lnTo>
                        <a:pt x="30" y="739"/>
                      </a:lnTo>
                      <a:lnTo>
                        <a:pt x="42" y="734"/>
                      </a:lnTo>
                      <a:lnTo>
                        <a:pt x="62" y="721"/>
                      </a:lnTo>
                      <a:lnTo>
                        <a:pt x="76" y="710"/>
                      </a:lnTo>
                      <a:lnTo>
                        <a:pt x="90" y="693"/>
                      </a:lnTo>
                      <a:lnTo>
                        <a:pt x="103" y="678"/>
                      </a:lnTo>
                      <a:lnTo>
                        <a:pt x="114" y="670"/>
                      </a:lnTo>
                      <a:lnTo>
                        <a:pt x="122" y="662"/>
                      </a:lnTo>
                      <a:lnTo>
                        <a:pt x="130" y="658"/>
                      </a:lnTo>
                      <a:lnTo>
                        <a:pt x="138" y="657"/>
                      </a:lnTo>
                      <a:lnTo>
                        <a:pt x="144" y="657"/>
                      </a:lnTo>
                      <a:lnTo>
                        <a:pt x="149" y="658"/>
                      </a:lnTo>
                      <a:lnTo>
                        <a:pt x="154" y="658"/>
                      </a:lnTo>
                      <a:lnTo>
                        <a:pt x="159" y="656"/>
                      </a:lnTo>
                      <a:lnTo>
                        <a:pt x="168" y="646"/>
                      </a:lnTo>
                      <a:close/>
                      <a:moveTo>
                        <a:pt x="457" y="479"/>
                      </a:moveTo>
                      <a:lnTo>
                        <a:pt x="447" y="493"/>
                      </a:lnTo>
                      <a:lnTo>
                        <a:pt x="437" y="507"/>
                      </a:lnTo>
                      <a:lnTo>
                        <a:pt x="431" y="514"/>
                      </a:lnTo>
                      <a:lnTo>
                        <a:pt x="424" y="520"/>
                      </a:lnTo>
                      <a:lnTo>
                        <a:pt x="417" y="525"/>
                      </a:lnTo>
                      <a:lnTo>
                        <a:pt x="410" y="530"/>
                      </a:lnTo>
                      <a:lnTo>
                        <a:pt x="399" y="534"/>
                      </a:lnTo>
                      <a:lnTo>
                        <a:pt x="390" y="541"/>
                      </a:lnTo>
                      <a:lnTo>
                        <a:pt x="382" y="550"/>
                      </a:lnTo>
                      <a:lnTo>
                        <a:pt x="372" y="558"/>
                      </a:lnTo>
                      <a:lnTo>
                        <a:pt x="364" y="566"/>
                      </a:lnTo>
                      <a:lnTo>
                        <a:pt x="356" y="573"/>
                      </a:lnTo>
                      <a:lnTo>
                        <a:pt x="352" y="577"/>
                      </a:lnTo>
                      <a:lnTo>
                        <a:pt x="348" y="579"/>
                      </a:lnTo>
                      <a:lnTo>
                        <a:pt x="343" y="581"/>
                      </a:lnTo>
                      <a:lnTo>
                        <a:pt x="338" y="583"/>
                      </a:lnTo>
                      <a:lnTo>
                        <a:pt x="326" y="585"/>
                      </a:lnTo>
                      <a:lnTo>
                        <a:pt x="312" y="585"/>
                      </a:lnTo>
                      <a:lnTo>
                        <a:pt x="298" y="585"/>
                      </a:lnTo>
                      <a:lnTo>
                        <a:pt x="286" y="584"/>
                      </a:lnTo>
                      <a:lnTo>
                        <a:pt x="277" y="580"/>
                      </a:lnTo>
                      <a:lnTo>
                        <a:pt x="268" y="578"/>
                      </a:lnTo>
                      <a:lnTo>
                        <a:pt x="263" y="577"/>
                      </a:lnTo>
                      <a:lnTo>
                        <a:pt x="258" y="576"/>
                      </a:lnTo>
                      <a:lnTo>
                        <a:pt x="254" y="576"/>
                      </a:lnTo>
                      <a:lnTo>
                        <a:pt x="248" y="577"/>
                      </a:lnTo>
                      <a:lnTo>
                        <a:pt x="248" y="578"/>
                      </a:lnTo>
                      <a:lnTo>
                        <a:pt x="242" y="596"/>
                      </a:lnTo>
                      <a:lnTo>
                        <a:pt x="234" y="613"/>
                      </a:lnTo>
                      <a:lnTo>
                        <a:pt x="231" y="623"/>
                      </a:lnTo>
                      <a:lnTo>
                        <a:pt x="228" y="631"/>
                      </a:lnTo>
                      <a:lnTo>
                        <a:pt x="226" y="642"/>
                      </a:lnTo>
                      <a:lnTo>
                        <a:pt x="225" y="651"/>
                      </a:lnTo>
                      <a:lnTo>
                        <a:pt x="226" y="655"/>
                      </a:lnTo>
                      <a:lnTo>
                        <a:pt x="228" y="658"/>
                      </a:lnTo>
                      <a:lnTo>
                        <a:pt x="230" y="660"/>
                      </a:lnTo>
                      <a:lnTo>
                        <a:pt x="234" y="662"/>
                      </a:lnTo>
                      <a:lnTo>
                        <a:pt x="242" y="665"/>
                      </a:lnTo>
                      <a:lnTo>
                        <a:pt x="252" y="666"/>
                      </a:lnTo>
                      <a:lnTo>
                        <a:pt x="273" y="665"/>
                      </a:lnTo>
                      <a:lnTo>
                        <a:pt x="290" y="664"/>
                      </a:lnTo>
                      <a:lnTo>
                        <a:pt x="325" y="662"/>
                      </a:lnTo>
                      <a:lnTo>
                        <a:pt x="362" y="660"/>
                      </a:lnTo>
                      <a:lnTo>
                        <a:pt x="379" y="658"/>
                      </a:lnTo>
                      <a:lnTo>
                        <a:pt x="397" y="655"/>
                      </a:lnTo>
                      <a:lnTo>
                        <a:pt x="405" y="652"/>
                      </a:lnTo>
                      <a:lnTo>
                        <a:pt x="413" y="649"/>
                      </a:lnTo>
                      <a:lnTo>
                        <a:pt x="422" y="645"/>
                      </a:lnTo>
                      <a:lnTo>
                        <a:pt x="430" y="640"/>
                      </a:lnTo>
                      <a:lnTo>
                        <a:pt x="442" y="633"/>
                      </a:lnTo>
                      <a:lnTo>
                        <a:pt x="454" y="626"/>
                      </a:lnTo>
                      <a:lnTo>
                        <a:pt x="466" y="619"/>
                      </a:lnTo>
                      <a:lnTo>
                        <a:pt x="478" y="611"/>
                      </a:lnTo>
                      <a:lnTo>
                        <a:pt x="482" y="607"/>
                      </a:lnTo>
                      <a:lnTo>
                        <a:pt x="485" y="602"/>
                      </a:lnTo>
                      <a:lnTo>
                        <a:pt x="490" y="594"/>
                      </a:lnTo>
                      <a:lnTo>
                        <a:pt x="493" y="587"/>
                      </a:lnTo>
                      <a:lnTo>
                        <a:pt x="496" y="580"/>
                      </a:lnTo>
                      <a:lnTo>
                        <a:pt x="496" y="573"/>
                      </a:lnTo>
                      <a:lnTo>
                        <a:pt x="496" y="571"/>
                      </a:lnTo>
                      <a:lnTo>
                        <a:pt x="494" y="569"/>
                      </a:lnTo>
                      <a:lnTo>
                        <a:pt x="492" y="566"/>
                      </a:lnTo>
                      <a:lnTo>
                        <a:pt x="490" y="566"/>
                      </a:lnTo>
                      <a:lnTo>
                        <a:pt x="473" y="551"/>
                      </a:lnTo>
                      <a:lnTo>
                        <a:pt x="457" y="534"/>
                      </a:lnTo>
                      <a:lnTo>
                        <a:pt x="456" y="524"/>
                      </a:lnTo>
                      <a:lnTo>
                        <a:pt x="457" y="513"/>
                      </a:lnTo>
                      <a:lnTo>
                        <a:pt x="459" y="503"/>
                      </a:lnTo>
                      <a:lnTo>
                        <a:pt x="460" y="492"/>
                      </a:lnTo>
                      <a:lnTo>
                        <a:pt x="457" y="479"/>
                      </a:lnTo>
                      <a:close/>
                      <a:moveTo>
                        <a:pt x="682" y="460"/>
                      </a:moveTo>
                      <a:lnTo>
                        <a:pt x="680" y="459"/>
                      </a:lnTo>
                      <a:lnTo>
                        <a:pt x="678" y="458"/>
                      </a:lnTo>
                      <a:lnTo>
                        <a:pt x="674" y="454"/>
                      </a:lnTo>
                      <a:lnTo>
                        <a:pt x="671" y="451"/>
                      </a:lnTo>
                      <a:lnTo>
                        <a:pt x="668" y="449"/>
                      </a:lnTo>
                      <a:lnTo>
                        <a:pt x="666" y="447"/>
                      </a:lnTo>
                      <a:lnTo>
                        <a:pt x="664" y="446"/>
                      </a:lnTo>
                      <a:lnTo>
                        <a:pt x="661" y="444"/>
                      </a:lnTo>
                      <a:lnTo>
                        <a:pt x="657" y="441"/>
                      </a:lnTo>
                      <a:lnTo>
                        <a:pt x="653" y="438"/>
                      </a:lnTo>
                      <a:lnTo>
                        <a:pt x="650" y="434"/>
                      </a:lnTo>
                      <a:lnTo>
                        <a:pt x="648" y="429"/>
                      </a:lnTo>
                      <a:lnTo>
                        <a:pt x="646" y="427"/>
                      </a:lnTo>
                      <a:lnTo>
                        <a:pt x="643" y="427"/>
                      </a:lnTo>
                      <a:lnTo>
                        <a:pt x="640" y="426"/>
                      </a:lnTo>
                      <a:lnTo>
                        <a:pt x="638" y="426"/>
                      </a:lnTo>
                      <a:lnTo>
                        <a:pt x="638" y="428"/>
                      </a:lnTo>
                      <a:lnTo>
                        <a:pt x="633" y="429"/>
                      </a:lnTo>
                      <a:lnTo>
                        <a:pt x="628" y="432"/>
                      </a:lnTo>
                      <a:lnTo>
                        <a:pt x="625" y="432"/>
                      </a:lnTo>
                      <a:lnTo>
                        <a:pt x="623" y="432"/>
                      </a:lnTo>
                      <a:lnTo>
                        <a:pt x="620" y="432"/>
                      </a:lnTo>
                      <a:lnTo>
                        <a:pt x="619" y="433"/>
                      </a:lnTo>
                      <a:lnTo>
                        <a:pt x="610" y="433"/>
                      </a:lnTo>
                      <a:lnTo>
                        <a:pt x="600" y="432"/>
                      </a:lnTo>
                      <a:lnTo>
                        <a:pt x="598" y="432"/>
                      </a:lnTo>
                      <a:lnTo>
                        <a:pt x="594" y="432"/>
                      </a:lnTo>
                      <a:lnTo>
                        <a:pt x="591" y="431"/>
                      </a:lnTo>
                      <a:lnTo>
                        <a:pt x="587" y="431"/>
                      </a:lnTo>
                      <a:lnTo>
                        <a:pt x="579" y="431"/>
                      </a:lnTo>
                      <a:lnTo>
                        <a:pt x="571" y="431"/>
                      </a:lnTo>
                      <a:lnTo>
                        <a:pt x="567" y="431"/>
                      </a:lnTo>
                      <a:lnTo>
                        <a:pt x="564" y="432"/>
                      </a:lnTo>
                      <a:lnTo>
                        <a:pt x="560" y="433"/>
                      </a:lnTo>
                      <a:lnTo>
                        <a:pt x="556" y="437"/>
                      </a:lnTo>
                      <a:lnTo>
                        <a:pt x="550" y="441"/>
                      </a:lnTo>
                      <a:lnTo>
                        <a:pt x="545" y="448"/>
                      </a:lnTo>
                      <a:lnTo>
                        <a:pt x="541" y="454"/>
                      </a:lnTo>
                      <a:lnTo>
                        <a:pt x="538" y="462"/>
                      </a:lnTo>
                      <a:lnTo>
                        <a:pt x="537" y="471"/>
                      </a:lnTo>
                      <a:lnTo>
                        <a:pt x="537" y="478"/>
                      </a:lnTo>
                      <a:lnTo>
                        <a:pt x="537" y="486"/>
                      </a:lnTo>
                      <a:lnTo>
                        <a:pt x="538" y="494"/>
                      </a:lnTo>
                      <a:lnTo>
                        <a:pt x="539" y="506"/>
                      </a:lnTo>
                      <a:lnTo>
                        <a:pt x="543" y="519"/>
                      </a:lnTo>
                      <a:lnTo>
                        <a:pt x="545" y="526"/>
                      </a:lnTo>
                      <a:lnTo>
                        <a:pt x="548" y="531"/>
                      </a:lnTo>
                      <a:lnTo>
                        <a:pt x="552" y="536"/>
                      </a:lnTo>
                      <a:lnTo>
                        <a:pt x="557" y="538"/>
                      </a:lnTo>
                      <a:lnTo>
                        <a:pt x="561" y="539"/>
                      </a:lnTo>
                      <a:lnTo>
                        <a:pt x="566" y="539"/>
                      </a:lnTo>
                      <a:lnTo>
                        <a:pt x="571" y="539"/>
                      </a:lnTo>
                      <a:lnTo>
                        <a:pt x="576" y="538"/>
                      </a:lnTo>
                      <a:lnTo>
                        <a:pt x="586" y="534"/>
                      </a:lnTo>
                      <a:lnTo>
                        <a:pt x="596" y="530"/>
                      </a:lnTo>
                      <a:lnTo>
                        <a:pt x="613" y="517"/>
                      </a:lnTo>
                      <a:lnTo>
                        <a:pt x="631" y="507"/>
                      </a:lnTo>
                      <a:lnTo>
                        <a:pt x="640" y="505"/>
                      </a:lnTo>
                      <a:lnTo>
                        <a:pt x="647" y="504"/>
                      </a:lnTo>
                      <a:lnTo>
                        <a:pt x="655" y="506"/>
                      </a:lnTo>
                      <a:lnTo>
                        <a:pt x="664" y="508"/>
                      </a:lnTo>
                      <a:lnTo>
                        <a:pt x="670" y="512"/>
                      </a:lnTo>
                      <a:lnTo>
                        <a:pt x="674" y="517"/>
                      </a:lnTo>
                      <a:lnTo>
                        <a:pt x="678" y="519"/>
                      </a:lnTo>
                      <a:lnTo>
                        <a:pt x="680" y="521"/>
                      </a:lnTo>
                      <a:lnTo>
                        <a:pt x="684" y="523"/>
                      </a:lnTo>
                      <a:lnTo>
                        <a:pt x="687" y="523"/>
                      </a:lnTo>
                      <a:lnTo>
                        <a:pt x="691" y="518"/>
                      </a:lnTo>
                      <a:lnTo>
                        <a:pt x="694" y="514"/>
                      </a:lnTo>
                      <a:lnTo>
                        <a:pt x="698" y="508"/>
                      </a:lnTo>
                      <a:lnTo>
                        <a:pt x="699" y="503"/>
                      </a:lnTo>
                      <a:lnTo>
                        <a:pt x="700" y="495"/>
                      </a:lnTo>
                      <a:lnTo>
                        <a:pt x="699" y="487"/>
                      </a:lnTo>
                      <a:lnTo>
                        <a:pt x="697" y="480"/>
                      </a:lnTo>
                      <a:lnTo>
                        <a:pt x="693" y="474"/>
                      </a:lnTo>
                      <a:lnTo>
                        <a:pt x="682" y="460"/>
                      </a:lnTo>
                      <a:close/>
                      <a:moveTo>
                        <a:pt x="714" y="471"/>
                      </a:moveTo>
                      <a:lnTo>
                        <a:pt x="711" y="461"/>
                      </a:lnTo>
                      <a:lnTo>
                        <a:pt x="705" y="447"/>
                      </a:lnTo>
                      <a:lnTo>
                        <a:pt x="702" y="441"/>
                      </a:lnTo>
                      <a:lnTo>
                        <a:pt x="700" y="434"/>
                      </a:lnTo>
                      <a:lnTo>
                        <a:pt x="700" y="429"/>
                      </a:lnTo>
                      <a:lnTo>
                        <a:pt x="701" y="425"/>
                      </a:lnTo>
                      <a:lnTo>
                        <a:pt x="705" y="426"/>
                      </a:lnTo>
                      <a:lnTo>
                        <a:pt x="708" y="426"/>
                      </a:lnTo>
                      <a:lnTo>
                        <a:pt x="713" y="419"/>
                      </a:lnTo>
                      <a:lnTo>
                        <a:pt x="715" y="412"/>
                      </a:lnTo>
                      <a:lnTo>
                        <a:pt x="718" y="405"/>
                      </a:lnTo>
                      <a:lnTo>
                        <a:pt x="718" y="398"/>
                      </a:lnTo>
                      <a:lnTo>
                        <a:pt x="719" y="381"/>
                      </a:lnTo>
                      <a:lnTo>
                        <a:pt x="721" y="365"/>
                      </a:lnTo>
                      <a:lnTo>
                        <a:pt x="739" y="360"/>
                      </a:lnTo>
                      <a:lnTo>
                        <a:pt x="754" y="356"/>
                      </a:lnTo>
                      <a:lnTo>
                        <a:pt x="766" y="353"/>
                      </a:lnTo>
                      <a:lnTo>
                        <a:pt x="775" y="347"/>
                      </a:lnTo>
                      <a:lnTo>
                        <a:pt x="780" y="345"/>
                      </a:lnTo>
                      <a:lnTo>
                        <a:pt x="784" y="340"/>
                      </a:lnTo>
                      <a:lnTo>
                        <a:pt x="787" y="335"/>
                      </a:lnTo>
                      <a:lnTo>
                        <a:pt x="791" y="329"/>
                      </a:lnTo>
                      <a:lnTo>
                        <a:pt x="798" y="315"/>
                      </a:lnTo>
                      <a:lnTo>
                        <a:pt x="805" y="295"/>
                      </a:lnTo>
                      <a:lnTo>
                        <a:pt x="825" y="295"/>
                      </a:lnTo>
                      <a:lnTo>
                        <a:pt x="841" y="295"/>
                      </a:lnTo>
                      <a:lnTo>
                        <a:pt x="849" y="295"/>
                      </a:lnTo>
                      <a:lnTo>
                        <a:pt x="855" y="294"/>
                      </a:lnTo>
                      <a:lnTo>
                        <a:pt x="862" y="292"/>
                      </a:lnTo>
                      <a:lnTo>
                        <a:pt x="867" y="289"/>
                      </a:lnTo>
                      <a:lnTo>
                        <a:pt x="873" y="287"/>
                      </a:lnTo>
                      <a:lnTo>
                        <a:pt x="876" y="282"/>
                      </a:lnTo>
                      <a:lnTo>
                        <a:pt x="880" y="277"/>
                      </a:lnTo>
                      <a:lnTo>
                        <a:pt x="883" y="270"/>
                      </a:lnTo>
                      <a:lnTo>
                        <a:pt x="886" y="263"/>
                      </a:lnTo>
                      <a:lnTo>
                        <a:pt x="887" y="254"/>
                      </a:lnTo>
                      <a:lnTo>
                        <a:pt x="888" y="243"/>
                      </a:lnTo>
                      <a:lnTo>
                        <a:pt x="888" y="231"/>
                      </a:lnTo>
                      <a:lnTo>
                        <a:pt x="908" y="227"/>
                      </a:lnTo>
                      <a:lnTo>
                        <a:pt x="926" y="221"/>
                      </a:lnTo>
                      <a:lnTo>
                        <a:pt x="935" y="217"/>
                      </a:lnTo>
                      <a:lnTo>
                        <a:pt x="945" y="213"/>
                      </a:lnTo>
                      <a:lnTo>
                        <a:pt x="953" y="208"/>
                      </a:lnTo>
                      <a:lnTo>
                        <a:pt x="962" y="201"/>
                      </a:lnTo>
                      <a:lnTo>
                        <a:pt x="972" y="193"/>
                      </a:lnTo>
                      <a:lnTo>
                        <a:pt x="980" y="180"/>
                      </a:lnTo>
                      <a:lnTo>
                        <a:pt x="989" y="165"/>
                      </a:lnTo>
                      <a:lnTo>
                        <a:pt x="999" y="151"/>
                      </a:lnTo>
                      <a:lnTo>
                        <a:pt x="1004" y="144"/>
                      </a:lnTo>
                      <a:lnTo>
                        <a:pt x="1009" y="138"/>
                      </a:lnTo>
                      <a:lnTo>
                        <a:pt x="1015" y="132"/>
                      </a:lnTo>
                      <a:lnTo>
                        <a:pt x="1021" y="128"/>
                      </a:lnTo>
                      <a:lnTo>
                        <a:pt x="1028" y="124"/>
                      </a:lnTo>
                      <a:lnTo>
                        <a:pt x="1034" y="122"/>
                      </a:lnTo>
                      <a:lnTo>
                        <a:pt x="1042" y="122"/>
                      </a:lnTo>
                      <a:lnTo>
                        <a:pt x="1049" y="122"/>
                      </a:lnTo>
                      <a:lnTo>
                        <a:pt x="1060" y="124"/>
                      </a:lnTo>
                      <a:lnTo>
                        <a:pt x="1068" y="123"/>
                      </a:lnTo>
                      <a:lnTo>
                        <a:pt x="1076" y="122"/>
                      </a:lnTo>
                      <a:lnTo>
                        <a:pt x="1082" y="118"/>
                      </a:lnTo>
                      <a:lnTo>
                        <a:pt x="1094" y="109"/>
                      </a:lnTo>
                      <a:lnTo>
                        <a:pt x="1108" y="96"/>
                      </a:lnTo>
                      <a:lnTo>
                        <a:pt x="1117" y="84"/>
                      </a:lnTo>
                      <a:lnTo>
                        <a:pt x="1131" y="64"/>
                      </a:lnTo>
                      <a:lnTo>
                        <a:pt x="1138" y="55"/>
                      </a:lnTo>
                      <a:lnTo>
                        <a:pt x="1146" y="49"/>
                      </a:lnTo>
                      <a:lnTo>
                        <a:pt x="1148" y="46"/>
                      </a:lnTo>
                      <a:lnTo>
                        <a:pt x="1150" y="45"/>
                      </a:lnTo>
                      <a:lnTo>
                        <a:pt x="1151" y="45"/>
                      </a:lnTo>
                      <a:lnTo>
                        <a:pt x="1153" y="46"/>
                      </a:lnTo>
                      <a:lnTo>
                        <a:pt x="1156" y="49"/>
                      </a:lnTo>
                      <a:lnTo>
                        <a:pt x="1160" y="52"/>
                      </a:lnTo>
                      <a:lnTo>
                        <a:pt x="1189" y="75"/>
                      </a:lnTo>
                      <a:lnTo>
                        <a:pt x="1188" y="58"/>
                      </a:lnTo>
                      <a:lnTo>
                        <a:pt x="1185" y="46"/>
                      </a:lnTo>
                      <a:lnTo>
                        <a:pt x="1183" y="39"/>
                      </a:lnTo>
                      <a:lnTo>
                        <a:pt x="1182" y="33"/>
                      </a:lnTo>
                      <a:lnTo>
                        <a:pt x="1182" y="31"/>
                      </a:lnTo>
                      <a:lnTo>
                        <a:pt x="1183" y="30"/>
                      </a:lnTo>
                      <a:lnTo>
                        <a:pt x="1185" y="28"/>
                      </a:lnTo>
                      <a:lnTo>
                        <a:pt x="1189" y="25"/>
                      </a:lnTo>
                      <a:lnTo>
                        <a:pt x="1200" y="18"/>
                      </a:lnTo>
                      <a:lnTo>
                        <a:pt x="1217" y="9"/>
                      </a:lnTo>
                      <a:lnTo>
                        <a:pt x="1225" y="4"/>
                      </a:lnTo>
                      <a:lnTo>
                        <a:pt x="1231" y="2"/>
                      </a:lnTo>
                      <a:lnTo>
                        <a:pt x="1236" y="0"/>
                      </a:lnTo>
                      <a:lnTo>
                        <a:pt x="1240" y="0"/>
                      </a:lnTo>
                      <a:lnTo>
                        <a:pt x="1241" y="2"/>
                      </a:lnTo>
                      <a:lnTo>
                        <a:pt x="1241" y="4"/>
                      </a:lnTo>
                      <a:lnTo>
                        <a:pt x="1241" y="7"/>
                      </a:lnTo>
                      <a:lnTo>
                        <a:pt x="1240" y="12"/>
                      </a:lnTo>
                      <a:lnTo>
                        <a:pt x="1229" y="33"/>
                      </a:lnTo>
                      <a:lnTo>
                        <a:pt x="1218" y="55"/>
                      </a:lnTo>
                      <a:lnTo>
                        <a:pt x="1214" y="71"/>
                      </a:lnTo>
                      <a:lnTo>
                        <a:pt x="1213" y="79"/>
                      </a:lnTo>
                      <a:lnTo>
                        <a:pt x="1213" y="81"/>
                      </a:lnTo>
                      <a:lnTo>
                        <a:pt x="1214" y="81"/>
                      </a:lnTo>
                      <a:lnTo>
                        <a:pt x="1216" y="81"/>
                      </a:lnTo>
                      <a:lnTo>
                        <a:pt x="1218" y="78"/>
                      </a:lnTo>
                      <a:lnTo>
                        <a:pt x="1227" y="73"/>
                      </a:lnTo>
                      <a:lnTo>
                        <a:pt x="1236" y="68"/>
                      </a:lnTo>
                      <a:lnTo>
                        <a:pt x="1242" y="65"/>
                      </a:lnTo>
                      <a:lnTo>
                        <a:pt x="1248" y="63"/>
                      </a:lnTo>
                      <a:lnTo>
                        <a:pt x="1254" y="62"/>
                      </a:lnTo>
                      <a:lnTo>
                        <a:pt x="1261" y="62"/>
                      </a:lnTo>
                      <a:lnTo>
                        <a:pt x="1272" y="62"/>
                      </a:lnTo>
                      <a:lnTo>
                        <a:pt x="1282" y="61"/>
                      </a:lnTo>
                      <a:lnTo>
                        <a:pt x="1289" y="59"/>
                      </a:lnTo>
                      <a:lnTo>
                        <a:pt x="1296" y="58"/>
                      </a:lnTo>
                      <a:lnTo>
                        <a:pt x="1310" y="53"/>
                      </a:lnTo>
                      <a:lnTo>
                        <a:pt x="1330" y="45"/>
                      </a:lnTo>
                      <a:lnTo>
                        <a:pt x="1338" y="43"/>
                      </a:lnTo>
                      <a:lnTo>
                        <a:pt x="1344" y="42"/>
                      </a:lnTo>
                      <a:lnTo>
                        <a:pt x="1349" y="44"/>
                      </a:lnTo>
                      <a:lnTo>
                        <a:pt x="1352" y="46"/>
                      </a:lnTo>
                      <a:lnTo>
                        <a:pt x="1354" y="51"/>
                      </a:lnTo>
                      <a:lnTo>
                        <a:pt x="1354" y="57"/>
                      </a:lnTo>
                      <a:lnTo>
                        <a:pt x="1352" y="64"/>
                      </a:lnTo>
                      <a:lnTo>
                        <a:pt x="1350" y="71"/>
                      </a:lnTo>
                      <a:lnTo>
                        <a:pt x="1346" y="78"/>
                      </a:lnTo>
                      <a:lnTo>
                        <a:pt x="1342" y="85"/>
                      </a:lnTo>
                      <a:lnTo>
                        <a:pt x="1336" y="92"/>
                      </a:lnTo>
                      <a:lnTo>
                        <a:pt x="1329" y="99"/>
                      </a:lnTo>
                      <a:lnTo>
                        <a:pt x="1322" y="105"/>
                      </a:lnTo>
                      <a:lnTo>
                        <a:pt x="1314" y="110"/>
                      </a:lnTo>
                      <a:lnTo>
                        <a:pt x="1304" y="112"/>
                      </a:lnTo>
                      <a:lnTo>
                        <a:pt x="1295" y="115"/>
                      </a:lnTo>
                      <a:lnTo>
                        <a:pt x="1288" y="114"/>
                      </a:lnTo>
                      <a:lnTo>
                        <a:pt x="1281" y="112"/>
                      </a:lnTo>
                      <a:lnTo>
                        <a:pt x="1272" y="110"/>
                      </a:lnTo>
                      <a:lnTo>
                        <a:pt x="1265" y="106"/>
                      </a:lnTo>
                      <a:lnTo>
                        <a:pt x="1258" y="103"/>
                      </a:lnTo>
                      <a:lnTo>
                        <a:pt x="1250" y="101"/>
                      </a:lnTo>
                      <a:lnTo>
                        <a:pt x="1242" y="98"/>
                      </a:lnTo>
                      <a:lnTo>
                        <a:pt x="1232" y="98"/>
                      </a:lnTo>
                      <a:lnTo>
                        <a:pt x="1228" y="98"/>
                      </a:lnTo>
                      <a:lnTo>
                        <a:pt x="1223" y="98"/>
                      </a:lnTo>
                      <a:lnTo>
                        <a:pt x="1221" y="99"/>
                      </a:lnTo>
                      <a:lnTo>
                        <a:pt x="1218" y="101"/>
                      </a:lnTo>
                      <a:lnTo>
                        <a:pt x="1216" y="104"/>
                      </a:lnTo>
                      <a:lnTo>
                        <a:pt x="1217" y="109"/>
                      </a:lnTo>
                      <a:lnTo>
                        <a:pt x="1217" y="114"/>
                      </a:lnTo>
                      <a:lnTo>
                        <a:pt x="1217" y="118"/>
                      </a:lnTo>
                      <a:lnTo>
                        <a:pt x="1216" y="121"/>
                      </a:lnTo>
                      <a:lnTo>
                        <a:pt x="1215" y="123"/>
                      </a:lnTo>
                      <a:lnTo>
                        <a:pt x="1213" y="124"/>
                      </a:lnTo>
                      <a:lnTo>
                        <a:pt x="1210" y="127"/>
                      </a:lnTo>
                      <a:lnTo>
                        <a:pt x="1196" y="131"/>
                      </a:lnTo>
                      <a:lnTo>
                        <a:pt x="1193" y="132"/>
                      </a:lnTo>
                      <a:lnTo>
                        <a:pt x="1196" y="137"/>
                      </a:lnTo>
                      <a:lnTo>
                        <a:pt x="1201" y="151"/>
                      </a:lnTo>
                      <a:lnTo>
                        <a:pt x="1202" y="157"/>
                      </a:lnTo>
                      <a:lnTo>
                        <a:pt x="1202" y="162"/>
                      </a:lnTo>
                      <a:lnTo>
                        <a:pt x="1201" y="168"/>
                      </a:lnTo>
                      <a:lnTo>
                        <a:pt x="1200" y="172"/>
                      </a:lnTo>
                      <a:lnTo>
                        <a:pt x="1195" y="182"/>
                      </a:lnTo>
                      <a:lnTo>
                        <a:pt x="1187" y="191"/>
                      </a:lnTo>
                      <a:lnTo>
                        <a:pt x="1178" y="200"/>
                      </a:lnTo>
                      <a:lnTo>
                        <a:pt x="1168" y="207"/>
                      </a:lnTo>
                      <a:lnTo>
                        <a:pt x="1157" y="214"/>
                      </a:lnTo>
                      <a:lnTo>
                        <a:pt x="1147" y="220"/>
                      </a:lnTo>
                      <a:lnTo>
                        <a:pt x="1136" y="224"/>
                      </a:lnTo>
                      <a:lnTo>
                        <a:pt x="1126" y="227"/>
                      </a:lnTo>
                      <a:lnTo>
                        <a:pt x="1114" y="228"/>
                      </a:lnTo>
                      <a:lnTo>
                        <a:pt x="1103" y="228"/>
                      </a:lnTo>
                      <a:lnTo>
                        <a:pt x="1094" y="228"/>
                      </a:lnTo>
                      <a:lnTo>
                        <a:pt x="1083" y="228"/>
                      </a:lnTo>
                      <a:lnTo>
                        <a:pt x="1073" y="230"/>
                      </a:lnTo>
                      <a:lnTo>
                        <a:pt x="1063" y="233"/>
                      </a:lnTo>
                      <a:lnTo>
                        <a:pt x="1057" y="236"/>
                      </a:lnTo>
                      <a:lnTo>
                        <a:pt x="1052" y="242"/>
                      </a:lnTo>
                      <a:lnTo>
                        <a:pt x="1046" y="249"/>
                      </a:lnTo>
                      <a:lnTo>
                        <a:pt x="1039" y="257"/>
                      </a:lnTo>
                      <a:lnTo>
                        <a:pt x="1026" y="274"/>
                      </a:lnTo>
                      <a:lnTo>
                        <a:pt x="1014" y="288"/>
                      </a:lnTo>
                      <a:lnTo>
                        <a:pt x="1008" y="292"/>
                      </a:lnTo>
                      <a:lnTo>
                        <a:pt x="1001" y="294"/>
                      </a:lnTo>
                      <a:lnTo>
                        <a:pt x="994" y="295"/>
                      </a:lnTo>
                      <a:lnTo>
                        <a:pt x="987" y="295"/>
                      </a:lnTo>
                      <a:lnTo>
                        <a:pt x="972" y="295"/>
                      </a:lnTo>
                      <a:lnTo>
                        <a:pt x="956" y="294"/>
                      </a:lnTo>
                      <a:lnTo>
                        <a:pt x="950" y="294"/>
                      </a:lnTo>
                      <a:lnTo>
                        <a:pt x="945" y="294"/>
                      </a:lnTo>
                      <a:lnTo>
                        <a:pt x="940" y="296"/>
                      </a:lnTo>
                      <a:lnTo>
                        <a:pt x="936" y="300"/>
                      </a:lnTo>
                      <a:lnTo>
                        <a:pt x="934" y="306"/>
                      </a:lnTo>
                      <a:lnTo>
                        <a:pt x="934" y="313"/>
                      </a:lnTo>
                      <a:lnTo>
                        <a:pt x="935" y="322"/>
                      </a:lnTo>
                      <a:lnTo>
                        <a:pt x="938" y="334"/>
                      </a:lnTo>
                      <a:lnTo>
                        <a:pt x="941" y="346"/>
                      </a:lnTo>
                      <a:lnTo>
                        <a:pt x="943" y="356"/>
                      </a:lnTo>
                      <a:lnTo>
                        <a:pt x="945" y="366"/>
                      </a:lnTo>
                      <a:lnTo>
                        <a:pt x="945" y="375"/>
                      </a:lnTo>
                      <a:lnTo>
                        <a:pt x="943" y="383"/>
                      </a:lnTo>
                      <a:lnTo>
                        <a:pt x="942" y="391"/>
                      </a:lnTo>
                      <a:lnTo>
                        <a:pt x="940" y="398"/>
                      </a:lnTo>
                      <a:lnTo>
                        <a:pt x="936" y="404"/>
                      </a:lnTo>
                      <a:lnTo>
                        <a:pt x="932" y="408"/>
                      </a:lnTo>
                      <a:lnTo>
                        <a:pt x="926" y="413"/>
                      </a:lnTo>
                      <a:lnTo>
                        <a:pt x="919" y="416"/>
                      </a:lnTo>
                      <a:lnTo>
                        <a:pt x="910" y="419"/>
                      </a:lnTo>
                      <a:lnTo>
                        <a:pt x="902" y="421"/>
                      </a:lnTo>
                      <a:lnTo>
                        <a:pt x="893" y="422"/>
                      </a:lnTo>
                      <a:lnTo>
                        <a:pt x="882" y="424"/>
                      </a:lnTo>
                      <a:lnTo>
                        <a:pt x="871" y="424"/>
                      </a:lnTo>
                      <a:lnTo>
                        <a:pt x="867" y="425"/>
                      </a:lnTo>
                      <a:lnTo>
                        <a:pt x="863" y="427"/>
                      </a:lnTo>
                      <a:lnTo>
                        <a:pt x="860" y="429"/>
                      </a:lnTo>
                      <a:lnTo>
                        <a:pt x="856" y="433"/>
                      </a:lnTo>
                      <a:lnTo>
                        <a:pt x="848" y="442"/>
                      </a:lnTo>
                      <a:lnTo>
                        <a:pt x="840" y="453"/>
                      </a:lnTo>
                      <a:lnTo>
                        <a:pt x="824" y="477"/>
                      </a:lnTo>
                      <a:lnTo>
                        <a:pt x="811" y="492"/>
                      </a:lnTo>
                      <a:lnTo>
                        <a:pt x="808" y="494"/>
                      </a:lnTo>
                      <a:lnTo>
                        <a:pt x="804" y="497"/>
                      </a:lnTo>
                      <a:lnTo>
                        <a:pt x="799" y="499"/>
                      </a:lnTo>
                      <a:lnTo>
                        <a:pt x="793" y="500"/>
                      </a:lnTo>
                      <a:lnTo>
                        <a:pt x="780" y="503"/>
                      </a:lnTo>
                      <a:lnTo>
                        <a:pt x="767" y="503"/>
                      </a:lnTo>
                      <a:lnTo>
                        <a:pt x="754" y="501"/>
                      </a:lnTo>
                      <a:lnTo>
                        <a:pt x="742" y="498"/>
                      </a:lnTo>
                      <a:lnTo>
                        <a:pt x="737" y="495"/>
                      </a:lnTo>
                      <a:lnTo>
                        <a:pt x="733" y="493"/>
                      </a:lnTo>
                      <a:lnTo>
                        <a:pt x="729" y="490"/>
                      </a:lnTo>
                      <a:lnTo>
                        <a:pt x="726" y="486"/>
                      </a:lnTo>
                      <a:lnTo>
                        <a:pt x="714" y="471"/>
                      </a:lnTo>
                      <a:close/>
                    </a:path>
                  </a:pathLst>
                </a:custGeom>
                <a:solidFill>
                  <a:srgbClr val="FF7F7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B3DCD216-2B65-4447-B89E-CF7E6FE5E0DC}"/>
                  </a:ext>
                </a:extLst>
              </p:cNvPr>
              <p:cNvSpPr/>
              <p:nvPr/>
            </p:nvSpPr>
            <p:spPr>
              <a:xfrm>
                <a:off x="7383037" y="2717006"/>
                <a:ext cx="639394" cy="1083469"/>
              </a:xfrm>
              <a:custGeom>
                <a:avLst/>
                <a:gdLst>
                  <a:gd name="connsiteX0" fmla="*/ 552450 w 642937"/>
                  <a:gd name="connsiteY0" fmla="*/ 2382 h 1083469"/>
                  <a:gd name="connsiteX1" fmla="*/ 283369 w 642937"/>
                  <a:gd name="connsiteY1" fmla="*/ 0 h 1083469"/>
                  <a:gd name="connsiteX2" fmla="*/ 0 w 642937"/>
                  <a:gd name="connsiteY2" fmla="*/ 1019175 h 1083469"/>
                  <a:gd name="connsiteX3" fmla="*/ 16669 w 642937"/>
                  <a:gd name="connsiteY3" fmla="*/ 1078707 h 1083469"/>
                  <a:gd name="connsiteX4" fmla="*/ 509587 w 642937"/>
                  <a:gd name="connsiteY4" fmla="*/ 1083469 h 1083469"/>
                  <a:gd name="connsiteX5" fmla="*/ 509587 w 642937"/>
                  <a:gd name="connsiteY5" fmla="*/ 1064419 h 1083469"/>
                  <a:gd name="connsiteX6" fmla="*/ 497681 w 642937"/>
                  <a:gd name="connsiteY6" fmla="*/ 1057275 h 1083469"/>
                  <a:gd name="connsiteX7" fmla="*/ 500062 w 642937"/>
                  <a:gd name="connsiteY7" fmla="*/ 1045369 h 1083469"/>
                  <a:gd name="connsiteX8" fmla="*/ 507206 w 642937"/>
                  <a:gd name="connsiteY8" fmla="*/ 1033463 h 1083469"/>
                  <a:gd name="connsiteX9" fmla="*/ 481012 w 642937"/>
                  <a:gd name="connsiteY9" fmla="*/ 973932 h 1083469"/>
                  <a:gd name="connsiteX10" fmla="*/ 502444 w 642937"/>
                  <a:gd name="connsiteY10" fmla="*/ 959644 h 1083469"/>
                  <a:gd name="connsiteX11" fmla="*/ 485775 w 642937"/>
                  <a:gd name="connsiteY11" fmla="*/ 912019 h 1083469"/>
                  <a:gd name="connsiteX12" fmla="*/ 528637 w 642937"/>
                  <a:gd name="connsiteY12" fmla="*/ 921544 h 1083469"/>
                  <a:gd name="connsiteX13" fmla="*/ 569119 w 642937"/>
                  <a:gd name="connsiteY13" fmla="*/ 750094 h 1083469"/>
                  <a:gd name="connsiteX14" fmla="*/ 573881 w 642937"/>
                  <a:gd name="connsiteY14" fmla="*/ 657225 h 1083469"/>
                  <a:gd name="connsiteX15" fmla="*/ 564356 w 642937"/>
                  <a:gd name="connsiteY15" fmla="*/ 661988 h 1083469"/>
                  <a:gd name="connsiteX16" fmla="*/ 550069 w 642937"/>
                  <a:gd name="connsiteY16" fmla="*/ 661988 h 1083469"/>
                  <a:gd name="connsiteX17" fmla="*/ 535781 w 642937"/>
                  <a:gd name="connsiteY17" fmla="*/ 659607 h 1083469"/>
                  <a:gd name="connsiteX18" fmla="*/ 502444 w 642937"/>
                  <a:gd name="connsiteY18" fmla="*/ 640557 h 1083469"/>
                  <a:gd name="connsiteX19" fmla="*/ 497681 w 642937"/>
                  <a:gd name="connsiteY19" fmla="*/ 545307 h 1083469"/>
                  <a:gd name="connsiteX20" fmla="*/ 566737 w 642937"/>
                  <a:gd name="connsiteY20" fmla="*/ 559594 h 1083469"/>
                  <a:gd name="connsiteX21" fmla="*/ 611981 w 642937"/>
                  <a:gd name="connsiteY21" fmla="*/ 314325 h 1083469"/>
                  <a:gd name="connsiteX22" fmla="*/ 595312 w 642937"/>
                  <a:gd name="connsiteY22" fmla="*/ 311944 h 1083469"/>
                  <a:gd name="connsiteX23" fmla="*/ 631031 w 642937"/>
                  <a:gd name="connsiteY23" fmla="*/ 145257 h 1083469"/>
                  <a:gd name="connsiteX24" fmla="*/ 631031 w 642937"/>
                  <a:gd name="connsiteY24" fmla="*/ 123825 h 1083469"/>
                  <a:gd name="connsiteX25" fmla="*/ 626269 w 642937"/>
                  <a:gd name="connsiteY25" fmla="*/ 116682 h 1083469"/>
                  <a:gd name="connsiteX26" fmla="*/ 607219 w 642937"/>
                  <a:gd name="connsiteY26" fmla="*/ 133350 h 1083469"/>
                  <a:gd name="connsiteX27" fmla="*/ 590550 w 642937"/>
                  <a:gd name="connsiteY27" fmla="*/ 116682 h 1083469"/>
                  <a:gd name="connsiteX28" fmla="*/ 588169 w 642937"/>
                  <a:gd name="connsiteY28" fmla="*/ 109538 h 1083469"/>
                  <a:gd name="connsiteX29" fmla="*/ 609600 w 642937"/>
                  <a:gd name="connsiteY29" fmla="*/ 109538 h 1083469"/>
                  <a:gd name="connsiteX30" fmla="*/ 611981 w 642937"/>
                  <a:gd name="connsiteY30" fmla="*/ 90488 h 1083469"/>
                  <a:gd name="connsiteX31" fmla="*/ 626269 w 642937"/>
                  <a:gd name="connsiteY31" fmla="*/ 83344 h 1083469"/>
                  <a:gd name="connsiteX32" fmla="*/ 642937 w 642937"/>
                  <a:gd name="connsiteY32" fmla="*/ 57150 h 1083469"/>
                  <a:gd name="connsiteX33" fmla="*/ 554831 w 642937"/>
                  <a:gd name="connsiteY33" fmla="*/ 61913 h 1083469"/>
                  <a:gd name="connsiteX34" fmla="*/ 552450 w 642937"/>
                  <a:gd name="connsiteY34" fmla="*/ 2382 h 108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642937" h="1083469">
                    <a:moveTo>
                      <a:pt x="552450" y="2382"/>
                    </a:moveTo>
                    <a:lnTo>
                      <a:pt x="283369" y="0"/>
                    </a:lnTo>
                    <a:lnTo>
                      <a:pt x="0" y="1019175"/>
                    </a:lnTo>
                    <a:lnTo>
                      <a:pt x="16669" y="1078707"/>
                    </a:lnTo>
                    <a:lnTo>
                      <a:pt x="509587" y="1083469"/>
                    </a:lnTo>
                    <a:lnTo>
                      <a:pt x="509587" y="1064419"/>
                    </a:lnTo>
                    <a:lnTo>
                      <a:pt x="497681" y="1057275"/>
                    </a:lnTo>
                    <a:lnTo>
                      <a:pt x="500062" y="1045369"/>
                    </a:lnTo>
                    <a:lnTo>
                      <a:pt x="507206" y="1033463"/>
                    </a:lnTo>
                    <a:lnTo>
                      <a:pt x="481012" y="973932"/>
                    </a:lnTo>
                    <a:lnTo>
                      <a:pt x="502444" y="959644"/>
                    </a:lnTo>
                    <a:lnTo>
                      <a:pt x="485775" y="912019"/>
                    </a:lnTo>
                    <a:lnTo>
                      <a:pt x="528637" y="921544"/>
                    </a:lnTo>
                    <a:lnTo>
                      <a:pt x="569119" y="750094"/>
                    </a:lnTo>
                    <a:lnTo>
                      <a:pt x="573881" y="657225"/>
                    </a:lnTo>
                    <a:lnTo>
                      <a:pt x="564356" y="661988"/>
                    </a:lnTo>
                    <a:lnTo>
                      <a:pt x="550069" y="661988"/>
                    </a:lnTo>
                    <a:lnTo>
                      <a:pt x="535781" y="659607"/>
                    </a:lnTo>
                    <a:lnTo>
                      <a:pt x="502444" y="640557"/>
                    </a:lnTo>
                    <a:lnTo>
                      <a:pt x="497681" y="545307"/>
                    </a:lnTo>
                    <a:lnTo>
                      <a:pt x="566737" y="559594"/>
                    </a:lnTo>
                    <a:lnTo>
                      <a:pt x="611981" y="314325"/>
                    </a:lnTo>
                    <a:lnTo>
                      <a:pt x="595312" y="311944"/>
                    </a:lnTo>
                    <a:lnTo>
                      <a:pt x="631031" y="145257"/>
                    </a:lnTo>
                    <a:lnTo>
                      <a:pt x="631031" y="123825"/>
                    </a:lnTo>
                    <a:lnTo>
                      <a:pt x="626269" y="116682"/>
                    </a:lnTo>
                    <a:lnTo>
                      <a:pt x="607219" y="133350"/>
                    </a:lnTo>
                    <a:lnTo>
                      <a:pt x="590550" y="116682"/>
                    </a:lnTo>
                    <a:lnTo>
                      <a:pt x="588169" y="109538"/>
                    </a:lnTo>
                    <a:lnTo>
                      <a:pt x="609600" y="109538"/>
                    </a:lnTo>
                    <a:lnTo>
                      <a:pt x="611981" y="90488"/>
                    </a:lnTo>
                    <a:lnTo>
                      <a:pt x="626269" y="83344"/>
                    </a:lnTo>
                    <a:lnTo>
                      <a:pt x="642937" y="57150"/>
                    </a:lnTo>
                    <a:lnTo>
                      <a:pt x="554831" y="61913"/>
                    </a:lnTo>
                    <a:cubicBezTo>
                      <a:pt x="554037" y="42069"/>
                      <a:pt x="553244" y="22226"/>
                      <a:pt x="552450" y="2382"/>
                    </a:cubicBezTo>
                    <a:close/>
                  </a:path>
                </a:pathLst>
              </a:custGeom>
              <a:solidFill>
                <a:srgbClr val="FFFF00"/>
              </a:solidFill>
              <a:ln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937C110B-A242-431F-B311-0BDC1F7D6815}"/>
                  </a:ext>
                </a:extLst>
              </p:cNvPr>
              <p:cNvSpPr/>
              <p:nvPr/>
            </p:nvSpPr>
            <p:spPr>
              <a:xfrm>
                <a:off x="7860506" y="2721769"/>
                <a:ext cx="1128713" cy="1143000"/>
              </a:xfrm>
              <a:custGeom>
                <a:avLst/>
                <a:gdLst>
                  <a:gd name="connsiteX0" fmla="*/ 80963 w 1128713"/>
                  <a:gd name="connsiteY0" fmla="*/ 0 h 1143000"/>
                  <a:gd name="connsiteX1" fmla="*/ 1107282 w 1128713"/>
                  <a:gd name="connsiteY1" fmla="*/ 40481 h 1143000"/>
                  <a:gd name="connsiteX2" fmla="*/ 1085850 w 1128713"/>
                  <a:gd name="connsiteY2" fmla="*/ 183356 h 1143000"/>
                  <a:gd name="connsiteX3" fmla="*/ 1059657 w 1128713"/>
                  <a:gd name="connsiteY3" fmla="*/ 190500 h 1143000"/>
                  <a:gd name="connsiteX4" fmla="*/ 1081088 w 1128713"/>
                  <a:gd name="connsiteY4" fmla="*/ 209550 h 1143000"/>
                  <a:gd name="connsiteX5" fmla="*/ 1076325 w 1128713"/>
                  <a:gd name="connsiteY5" fmla="*/ 269081 h 1143000"/>
                  <a:gd name="connsiteX6" fmla="*/ 1119188 w 1128713"/>
                  <a:gd name="connsiteY6" fmla="*/ 338137 h 1143000"/>
                  <a:gd name="connsiteX7" fmla="*/ 1116807 w 1128713"/>
                  <a:gd name="connsiteY7" fmla="*/ 350044 h 1143000"/>
                  <a:gd name="connsiteX8" fmla="*/ 1123950 w 1128713"/>
                  <a:gd name="connsiteY8" fmla="*/ 366712 h 1143000"/>
                  <a:gd name="connsiteX9" fmla="*/ 1128713 w 1128713"/>
                  <a:gd name="connsiteY9" fmla="*/ 378619 h 1143000"/>
                  <a:gd name="connsiteX10" fmla="*/ 983457 w 1128713"/>
                  <a:gd name="connsiteY10" fmla="*/ 502444 h 1143000"/>
                  <a:gd name="connsiteX11" fmla="*/ 971550 w 1128713"/>
                  <a:gd name="connsiteY11" fmla="*/ 538162 h 1143000"/>
                  <a:gd name="connsiteX12" fmla="*/ 957263 w 1128713"/>
                  <a:gd name="connsiteY12" fmla="*/ 533400 h 1143000"/>
                  <a:gd name="connsiteX13" fmla="*/ 942975 w 1128713"/>
                  <a:gd name="connsiteY13" fmla="*/ 542925 h 1143000"/>
                  <a:gd name="connsiteX14" fmla="*/ 945357 w 1128713"/>
                  <a:gd name="connsiteY14" fmla="*/ 542925 h 1143000"/>
                  <a:gd name="connsiteX15" fmla="*/ 928688 w 1128713"/>
                  <a:gd name="connsiteY15" fmla="*/ 542925 h 1143000"/>
                  <a:gd name="connsiteX16" fmla="*/ 919163 w 1128713"/>
                  <a:gd name="connsiteY16" fmla="*/ 550069 h 1143000"/>
                  <a:gd name="connsiteX17" fmla="*/ 900113 w 1128713"/>
                  <a:gd name="connsiteY17" fmla="*/ 559594 h 1143000"/>
                  <a:gd name="connsiteX18" fmla="*/ 892969 w 1128713"/>
                  <a:gd name="connsiteY18" fmla="*/ 588169 h 1143000"/>
                  <a:gd name="connsiteX19" fmla="*/ 892969 w 1128713"/>
                  <a:gd name="connsiteY19" fmla="*/ 609600 h 1143000"/>
                  <a:gd name="connsiteX20" fmla="*/ 900113 w 1128713"/>
                  <a:gd name="connsiteY20" fmla="*/ 628650 h 1143000"/>
                  <a:gd name="connsiteX21" fmla="*/ 907257 w 1128713"/>
                  <a:gd name="connsiteY21" fmla="*/ 635794 h 1143000"/>
                  <a:gd name="connsiteX22" fmla="*/ 907257 w 1128713"/>
                  <a:gd name="connsiteY22" fmla="*/ 669131 h 1143000"/>
                  <a:gd name="connsiteX23" fmla="*/ 907257 w 1128713"/>
                  <a:gd name="connsiteY23" fmla="*/ 676275 h 1143000"/>
                  <a:gd name="connsiteX24" fmla="*/ 981075 w 1128713"/>
                  <a:gd name="connsiteY24" fmla="*/ 664369 h 1143000"/>
                  <a:gd name="connsiteX25" fmla="*/ 976313 w 1128713"/>
                  <a:gd name="connsiteY25" fmla="*/ 690562 h 1143000"/>
                  <a:gd name="connsiteX26" fmla="*/ 983457 w 1128713"/>
                  <a:gd name="connsiteY26" fmla="*/ 697706 h 1143000"/>
                  <a:gd name="connsiteX27" fmla="*/ 971550 w 1128713"/>
                  <a:gd name="connsiteY27" fmla="*/ 745331 h 1143000"/>
                  <a:gd name="connsiteX28" fmla="*/ 971550 w 1128713"/>
                  <a:gd name="connsiteY28" fmla="*/ 759619 h 1143000"/>
                  <a:gd name="connsiteX29" fmla="*/ 978694 w 1128713"/>
                  <a:gd name="connsiteY29" fmla="*/ 766762 h 1143000"/>
                  <a:gd name="connsiteX30" fmla="*/ 919163 w 1128713"/>
                  <a:gd name="connsiteY30" fmla="*/ 842962 h 1143000"/>
                  <a:gd name="connsiteX31" fmla="*/ 919163 w 1128713"/>
                  <a:gd name="connsiteY31" fmla="*/ 854869 h 1143000"/>
                  <a:gd name="connsiteX32" fmla="*/ 992982 w 1128713"/>
                  <a:gd name="connsiteY32" fmla="*/ 897731 h 1143000"/>
                  <a:gd name="connsiteX33" fmla="*/ 995363 w 1128713"/>
                  <a:gd name="connsiteY33" fmla="*/ 912019 h 1143000"/>
                  <a:gd name="connsiteX34" fmla="*/ 1064419 w 1128713"/>
                  <a:gd name="connsiteY34" fmla="*/ 895350 h 1143000"/>
                  <a:gd name="connsiteX35" fmla="*/ 1064419 w 1128713"/>
                  <a:gd name="connsiteY35" fmla="*/ 1095375 h 1143000"/>
                  <a:gd name="connsiteX36" fmla="*/ 611982 w 1128713"/>
                  <a:gd name="connsiteY36" fmla="*/ 1090612 h 1143000"/>
                  <a:gd name="connsiteX37" fmla="*/ 592932 w 1128713"/>
                  <a:gd name="connsiteY37" fmla="*/ 1090612 h 1143000"/>
                  <a:gd name="connsiteX38" fmla="*/ 566738 w 1128713"/>
                  <a:gd name="connsiteY38" fmla="*/ 1104900 h 1143000"/>
                  <a:gd name="connsiteX39" fmla="*/ 557213 w 1128713"/>
                  <a:gd name="connsiteY39" fmla="*/ 1107281 h 1143000"/>
                  <a:gd name="connsiteX40" fmla="*/ 545307 w 1128713"/>
                  <a:gd name="connsiteY40" fmla="*/ 1100137 h 1143000"/>
                  <a:gd name="connsiteX41" fmla="*/ 540544 w 1128713"/>
                  <a:gd name="connsiteY41" fmla="*/ 1090612 h 1143000"/>
                  <a:gd name="connsiteX42" fmla="*/ 381000 w 1128713"/>
                  <a:gd name="connsiteY42" fmla="*/ 1081087 h 1143000"/>
                  <a:gd name="connsiteX43" fmla="*/ 373857 w 1128713"/>
                  <a:gd name="connsiteY43" fmla="*/ 1081087 h 1143000"/>
                  <a:gd name="connsiteX44" fmla="*/ 373857 w 1128713"/>
                  <a:gd name="connsiteY44" fmla="*/ 1102519 h 1143000"/>
                  <a:gd name="connsiteX45" fmla="*/ 366713 w 1128713"/>
                  <a:gd name="connsiteY45" fmla="*/ 1102519 h 1143000"/>
                  <a:gd name="connsiteX46" fmla="*/ 364332 w 1128713"/>
                  <a:gd name="connsiteY46" fmla="*/ 1109662 h 1143000"/>
                  <a:gd name="connsiteX47" fmla="*/ 366713 w 1128713"/>
                  <a:gd name="connsiteY47" fmla="*/ 1128712 h 1143000"/>
                  <a:gd name="connsiteX48" fmla="*/ 361950 w 1128713"/>
                  <a:gd name="connsiteY48" fmla="*/ 1135856 h 1143000"/>
                  <a:gd name="connsiteX49" fmla="*/ 361950 w 1128713"/>
                  <a:gd name="connsiteY49" fmla="*/ 1135856 h 1143000"/>
                  <a:gd name="connsiteX50" fmla="*/ 326232 w 1128713"/>
                  <a:gd name="connsiteY50" fmla="*/ 1135856 h 1143000"/>
                  <a:gd name="connsiteX51" fmla="*/ 326232 w 1128713"/>
                  <a:gd name="connsiteY51" fmla="*/ 1135856 h 1143000"/>
                  <a:gd name="connsiteX52" fmla="*/ 304800 w 1128713"/>
                  <a:gd name="connsiteY52" fmla="*/ 1143000 h 1143000"/>
                  <a:gd name="connsiteX53" fmla="*/ 297657 w 1128713"/>
                  <a:gd name="connsiteY53" fmla="*/ 1085850 h 1143000"/>
                  <a:gd name="connsiteX54" fmla="*/ 33338 w 1128713"/>
                  <a:gd name="connsiteY54" fmla="*/ 1076325 h 1143000"/>
                  <a:gd name="connsiteX55" fmla="*/ 30957 w 1128713"/>
                  <a:gd name="connsiteY55" fmla="*/ 1064419 h 1143000"/>
                  <a:gd name="connsiteX56" fmla="*/ 23813 w 1128713"/>
                  <a:gd name="connsiteY56" fmla="*/ 1054894 h 1143000"/>
                  <a:gd name="connsiteX57" fmla="*/ 19050 w 1128713"/>
                  <a:gd name="connsiteY57" fmla="*/ 1052512 h 1143000"/>
                  <a:gd name="connsiteX58" fmla="*/ 23813 w 1128713"/>
                  <a:gd name="connsiteY58" fmla="*/ 1028700 h 1143000"/>
                  <a:gd name="connsiteX59" fmla="*/ 0 w 1128713"/>
                  <a:gd name="connsiteY59" fmla="*/ 973931 h 1143000"/>
                  <a:gd name="connsiteX60" fmla="*/ 23813 w 1128713"/>
                  <a:gd name="connsiteY60" fmla="*/ 950119 h 1143000"/>
                  <a:gd name="connsiteX61" fmla="*/ 11907 w 1128713"/>
                  <a:gd name="connsiteY61" fmla="*/ 909637 h 1143000"/>
                  <a:gd name="connsiteX62" fmla="*/ 42863 w 1128713"/>
                  <a:gd name="connsiteY62" fmla="*/ 916781 h 1143000"/>
                  <a:gd name="connsiteX63" fmla="*/ 90488 w 1128713"/>
                  <a:gd name="connsiteY63" fmla="*/ 752475 h 1143000"/>
                  <a:gd name="connsiteX64" fmla="*/ 97632 w 1128713"/>
                  <a:gd name="connsiteY64" fmla="*/ 657225 h 1143000"/>
                  <a:gd name="connsiteX65" fmla="*/ 50007 w 1128713"/>
                  <a:gd name="connsiteY65" fmla="*/ 645319 h 1143000"/>
                  <a:gd name="connsiteX66" fmla="*/ 14288 w 1128713"/>
                  <a:gd name="connsiteY66" fmla="*/ 623887 h 1143000"/>
                  <a:gd name="connsiteX67" fmla="*/ 23813 w 1128713"/>
                  <a:gd name="connsiteY67" fmla="*/ 542925 h 1143000"/>
                  <a:gd name="connsiteX68" fmla="*/ 88107 w 1128713"/>
                  <a:gd name="connsiteY68" fmla="*/ 557212 h 1143000"/>
                  <a:gd name="connsiteX69" fmla="*/ 133350 w 1128713"/>
                  <a:gd name="connsiteY69" fmla="*/ 311944 h 1143000"/>
                  <a:gd name="connsiteX70" fmla="*/ 133350 w 1128713"/>
                  <a:gd name="connsiteY70" fmla="*/ 311944 h 1143000"/>
                  <a:gd name="connsiteX71" fmla="*/ 157163 w 1128713"/>
                  <a:gd name="connsiteY71" fmla="*/ 123825 h 1143000"/>
                  <a:gd name="connsiteX72" fmla="*/ 150019 w 1128713"/>
                  <a:gd name="connsiteY72" fmla="*/ 111919 h 1143000"/>
                  <a:gd name="connsiteX73" fmla="*/ 126207 w 1128713"/>
                  <a:gd name="connsiteY73" fmla="*/ 128587 h 1143000"/>
                  <a:gd name="connsiteX74" fmla="*/ 107157 w 1128713"/>
                  <a:gd name="connsiteY74" fmla="*/ 107156 h 1143000"/>
                  <a:gd name="connsiteX75" fmla="*/ 128588 w 1128713"/>
                  <a:gd name="connsiteY75" fmla="*/ 102394 h 1143000"/>
                  <a:gd name="connsiteX76" fmla="*/ 133350 w 1128713"/>
                  <a:gd name="connsiteY76" fmla="*/ 85725 h 1143000"/>
                  <a:gd name="connsiteX77" fmla="*/ 161925 w 1128713"/>
                  <a:gd name="connsiteY77" fmla="*/ 50006 h 1143000"/>
                  <a:gd name="connsiteX78" fmla="*/ 71438 w 1128713"/>
                  <a:gd name="connsiteY78" fmla="*/ 57150 h 1143000"/>
                  <a:gd name="connsiteX79" fmla="*/ 80963 w 1128713"/>
                  <a:gd name="connsiteY79" fmla="*/ 0 h 1143000"/>
                  <a:gd name="connsiteX0" fmla="*/ 80963 w 1128713"/>
                  <a:gd name="connsiteY0" fmla="*/ 0 h 1143000"/>
                  <a:gd name="connsiteX1" fmla="*/ 1107282 w 1128713"/>
                  <a:gd name="connsiteY1" fmla="*/ 40481 h 1143000"/>
                  <a:gd name="connsiteX2" fmla="*/ 1085850 w 1128713"/>
                  <a:gd name="connsiteY2" fmla="*/ 183356 h 1143000"/>
                  <a:gd name="connsiteX3" fmla="*/ 1059657 w 1128713"/>
                  <a:gd name="connsiteY3" fmla="*/ 190500 h 1143000"/>
                  <a:gd name="connsiteX4" fmla="*/ 1081088 w 1128713"/>
                  <a:gd name="connsiteY4" fmla="*/ 209550 h 1143000"/>
                  <a:gd name="connsiteX5" fmla="*/ 1076325 w 1128713"/>
                  <a:gd name="connsiteY5" fmla="*/ 269081 h 1143000"/>
                  <a:gd name="connsiteX6" fmla="*/ 1119188 w 1128713"/>
                  <a:gd name="connsiteY6" fmla="*/ 338137 h 1143000"/>
                  <a:gd name="connsiteX7" fmla="*/ 1116807 w 1128713"/>
                  <a:gd name="connsiteY7" fmla="*/ 350044 h 1143000"/>
                  <a:gd name="connsiteX8" fmla="*/ 1123950 w 1128713"/>
                  <a:gd name="connsiteY8" fmla="*/ 366712 h 1143000"/>
                  <a:gd name="connsiteX9" fmla="*/ 1128713 w 1128713"/>
                  <a:gd name="connsiteY9" fmla="*/ 378619 h 1143000"/>
                  <a:gd name="connsiteX10" fmla="*/ 983457 w 1128713"/>
                  <a:gd name="connsiteY10" fmla="*/ 502444 h 1143000"/>
                  <a:gd name="connsiteX11" fmla="*/ 971550 w 1128713"/>
                  <a:gd name="connsiteY11" fmla="*/ 538162 h 1143000"/>
                  <a:gd name="connsiteX12" fmla="*/ 957263 w 1128713"/>
                  <a:gd name="connsiteY12" fmla="*/ 533400 h 1143000"/>
                  <a:gd name="connsiteX13" fmla="*/ 942975 w 1128713"/>
                  <a:gd name="connsiteY13" fmla="*/ 542925 h 1143000"/>
                  <a:gd name="connsiteX14" fmla="*/ 945357 w 1128713"/>
                  <a:gd name="connsiteY14" fmla="*/ 542925 h 1143000"/>
                  <a:gd name="connsiteX15" fmla="*/ 928688 w 1128713"/>
                  <a:gd name="connsiteY15" fmla="*/ 542925 h 1143000"/>
                  <a:gd name="connsiteX16" fmla="*/ 919163 w 1128713"/>
                  <a:gd name="connsiteY16" fmla="*/ 550069 h 1143000"/>
                  <a:gd name="connsiteX17" fmla="*/ 900113 w 1128713"/>
                  <a:gd name="connsiteY17" fmla="*/ 559594 h 1143000"/>
                  <a:gd name="connsiteX18" fmla="*/ 892969 w 1128713"/>
                  <a:gd name="connsiteY18" fmla="*/ 588169 h 1143000"/>
                  <a:gd name="connsiteX19" fmla="*/ 892969 w 1128713"/>
                  <a:gd name="connsiteY19" fmla="*/ 609600 h 1143000"/>
                  <a:gd name="connsiteX20" fmla="*/ 900113 w 1128713"/>
                  <a:gd name="connsiteY20" fmla="*/ 628650 h 1143000"/>
                  <a:gd name="connsiteX21" fmla="*/ 907257 w 1128713"/>
                  <a:gd name="connsiteY21" fmla="*/ 635794 h 1143000"/>
                  <a:gd name="connsiteX22" fmla="*/ 907257 w 1128713"/>
                  <a:gd name="connsiteY22" fmla="*/ 669131 h 1143000"/>
                  <a:gd name="connsiteX23" fmla="*/ 907257 w 1128713"/>
                  <a:gd name="connsiteY23" fmla="*/ 676275 h 1143000"/>
                  <a:gd name="connsiteX24" fmla="*/ 981075 w 1128713"/>
                  <a:gd name="connsiteY24" fmla="*/ 664369 h 1143000"/>
                  <a:gd name="connsiteX25" fmla="*/ 976313 w 1128713"/>
                  <a:gd name="connsiteY25" fmla="*/ 690562 h 1143000"/>
                  <a:gd name="connsiteX26" fmla="*/ 983457 w 1128713"/>
                  <a:gd name="connsiteY26" fmla="*/ 697706 h 1143000"/>
                  <a:gd name="connsiteX27" fmla="*/ 971550 w 1128713"/>
                  <a:gd name="connsiteY27" fmla="*/ 745331 h 1143000"/>
                  <a:gd name="connsiteX28" fmla="*/ 971550 w 1128713"/>
                  <a:gd name="connsiteY28" fmla="*/ 759619 h 1143000"/>
                  <a:gd name="connsiteX29" fmla="*/ 978694 w 1128713"/>
                  <a:gd name="connsiteY29" fmla="*/ 766762 h 1143000"/>
                  <a:gd name="connsiteX30" fmla="*/ 919163 w 1128713"/>
                  <a:gd name="connsiteY30" fmla="*/ 842962 h 1143000"/>
                  <a:gd name="connsiteX31" fmla="*/ 919163 w 1128713"/>
                  <a:gd name="connsiteY31" fmla="*/ 854869 h 1143000"/>
                  <a:gd name="connsiteX32" fmla="*/ 992982 w 1128713"/>
                  <a:gd name="connsiteY32" fmla="*/ 897731 h 1143000"/>
                  <a:gd name="connsiteX33" fmla="*/ 995363 w 1128713"/>
                  <a:gd name="connsiteY33" fmla="*/ 912019 h 1143000"/>
                  <a:gd name="connsiteX34" fmla="*/ 1064419 w 1128713"/>
                  <a:gd name="connsiteY34" fmla="*/ 895350 h 1143000"/>
                  <a:gd name="connsiteX35" fmla="*/ 1064419 w 1128713"/>
                  <a:gd name="connsiteY35" fmla="*/ 1095375 h 1143000"/>
                  <a:gd name="connsiteX36" fmla="*/ 611982 w 1128713"/>
                  <a:gd name="connsiteY36" fmla="*/ 1090612 h 1143000"/>
                  <a:gd name="connsiteX37" fmla="*/ 592932 w 1128713"/>
                  <a:gd name="connsiteY37" fmla="*/ 1090612 h 1143000"/>
                  <a:gd name="connsiteX38" fmla="*/ 566738 w 1128713"/>
                  <a:gd name="connsiteY38" fmla="*/ 1104900 h 1143000"/>
                  <a:gd name="connsiteX39" fmla="*/ 557213 w 1128713"/>
                  <a:gd name="connsiteY39" fmla="*/ 1107281 h 1143000"/>
                  <a:gd name="connsiteX40" fmla="*/ 545307 w 1128713"/>
                  <a:gd name="connsiteY40" fmla="*/ 1100137 h 1143000"/>
                  <a:gd name="connsiteX41" fmla="*/ 540544 w 1128713"/>
                  <a:gd name="connsiteY41" fmla="*/ 1090612 h 1143000"/>
                  <a:gd name="connsiteX42" fmla="*/ 381000 w 1128713"/>
                  <a:gd name="connsiteY42" fmla="*/ 1081087 h 1143000"/>
                  <a:gd name="connsiteX43" fmla="*/ 373857 w 1128713"/>
                  <a:gd name="connsiteY43" fmla="*/ 1081087 h 1143000"/>
                  <a:gd name="connsiteX44" fmla="*/ 373857 w 1128713"/>
                  <a:gd name="connsiteY44" fmla="*/ 1102519 h 1143000"/>
                  <a:gd name="connsiteX45" fmla="*/ 366713 w 1128713"/>
                  <a:gd name="connsiteY45" fmla="*/ 1102519 h 1143000"/>
                  <a:gd name="connsiteX46" fmla="*/ 364332 w 1128713"/>
                  <a:gd name="connsiteY46" fmla="*/ 1109662 h 1143000"/>
                  <a:gd name="connsiteX47" fmla="*/ 366713 w 1128713"/>
                  <a:gd name="connsiteY47" fmla="*/ 1128712 h 1143000"/>
                  <a:gd name="connsiteX48" fmla="*/ 361950 w 1128713"/>
                  <a:gd name="connsiteY48" fmla="*/ 1135856 h 1143000"/>
                  <a:gd name="connsiteX49" fmla="*/ 361950 w 1128713"/>
                  <a:gd name="connsiteY49" fmla="*/ 1135856 h 1143000"/>
                  <a:gd name="connsiteX50" fmla="*/ 326232 w 1128713"/>
                  <a:gd name="connsiteY50" fmla="*/ 1135856 h 1143000"/>
                  <a:gd name="connsiteX51" fmla="*/ 326232 w 1128713"/>
                  <a:gd name="connsiteY51" fmla="*/ 1135856 h 1143000"/>
                  <a:gd name="connsiteX52" fmla="*/ 304800 w 1128713"/>
                  <a:gd name="connsiteY52" fmla="*/ 1143000 h 1143000"/>
                  <a:gd name="connsiteX53" fmla="*/ 297657 w 1128713"/>
                  <a:gd name="connsiteY53" fmla="*/ 1085850 h 1143000"/>
                  <a:gd name="connsiteX54" fmla="*/ 33338 w 1128713"/>
                  <a:gd name="connsiteY54" fmla="*/ 1076325 h 1143000"/>
                  <a:gd name="connsiteX55" fmla="*/ 30957 w 1128713"/>
                  <a:gd name="connsiteY55" fmla="*/ 1064419 h 1143000"/>
                  <a:gd name="connsiteX56" fmla="*/ 23813 w 1128713"/>
                  <a:gd name="connsiteY56" fmla="*/ 1054894 h 1143000"/>
                  <a:gd name="connsiteX57" fmla="*/ 19050 w 1128713"/>
                  <a:gd name="connsiteY57" fmla="*/ 1052512 h 1143000"/>
                  <a:gd name="connsiteX58" fmla="*/ 23813 w 1128713"/>
                  <a:gd name="connsiteY58" fmla="*/ 1028700 h 1143000"/>
                  <a:gd name="connsiteX59" fmla="*/ 0 w 1128713"/>
                  <a:gd name="connsiteY59" fmla="*/ 973931 h 1143000"/>
                  <a:gd name="connsiteX60" fmla="*/ 23813 w 1128713"/>
                  <a:gd name="connsiteY60" fmla="*/ 950119 h 1143000"/>
                  <a:gd name="connsiteX61" fmla="*/ 11907 w 1128713"/>
                  <a:gd name="connsiteY61" fmla="*/ 909637 h 1143000"/>
                  <a:gd name="connsiteX62" fmla="*/ 42863 w 1128713"/>
                  <a:gd name="connsiteY62" fmla="*/ 916781 h 1143000"/>
                  <a:gd name="connsiteX63" fmla="*/ 90488 w 1128713"/>
                  <a:gd name="connsiteY63" fmla="*/ 752475 h 1143000"/>
                  <a:gd name="connsiteX64" fmla="*/ 97632 w 1128713"/>
                  <a:gd name="connsiteY64" fmla="*/ 657225 h 1143000"/>
                  <a:gd name="connsiteX65" fmla="*/ 50007 w 1128713"/>
                  <a:gd name="connsiteY65" fmla="*/ 645319 h 1143000"/>
                  <a:gd name="connsiteX66" fmla="*/ 14288 w 1128713"/>
                  <a:gd name="connsiteY66" fmla="*/ 623887 h 1143000"/>
                  <a:gd name="connsiteX67" fmla="*/ 23813 w 1128713"/>
                  <a:gd name="connsiteY67" fmla="*/ 542925 h 1143000"/>
                  <a:gd name="connsiteX68" fmla="*/ 88107 w 1128713"/>
                  <a:gd name="connsiteY68" fmla="*/ 557212 h 1143000"/>
                  <a:gd name="connsiteX69" fmla="*/ 133350 w 1128713"/>
                  <a:gd name="connsiteY69" fmla="*/ 311944 h 1143000"/>
                  <a:gd name="connsiteX70" fmla="*/ 111919 w 1128713"/>
                  <a:gd name="connsiteY70" fmla="*/ 304800 h 1143000"/>
                  <a:gd name="connsiteX71" fmla="*/ 157163 w 1128713"/>
                  <a:gd name="connsiteY71" fmla="*/ 123825 h 1143000"/>
                  <a:gd name="connsiteX72" fmla="*/ 150019 w 1128713"/>
                  <a:gd name="connsiteY72" fmla="*/ 111919 h 1143000"/>
                  <a:gd name="connsiteX73" fmla="*/ 126207 w 1128713"/>
                  <a:gd name="connsiteY73" fmla="*/ 128587 h 1143000"/>
                  <a:gd name="connsiteX74" fmla="*/ 107157 w 1128713"/>
                  <a:gd name="connsiteY74" fmla="*/ 107156 h 1143000"/>
                  <a:gd name="connsiteX75" fmla="*/ 128588 w 1128713"/>
                  <a:gd name="connsiteY75" fmla="*/ 102394 h 1143000"/>
                  <a:gd name="connsiteX76" fmla="*/ 133350 w 1128713"/>
                  <a:gd name="connsiteY76" fmla="*/ 85725 h 1143000"/>
                  <a:gd name="connsiteX77" fmla="*/ 161925 w 1128713"/>
                  <a:gd name="connsiteY77" fmla="*/ 50006 h 1143000"/>
                  <a:gd name="connsiteX78" fmla="*/ 71438 w 1128713"/>
                  <a:gd name="connsiteY78" fmla="*/ 57150 h 1143000"/>
                  <a:gd name="connsiteX79" fmla="*/ 80963 w 1128713"/>
                  <a:gd name="connsiteY79" fmla="*/ 0 h 1143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1128713" h="1143000">
                    <a:moveTo>
                      <a:pt x="80963" y="0"/>
                    </a:moveTo>
                    <a:lnTo>
                      <a:pt x="1107282" y="40481"/>
                    </a:lnTo>
                    <a:lnTo>
                      <a:pt x="1085850" y="183356"/>
                    </a:lnTo>
                    <a:lnTo>
                      <a:pt x="1059657" y="190500"/>
                    </a:lnTo>
                    <a:lnTo>
                      <a:pt x="1081088" y="209550"/>
                    </a:lnTo>
                    <a:lnTo>
                      <a:pt x="1076325" y="269081"/>
                    </a:lnTo>
                    <a:lnTo>
                      <a:pt x="1119188" y="338137"/>
                    </a:lnTo>
                    <a:lnTo>
                      <a:pt x="1116807" y="350044"/>
                    </a:lnTo>
                    <a:lnTo>
                      <a:pt x="1123950" y="366712"/>
                    </a:lnTo>
                    <a:lnTo>
                      <a:pt x="1128713" y="378619"/>
                    </a:lnTo>
                    <a:lnTo>
                      <a:pt x="983457" y="502444"/>
                    </a:lnTo>
                    <a:lnTo>
                      <a:pt x="971550" y="538162"/>
                    </a:lnTo>
                    <a:lnTo>
                      <a:pt x="957263" y="533400"/>
                    </a:lnTo>
                    <a:lnTo>
                      <a:pt x="942975" y="542925"/>
                    </a:lnTo>
                    <a:lnTo>
                      <a:pt x="945357" y="542925"/>
                    </a:lnTo>
                    <a:lnTo>
                      <a:pt x="928688" y="542925"/>
                    </a:lnTo>
                    <a:lnTo>
                      <a:pt x="919163" y="550069"/>
                    </a:lnTo>
                    <a:lnTo>
                      <a:pt x="900113" y="559594"/>
                    </a:lnTo>
                    <a:lnTo>
                      <a:pt x="892969" y="588169"/>
                    </a:lnTo>
                    <a:lnTo>
                      <a:pt x="892969" y="609600"/>
                    </a:lnTo>
                    <a:lnTo>
                      <a:pt x="900113" y="628650"/>
                    </a:lnTo>
                    <a:lnTo>
                      <a:pt x="907257" y="635794"/>
                    </a:lnTo>
                    <a:lnTo>
                      <a:pt x="907257" y="669131"/>
                    </a:lnTo>
                    <a:lnTo>
                      <a:pt x="907257" y="676275"/>
                    </a:lnTo>
                    <a:lnTo>
                      <a:pt x="981075" y="664369"/>
                    </a:lnTo>
                    <a:lnTo>
                      <a:pt x="976313" y="690562"/>
                    </a:lnTo>
                    <a:lnTo>
                      <a:pt x="983457" y="697706"/>
                    </a:lnTo>
                    <a:lnTo>
                      <a:pt x="971550" y="745331"/>
                    </a:lnTo>
                    <a:lnTo>
                      <a:pt x="971550" y="759619"/>
                    </a:lnTo>
                    <a:lnTo>
                      <a:pt x="978694" y="766762"/>
                    </a:lnTo>
                    <a:lnTo>
                      <a:pt x="919163" y="842962"/>
                    </a:lnTo>
                    <a:lnTo>
                      <a:pt x="919163" y="854869"/>
                    </a:lnTo>
                    <a:lnTo>
                      <a:pt x="992982" y="897731"/>
                    </a:lnTo>
                    <a:lnTo>
                      <a:pt x="995363" y="912019"/>
                    </a:lnTo>
                    <a:lnTo>
                      <a:pt x="1064419" y="895350"/>
                    </a:lnTo>
                    <a:lnTo>
                      <a:pt x="1064419" y="1095375"/>
                    </a:lnTo>
                    <a:lnTo>
                      <a:pt x="611982" y="1090612"/>
                    </a:lnTo>
                    <a:lnTo>
                      <a:pt x="592932" y="1090612"/>
                    </a:lnTo>
                    <a:lnTo>
                      <a:pt x="566738" y="1104900"/>
                    </a:lnTo>
                    <a:lnTo>
                      <a:pt x="557213" y="1107281"/>
                    </a:lnTo>
                    <a:lnTo>
                      <a:pt x="545307" y="1100137"/>
                    </a:lnTo>
                    <a:lnTo>
                      <a:pt x="540544" y="1090612"/>
                    </a:lnTo>
                    <a:lnTo>
                      <a:pt x="381000" y="1081087"/>
                    </a:lnTo>
                    <a:lnTo>
                      <a:pt x="373857" y="1081087"/>
                    </a:lnTo>
                    <a:lnTo>
                      <a:pt x="373857" y="1102519"/>
                    </a:lnTo>
                    <a:lnTo>
                      <a:pt x="366713" y="1102519"/>
                    </a:lnTo>
                    <a:lnTo>
                      <a:pt x="364332" y="1109662"/>
                    </a:lnTo>
                    <a:lnTo>
                      <a:pt x="366713" y="1128712"/>
                    </a:lnTo>
                    <a:lnTo>
                      <a:pt x="361950" y="1135856"/>
                    </a:lnTo>
                    <a:lnTo>
                      <a:pt x="361950" y="1135856"/>
                    </a:lnTo>
                    <a:lnTo>
                      <a:pt x="326232" y="1135856"/>
                    </a:lnTo>
                    <a:lnTo>
                      <a:pt x="326232" y="1135856"/>
                    </a:lnTo>
                    <a:lnTo>
                      <a:pt x="304800" y="1143000"/>
                    </a:lnTo>
                    <a:lnTo>
                      <a:pt x="297657" y="1085850"/>
                    </a:lnTo>
                    <a:lnTo>
                      <a:pt x="33338" y="1076325"/>
                    </a:lnTo>
                    <a:lnTo>
                      <a:pt x="30957" y="1064419"/>
                    </a:lnTo>
                    <a:lnTo>
                      <a:pt x="23813" y="1054894"/>
                    </a:lnTo>
                    <a:lnTo>
                      <a:pt x="19050" y="1052512"/>
                    </a:lnTo>
                    <a:lnTo>
                      <a:pt x="23813" y="1028700"/>
                    </a:lnTo>
                    <a:lnTo>
                      <a:pt x="0" y="973931"/>
                    </a:lnTo>
                    <a:lnTo>
                      <a:pt x="23813" y="950119"/>
                    </a:lnTo>
                    <a:lnTo>
                      <a:pt x="11907" y="909637"/>
                    </a:lnTo>
                    <a:lnTo>
                      <a:pt x="42863" y="916781"/>
                    </a:lnTo>
                    <a:lnTo>
                      <a:pt x="90488" y="752475"/>
                    </a:lnTo>
                    <a:lnTo>
                      <a:pt x="97632" y="657225"/>
                    </a:lnTo>
                    <a:lnTo>
                      <a:pt x="50007" y="645319"/>
                    </a:lnTo>
                    <a:lnTo>
                      <a:pt x="14288" y="623887"/>
                    </a:lnTo>
                    <a:lnTo>
                      <a:pt x="23813" y="542925"/>
                    </a:lnTo>
                    <a:lnTo>
                      <a:pt x="88107" y="557212"/>
                    </a:lnTo>
                    <a:cubicBezTo>
                      <a:pt x="103188" y="475456"/>
                      <a:pt x="129381" y="354013"/>
                      <a:pt x="133350" y="311944"/>
                    </a:cubicBezTo>
                    <a:cubicBezTo>
                      <a:pt x="137319" y="269875"/>
                      <a:pt x="119063" y="307181"/>
                      <a:pt x="111919" y="304800"/>
                    </a:cubicBezTo>
                    <a:lnTo>
                      <a:pt x="157163" y="123825"/>
                    </a:lnTo>
                    <a:lnTo>
                      <a:pt x="150019" y="111919"/>
                    </a:lnTo>
                    <a:lnTo>
                      <a:pt x="126207" y="128587"/>
                    </a:lnTo>
                    <a:lnTo>
                      <a:pt x="107157" y="107156"/>
                    </a:lnTo>
                    <a:lnTo>
                      <a:pt x="128588" y="102394"/>
                    </a:lnTo>
                    <a:lnTo>
                      <a:pt x="133350" y="85725"/>
                    </a:lnTo>
                    <a:lnTo>
                      <a:pt x="161925" y="50006"/>
                    </a:lnTo>
                    <a:lnTo>
                      <a:pt x="71438" y="57150"/>
                    </a:lnTo>
                    <a:lnTo>
                      <a:pt x="80963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1E50CF64-3EB6-4773-A28B-42ACD8923A16}"/>
                  </a:ext>
                </a:extLst>
              </p:cNvPr>
              <p:cNvSpPr/>
              <p:nvPr/>
            </p:nvSpPr>
            <p:spPr>
              <a:xfrm>
                <a:off x="8753475" y="2764631"/>
                <a:ext cx="919163" cy="1081088"/>
              </a:xfrm>
              <a:custGeom>
                <a:avLst/>
                <a:gdLst>
                  <a:gd name="connsiteX0" fmla="*/ 207169 w 919163"/>
                  <a:gd name="connsiteY0" fmla="*/ 0 h 1081088"/>
                  <a:gd name="connsiteX1" fmla="*/ 842963 w 919163"/>
                  <a:gd name="connsiteY1" fmla="*/ 26194 h 1081088"/>
                  <a:gd name="connsiteX2" fmla="*/ 823913 w 919163"/>
                  <a:gd name="connsiteY2" fmla="*/ 59532 h 1081088"/>
                  <a:gd name="connsiteX3" fmla="*/ 823913 w 919163"/>
                  <a:gd name="connsiteY3" fmla="*/ 71438 h 1081088"/>
                  <a:gd name="connsiteX4" fmla="*/ 840581 w 919163"/>
                  <a:gd name="connsiteY4" fmla="*/ 80963 h 1081088"/>
                  <a:gd name="connsiteX5" fmla="*/ 847725 w 919163"/>
                  <a:gd name="connsiteY5" fmla="*/ 104775 h 1081088"/>
                  <a:gd name="connsiteX6" fmla="*/ 854869 w 919163"/>
                  <a:gd name="connsiteY6" fmla="*/ 119063 h 1081088"/>
                  <a:gd name="connsiteX7" fmla="*/ 890588 w 919163"/>
                  <a:gd name="connsiteY7" fmla="*/ 119063 h 1081088"/>
                  <a:gd name="connsiteX8" fmla="*/ 895350 w 919163"/>
                  <a:gd name="connsiteY8" fmla="*/ 107157 h 1081088"/>
                  <a:gd name="connsiteX9" fmla="*/ 900113 w 919163"/>
                  <a:gd name="connsiteY9" fmla="*/ 176213 h 1081088"/>
                  <a:gd name="connsiteX10" fmla="*/ 890588 w 919163"/>
                  <a:gd name="connsiteY10" fmla="*/ 171450 h 1081088"/>
                  <a:gd name="connsiteX11" fmla="*/ 900113 w 919163"/>
                  <a:gd name="connsiteY11" fmla="*/ 192882 h 1081088"/>
                  <a:gd name="connsiteX12" fmla="*/ 892969 w 919163"/>
                  <a:gd name="connsiteY12" fmla="*/ 214313 h 1081088"/>
                  <a:gd name="connsiteX13" fmla="*/ 859631 w 919163"/>
                  <a:gd name="connsiteY13" fmla="*/ 240507 h 1081088"/>
                  <a:gd name="connsiteX14" fmla="*/ 838200 w 919163"/>
                  <a:gd name="connsiteY14" fmla="*/ 264319 h 1081088"/>
                  <a:gd name="connsiteX15" fmla="*/ 852488 w 919163"/>
                  <a:gd name="connsiteY15" fmla="*/ 309563 h 1081088"/>
                  <a:gd name="connsiteX16" fmla="*/ 821531 w 919163"/>
                  <a:gd name="connsiteY16" fmla="*/ 383382 h 1081088"/>
                  <a:gd name="connsiteX17" fmla="*/ 842963 w 919163"/>
                  <a:gd name="connsiteY17" fmla="*/ 404813 h 1081088"/>
                  <a:gd name="connsiteX18" fmla="*/ 821531 w 919163"/>
                  <a:gd name="connsiteY18" fmla="*/ 471488 h 1081088"/>
                  <a:gd name="connsiteX19" fmla="*/ 771525 w 919163"/>
                  <a:gd name="connsiteY19" fmla="*/ 490538 h 1081088"/>
                  <a:gd name="connsiteX20" fmla="*/ 797719 w 919163"/>
                  <a:gd name="connsiteY20" fmla="*/ 519113 h 1081088"/>
                  <a:gd name="connsiteX21" fmla="*/ 776288 w 919163"/>
                  <a:gd name="connsiteY21" fmla="*/ 535782 h 1081088"/>
                  <a:gd name="connsiteX22" fmla="*/ 752475 w 919163"/>
                  <a:gd name="connsiteY22" fmla="*/ 576263 h 1081088"/>
                  <a:gd name="connsiteX23" fmla="*/ 845344 w 919163"/>
                  <a:gd name="connsiteY23" fmla="*/ 702469 h 1081088"/>
                  <a:gd name="connsiteX24" fmla="*/ 790575 w 919163"/>
                  <a:gd name="connsiteY24" fmla="*/ 707232 h 1081088"/>
                  <a:gd name="connsiteX25" fmla="*/ 766763 w 919163"/>
                  <a:gd name="connsiteY25" fmla="*/ 781050 h 1081088"/>
                  <a:gd name="connsiteX26" fmla="*/ 783431 w 919163"/>
                  <a:gd name="connsiteY26" fmla="*/ 819150 h 1081088"/>
                  <a:gd name="connsiteX27" fmla="*/ 823913 w 919163"/>
                  <a:gd name="connsiteY27" fmla="*/ 809625 h 1081088"/>
                  <a:gd name="connsiteX28" fmla="*/ 823913 w 919163"/>
                  <a:gd name="connsiteY28" fmla="*/ 826294 h 1081088"/>
                  <a:gd name="connsiteX29" fmla="*/ 840581 w 919163"/>
                  <a:gd name="connsiteY29" fmla="*/ 814388 h 1081088"/>
                  <a:gd name="connsiteX30" fmla="*/ 885825 w 919163"/>
                  <a:gd name="connsiteY30" fmla="*/ 812007 h 1081088"/>
                  <a:gd name="connsiteX31" fmla="*/ 885825 w 919163"/>
                  <a:gd name="connsiteY31" fmla="*/ 857250 h 1081088"/>
                  <a:gd name="connsiteX32" fmla="*/ 919163 w 919163"/>
                  <a:gd name="connsiteY32" fmla="*/ 854869 h 1081088"/>
                  <a:gd name="connsiteX33" fmla="*/ 904875 w 919163"/>
                  <a:gd name="connsiteY33" fmla="*/ 916782 h 1081088"/>
                  <a:gd name="connsiteX34" fmla="*/ 888206 w 919163"/>
                  <a:gd name="connsiteY34" fmla="*/ 933450 h 1081088"/>
                  <a:gd name="connsiteX35" fmla="*/ 885825 w 919163"/>
                  <a:gd name="connsiteY35" fmla="*/ 959644 h 1081088"/>
                  <a:gd name="connsiteX36" fmla="*/ 890588 w 919163"/>
                  <a:gd name="connsiteY36" fmla="*/ 1076325 h 1081088"/>
                  <a:gd name="connsiteX37" fmla="*/ 561975 w 919163"/>
                  <a:gd name="connsiteY37" fmla="*/ 1081088 h 1081088"/>
                  <a:gd name="connsiteX38" fmla="*/ 554831 w 919163"/>
                  <a:gd name="connsiteY38" fmla="*/ 1059657 h 1081088"/>
                  <a:gd name="connsiteX39" fmla="*/ 178594 w 919163"/>
                  <a:gd name="connsiteY39" fmla="*/ 1050132 h 1081088"/>
                  <a:gd name="connsiteX40" fmla="*/ 173831 w 919163"/>
                  <a:gd name="connsiteY40" fmla="*/ 852488 h 1081088"/>
                  <a:gd name="connsiteX41" fmla="*/ 102394 w 919163"/>
                  <a:gd name="connsiteY41" fmla="*/ 864394 h 1081088"/>
                  <a:gd name="connsiteX42" fmla="*/ 95250 w 919163"/>
                  <a:gd name="connsiteY42" fmla="*/ 852488 h 1081088"/>
                  <a:gd name="connsiteX43" fmla="*/ 19050 w 919163"/>
                  <a:gd name="connsiteY43" fmla="*/ 814388 h 1081088"/>
                  <a:gd name="connsiteX44" fmla="*/ 28575 w 919163"/>
                  <a:gd name="connsiteY44" fmla="*/ 800100 h 1081088"/>
                  <a:gd name="connsiteX45" fmla="*/ 83344 w 919163"/>
                  <a:gd name="connsiteY45" fmla="*/ 728663 h 1081088"/>
                  <a:gd name="connsiteX46" fmla="*/ 85725 w 919163"/>
                  <a:gd name="connsiteY46" fmla="*/ 707232 h 1081088"/>
                  <a:gd name="connsiteX47" fmla="*/ 83344 w 919163"/>
                  <a:gd name="connsiteY47" fmla="*/ 676275 h 1081088"/>
                  <a:gd name="connsiteX48" fmla="*/ 88106 w 919163"/>
                  <a:gd name="connsiteY48" fmla="*/ 657225 h 1081088"/>
                  <a:gd name="connsiteX49" fmla="*/ 90488 w 919163"/>
                  <a:gd name="connsiteY49" fmla="*/ 635794 h 1081088"/>
                  <a:gd name="connsiteX50" fmla="*/ 88106 w 919163"/>
                  <a:gd name="connsiteY50" fmla="*/ 619125 h 1081088"/>
                  <a:gd name="connsiteX51" fmla="*/ 16669 w 919163"/>
                  <a:gd name="connsiteY51" fmla="*/ 628650 h 1081088"/>
                  <a:gd name="connsiteX52" fmla="*/ 16669 w 919163"/>
                  <a:gd name="connsiteY52" fmla="*/ 597694 h 1081088"/>
                  <a:gd name="connsiteX53" fmla="*/ 9525 w 919163"/>
                  <a:gd name="connsiteY53" fmla="*/ 583407 h 1081088"/>
                  <a:gd name="connsiteX54" fmla="*/ 2381 w 919163"/>
                  <a:gd name="connsiteY54" fmla="*/ 554832 h 1081088"/>
                  <a:gd name="connsiteX55" fmla="*/ 0 w 919163"/>
                  <a:gd name="connsiteY55" fmla="*/ 540544 h 1081088"/>
                  <a:gd name="connsiteX56" fmla="*/ 0 w 919163"/>
                  <a:gd name="connsiteY56" fmla="*/ 523875 h 1081088"/>
                  <a:gd name="connsiteX57" fmla="*/ 2381 w 919163"/>
                  <a:gd name="connsiteY57" fmla="*/ 514350 h 1081088"/>
                  <a:gd name="connsiteX58" fmla="*/ 9525 w 919163"/>
                  <a:gd name="connsiteY58" fmla="*/ 509588 h 1081088"/>
                  <a:gd name="connsiteX59" fmla="*/ 33338 w 919163"/>
                  <a:gd name="connsiteY59" fmla="*/ 507207 h 1081088"/>
                  <a:gd name="connsiteX60" fmla="*/ 50006 w 919163"/>
                  <a:gd name="connsiteY60" fmla="*/ 490538 h 1081088"/>
                  <a:gd name="connsiteX61" fmla="*/ 61913 w 919163"/>
                  <a:gd name="connsiteY61" fmla="*/ 490538 h 1081088"/>
                  <a:gd name="connsiteX62" fmla="*/ 83344 w 919163"/>
                  <a:gd name="connsiteY62" fmla="*/ 497682 h 1081088"/>
                  <a:gd name="connsiteX63" fmla="*/ 83344 w 919163"/>
                  <a:gd name="connsiteY63" fmla="*/ 457200 h 1081088"/>
                  <a:gd name="connsiteX64" fmla="*/ 235744 w 919163"/>
                  <a:gd name="connsiteY64" fmla="*/ 338138 h 1081088"/>
                  <a:gd name="connsiteX65" fmla="*/ 226219 w 919163"/>
                  <a:gd name="connsiteY65" fmla="*/ 304800 h 1081088"/>
                  <a:gd name="connsiteX66" fmla="*/ 226219 w 919163"/>
                  <a:gd name="connsiteY66" fmla="*/ 288132 h 1081088"/>
                  <a:gd name="connsiteX67" fmla="*/ 183356 w 919163"/>
                  <a:gd name="connsiteY67" fmla="*/ 219075 h 1081088"/>
                  <a:gd name="connsiteX68" fmla="*/ 192881 w 919163"/>
                  <a:gd name="connsiteY68" fmla="*/ 161925 h 1081088"/>
                  <a:gd name="connsiteX69" fmla="*/ 159544 w 919163"/>
                  <a:gd name="connsiteY69" fmla="*/ 147638 h 1081088"/>
                  <a:gd name="connsiteX70" fmla="*/ 197644 w 919163"/>
                  <a:gd name="connsiteY70" fmla="*/ 133350 h 1081088"/>
                  <a:gd name="connsiteX71" fmla="*/ 207169 w 919163"/>
                  <a:gd name="connsiteY71" fmla="*/ 0 h 1081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919163" h="1081088">
                    <a:moveTo>
                      <a:pt x="207169" y="0"/>
                    </a:moveTo>
                    <a:lnTo>
                      <a:pt x="842963" y="26194"/>
                    </a:lnTo>
                    <a:lnTo>
                      <a:pt x="823913" y="59532"/>
                    </a:lnTo>
                    <a:lnTo>
                      <a:pt x="823913" y="71438"/>
                    </a:lnTo>
                    <a:lnTo>
                      <a:pt x="840581" y="80963"/>
                    </a:lnTo>
                    <a:lnTo>
                      <a:pt x="847725" y="104775"/>
                    </a:lnTo>
                    <a:lnTo>
                      <a:pt x="854869" y="119063"/>
                    </a:lnTo>
                    <a:lnTo>
                      <a:pt x="890588" y="119063"/>
                    </a:lnTo>
                    <a:lnTo>
                      <a:pt x="895350" y="107157"/>
                    </a:lnTo>
                    <a:lnTo>
                      <a:pt x="900113" y="176213"/>
                    </a:lnTo>
                    <a:lnTo>
                      <a:pt x="890588" y="171450"/>
                    </a:lnTo>
                    <a:lnTo>
                      <a:pt x="900113" y="192882"/>
                    </a:lnTo>
                    <a:lnTo>
                      <a:pt x="892969" y="214313"/>
                    </a:lnTo>
                    <a:lnTo>
                      <a:pt x="859631" y="240507"/>
                    </a:lnTo>
                    <a:lnTo>
                      <a:pt x="838200" y="264319"/>
                    </a:lnTo>
                    <a:lnTo>
                      <a:pt x="852488" y="309563"/>
                    </a:lnTo>
                    <a:lnTo>
                      <a:pt x="821531" y="383382"/>
                    </a:lnTo>
                    <a:lnTo>
                      <a:pt x="842963" y="404813"/>
                    </a:lnTo>
                    <a:lnTo>
                      <a:pt x="821531" y="471488"/>
                    </a:lnTo>
                    <a:lnTo>
                      <a:pt x="771525" y="490538"/>
                    </a:lnTo>
                    <a:lnTo>
                      <a:pt x="797719" y="519113"/>
                    </a:lnTo>
                    <a:lnTo>
                      <a:pt x="776288" y="535782"/>
                    </a:lnTo>
                    <a:lnTo>
                      <a:pt x="752475" y="576263"/>
                    </a:lnTo>
                    <a:lnTo>
                      <a:pt x="845344" y="702469"/>
                    </a:lnTo>
                    <a:lnTo>
                      <a:pt x="790575" y="707232"/>
                    </a:lnTo>
                    <a:lnTo>
                      <a:pt x="766763" y="781050"/>
                    </a:lnTo>
                    <a:lnTo>
                      <a:pt x="783431" y="819150"/>
                    </a:lnTo>
                    <a:lnTo>
                      <a:pt x="823913" y="809625"/>
                    </a:lnTo>
                    <a:lnTo>
                      <a:pt x="823913" y="826294"/>
                    </a:lnTo>
                    <a:lnTo>
                      <a:pt x="840581" y="814388"/>
                    </a:lnTo>
                    <a:lnTo>
                      <a:pt x="885825" y="812007"/>
                    </a:lnTo>
                    <a:lnTo>
                      <a:pt x="885825" y="857250"/>
                    </a:lnTo>
                    <a:lnTo>
                      <a:pt x="919163" y="854869"/>
                    </a:lnTo>
                    <a:lnTo>
                      <a:pt x="904875" y="916782"/>
                    </a:lnTo>
                    <a:lnTo>
                      <a:pt x="888206" y="933450"/>
                    </a:lnTo>
                    <a:lnTo>
                      <a:pt x="885825" y="959644"/>
                    </a:lnTo>
                    <a:lnTo>
                      <a:pt x="890588" y="1076325"/>
                    </a:lnTo>
                    <a:lnTo>
                      <a:pt x="561975" y="1081088"/>
                    </a:lnTo>
                    <a:lnTo>
                      <a:pt x="554831" y="1059657"/>
                    </a:lnTo>
                    <a:lnTo>
                      <a:pt x="178594" y="1050132"/>
                    </a:lnTo>
                    <a:lnTo>
                      <a:pt x="173831" y="852488"/>
                    </a:lnTo>
                    <a:lnTo>
                      <a:pt x="102394" y="864394"/>
                    </a:lnTo>
                    <a:lnTo>
                      <a:pt x="95250" y="852488"/>
                    </a:lnTo>
                    <a:lnTo>
                      <a:pt x="19050" y="814388"/>
                    </a:lnTo>
                    <a:lnTo>
                      <a:pt x="28575" y="800100"/>
                    </a:lnTo>
                    <a:lnTo>
                      <a:pt x="83344" y="728663"/>
                    </a:lnTo>
                    <a:lnTo>
                      <a:pt x="85725" y="707232"/>
                    </a:lnTo>
                    <a:lnTo>
                      <a:pt x="83344" y="676275"/>
                    </a:lnTo>
                    <a:lnTo>
                      <a:pt x="88106" y="657225"/>
                    </a:lnTo>
                    <a:lnTo>
                      <a:pt x="90488" y="635794"/>
                    </a:lnTo>
                    <a:lnTo>
                      <a:pt x="88106" y="619125"/>
                    </a:lnTo>
                    <a:lnTo>
                      <a:pt x="16669" y="628650"/>
                    </a:lnTo>
                    <a:lnTo>
                      <a:pt x="16669" y="597694"/>
                    </a:lnTo>
                    <a:lnTo>
                      <a:pt x="9525" y="583407"/>
                    </a:lnTo>
                    <a:lnTo>
                      <a:pt x="2381" y="554832"/>
                    </a:lnTo>
                    <a:lnTo>
                      <a:pt x="0" y="540544"/>
                    </a:lnTo>
                    <a:lnTo>
                      <a:pt x="0" y="523875"/>
                    </a:lnTo>
                    <a:lnTo>
                      <a:pt x="2381" y="514350"/>
                    </a:lnTo>
                    <a:lnTo>
                      <a:pt x="9525" y="509588"/>
                    </a:lnTo>
                    <a:lnTo>
                      <a:pt x="33338" y="507207"/>
                    </a:lnTo>
                    <a:lnTo>
                      <a:pt x="50006" y="490538"/>
                    </a:lnTo>
                    <a:lnTo>
                      <a:pt x="61913" y="490538"/>
                    </a:lnTo>
                    <a:lnTo>
                      <a:pt x="83344" y="497682"/>
                    </a:lnTo>
                    <a:lnTo>
                      <a:pt x="83344" y="457200"/>
                    </a:lnTo>
                    <a:lnTo>
                      <a:pt x="235744" y="338138"/>
                    </a:lnTo>
                    <a:lnTo>
                      <a:pt x="226219" y="304800"/>
                    </a:lnTo>
                    <a:lnTo>
                      <a:pt x="226219" y="288132"/>
                    </a:lnTo>
                    <a:lnTo>
                      <a:pt x="183356" y="219075"/>
                    </a:lnTo>
                    <a:lnTo>
                      <a:pt x="192881" y="161925"/>
                    </a:lnTo>
                    <a:lnTo>
                      <a:pt x="159544" y="147638"/>
                    </a:lnTo>
                    <a:lnTo>
                      <a:pt x="197644" y="133350"/>
                    </a:lnTo>
                    <a:lnTo>
                      <a:pt x="207169" y="0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10257B40-5199-4411-AF96-686F4E73D63E}"/>
                  </a:ext>
                </a:extLst>
              </p:cNvPr>
              <p:cNvSpPr/>
              <p:nvPr/>
            </p:nvSpPr>
            <p:spPr>
              <a:xfrm>
                <a:off x="9577388" y="2496602"/>
                <a:ext cx="1101655" cy="715705"/>
              </a:xfrm>
              <a:custGeom>
                <a:avLst/>
                <a:gdLst>
                  <a:gd name="connsiteX0" fmla="*/ 0 w 1062037"/>
                  <a:gd name="connsiteY0" fmla="*/ 283369 h 707231"/>
                  <a:gd name="connsiteX1" fmla="*/ 276225 w 1062037"/>
                  <a:gd name="connsiteY1" fmla="*/ 297656 h 707231"/>
                  <a:gd name="connsiteX2" fmla="*/ 304800 w 1062037"/>
                  <a:gd name="connsiteY2" fmla="*/ 264319 h 707231"/>
                  <a:gd name="connsiteX3" fmla="*/ 321468 w 1062037"/>
                  <a:gd name="connsiteY3" fmla="*/ 230981 h 707231"/>
                  <a:gd name="connsiteX4" fmla="*/ 340518 w 1062037"/>
                  <a:gd name="connsiteY4" fmla="*/ 214313 h 707231"/>
                  <a:gd name="connsiteX5" fmla="*/ 400050 w 1062037"/>
                  <a:gd name="connsiteY5" fmla="*/ 238125 h 707231"/>
                  <a:gd name="connsiteX6" fmla="*/ 395287 w 1062037"/>
                  <a:gd name="connsiteY6" fmla="*/ 145256 h 707231"/>
                  <a:gd name="connsiteX7" fmla="*/ 442912 w 1062037"/>
                  <a:gd name="connsiteY7" fmla="*/ 104775 h 707231"/>
                  <a:gd name="connsiteX8" fmla="*/ 538162 w 1062037"/>
                  <a:gd name="connsiteY8" fmla="*/ 130969 h 707231"/>
                  <a:gd name="connsiteX9" fmla="*/ 581025 w 1062037"/>
                  <a:gd name="connsiteY9" fmla="*/ 40481 h 707231"/>
                  <a:gd name="connsiteX10" fmla="*/ 611981 w 1062037"/>
                  <a:gd name="connsiteY10" fmla="*/ 33338 h 707231"/>
                  <a:gd name="connsiteX11" fmla="*/ 697706 w 1062037"/>
                  <a:gd name="connsiteY11" fmla="*/ 0 h 707231"/>
                  <a:gd name="connsiteX12" fmla="*/ 776287 w 1062037"/>
                  <a:gd name="connsiteY12" fmla="*/ 38100 h 707231"/>
                  <a:gd name="connsiteX13" fmla="*/ 809625 w 1062037"/>
                  <a:gd name="connsiteY13" fmla="*/ 30956 h 707231"/>
                  <a:gd name="connsiteX14" fmla="*/ 812006 w 1062037"/>
                  <a:gd name="connsiteY14" fmla="*/ 88106 h 707231"/>
                  <a:gd name="connsiteX15" fmla="*/ 754856 w 1062037"/>
                  <a:gd name="connsiteY15" fmla="*/ 111919 h 707231"/>
                  <a:gd name="connsiteX16" fmla="*/ 771525 w 1062037"/>
                  <a:gd name="connsiteY16" fmla="*/ 133350 h 707231"/>
                  <a:gd name="connsiteX17" fmla="*/ 802481 w 1062037"/>
                  <a:gd name="connsiteY17" fmla="*/ 121444 h 707231"/>
                  <a:gd name="connsiteX18" fmla="*/ 802481 w 1062037"/>
                  <a:gd name="connsiteY18" fmla="*/ 121444 h 707231"/>
                  <a:gd name="connsiteX19" fmla="*/ 859631 w 1062037"/>
                  <a:gd name="connsiteY19" fmla="*/ 292894 h 707231"/>
                  <a:gd name="connsiteX20" fmla="*/ 804862 w 1062037"/>
                  <a:gd name="connsiteY20" fmla="*/ 211931 h 707231"/>
                  <a:gd name="connsiteX21" fmla="*/ 802481 w 1062037"/>
                  <a:gd name="connsiteY21" fmla="*/ 230981 h 707231"/>
                  <a:gd name="connsiteX22" fmla="*/ 819150 w 1062037"/>
                  <a:gd name="connsiteY22" fmla="*/ 283369 h 707231"/>
                  <a:gd name="connsiteX23" fmla="*/ 850106 w 1062037"/>
                  <a:gd name="connsiteY23" fmla="*/ 307181 h 707231"/>
                  <a:gd name="connsiteX24" fmla="*/ 914400 w 1062037"/>
                  <a:gd name="connsiteY24" fmla="*/ 340519 h 707231"/>
                  <a:gd name="connsiteX25" fmla="*/ 962025 w 1062037"/>
                  <a:gd name="connsiteY25" fmla="*/ 361950 h 707231"/>
                  <a:gd name="connsiteX26" fmla="*/ 976312 w 1062037"/>
                  <a:gd name="connsiteY26" fmla="*/ 335756 h 707231"/>
                  <a:gd name="connsiteX27" fmla="*/ 1026318 w 1062037"/>
                  <a:gd name="connsiteY27" fmla="*/ 304800 h 707231"/>
                  <a:gd name="connsiteX28" fmla="*/ 1028700 w 1062037"/>
                  <a:gd name="connsiteY28" fmla="*/ 345281 h 707231"/>
                  <a:gd name="connsiteX29" fmla="*/ 1054893 w 1062037"/>
                  <a:gd name="connsiteY29" fmla="*/ 345281 h 707231"/>
                  <a:gd name="connsiteX30" fmla="*/ 1062037 w 1062037"/>
                  <a:gd name="connsiteY30" fmla="*/ 366713 h 707231"/>
                  <a:gd name="connsiteX31" fmla="*/ 1062037 w 1062037"/>
                  <a:gd name="connsiteY31" fmla="*/ 366713 h 707231"/>
                  <a:gd name="connsiteX32" fmla="*/ 1031081 w 1062037"/>
                  <a:gd name="connsiteY32" fmla="*/ 400050 h 707231"/>
                  <a:gd name="connsiteX33" fmla="*/ 1016793 w 1062037"/>
                  <a:gd name="connsiteY33" fmla="*/ 421481 h 707231"/>
                  <a:gd name="connsiteX34" fmla="*/ 1004887 w 1062037"/>
                  <a:gd name="connsiteY34" fmla="*/ 457200 h 707231"/>
                  <a:gd name="connsiteX35" fmla="*/ 981075 w 1062037"/>
                  <a:gd name="connsiteY35" fmla="*/ 457200 h 707231"/>
                  <a:gd name="connsiteX36" fmla="*/ 983456 w 1062037"/>
                  <a:gd name="connsiteY36" fmla="*/ 431006 h 707231"/>
                  <a:gd name="connsiteX37" fmla="*/ 962025 w 1062037"/>
                  <a:gd name="connsiteY37" fmla="*/ 431006 h 707231"/>
                  <a:gd name="connsiteX38" fmla="*/ 947737 w 1062037"/>
                  <a:gd name="connsiteY38" fmla="*/ 457200 h 707231"/>
                  <a:gd name="connsiteX39" fmla="*/ 938212 w 1062037"/>
                  <a:gd name="connsiteY39" fmla="*/ 481013 h 707231"/>
                  <a:gd name="connsiteX40" fmla="*/ 919162 w 1062037"/>
                  <a:gd name="connsiteY40" fmla="*/ 483394 h 707231"/>
                  <a:gd name="connsiteX41" fmla="*/ 876300 w 1062037"/>
                  <a:gd name="connsiteY41" fmla="*/ 488156 h 707231"/>
                  <a:gd name="connsiteX42" fmla="*/ 866775 w 1062037"/>
                  <a:gd name="connsiteY42" fmla="*/ 490538 h 707231"/>
                  <a:gd name="connsiteX43" fmla="*/ 838200 w 1062037"/>
                  <a:gd name="connsiteY43" fmla="*/ 504825 h 707231"/>
                  <a:gd name="connsiteX44" fmla="*/ 814387 w 1062037"/>
                  <a:gd name="connsiteY44" fmla="*/ 500063 h 707231"/>
                  <a:gd name="connsiteX45" fmla="*/ 778668 w 1062037"/>
                  <a:gd name="connsiteY45" fmla="*/ 519113 h 707231"/>
                  <a:gd name="connsiteX46" fmla="*/ 740568 w 1062037"/>
                  <a:gd name="connsiteY46" fmla="*/ 528638 h 707231"/>
                  <a:gd name="connsiteX47" fmla="*/ 702468 w 1062037"/>
                  <a:gd name="connsiteY47" fmla="*/ 528638 h 707231"/>
                  <a:gd name="connsiteX48" fmla="*/ 711993 w 1062037"/>
                  <a:gd name="connsiteY48" fmla="*/ 542925 h 707231"/>
                  <a:gd name="connsiteX49" fmla="*/ 747712 w 1062037"/>
                  <a:gd name="connsiteY49" fmla="*/ 552450 h 707231"/>
                  <a:gd name="connsiteX50" fmla="*/ 742950 w 1062037"/>
                  <a:gd name="connsiteY50" fmla="*/ 573881 h 707231"/>
                  <a:gd name="connsiteX51" fmla="*/ 735806 w 1062037"/>
                  <a:gd name="connsiteY51" fmla="*/ 607219 h 707231"/>
                  <a:gd name="connsiteX52" fmla="*/ 773906 w 1062037"/>
                  <a:gd name="connsiteY52" fmla="*/ 566738 h 707231"/>
                  <a:gd name="connsiteX53" fmla="*/ 783431 w 1062037"/>
                  <a:gd name="connsiteY53" fmla="*/ 569119 h 707231"/>
                  <a:gd name="connsiteX54" fmla="*/ 757237 w 1062037"/>
                  <a:gd name="connsiteY54" fmla="*/ 611981 h 707231"/>
                  <a:gd name="connsiteX55" fmla="*/ 738187 w 1062037"/>
                  <a:gd name="connsiteY55" fmla="*/ 640556 h 707231"/>
                  <a:gd name="connsiteX56" fmla="*/ 714375 w 1062037"/>
                  <a:gd name="connsiteY56" fmla="*/ 659606 h 707231"/>
                  <a:gd name="connsiteX57" fmla="*/ 685800 w 1062037"/>
                  <a:gd name="connsiteY57" fmla="*/ 647700 h 707231"/>
                  <a:gd name="connsiteX58" fmla="*/ 638175 w 1062037"/>
                  <a:gd name="connsiteY58" fmla="*/ 685800 h 707231"/>
                  <a:gd name="connsiteX59" fmla="*/ 621506 w 1062037"/>
                  <a:gd name="connsiteY59" fmla="*/ 707231 h 707231"/>
                  <a:gd name="connsiteX60" fmla="*/ 592931 w 1062037"/>
                  <a:gd name="connsiteY60" fmla="*/ 685800 h 707231"/>
                  <a:gd name="connsiteX61" fmla="*/ 569118 w 1062037"/>
                  <a:gd name="connsiteY61" fmla="*/ 657225 h 707231"/>
                  <a:gd name="connsiteX62" fmla="*/ 545306 w 1062037"/>
                  <a:gd name="connsiteY62" fmla="*/ 616744 h 707231"/>
                  <a:gd name="connsiteX63" fmla="*/ 581025 w 1062037"/>
                  <a:gd name="connsiteY63" fmla="*/ 578644 h 707231"/>
                  <a:gd name="connsiteX64" fmla="*/ 559593 w 1062037"/>
                  <a:gd name="connsiteY64" fmla="*/ 564356 h 707231"/>
                  <a:gd name="connsiteX65" fmla="*/ 528637 w 1062037"/>
                  <a:gd name="connsiteY65" fmla="*/ 547688 h 707231"/>
                  <a:gd name="connsiteX66" fmla="*/ 535781 w 1062037"/>
                  <a:gd name="connsiteY66" fmla="*/ 488156 h 707231"/>
                  <a:gd name="connsiteX67" fmla="*/ 576262 w 1062037"/>
                  <a:gd name="connsiteY67" fmla="*/ 481013 h 707231"/>
                  <a:gd name="connsiteX68" fmla="*/ 550068 w 1062037"/>
                  <a:gd name="connsiteY68" fmla="*/ 435769 h 707231"/>
                  <a:gd name="connsiteX69" fmla="*/ 454818 w 1062037"/>
                  <a:gd name="connsiteY69" fmla="*/ 440531 h 707231"/>
                  <a:gd name="connsiteX70" fmla="*/ 428625 w 1062037"/>
                  <a:gd name="connsiteY70" fmla="*/ 421481 h 707231"/>
                  <a:gd name="connsiteX71" fmla="*/ 400050 w 1062037"/>
                  <a:gd name="connsiteY71" fmla="*/ 497681 h 707231"/>
                  <a:gd name="connsiteX72" fmla="*/ 283368 w 1062037"/>
                  <a:gd name="connsiteY72" fmla="*/ 428625 h 707231"/>
                  <a:gd name="connsiteX73" fmla="*/ 235743 w 1062037"/>
                  <a:gd name="connsiteY73" fmla="*/ 500063 h 707231"/>
                  <a:gd name="connsiteX74" fmla="*/ 211931 w 1062037"/>
                  <a:gd name="connsiteY74" fmla="*/ 500063 h 707231"/>
                  <a:gd name="connsiteX75" fmla="*/ 164306 w 1062037"/>
                  <a:gd name="connsiteY75" fmla="*/ 516731 h 707231"/>
                  <a:gd name="connsiteX76" fmla="*/ 169068 w 1062037"/>
                  <a:gd name="connsiteY76" fmla="*/ 540544 h 707231"/>
                  <a:gd name="connsiteX77" fmla="*/ 119062 w 1062037"/>
                  <a:gd name="connsiteY77" fmla="*/ 559594 h 707231"/>
                  <a:gd name="connsiteX78" fmla="*/ 47625 w 1062037"/>
                  <a:gd name="connsiteY78" fmla="*/ 478631 h 707231"/>
                  <a:gd name="connsiteX79" fmla="*/ 47625 w 1062037"/>
                  <a:gd name="connsiteY79" fmla="*/ 442913 h 707231"/>
                  <a:gd name="connsiteX80" fmla="*/ 59531 w 1062037"/>
                  <a:gd name="connsiteY80" fmla="*/ 402431 h 707231"/>
                  <a:gd name="connsiteX81" fmla="*/ 59531 w 1062037"/>
                  <a:gd name="connsiteY81" fmla="*/ 364331 h 707231"/>
                  <a:gd name="connsiteX82" fmla="*/ 11906 w 1062037"/>
                  <a:gd name="connsiteY82" fmla="*/ 371475 h 707231"/>
                  <a:gd name="connsiteX83" fmla="*/ 4762 w 1062037"/>
                  <a:gd name="connsiteY83" fmla="*/ 350044 h 707231"/>
                  <a:gd name="connsiteX84" fmla="*/ 0 w 1062037"/>
                  <a:gd name="connsiteY84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600075 w 1081087"/>
                  <a:gd name="connsiteY9" fmla="*/ 40481 h 707231"/>
                  <a:gd name="connsiteX10" fmla="*/ 631031 w 1081087"/>
                  <a:gd name="connsiteY10" fmla="*/ 33338 h 707231"/>
                  <a:gd name="connsiteX11" fmla="*/ 716756 w 1081087"/>
                  <a:gd name="connsiteY11" fmla="*/ 0 h 707231"/>
                  <a:gd name="connsiteX12" fmla="*/ 795337 w 1081087"/>
                  <a:gd name="connsiteY12" fmla="*/ 38100 h 707231"/>
                  <a:gd name="connsiteX13" fmla="*/ 828675 w 1081087"/>
                  <a:gd name="connsiteY13" fmla="*/ 30956 h 707231"/>
                  <a:gd name="connsiteX14" fmla="*/ 831056 w 1081087"/>
                  <a:gd name="connsiteY14" fmla="*/ 88106 h 707231"/>
                  <a:gd name="connsiteX15" fmla="*/ 773906 w 1081087"/>
                  <a:gd name="connsiteY15" fmla="*/ 111919 h 707231"/>
                  <a:gd name="connsiteX16" fmla="*/ 790575 w 1081087"/>
                  <a:gd name="connsiteY16" fmla="*/ 133350 h 707231"/>
                  <a:gd name="connsiteX17" fmla="*/ 821531 w 1081087"/>
                  <a:gd name="connsiteY17" fmla="*/ 121444 h 707231"/>
                  <a:gd name="connsiteX18" fmla="*/ 821531 w 1081087"/>
                  <a:gd name="connsiteY18" fmla="*/ 121444 h 707231"/>
                  <a:gd name="connsiteX19" fmla="*/ 878681 w 1081087"/>
                  <a:gd name="connsiteY19" fmla="*/ 292894 h 707231"/>
                  <a:gd name="connsiteX20" fmla="*/ 823912 w 1081087"/>
                  <a:gd name="connsiteY20" fmla="*/ 211931 h 707231"/>
                  <a:gd name="connsiteX21" fmla="*/ 821531 w 1081087"/>
                  <a:gd name="connsiteY21" fmla="*/ 230981 h 707231"/>
                  <a:gd name="connsiteX22" fmla="*/ 838200 w 1081087"/>
                  <a:gd name="connsiteY22" fmla="*/ 283369 h 707231"/>
                  <a:gd name="connsiteX23" fmla="*/ 869156 w 1081087"/>
                  <a:gd name="connsiteY23" fmla="*/ 307181 h 707231"/>
                  <a:gd name="connsiteX24" fmla="*/ 933450 w 1081087"/>
                  <a:gd name="connsiteY24" fmla="*/ 340519 h 707231"/>
                  <a:gd name="connsiteX25" fmla="*/ 981075 w 1081087"/>
                  <a:gd name="connsiteY25" fmla="*/ 361950 h 707231"/>
                  <a:gd name="connsiteX26" fmla="*/ 995362 w 1081087"/>
                  <a:gd name="connsiteY26" fmla="*/ 335756 h 707231"/>
                  <a:gd name="connsiteX27" fmla="*/ 1045368 w 1081087"/>
                  <a:gd name="connsiteY27" fmla="*/ 304800 h 707231"/>
                  <a:gd name="connsiteX28" fmla="*/ 1047750 w 1081087"/>
                  <a:gd name="connsiteY28" fmla="*/ 345281 h 707231"/>
                  <a:gd name="connsiteX29" fmla="*/ 1073943 w 1081087"/>
                  <a:gd name="connsiteY29" fmla="*/ 345281 h 707231"/>
                  <a:gd name="connsiteX30" fmla="*/ 1081087 w 1081087"/>
                  <a:gd name="connsiteY30" fmla="*/ 366713 h 707231"/>
                  <a:gd name="connsiteX31" fmla="*/ 1081087 w 1081087"/>
                  <a:gd name="connsiteY31" fmla="*/ 366713 h 707231"/>
                  <a:gd name="connsiteX32" fmla="*/ 1050131 w 1081087"/>
                  <a:gd name="connsiteY32" fmla="*/ 400050 h 707231"/>
                  <a:gd name="connsiteX33" fmla="*/ 1035843 w 1081087"/>
                  <a:gd name="connsiteY33" fmla="*/ 421481 h 707231"/>
                  <a:gd name="connsiteX34" fmla="*/ 1023937 w 1081087"/>
                  <a:gd name="connsiteY34" fmla="*/ 457200 h 707231"/>
                  <a:gd name="connsiteX35" fmla="*/ 1000125 w 1081087"/>
                  <a:gd name="connsiteY35" fmla="*/ 457200 h 707231"/>
                  <a:gd name="connsiteX36" fmla="*/ 1002506 w 1081087"/>
                  <a:gd name="connsiteY36" fmla="*/ 431006 h 707231"/>
                  <a:gd name="connsiteX37" fmla="*/ 981075 w 1081087"/>
                  <a:gd name="connsiteY37" fmla="*/ 431006 h 707231"/>
                  <a:gd name="connsiteX38" fmla="*/ 966787 w 1081087"/>
                  <a:gd name="connsiteY38" fmla="*/ 457200 h 707231"/>
                  <a:gd name="connsiteX39" fmla="*/ 957262 w 1081087"/>
                  <a:gd name="connsiteY39" fmla="*/ 481013 h 707231"/>
                  <a:gd name="connsiteX40" fmla="*/ 938212 w 1081087"/>
                  <a:gd name="connsiteY40" fmla="*/ 483394 h 707231"/>
                  <a:gd name="connsiteX41" fmla="*/ 895350 w 1081087"/>
                  <a:gd name="connsiteY41" fmla="*/ 488156 h 707231"/>
                  <a:gd name="connsiteX42" fmla="*/ 885825 w 1081087"/>
                  <a:gd name="connsiteY42" fmla="*/ 490538 h 707231"/>
                  <a:gd name="connsiteX43" fmla="*/ 857250 w 1081087"/>
                  <a:gd name="connsiteY43" fmla="*/ 504825 h 707231"/>
                  <a:gd name="connsiteX44" fmla="*/ 833437 w 1081087"/>
                  <a:gd name="connsiteY44" fmla="*/ 500063 h 707231"/>
                  <a:gd name="connsiteX45" fmla="*/ 797718 w 1081087"/>
                  <a:gd name="connsiteY45" fmla="*/ 519113 h 707231"/>
                  <a:gd name="connsiteX46" fmla="*/ 759618 w 1081087"/>
                  <a:gd name="connsiteY46" fmla="*/ 528638 h 707231"/>
                  <a:gd name="connsiteX47" fmla="*/ 721518 w 1081087"/>
                  <a:gd name="connsiteY47" fmla="*/ 528638 h 707231"/>
                  <a:gd name="connsiteX48" fmla="*/ 731043 w 1081087"/>
                  <a:gd name="connsiteY48" fmla="*/ 542925 h 707231"/>
                  <a:gd name="connsiteX49" fmla="*/ 766762 w 1081087"/>
                  <a:gd name="connsiteY49" fmla="*/ 552450 h 707231"/>
                  <a:gd name="connsiteX50" fmla="*/ 762000 w 1081087"/>
                  <a:gd name="connsiteY50" fmla="*/ 573881 h 707231"/>
                  <a:gd name="connsiteX51" fmla="*/ 754856 w 1081087"/>
                  <a:gd name="connsiteY51" fmla="*/ 607219 h 707231"/>
                  <a:gd name="connsiteX52" fmla="*/ 792956 w 1081087"/>
                  <a:gd name="connsiteY52" fmla="*/ 566738 h 707231"/>
                  <a:gd name="connsiteX53" fmla="*/ 802481 w 1081087"/>
                  <a:gd name="connsiteY53" fmla="*/ 569119 h 707231"/>
                  <a:gd name="connsiteX54" fmla="*/ 776287 w 1081087"/>
                  <a:gd name="connsiteY54" fmla="*/ 611981 h 707231"/>
                  <a:gd name="connsiteX55" fmla="*/ 757237 w 1081087"/>
                  <a:gd name="connsiteY55" fmla="*/ 640556 h 707231"/>
                  <a:gd name="connsiteX56" fmla="*/ 733425 w 1081087"/>
                  <a:gd name="connsiteY56" fmla="*/ 659606 h 707231"/>
                  <a:gd name="connsiteX57" fmla="*/ 704850 w 1081087"/>
                  <a:gd name="connsiteY57" fmla="*/ 647700 h 707231"/>
                  <a:gd name="connsiteX58" fmla="*/ 657225 w 1081087"/>
                  <a:gd name="connsiteY58" fmla="*/ 685800 h 707231"/>
                  <a:gd name="connsiteX59" fmla="*/ 640556 w 1081087"/>
                  <a:gd name="connsiteY59" fmla="*/ 707231 h 707231"/>
                  <a:gd name="connsiteX60" fmla="*/ 611981 w 1081087"/>
                  <a:gd name="connsiteY60" fmla="*/ 685800 h 707231"/>
                  <a:gd name="connsiteX61" fmla="*/ 588168 w 1081087"/>
                  <a:gd name="connsiteY61" fmla="*/ 657225 h 707231"/>
                  <a:gd name="connsiteX62" fmla="*/ 564356 w 1081087"/>
                  <a:gd name="connsiteY62" fmla="*/ 616744 h 707231"/>
                  <a:gd name="connsiteX63" fmla="*/ 600075 w 1081087"/>
                  <a:gd name="connsiteY63" fmla="*/ 578644 h 707231"/>
                  <a:gd name="connsiteX64" fmla="*/ 578643 w 1081087"/>
                  <a:gd name="connsiteY64" fmla="*/ 564356 h 707231"/>
                  <a:gd name="connsiteX65" fmla="*/ 547687 w 1081087"/>
                  <a:gd name="connsiteY65" fmla="*/ 547688 h 707231"/>
                  <a:gd name="connsiteX66" fmla="*/ 554831 w 1081087"/>
                  <a:gd name="connsiteY66" fmla="*/ 488156 h 707231"/>
                  <a:gd name="connsiteX67" fmla="*/ 595312 w 1081087"/>
                  <a:gd name="connsiteY67" fmla="*/ 481013 h 707231"/>
                  <a:gd name="connsiteX68" fmla="*/ 569118 w 1081087"/>
                  <a:gd name="connsiteY68" fmla="*/ 435769 h 707231"/>
                  <a:gd name="connsiteX69" fmla="*/ 473868 w 1081087"/>
                  <a:gd name="connsiteY69" fmla="*/ 440531 h 707231"/>
                  <a:gd name="connsiteX70" fmla="*/ 447675 w 1081087"/>
                  <a:gd name="connsiteY70" fmla="*/ 421481 h 707231"/>
                  <a:gd name="connsiteX71" fmla="*/ 419100 w 1081087"/>
                  <a:gd name="connsiteY71" fmla="*/ 497681 h 707231"/>
                  <a:gd name="connsiteX72" fmla="*/ 302418 w 1081087"/>
                  <a:gd name="connsiteY72" fmla="*/ 428625 h 707231"/>
                  <a:gd name="connsiteX73" fmla="*/ 254793 w 1081087"/>
                  <a:gd name="connsiteY73" fmla="*/ 500063 h 707231"/>
                  <a:gd name="connsiteX74" fmla="*/ 230981 w 1081087"/>
                  <a:gd name="connsiteY74" fmla="*/ 500063 h 707231"/>
                  <a:gd name="connsiteX75" fmla="*/ 183356 w 1081087"/>
                  <a:gd name="connsiteY75" fmla="*/ 516731 h 707231"/>
                  <a:gd name="connsiteX76" fmla="*/ 188118 w 1081087"/>
                  <a:gd name="connsiteY76" fmla="*/ 540544 h 707231"/>
                  <a:gd name="connsiteX77" fmla="*/ 138112 w 1081087"/>
                  <a:gd name="connsiteY77" fmla="*/ 559594 h 707231"/>
                  <a:gd name="connsiteX78" fmla="*/ 66675 w 1081087"/>
                  <a:gd name="connsiteY78" fmla="*/ 478631 h 707231"/>
                  <a:gd name="connsiteX79" fmla="*/ 66675 w 1081087"/>
                  <a:gd name="connsiteY79" fmla="*/ 442913 h 707231"/>
                  <a:gd name="connsiteX80" fmla="*/ 78581 w 1081087"/>
                  <a:gd name="connsiteY80" fmla="*/ 402431 h 707231"/>
                  <a:gd name="connsiteX81" fmla="*/ 78581 w 1081087"/>
                  <a:gd name="connsiteY81" fmla="*/ 364331 h 707231"/>
                  <a:gd name="connsiteX82" fmla="*/ 30956 w 1081087"/>
                  <a:gd name="connsiteY82" fmla="*/ 371475 h 707231"/>
                  <a:gd name="connsiteX83" fmla="*/ 23812 w 1081087"/>
                  <a:gd name="connsiteY83" fmla="*/ 350044 h 707231"/>
                  <a:gd name="connsiteX84" fmla="*/ 0 w 1081087"/>
                  <a:gd name="connsiteY84" fmla="*/ 314325 h 707231"/>
                  <a:gd name="connsiteX85" fmla="*/ 19050 w 1081087"/>
                  <a:gd name="connsiteY85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21531 w 1081087"/>
                  <a:gd name="connsiteY19" fmla="*/ 121444 h 707231"/>
                  <a:gd name="connsiteX20" fmla="*/ 878681 w 1081087"/>
                  <a:gd name="connsiteY20" fmla="*/ 292894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933450 w 1081087"/>
                  <a:gd name="connsiteY25" fmla="*/ 340519 h 707231"/>
                  <a:gd name="connsiteX26" fmla="*/ 981075 w 1081087"/>
                  <a:gd name="connsiteY26" fmla="*/ 361950 h 707231"/>
                  <a:gd name="connsiteX27" fmla="*/ 995362 w 1081087"/>
                  <a:gd name="connsiteY27" fmla="*/ 335756 h 707231"/>
                  <a:gd name="connsiteX28" fmla="*/ 1045368 w 1081087"/>
                  <a:gd name="connsiteY28" fmla="*/ 304800 h 707231"/>
                  <a:gd name="connsiteX29" fmla="*/ 1047750 w 1081087"/>
                  <a:gd name="connsiteY29" fmla="*/ 345281 h 707231"/>
                  <a:gd name="connsiteX30" fmla="*/ 1073943 w 1081087"/>
                  <a:gd name="connsiteY30" fmla="*/ 345281 h 707231"/>
                  <a:gd name="connsiteX31" fmla="*/ 1081087 w 1081087"/>
                  <a:gd name="connsiteY31" fmla="*/ 366713 h 707231"/>
                  <a:gd name="connsiteX32" fmla="*/ 1081087 w 1081087"/>
                  <a:gd name="connsiteY32" fmla="*/ 366713 h 707231"/>
                  <a:gd name="connsiteX33" fmla="*/ 1050131 w 1081087"/>
                  <a:gd name="connsiteY33" fmla="*/ 400050 h 707231"/>
                  <a:gd name="connsiteX34" fmla="*/ 1035843 w 1081087"/>
                  <a:gd name="connsiteY34" fmla="*/ 421481 h 707231"/>
                  <a:gd name="connsiteX35" fmla="*/ 1023937 w 1081087"/>
                  <a:gd name="connsiteY35" fmla="*/ 457200 h 707231"/>
                  <a:gd name="connsiteX36" fmla="*/ 1000125 w 1081087"/>
                  <a:gd name="connsiteY36" fmla="*/ 457200 h 707231"/>
                  <a:gd name="connsiteX37" fmla="*/ 1002506 w 1081087"/>
                  <a:gd name="connsiteY37" fmla="*/ 431006 h 707231"/>
                  <a:gd name="connsiteX38" fmla="*/ 981075 w 1081087"/>
                  <a:gd name="connsiteY38" fmla="*/ 431006 h 707231"/>
                  <a:gd name="connsiteX39" fmla="*/ 966787 w 1081087"/>
                  <a:gd name="connsiteY39" fmla="*/ 457200 h 707231"/>
                  <a:gd name="connsiteX40" fmla="*/ 957262 w 1081087"/>
                  <a:gd name="connsiteY40" fmla="*/ 481013 h 707231"/>
                  <a:gd name="connsiteX41" fmla="*/ 938212 w 1081087"/>
                  <a:gd name="connsiteY41" fmla="*/ 483394 h 707231"/>
                  <a:gd name="connsiteX42" fmla="*/ 895350 w 1081087"/>
                  <a:gd name="connsiteY42" fmla="*/ 488156 h 707231"/>
                  <a:gd name="connsiteX43" fmla="*/ 885825 w 1081087"/>
                  <a:gd name="connsiteY43" fmla="*/ 490538 h 707231"/>
                  <a:gd name="connsiteX44" fmla="*/ 857250 w 1081087"/>
                  <a:gd name="connsiteY44" fmla="*/ 504825 h 707231"/>
                  <a:gd name="connsiteX45" fmla="*/ 833437 w 1081087"/>
                  <a:gd name="connsiteY45" fmla="*/ 500063 h 707231"/>
                  <a:gd name="connsiteX46" fmla="*/ 797718 w 1081087"/>
                  <a:gd name="connsiteY46" fmla="*/ 519113 h 707231"/>
                  <a:gd name="connsiteX47" fmla="*/ 759618 w 1081087"/>
                  <a:gd name="connsiteY47" fmla="*/ 528638 h 707231"/>
                  <a:gd name="connsiteX48" fmla="*/ 721518 w 1081087"/>
                  <a:gd name="connsiteY48" fmla="*/ 528638 h 707231"/>
                  <a:gd name="connsiteX49" fmla="*/ 731043 w 1081087"/>
                  <a:gd name="connsiteY49" fmla="*/ 542925 h 707231"/>
                  <a:gd name="connsiteX50" fmla="*/ 766762 w 1081087"/>
                  <a:gd name="connsiteY50" fmla="*/ 552450 h 707231"/>
                  <a:gd name="connsiteX51" fmla="*/ 762000 w 1081087"/>
                  <a:gd name="connsiteY51" fmla="*/ 573881 h 707231"/>
                  <a:gd name="connsiteX52" fmla="*/ 754856 w 1081087"/>
                  <a:gd name="connsiteY52" fmla="*/ 607219 h 707231"/>
                  <a:gd name="connsiteX53" fmla="*/ 792956 w 1081087"/>
                  <a:gd name="connsiteY53" fmla="*/ 566738 h 707231"/>
                  <a:gd name="connsiteX54" fmla="*/ 802481 w 1081087"/>
                  <a:gd name="connsiteY54" fmla="*/ 569119 h 707231"/>
                  <a:gd name="connsiteX55" fmla="*/ 776287 w 1081087"/>
                  <a:gd name="connsiteY55" fmla="*/ 611981 h 707231"/>
                  <a:gd name="connsiteX56" fmla="*/ 757237 w 1081087"/>
                  <a:gd name="connsiteY56" fmla="*/ 640556 h 707231"/>
                  <a:gd name="connsiteX57" fmla="*/ 733425 w 1081087"/>
                  <a:gd name="connsiteY57" fmla="*/ 659606 h 707231"/>
                  <a:gd name="connsiteX58" fmla="*/ 704850 w 1081087"/>
                  <a:gd name="connsiteY58" fmla="*/ 647700 h 707231"/>
                  <a:gd name="connsiteX59" fmla="*/ 657225 w 1081087"/>
                  <a:gd name="connsiteY59" fmla="*/ 685800 h 707231"/>
                  <a:gd name="connsiteX60" fmla="*/ 640556 w 1081087"/>
                  <a:gd name="connsiteY60" fmla="*/ 707231 h 707231"/>
                  <a:gd name="connsiteX61" fmla="*/ 611981 w 1081087"/>
                  <a:gd name="connsiteY61" fmla="*/ 685800 h 707231"/>
                  <a:gd name="connsiteX62" fmla="*/ 588168 w 1081087"/>
                  <a:gd name="connsiteY62" fmla="*/ 657225 h 707231"/>
                  <a:gd name="connsiteX63" fmla="*/ 564356 w 1081087"/>
                  <a:gd name="connsiteY63" fmla="*/ 616744 h 707231"/>
                  <a:gd name="connsiteX64" fmla="*/ 600075 w 1081087"/>
                  <a:gd name="connsiteY64" fmla="*/ 578644 h 707231"/>
                  <a:gd name="connsiteX65" fmla="*/ 578643 w 1081087"/>
                  <a:gd name="connsiteY65" fmla="*/ 564356 h 707231"/>
                  <a:gd name="connsiteX66" fmla="*/ 547687 w 1081087"/>
                  <a:gd name="connsiteY66" fmla="*/ 547688 h 707231"/>
                  <a:gd name="connsiteX67" fmla="*/ 554831 w 1081087"/>
                  <a:gd name="connsiteY67" fmla="*/ 488156 h 707231"/>
                  <a:gd name="connsiteX68" fmla="*/ 595312 w 1081087"/>
                  <a:gd name="connsiteY68" fmla="*/ 481013 h 707231"/>
                  <a:gd name="connsiteX69" fmla="*/ 569118 w 1081087"/>
                  <a:gd name="connsiteY69" fmla="*/ 435769 h 707231"/>
                  <a:gd name="connsiteX70" fmla="*/ 473868 w 1081087"/>
                  <a:gd name="connsiteY70" fmla="*/ 440531 h 707231"/>
                  <a:gd name="connsiteX71" fmla="*/ 447675 w 1081087"/>
                  <a:gd name="connsiteY71" fmla="*/ 421481 h 707231"/>
                  <a:gd name="connsiteX72" fmla="*/ 419100 w 1081087"/>
                  <a:gd name="connsiteY72" fmla="*/ 497681 h 707231"/>
                  <a:gd name="connsiteX73" fmla="*/ 302418 w 1081087"/>
                  <a:gd name="connsiteY73" fmla="*/ 428625 h 707231"/>
                  <a:gd name="connsiteX74" fmla="*/ 254793 w 1081087"/>
                  <a:gd name="connsiteY74" fmla="*/ 500063 h 707231"/>
                  <a:gd name="connsiteX75" fmla="*/ 230981 w 1081087"/>
                  <a:gd name="connsiteY75" fmla="*/ 500063 h 707231"/>
                  <a:gd name="connsiteX76" fmla="*/ 183356 w 1081087"/>
                  <a:gd name="connsiteY76" fmla="*/ 516731 h 707231"/>
                  <a:gd name="connsiteX77" fmla="*/ 188118 w 1081087"/>
                  <a:gd name="connsiteY77" fmla="*/ 540544 h 707231"/>
                  <a:gd name="connsiteX78" fmla="*/ 138112 w 1081087"/>
                  <a:gd name="connsiteY78" fmla="*/ 559594 h 707231"/>
                  <a:gd name="connsiteX79" fmla="*/ 66675 w 1081087"/>
                  <a:gd name="connsiteY79" fmla="*/ 478631 h 707231"/>
                  <a:gd name="connsiteX80" fmla="*/ 66675 w 1081087"/>
                  <a:gd name="connsiteY80" fmla="*/ 442913 h 707231"/>
                  <a:gd name="connsiteX81" fmla="*/ 78581 w 1081087"/>
                  <a:gd name="connsiteY81" fmla="*/ 402431 h 707231"/>
                  <a:gd name="connsiteX82" fmla="*/ 78581 w 1081087"/>
                  <a:gd name="connsiteY82" fmla="*/ 364331 h 707231"/>
                  <a:gd name="connsiteX83" fmla="*/ 30956 w 1081087"/>
                  <a:gd name="connsiteY83" fmla="*/ 371475 h 707231"/>
                  <a:gd name="connsiteX84" fmla="*/ 23812 w 1081087"/>
                  <a:gd name="connsiteY84" fmla="*/ 350044 h 707231"/>
                  <a:gd name="connsiteX85" fmla="*/ 0 w 1081087"/>
                  <a:gd name="connsiteY85" fmla="*/ 314325 h 707231"/>
                  <a:gd name="connsiteX86" fmla="*/ 19050 w 1081087"/>
                  <a:gd name="connsiteY86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35551 w 1081087"/>
                  <a:gd name="connsiteY19" fmla="*/ 114384 h 707231"/>
                  <a:gd name="connsiteX20" fmla="*/ 878681 w 1081087"/>
                  <a:gd name="connsiteY20" fmla="*/ 292894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933450 w 1081087"/>
                  <a:gd name="connsiteY25" fmla="*/ 340519 h 707231"/>
                  <a:gd name="connsiteX26" fmla="*/ 981075 w 1081087"/>
                  <a:gd name="connsiteY26" fmla="*/ 361950 h 707231"/>
                  <a:gd name="connsiteX27" fmla="*/ 995362 w 1081087"/>
                  <a:gd name="connsiteY27" fmla="*/ 335756 h 707231"/>
                  <a:gd name="connsiteX28" fmla="*/ 1045368 w 1081087"/>
                  <a:gd name="connsiteY28" fmla="*/ 304800 h 707231"/>
                  <a:gd name="connsiteX29" fmla="*/ 1047750 w 1081087"/>
                  <a:gd name="connsiteY29" fmla="*/ 345281 h 707231"/>
                  <a:gd name="connsiteX30" fmla="*/ 1073943 w 1081087"/>
                  <a:gd name="connsiteY30" fmla="*/ 345281 h 707231"/>
                  <a:gd name="connsiteX31" fmla="*/ 1081087 w 1081087"/>
                  <a:gd name="connsiteY31" fmla="*/ 366713 h 707231"/>
                  <a:gd name="connsiteX32" fmla="*/ 1081087 w 1081087"/>
                  <a:gd name="connsiteY32" fmla="*/ 366713 h 707231"/>
                  <a:gd name="connsiteX33" fmla="*/ 1050131 w 1081087"/>
                  <a:gd name="connsiteY33" fmla="*/ 400050 h 707231"/>
                  <a:gd name="connsiteX34" fmla="*/ 1035843 w 1081087"/>
                  <a:gd name="connsiteY34" fmla="*/ 421481 h 707231"/>
                  <a:gd name="connsiteX35" fmla="*/ 1023937 w 1081087"/>
                  <a:gd name="connsiteY35" fmla="*/ 457200 h 707231"/>
                  <a:gd name="connsiteX36" fmla="*/ 1000125 w 1081087"/>
                  <a:gd name="connsiteY36" fmla="*/ 457200 h 707231"/>
                  <a:gd name="connsiteX37" fmla="*/ 1002506 w 1081087"/>
                  <a:gd name="connsiteY37" fmla="*/ 431006 h 707231"/>
                  <a:gd name="connsiteX38" fmla="*/ 981075 w 1081087"/>
                  <a:gd name="connsiteY38" fmla="*/ 431006 h 707231"/>
                  <a:gd name="connsiteX39" fmla="*/ 966787 w 1081087"/>
                  <a:gd name="connsiteY39" fmla="*/ 457200 h 707231"/>
                  <a:gd name="connsiteX40" fmla="*/ 957262 w 1081087"/>
                  <a:gd name="connsiteY40" fmla="*/ 481013 h 707231"/>
                  <a:gd name="connsiteX41" fmla="*/ 938212 w 1081087"/>
                  <a:gd name="connsiteY41" fmla="*/ 483394 h 707231"/>
                  <a:gd name="connsiteX42" fmla="*/ 895350 w 1081087"/>
                  <a:gd name="connsiteY42" fmla="*/ 488156 h 707231"/>
                  <a:gd name="connsiteX43" fmla="*/ 885825 w 1081087"/>
                  <a:gd name="connsiteY43" fmla="*/ 490538 h 707231"/>
                  <a:gd name="connsiteX44" fmla="*/ 857250 w 1081087"/>
                  <a:gd name="connsiteY44" fmla="*/ 504825 h 707231"/>
                  <a:gd name="connsiteX45" fmla="*/ 833437 w 1081087"/>
                  <a:gd name="connsiteY45" fmla="*/ 500063 h 707231"/>
                  <a:gd name="connsiteX46" fmla="*/ 797718 w 1081087"/>
                  <a:gd name="connsiteY46" fmla="*/ 519113 h 707231"/>
                  <a:gd name="connsiteX47" fmla="*/ 759618 w 1081087"/>
                  <a:gd name="connsiteY47" fmla="*/ 528638 h 707231"/>
                  <a:gd name="connsiteX48" fmla="*/ 721518 w 1081087"/>
                  <a:gd name="connsiteY48" fmla="*/ 528638 h 707231"/>
                  <a:gd name="connsiteX49" fmla="*/ 731043 w 1081087"/>
                  <a:gd name="connsiteY49" fmla="*/ 542925 h 707231"/>
                  <a:gd name="connsiteX50" fmla="*/ 766762 w 1081087"/>
                  <a:gd name="connsiteY50" fmla="*/ 552450 h 707231"/>
                  <a:gd name="connsiteX51" fmla="*/ 762000 w 1081087"/>
                  <a:gd name="connsiteY51" fmla="*/ 573881 h 707231"/>
                  <a:gd name="connsiteX52" fmla="*/ 754856 w 1081087"/>
                  <a:gd name="connsiteY52" fmla="*/ 607219 h 707231"/>
                  <a:gd name="connsiteX53" fmla="*/ 792956 w 1081087"/>
                  <a:gd name="connsiteY53" fmla="*/ 566738 h 707231"/>
                  <a:gd name="connsiteX54" fmla="*/ 802481 w 1081087"/>
                  <a:gd name="connsiteY54" fmla="*/ 569119 h 707231"/>
                  <a:gd name="connsiteX55" fmla="*/ 776287 w 1081087"/>
                  <a:gd name="connsiteY55" fmla="*/ 611981 h 707231"/>
                  <a:gd name="connsiteX56" fmla="*/ 757237 w 1081087"/>
                  <a:gd name="connsiteY56" fmla="*/ 640556 h 707231"/>
                  <a:gd name="connsiteX57" fmla="*/ 733425 w 1081087"/>
                  <a:gd name="connsiteY57" fmla="*/ 659606 h 707231"/>
                  <a:gd name="connsiteX58" fmla="*/ 704850 w 1081087"/>
                  <a:gd name="connsiteY58" fmla="*/ 647700 h 707231"/>
                  <a:gd name="connsiteX59" fmla="*/ 657225 w 1081087"/>
                  <a:gd name="connsiteY59" fmla="*/ 685800 h 707231"/>
                  <a:gd name="connsiteX60" fmla="*/ 640556 w 1081087"/>
                  <a:gd name="connsiteY60" fmla="*/ 707231 h 707231"/>
                  <a:gd name="connsiteX61" fmla="*/ 611981 w 1081087"/>
                  <a:gd name="connsiteY61" fmla="*/ 685800 h 707231"/>
                  <a:gd name="connsiteX62" fmla="*/ 588168 w 1081087"/>
                  <a:gd name="connsiteY62" fmla="*/ 657225 h 707231"/>
                  <a:gd name="connsiteX63" fmla="*/ 564356 w 1081087"/>
                  <a:gd name="connsiteY63" fmla="*/ 616744 h 707231"/>
                  <a:gd name="connsiteX64" fmla="*/ 600075 w 1081087"/>
                  <a:gd name="connsiteY64" fmla="*/ 578644 h 707231"/>
                  <a:gd name="connsiteX65" fmla="*/ 578643 w 1081087"/>
                  <a:gd name="connsiteY65" fmla="*/ 564356 h 707231"/>
                  <a:gd name="connsiteX66" fmla="*/ 547687 w 1081087"/>
                  <a:gd name="connsiteY66" fmla="*/ 547688 h 707231"/>
                  <a:gd name="connsiteX67" fmla="*/ 554831 w 1081087"/>
                  <a:gd name="connsiteY67" fmla="*/ 488156 h 707231"/>
                  <a:gd name="connsiteX68" fmla="*/ 595312 w 1081087"/>
                  <a:gd name="connsiteY68" fmla="*/ 481013 h 707231"/>
                  <a:gd name="connsiteX69" fmla="*/ 569118 w 1081087"/>
                  <a:gd name="connsiteY69" fmla="*/ 435769 h 707231"/>
                  <a:gd name="connsiteX70" fmla="*/ 473868 w 1081087"/>
                  <a:gd name="connsiteY70" fmla="*/ 440531 h 707231"/>
                  <a:gd name="connsiteX71" fmla="*/ 447675 w 1081087"/>
                  <a:gd name="connsiteY71" fmla="*/ 421481 h 707231"/>
                  <a:gd name="connsiteX72" fmla="*/ 419100 w 1081087"/>
                  <a:gd name="connsiteY72" fmla="*/ 497681 h 707231"/>
                  <a:gd name="connsiteX73" fmla="*/ 302418 w 1081087"/>
                  <a:gd name="connsiteY73" fmla="*/ 428625 h 707231"/>
                  <a:gd name="connsiteX74" fmla="*/ 254793 w 1081087"/>
                  <a:gd name="connsiteY74" fmla="*/ 500063 h 707231"/>
                  <a:gd name="connsiteX75" fmla="*/ 230981 w 1081087"/>
                  <a:gd name="connsiteY75" fmla="*/ 500063 h 707231"/>
                  <a:gd name="connsiteX76" fmla="*/ 183356 w 1081087"/>
                  <a:gd name="connsiteY76" fmla="*/ 516731 h 707231"/>
                  <a:gd name="connsiteX77" fmla="*/ 188118 w 1081087"/>
                  <a:gd name="connsiteY77" fmla="*/ 540544 h 707231"/>
                  <a:gd name="connsiteX78" fmla="*/ 138112 w 1081087"/>
                  <a:gd name="connsiteY78" fmla="*/ 559594 h 707231"/>
                  <a:gd name="connsiteX79" fmla="*/ 66675 w 1081087"/>
                  <a:gd name="connsiteY79" fmla="*/ 478631 h 707231"/>
                  <a:gd name="connsiteX80" fmla="*/ 66675 w 1081087"/>
                  <a:gd name="connsiteY80" fmla="*/ 442913 h 707231"/>
                  <a:gd name="connsiteX81" fmla="*/ 78581 w 1081087"/>
                  <a:gd name="connsiteY81" fmla="*/ 402431 h 707231"/>
                  <a:gd name="connsiteX82" fmla="*/ 78581 w 1081087"/>
                  <a:gd name="connsiteY82" fmla="*/ 364331 h 707231"/>
                  <a:gd name="connsiteX83" fmla="*/ 30956 w 1081087"/>
                  <a:gd name="connsiteY83" fmla="*/ 371475 h 707231"/>
                  <a:gd name="connsiteX84" fmla="*/ 23812 w 1081087"/>
                  <a:gd name="connsiteY84" fmla="*/ 350044 h 707231"/>
                  <a:gd name="connsiteX85" fmla="*/ 0 w 1081087"/>
                  <a:gd name="connsiteY85" fmla="*/ 314325 h 707231"/>
                  <a:gd name="connsiteX86" fmla="*/ 19050 w 1081087"/>
                  <a:gd name="connsiteY86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35551 w 1081087"/>
                  <a:gd name="connsiteY19" fmla="*/ 114384 h 707231"/>
                  <a:gd name="connsiteX20" fmla="*/ 864661 w 1081087"/>
                  <a:gd name="connsiteY20" fmla="*/ 264657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933450 w 1081087"/>
                  <a:gd name="connsiteY25" fmla="*/ 340519 h 707231"/>
                  <a:gd name="connsiteX26" fmla="*/ 981075 w 1081087"/>
                  <a:gd name="connsiteY26" fmla="*/ 361950 h 707231"/>
                  <a:gd name="connsiteX27" fmla="*/ 995362 w 1081087"/>
                  <a:gd name="connsiteY27" fmla="*/ 335756 h 707231"/>
                  <a:gd name="connsiteX28" fmla="*/ 1045368 w 1081087"/>
                  <a:gd name="connsiteY28" fmla="*/ 304800 h 707231"/>
                  <a:gd name="connsiteX29" fmla="*/ 1047750 w 1081087"/>
                  <a:gd name="connsiteY29" fmla="*/ 345281 h 707231"/>
                  <a:gd name="connsiteX30" fmla="*/ 1073943 w 1081087"/>
                  <a:gd name="connsiteY30" fmla="*/ 345281 h 707231"/>
                  <a:gd name="connsiteX31" fmla="*/ 1081087 w 1081087"/>
                  <a:gd name="connsiteY31" fmla="*/ 366713 h 707231"/>
                  <a:gd name="connsiteX32" fmla="*/ 1081087 w 1081087"/>
                  <a:gd name="connsiteY32" fmla="*/ 366713 h 707231"/>
                  <a:gd name="connsiteX33" fmla="*/ 1050131 w 1081087"/>
                  <a:gd name="connsiteY33" fmla="*/ 400050 h 707231"/>
                  <a:gd name="connsiteX34" fmla="*/ 1035843 w 1081087"/>
                  <a:gd name="connsiteY34" fmla="*/ 421481 h 707231"/>
                  <a:gd name="connsiteX35" fmla="*/ 1023937 w 1081087"/>
                  <a:gd name="connsiteY35" fmla="*/ 457200 h 707231"/>
                  <a:gd name="connsiteX36" fmla="*/ 1000125 w 1081087"/>
                  <a:gd name="connsiteY36" fmla="*/ 457200 h 707231"/>
                  <a:gd name="connsiteX37" fmla="*/ 1002506 w 1081087"/>
                  <a:gd name="connsiteY37" fmla="*/ 431006 h 707231"/>
                  <a:gd name="connsiteX38" fmla="*/ 981075 w 1081087"/>
                  <a:gd name="connsiteY38" fmla="*/ 431006 h 707231"/>
                  <a:gd name="connsiteX39" fmla="*/ 966787 w 1081087"/>
                  <a:gd name="connsiteY39" fmla="*/ 457200 h 707231"/>
                  <a:gd name="connsiteX40" fmla="*/ 957262 w 1081087"/>
                  <a:gd name="connsiteY40" fmla="*/ 481013 h 707231"/>
                  <a:gd name="connsiteX41" fmla="*/ 938212 w 1081087"/>
                  <a:gd name="connsiteY41" fmla="*/ 483394 h 707231"/>
                  <a:gd name="connsiteX42" fmla="*/ 895350 w 1081087"/>
                  <a:gd name="connsiteY42" fmla="*/ 488156 h 707231"/>
                  <a:gd name="connsiteX43" fmla="*/ 885825 w 1081087"/>
                  <a:gd name="connsiteY43" fmla="*/ 490538 h 707231"/>
                  <a:gd name="connsiteX44" fmla="*/ 857250 w 1081087"/>
                  <a:gd name="connsiteY44" fmla="*/ 504825 h 707231"/>
                  <a:gd name="connsiteX45" fmla="*/ 833437 w 1081087"/>
                  <a:gd name="connsiteY45" fmla="*/ 500063 h 707231"/>
                  <a:gd name="connsiteX46" fmla="*/ 797718 w 1081087"/>
                  <a:gd name="connsiteY46" fmla="*/ 519113 h 707231"/>
                  <a:gd name="connsiteX47" fmla="*/ 759618 w 1081087"/>
                  <a:gd name="connsiteY47" fmla="*/ 528638 h 707231"/>
                  <a:gd name="connsiteX48" fmla="*/ 721518 w 1081087"/>
                  <a:gd name="connsiteY48" fmla="*/ 528638 h 707231"/>
                  <a:gd name="connsiteX49" fmla="*/ 731043 w 1081087"/>
                  <a:gd name="connsiteY49" fmla="*/ 542925 h 707231"/>
                  <a:gd name="connsiteX50" fmla="*/ 766762 w 1081087"/>
                  <a:gd name="connsiteY50" fmla="*/ 552450 h 707231"/>
                  <a:gd name="connsiteX51" fmla="*/ 762000 w 1081087"/>
                  <a:gd name="connsiteY51" fmla="*/ 573881 h 707231"/>
                  <a:gd name="connsiteX52" fmla="*/ 754856 w 1081087"/>
                  <a:gd name="connsiteY52" fmla="*/ 607219 h 707231"/>
                  <a:gd name="connsiteX53" fmla="*/ 792956 w 1081087"/>
                  <a:gd name="connsiteY53" fmla="*/ 566738 h 707231"/>
                  <a:gd name="connsiteX54" fmla="*/ 802481 w 1081087"/>
                  <a:gd name="connsiteY54" fmla="*/ 569119 h 707231"/>
                  <a:gd name="connsiteX55" fmla="*/ 776287 w 1081087"/>
                  <a:gd name="connsiteY55" fmla="*/ 611981 h 707231"/>
                  <a:gd name="connsiteX56" fmla="*/ 757237 w 1081087"/>
                  <a:gd name="connsiteY56" fmla="*/ 640556 h 707231"/>
                  <a:gd name="connsiteX57" fmla="*/ 733425 w 1081087"/>
                  <a:gd name="connsiteY57" fmla="*/ 659606 h 707231"/>
                  <a:gd name="connsiteX58" fmla="*/ 704850 w 1081087"/>
                  <a:gd name="connsiteY58" fmla="*/ 647700 h 707231"/>
                  <a:gd name="connsiteX59" fmla="*/ 657225 w 1081087"/>
                  <a:gd name="connsiteY59" fmla="*/ 685800 h 707231"/>
                  <a:gd name="connsiteX60" fmla="*/ 640556 w 1081087"/>
                  <a:gd name="connsiteY60" fmla="*/ 707231 h 707231"/>
                  <a:gd name="connsiteX61" fmla="*/ 611981 w 1081087"/>
                  <a:gd name="connsiteY61" fmla="*/ 685800 h 707231"/>
                  <a:gd name="connsiteX62" fmla="*/ 588168 w 1081087"/>
                  <a:gd name="connsiteY62" fmla="*/ 657225 h 707231"/>
                  <a:gd name="connsiteX63" fmla="*/ 564356 w 1081087"/>
                  <a:gd name="connsiteY63" fmla="*/ 616744 h 707231"/>
                  <a:gd name="connsiteX64" fmla="*/ 600075 w 1081087"/>
                  <a:gd name="connsiteY64" fmla="*/ 578644 h 707231"/>
                  <a:gd name="connsiteX65" fmla="*/ 578643 w 1081087"/>
                  <a:gd name="connsiteY65" fmla="*/ 564356 h 707231"/>
                  <a:gd name="connsiteX66" fmla="*/ 547687 w 1081087"/>
                  <a:gd name="connsiteY66" fmla="*/ 547688 h 707231"/>
                  <a:gd name="connsiteX67" fmla="*/ 554831 w 1081087"/>
                  <a:gd name="connsiteY67" fmla="*/ 488156 h 707231"/>
                  <a:gd name="connsiteX68" fmla="*/ 595312 w 1081087"/>
                  <a:gd name="connsiteY68" fmla="*/ 481013 h 707231"/>
                  <a:gd name="connsiteX69" fmla="*/ 569118 w 1081087"/>
                  <a:gd name="connsiteY69" fmla="*/ 435769 h 707231"/>
                  <a:gd name="connsiteX70" fmla="*/ 473868 w 1081087"/>
                  <a:gd name="connsiteY70" fmla="*/ 440531 h 707231"/>
                  <a:gd name="connsiteX71" fmla="*/ 447675 w 1081087"/>
                  <a:gd name="connsiteY71" fmla="*/ 421481 h 707231"/>
                  <a:gd name="connsiteX72" fmla="*/ 419100 w 1081087"/>
                  <a:gd name="connsiteY72" fmla="*/ 497681 h 707231"/>
                  <a:gd name="connsiteX73" fmla="*/ 302418 w 1081087"/>
                  <a:gd name="connsiteY73" fmla="*/ 428625 h 707231"/>
                  <a:gd name="connsiteX74" fmla="*/ 254793 w 1081087"/>
                  <a:gd name="connsiteY74" fmla="*/ 500063 h 707231"/>
                  <a:gd name="connsiteX75" fmla="*/ 230981 w 1081087"/>
                  <a:gd name="connsiteY75" fmla="*/ 500063 h 707231"/>
                  <a:gd name="connsiteX76" fmla="*/ 183356 w 1081087"/>
                  <a:gd name="connsiteY76" fmla="*/ 516731 h 707231"/>
                  <a:gd name="connsiteX77" fmla="*/ 188118 w 1081087"/>
                  <a:gd name="connsiteY77" fmla="*/ 540544 h 707231"/>
                  <a:gd name="connsiteX78" fmla="*/ 138112 w 1081087"/>
                  <a:gd name="connsiteY78" fmla="*/ 559594 h 707231"/>
                  <a:gd name="connsiteX79" fmla="*/ 66675 w 1081087"/>
                  <a:gd name="connsiteY79" fmla="*/ 478631 h 707231"/>
                  <a:gd name="connsiteX80" fmla="*/ 66675 w 1081087"/>
                  <a:gd name="connsiteY80" fmla="*/ 442913 h 707231"/>
                  <a:gd name="connsiteX81" fmla="*/ 78581 w 1081087"/>
                  <a:gd name="connsiteY81" fmla="*/ 402431 h 707231"/>
                  <a:gd name="connsiteX82" fmla="*/ 78581 w 1081087"/>
                  <a:gd name="connsiteY82" fmla="*/ 364331 h 707231"/>
                  <a:gd name="connsiteX83" fmla="*/ 30956 w 1081087"/>
                  <a:gd name="connsiteY83" fmla="*/ 371475 h 707231"/>
                  <a:gd name="connsiteX84" fmla="*/ 23812 w 1081087"/>
                  <a:gd name="connsiteY84" fmla="*/ 350044 h 707231"/>
                  <a:gd name="connsiteX85" fmla="*/ 0 w 1081087"/>
                  <a:gd name="connsiteY85" fmla="*/ 314325 h 707231"/>
                  <a:gd name="connsiteX86" fmla="*/ 19050 w 1081087"/>
                  <a:gd name="connsiteY86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35551 w 1081087"/>
                  <a:gd name="connsiteY19" fmla="*/ 114384 h 707231"/>
                  <a:gd name="connsiteX20" fmla="*/ 864661 w 1081087"/>
                  <a:gd name="connsiteY20" fmla="*/ 264657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933450 w 1081087"/>
                  <a:gd name="connsiteY25" fmla="*/ 340519 h 707231"/>
                  <a:gd name="connsiteX26" fmla="*/ 981075 w 1081087"/>
                  <a:gd name="connsiteY26" fmla="*/ 361950 h 707231"/>
                  <a:gd name="connsiteX27" fmla="*/ 993025 w 1081087"/>
                  <a:gd name="connsiteY27" fmla="*/ 326344 h 707231"/>
                  <a:gd name="connsiteX28" fmla="*/ 1045368 w 1081087"/>
                  <a:gd name="connsiteY28" fmla="*/ 304800 h 707231"/>
                  <a:gd name="connsiteX29" fmla="*/ 1047750 w 1081087"/>
                  <a:gd name="connsiteY29" fmla="*/ 345281 h 707231"/>
                  <a:gd name="connsiteX30" fmla="*/ 1073943 w 1081087"/>
                  <a:gd name="connsiteY30" fmla="*/ 345281 h 707231"/>
                  <a:gd name="connsiteX31" fmla="*/ 1081087 w 1081087"/>
                  <a:gd name="connsiteY31" fmla="*/ 366713 h 707231"/>
                  <a:gd name="connsiteX32" fmla="*/ 1081087 w 1081087"/>
                  <a:gd name="connsiteY32" fmla="*/ 366713 h 707231"/>
                  <a:gd name="connsiteX33" fmla="*/ 1050131 w 1081087"/>
                  <a:gd name="connsiteY33" fmla="*/ 400050 h 707231"/>
                  <a:gd name="connsiteX34" fmla="*/ 1035843 w 1081087"/>
                  <a:gd name="connsiteY34" fmla="*/ 421481 h 707231"/>
                  <a:gd name="connsiteX35" fmla="*/ 1023937 w 1081087"/>
                  <a:gd name="connsiteY35" fmla="*/ 457200 h 707231"/>
                  <a:gd name="connsiteX36" fmla="*/ 1000125 w 1081087"/>
                  <a:gd name="connsiteY36" fmla="*/ 457200 h 707231"/>
                  <a:gd name="connsiteX37" fmla="*/ 1002506 w 1081087"/>
                  <a:gd name="connsiteY37" fmla="*/ 431006 h 707231"/>
                  <a:gd name="connsiteX38" fmla="*/ 981075 w 1081087"/>
                  <a:gd name="connsiteY38" fmla="*/ 431006 h 707231"/>
                  <a:gd name="connsiteX39" fmla="*/ 966787 w 1081087"/>
                  <a:gd name="connsiteY39" fmla="*/ 457200 h 707231"/>
                  <a:gd name="connsiteX40" fmla="*/ 957262 w 1081087"/>
                  <a:gd name="connsiteY40" fmla="*/ 481013 h 707231"/>
                  <a:gd name="connsiteX41" fmla="*/ 938212 w 1081087"/>
                  <a:gd name="connsiteY41" fmla="*/ 483394 h 707231"/>
                  <a:gd name="connsiteX42" fmla="*/ 895350 w 1081087"/>
                  <a:gd name="connsiteY42" fmla="*/ 488156 h 707231"/>
                  <a:gd name="connsiteX43" fmla="*/ 885825 w 1081087"/>
                  <a:gd name="connsiteY43" fmla="*/ 490538 h 707231"/>
                  <a:gd name="connsiteX44" fmla="*/ 857250 w 1081087"/>
                  <a:gd name="connsiteY44" fmla="*/ 504825 h 707231"/>
                  <a:gd name="connsiteX45" fmla="*/ 833437 w 1081087"/>
                  <a:gd name="connsiteY45" fmla="*/ 500063 h 707231"/>
                  <a:gd name="connsiteX46" fmla="*/ 797718 w 1081087"/>
                  <a:gd name="connsiteY46" fmla="*/ 519113 h 707231"/>
                  <a:gd name="connsiteX47" fmla="*/ 759618 w 1081087"/>
                  <a:gd name="connsiteY47" fmla="*/ 528638 h 707231"/>
                  <a:gd name="connsiteX48" fmla="*/ 721518 w 1081087"/>
                  <a:gd name="connsiteY48" fmla="*/ 528638 h 707231"/>
                  <a:gd name="connsiteX49" fmla="*/ 731043 w 1081087"/>
                  <a:gd name="connsiteY49" fmla="*/ 542925 h 707231"/>
                  <a:gd name="connsiteX50" fmla="*/ 766762 w 1081087"/>
                  <a:gd name="connsiteY50" fmla="*/ 552450 h 707231"/>
                  <a:gd name="connsiteX51" fmla="*/ 762000 w 1081087"/>
                  <a:gd name="connsiteY51" fmla="*/ 573881 h 707231"/>
                  <a:gd name="connsiteX52" fmla="*/ 754856 w 1081087"/>
                  <a:gd name="connsiteY52" fmla="*/ 607219 h 707231"/>
                  <a:gd name="connsiteX53" fmla="*/ 792956 w 1081087"/>
                  <a:gd name="connsiteY53" fmla="*/ 566738 h 707231"/>
                  <a:gd name="connsiteX54" fmla="*/ 802481 w 1081087"/>
                  <a:gd name="connsiteY54" fmla="*/ 569119 h 707231"/>
                  <a:gd name="connsiteX55" fmla="*/ 776287 w 1081087"/>
                  <a:gd name="connsiteY55" fmla="*/ 611981 h 707231"/>
                  <a:gd name="connsiteX56" fmla="*/ 757237 w 1081087"/>
                  <a:gd name="connsiteY56" fmla="*/ 640556 h 707231"/>
                  <a:gd name="connsiteX57" fmla="*/ 733425 w 1081087"/>
                  <a:gd name="connsiteY57" fmla="*/ 659606 h 707231"/>
                  <a:gd name="connsiteX58" fmla="*/ 704850 w 1081087"/>
                  <a:gd name="connsiteY58" fmla="*/ 647700 h 707231"/>
                  <a:gd name="connsiteX59" fmla="*/ 657225 w 1081087"/>
                  <a:gd name="connsiteY59" fmla="*/ 685800 h 707231"/>
                  <a:gd name="connsiteX60" fmla="*/ 640556 w 1081087"/>
                  <a:gd name="connsiteY60" fmla="*/ 707231 h 707231"/>
                  <a:gd name="connsiteX61" fmla="*/ 611981 w 1081087"/>
                  <a:gd name="connsiteY61" fmla="*/ 685800 h 707231"/>
                  <a:gd name="connsiteX62" fmla="*/ 588168 w 1081087"/>
                  <a:gd name="connsiteY62" fmla="*/ 657225 h 707231"/>
                  <a:gd name="connsiteX63" fmla="*/ 564356 w 1081087"/>
                  <a:gd name="connsiteY63" fmla="*/ 616744 h 707231"/>
                  <a:gd name="connsiteX64" fmla="*/ 600075 w 1081087"/>
                  <a:gd name="connsiteY64" fmla="*/ 578644 h 707231"/>
                  <a:gd name="connsiteX65" fmla="*/ 578643 w 1081087"/>
                  <a:gd name="connsiteY65" fmla="*/ 564356 h 707231"/>
                  <a:gd name="connsiteX66" fmla="*/ 547687 w 1081087"/>
                  <a:gd name="connsiteY66" fmla="*/ 547688 h 707231"/>
                  <a:gd name="connsiteX67" fmla="*/ 554831 w 1081087"/>
                  <a:gd name="connsiteY67" fmla="*/ 488156 h 707231"/>
                  <a:gd name="connsiteX68" fmla="*/ 595312 w 1081087"/>
                  <a:gd name="connsiteY68" fmla="*/ 481013 h 707231"/>
                  <a:gd name="connsiteX69" fmla="*/ 569118 w 1081087"/>
                  <a:gd name="connsiteY69" fmla="*/ 435769 h 707231"/>
                  <a:gd name="connsiteX70" fmla="*/ 473868 w 1081087"/>
                  <a:gd name="connsiteY70" fmla="*/ 440531 h 707231"/>
                  <a:gd name="connsiteX71" fmla="*/ 447675 w 1081087"/>
                  <a:gd name="connsiteY71" fmla="*/ 421481 h 707231"/>
                  <a:gd name="connsiteX72" fmla="*/ 419100 w 1081087"/>
                  <a:gd name="connsiteY72" fmla="*/ 497681 h 707231"/>
                  <a:gd name="connsiteX73" fmla="*/ 302418 w 1081087"/>
                  <a:gd name="connsiteY73" fmla="*/ 428625 h 707231"/>
                  <a:gd name="connsiteX74" fmla="*/ 254793 w 1081087"/>
                  <a:gd name="connsiteY74" fmla="*/ 500063 h 707231"/>
                  <a:gd name="connsiteX75" fmla="*/ 230981 w 1081087"/>
                  <a:gd name="connsiteY75" fmla="*/ 500063 h 707231"/>
                  <a:gd name="connsiteX76" fmla="*/ 183356 w 1081087"/>
                  <a:gd name="connsiteY76" fmla="*/ 516731 h 707231"/>
                  <a:gd name="connsiteX77" fmla="*/ 188118 w 1081087"/>
                  <a:gd name="connsiteY77" fmla="*/ 540544 h 707231"/>
                  <a:gd name="connsiteX78" fmla="*/ 138112 w 1081087"/>
                  <a:gd name="connsiteY78" fmla="*/ 559594 h 707231"/>
                  <a:gd name="connsiteX79" fmla="*/ 66675 w 1081087"/>
                  <a:gd name="connsiteY79" fmla="*/ 478631 h 707231"/>
                  <a:gd name="connsiteX80" fmla="*/ 66675 w 1081087"/>
                  <a:gd name="connsiteY80" fmla="*/ 442913 h 707231"/>
                  <a:gd name="connsiteX81" fmla="*/ 78581 w 1081087"/>
                  <a:gd name="connsiteY81" fmla="*/ 402431 h 707231"/>
                  <a:gd name="connsiteX82" fmla="*/ 78581 w 1081087"/>
                  <a:gd name="connsiteY82" fmla="*/ 364331 h 707231"/>
                  <a:gd name="connsiteX83" fmla="*/ 30956 w 1081087"/>
                  <a:gd name="connsiteY83" fmla="*/ 371475 h 707231"/>
                  <a:gd name="connsiteX84" fmla="*/ 23812 w 1081087"/>
                  <a:gd name="connsiteY84" fmla="*/ 350044 h 707231"/>
                  <a:gd name="connsiteX85" fmla="*/ 0 w 1081087"/>
                  <a:gd name="connsiteY85" fmla="*/ 314325 h 707231"/>
                  <a:gd name="connsiteX86" fmla="*/ 19050 w 1081087"/>
                  <a:gd name="connsiteY86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35551 w 1081087"/>
                  <a:gd name="connsiteY19" fmla="*/ 114384 h 707231"/>
                  <a:gd name="connsiteX20" fmla="*/ 864661 w 1081087"/>
                  <a:gd name="connsiteY20" fmla="*/ 264657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933450 w 1081087"/>
                  <a:gd name="connsiteY25" fmla="*/ 340519 h 707231"/>
                  <a:gd name="connsiteX26" fmla="*/ 981075 w 1081087"/>
                  <a:gd name="connsiteY26" fmla="*/ 361950 h 707231"/>
                  <a:gd name="connsiteX27" fmla="*/ 993025 w 1081087"/>
                  <a:gd name="connsiteY27" fmla="*/ 326344 h 707231"/>
                  <a:gd name="connsiteX28" fmla="*/ 1036020 w 1081087"/>
                  <a:gd name="connsiteY28" fmla="*/ 304800 h 707231"/>
                  <a:gd name="connsiteX29" fmla="*/ 1047750 w 1081087"/>
                  <a:gd name="connsiteY29" fmla="*/ 345281 h 707231"/>
                  <a:gd name="connsiteX30" fmla="*/ 1073943 w 1081087"/>
                  <a:gd name="connsiteY30" fmla="*/ 345281 h 707231"/>
                  <a:gd name="connsiteX31" fmla="*/ 1081087 w 1081087"/>
                  <a:gd name="connsiteY31" fmla="*/ 366713 h 707231"/>
                  <a:gd name="connsiteX32" fmla="*/ 1081087 w 1081087"/>
                  <a:gd name="connsiteY32" fmla="*/ 366713 h 707231"/>
                  <a:gd name="connsiteX33" fmla="*/ 1050131 w 1081087"/>
                  <a:gd name="connsiteY33" fmla="*/ 400050 h 707231"/>
                  <a:gd name="connsiteX34" fmla="*/ 1035843 w 1081087"/>
                  <a:gd name="connsiteY34" fmla="*/ 421481 h 707231"/>
                  <a:gd name="connsiteX35" fmla="*/ 1023937 w 1081087"/>
                  <a:gd name="connsiteY35" fmla="*/ 457200 h 707231"/>
                  <a:gd name="connsiteX36" fmla="*/ 1000125 w 1081087"/>
                  <a:gd name="connsiteY36" fmla="*/ 457200 h 707231"/>
                  <a:gd name="connsiteX37" fmla="*/ 1002506 w 1081087"/>
                  <a:gd name="connsiteY37" fmla="*/ 431006 h 707231"/>
                  <a:gd name="connsiteX38" fmla="*/ 981075 w 1081087"/>
                  <a:gd name="connsiteY38" fmla="*/ 431006 h 707231"/>
                  <a:gd name="connsiteX39" fmla="*/ 966787 w 1081087"/>
                  <a:gd name="connsiteY39" fmla="*/ 457200 h 707231"/>
                  <a:gd name="connsiteX40" fmla="*/ 957262 w 1081087"/>
                  <a:gd name="connsiteY40" fmla="*/ 481013 h 707231"/>
                  <a:gd name="connsiteX41" fmla="*/ 938212 w 1081087"/>
                  <a:gd name="connsiteY41" fmla="*/ 483394 h 707231"/>
                  <a:gd name="connsiteX42" fmla="*/ 895350 w 1081087"/>
                  <a:gd name="connsiteY42" fmla="*/ 488156 h 707231"/>
                  <a:gd name="connsiteX43" fmla="*/ 885825 w 1081087"/>
                  <a:gd name="connsiteY43" fmla="*/ 490538 h 707231"/>
                  <a:gd name="connsiteX44" fmla="*/ 857250 w 1081087"/>
                  <a:gd name="connsiteY44" fmla="*/ 504825 h 707231"/>
                  <a:gd name="connsiteX45" fmla="*/ 833437 w 1081087"/>
                  <a:gd name="connsiteY45" fmla="*/ 500063 h 707231"/>
                  <a:gd name="connsiteX46" fmla="*/ 797718 w 1081087"/>
                  <a:gd name="connsiteY46" fmla="*/ 519113 h 707231"/>
                  <a:gd name="connsiteX47" fmla="*/ 759618 w 1081087"/>
                  <a:gd name="connsiteY47" fmla="*/ 528638 h 707231"/>
                  <a:gd name="connsiteX48" fmla="*/ 721518 w 1081087"/>
                  <a:gd name="connsiteY48" fmla="*/ 528638 h 707231"/>
                  <a:gd name="connsiteX49" fmla="*/ 731043 w 1081087"/>
                  <a:gd name="connsiteY49" fmla="*/ 542925 h 707231"/>
                  <a:gd name="connsiteX50" fmla="*/ 766762 w 1081087"/>
                  <a:gd name="connsiteY50" fmla="*/ 552450 h 707231"/>
                  <a:gd name="connsiteX51" fmla="*/ 762000 w 1081087"/>
                  <a:gd name="connsiteY51" fmla="*/ 573881 h 707231"/>
                  <a:gd name="connsiteX52" fmla="*/ 754856 w 1081087"/>
                  <a:gd name="connsiteY52" fmla="*/ 607219 h 707231"/>
                  <a:gd name="connsiteX53" fmla="*/ 792956 w 1081087"/>
                  <a:gd name="connsiteY53" fmla="*/ 566738 h 707231"/>
                  <a:gd name="connsiteX54" fmla="*/ 802481 w 1081087"/>
                  <a:gd name="connsiteY54" fmla="*/ 569119 h 707231"/>
                  <a:gd name="connsiteX55" fmla="*/ 776287 w 1081087"/>
                  <a:gd name="connsiteY55" fmla="*/ 611981 h 707231"/>
                  <a:gd name="connsiteX56" fmla="*/ 757237 w 1081087"/>
                  <a:gd name="connsiteY56" fmla="*/ 640556 h 707231"/>
                  <a:gd name="connsiteX57" fmla="*/ 733425 w 1081087"/>
                  <a:gd name="connsiteY57" fmla="*/ 659606 h 707231"/>
                  <a:gd name="connsiteX58" fmla="*/ 704850 w 1081087"/>
                  <a:gd name="connsiteY58" fmla="*/ 647700 h 707231"/>
                  <a:gd name="connsiteX59" fmla="*/ 657225 w 1081087"/>
                  <a:gd name="connsiteY59" fmla="*/ 685800 h 707231"/>
                  <a:gd name="connsiteX60" fmla="*/ 640556 w 1081087"/>
                  <a:gd name="connsiteY60" fmla="*/ 707231 h 707231"/>
                  <a:gd name="connsiteX61" fmla="*/ 611981 w 1081087"/>
                  <a:gd name="connsiteY61" fmla="*/ 685800 h 707231"/>
                  <a:gd name="connsiteX62" fmla="*/ 588168 w 1081087"/>
                  <a:gd name="connsiteY62" fmla="*/ 657225 h 707231"/>
                  <a:gd name="connsiteX63" fmla="*/ 564356 w 1081087"/>
                  <a:gd name="connsiteY63" fmla="*/ 616744 h 707231"/>
                  <a:gd name="connsiteX64" fmla="*/ 600075 w 1081087"/>
                  <a:gd name="connsiteY64" fmla="*/ 578644 h 707231"/>
                  <a:gd name="connsiteX65" fmla="*/ 578643 w 1081087"/>
                  <a:gd name="connsiteY65" fmla="*/ 564356 h 707231"/>
                  <a:gd name="connsiteX66" fmla="*/ 547687 w 1081087"/>
                  <a:gd name="connsiteY66" fmla="*/ 547688 h 707231"/>
                  <a:gd name="connsiteX67" fmla="*/ 554831 w 1081087"/>
                  <a:gd name="connsiteY67" fmla="*/ 488156 h 707231"/>
                  <a:gd name="connsiteX68" fmla="*/ 595312 w 1081087"/>
                  <a:gd name="connsiteY68" fmla="*/ 481013 h 707231"/>
                  <a:gd name="connsiteX69" fmla="*/ 569118 w 1081087"/>
                  <a:gd name="connsiteY69" fmla="*/ 435769 h 707231"/>
                  <a:gd name="connsiteX70" fmla="*/ 473868 w 1081087"/>
                  <a:gd name="connsiteY70" fmla="*/ 440531 h 707231"/>
                  <a:gd name="connsiteX71" fmla="*/ 447675 w 1081087"/>
                  <a:gd name="connsiteY71" fmla="*/ 421481 h 707231"/>
                  <a:gd name="connsiteX72" fmla="*/ 419100 w 1081087"/>
                  <a:gd name="connsiteY72" fmla="*/ 497681 h 707231"/>
                  <a:gd name="connsiteX73" fmla="*/ 302418 w 1081087"/>
                  <a:gd name="connsiteY73" fmla="*/ 428625 h 707231"/>
                  <a:gd name="connsiteX74" fmla="*/ 254793 w 1081087"/>
                  <a:gd name="connsiteY74" fmla="*/ 500063 h 707231"/>
                  <a:gd name="connsiteX75" fmla="*/ 230981 w 1081087"/>
                  <a:gd name="connsiteY75" fmla="*/ 500063 h 707231"/>
                  <a:gd name="connsiteX76" fmla="*/ 183356 w 1081087"/>
                  <a:gd name="connsiteY76" fmla="*/ 516731 h 707231"/>
                  <a:gd name="connsiteX77" fmla="*/ 188118 w 1081087"/>
                  <a:gd name="connsiteY77" fmla="*/ 540544 h 707231"/>
                  <a:gd name="connsiteX78" fmla="*/ 138112 w 1081087"/>
                  <a:gd name="connsiteY78" fmla="*/ 559594 h 707231"/>
                  <a:gd name="connsiteX79" fmla="*/ 66675 w 1081087"/>
                  <a:gd name="connsiteY79" fmla="*/ 478631 h 707231"/>
                  <a:gd name="connsiteX80" fmla="*/ 66675 w 1081087"/>
                  <a:gd name="connsiteY80" fmla="*/ 442913 h 707231"/>
                  <a:gd name="connsiteX81" fmla="*/ 78581 w 1081087"/>
                  <a:gd name="connsiteY81" fmla="*/ 402431 h 707231"/>
                  <a:gd name="connsiteX82" fmla="*/ 78581 w 1081087"/>
                  <a:gd name="connsiteY82" fmla="*/ 364331 h 707231"/>
                  <a:gd name="connsiteX83" fmla="*/ 30956 w 1081087"/>
                  <a:gd name="connsiteY83" fmla="*/ 371475 h 707231"/>
                  <a:gd name="connsiteX84" fmla="*/ 23812 w 1081087"/>
                  <a:gd name="connsiteY84" fmla="*/ 350044 h 707231"/>
                  <a:gd name="connsiteX85" fmla="*/ 0 w 1081087"/>
                  <a:gd name="connsiteY85" fmla="*/ 314325 h 707231"/>
                  <a:gd name="connsiteX86" fmla="*/ 19050 w 1081087"/>
                  <a:gd name="connsiteY86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35551 w 1081087"/>
                  <a:gd name="connsiteY19" fmla="*/ 114384 h 707231"/>
                  <a:gd name="connsiteX20" fmla="*/ 864661 w 1081087"/>
                  <a:gd name="connsiteY20" fmla="*/ 264657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933450 w 1081087"/>
                  <a:gd name="connsiteY25" fmla="*/ 340519 h 707231"/>
                  <a:gd name="connsiteX26" fmla="*/ 981075 w 1081087"/>
                  <a:gd name="connsiteY26" fmla="*/ 352538 h 707231"/>
                  <a:gd name="connsiteX27" fmla="*/ 993025 w 1081087"/>
                  <a:gd name="connsiteY27" fmla="*/ 326344 h 707231"/>
                  <a:gd name="connsiteX28" fmla="*/ 1036020 w 1081087"/>
                  <a:gd name="connsiteY28" fmla="*/ 304800 h 707231"/>
                  <a:gd name="connsiteX29" fmla="*/ 1047750 w 1081087"/>
                  <a:gd name="connsiteY29" fmla="*/ 345281 h 707231"/>
                  <a:gd name="connsiteX30" fmla="*/ 1073943 w 1081087"/>
                  <a:gd name="connsiteY30" fmla="*/ 345281 h 707231"/>
                  <a:gd name="connsiteX31" fmla="*/ 1081087 w 1081087"/>
                  <a:gd name="connsiteY31" fmla="*/ 366713 h 707231"/>
                  <a:gd name="connsiteX32" fmla="*/ 1081087 w 1081087"/>
                  <a:gd name="connsiteY32" fmla="*/ 366713 h 707231"/>
                  <a:gd name="connsiteX33" fmla="*/ 1050131 w 1081087"/>
                  <a:gd name="connsiteY33" fmla="*/ 400050 h 707231"/>
                  <a:gd name="connsiteX34" fmla="*/ 1035843 w 1081087"/>
                  <a:gd name="connsiteY34" fmla="*/ 421481 h 707231"/>
                  <a:gd name="connsiteX35" fmla="*/ 1023937 w 1081087"/>
                  <a:gd name="connsiteY35" fmla="*/ 457200 h 707231"/>
                  <a:gd name="connsiteX36" fmla="*/ 1000125 w 1081087"/>
                  <a:gd name="connsiteY36" fmla="*/ 457200 h 707231"/>
                  <a:gd name="connsiteX37" fmla="*/ 1002506 w 1081087"/>
                  <a:gd name="connsiteY37" fmla="*/ 431006 h 707231"/>
                  <a:gd name="connsiteX38" fmla="*/ 981075 w 1081087"/>
                  <a:gd name="connsiteY38" fmla="*/ 431006 h 707231"/>
                  <a:gd name="connsiteX39" fmla="*/ 966787 w 1081087"/>
                  <a:gd name="connsiteY39" fmla="*/ 457200 h 707231"/>
                  <a:gd name="connsiteX40" fmla="*/ 957262 w 1081087"/>
                  <a:gd name="connsiteY40" fmla="*/ 481013 h 707231"/>
                  <a:gd name="connsiteX41" fmla="*/ 938212 w 1081087"/>
                  <a:gd name="connsiteY41" fmla="*/ 483394 h 707231"/>
                  <a:gd name="connsiteX42" fmla="*/ 895350 w 1081087"/>
                  <a:gd name="connsiteY42" fmla="*/ 488156 h 707231"/>
                  <a:gd name="connsiteX43" fmla="*/ 885825 w 1081087"/>
                  <a:gd name="connsiteY43" fmla="*/ 490538 h 707231"/>
                  <a:gd name="connsiteX44" fmla="*/ 857250 w 1081087"/>
                  <a:gd name="connsiteY44" fmla="*/ 504825 h 707231"/>
                  <a:gd name="connsiteX45" fmla="*/ 833437 w 1081087"/>
                  <a:gd name="connsiteY45" fmla="*/ 500063 h 707231"/>
                  <a:gd name="connsiteX46" fmla="*/ 797718 w 1081087"/>
                  <a:gd name="connsiteY46" fmla="*/ 519113 h 707231"/>
                  <a:gd name="connsiteX47" fmla="*/ 759618 w 1081087"/>
                  <a:gd name="connsiteY47" fmla="*/ 528638 h 707231"/>
                  <a:gd name="connsiteX48" fmla="*/ 721518 w 1081087"/>
                  <a:gd name="connsiteY48" fmla="*/ 528638 h 707231"/>
                  <a:gd name="connsiteX49" fmla="*/ 731043 w 1081087"/>
                  <a:gd name="connsiteY49" fmla="*/ 542925 h 707231"/>
                  <a:gd name="connsiteX50" fmla="*/ 766762 w 1081087"/>
                  <a:gd name="connsiteY50" fmla="*/ 552450 h 707231"/>
                  <a:gd name="connsiteX51" fmla="*/ 762000 w 1081087"/>
                  <a:gd name="connsiteY51" fmla="*/ 573881 h 707231"/>
                  <a:gd name="connsiteX52" fmla="*/ 754856 w 1081087"/>
                  <a:gd name="connsiteY52" fmla="*/ 607219 h 707231"/>
                  <a:gd name="connsiteX53" fmla="*/ 792956 w 1081087"/>
                  <a:gd name="connsiteY53" fmla="*/ 566738 h 707231"/>
                  <a:gd name="connsiteX54" fmla="*/ 802481 w 1081087"/>
                  <a:gd name="connsiteY54" fmla="*/ 569119 h 707231"/>
                  <a:gd name="connsiteX55" fmla="*/ 776287 w 1081087"/>
                  <a:gd name="connsiteY55" fmla="*/ 611981 h 707231"/>
                  <a:gd name="connsiteX56" fmla="*/ 757237 w 1081087"/>
                  <a:gd name="connsiteY56" fmla="*/ 640556 h 707231"/>
                  <a:gd name="connsiteX57" fmla="*/ 733425 w 1081087"/>
                  <a:gd name="connsiteY57" fmla="*/ 659606 h 707231"/>
                  <a:gd name="connsiteX58" fmla="*/ 704850 w 1081087"/>
                  <a:gd name="connsiteY58" fmla="*/ 647700 h 707231"/>
                  <a:gd name="connsiteX59" fmla="*/ 657225 w 1081087"/>
                  <a:gd name="connsiteY59" fmla="*/ 685800 h 707231"/>
                  <a:gd name="connsiteX60" fmla="*/ 640556 w 1081087"/>
                  <a:gd name="connsiteY60" fmla="*/ 707231 h 707231"/>
                  <a:gd name="connsiteX61" fmla="*/ 611981 w 1081087"/>
                  <a:gd name="connsiteY61" fmla="*/ 685800 h 707231"/>
                  <a:gd name="connsiteX62" fmla="*/ 588168 w 1081087"/>
                  <a:gd name="connsiteY62" fmla="*/ 657225 h 707231"/>
                  <a:gd name="connsiteX63" fmla="*/ 564356 w 1081087"/>
                  <a:gd name="connsiteY63" fmla="*/ 616744 h 707231"/>
                  <a:gd name="connsiteX64" fmla="*/ 600075 w 1081087"/>
                  <a:gd name="connsiteY64" fmla="*/ 578644 h 707231"/>
                  <a:gd name="connsiteX65" fmla="*/ 578643 w 1081087"/>
                  <a:gd name="connsiteY65" fmla="*/ 564356 h 707231"/>
                  <a:gd name="connsiteX66" fmla="*/ 547687 w 1081087"/>
                  <a:gd name="connsiteY66" fmla="*/ 547688 h 707231"/>
                  <a:gd name="connsiteX67" fmla="*/ 554831 w 1081087"/>
                  <a:gd name="connsiteY67" fmla="*/ 488156 h 707231"/>
                  <a:gd name="connsiteX68" fmla="*/ 595312 w 1081087"/>
                  <a:gd name="connsiteY68" fmla="*/ 481013 h 707231"/>
                  <a:gd name="connsiteX69" fmla="*/ 569118 w 1081087"/>
                  <a:gd name="connsiteY69" fmla="*/ 435769 h 707231"/>
                  <a:gd name="connsiteX70" fmla="*/ 473868 w 1081087"/>
                  <a:gd name="connsiteY70" fmla="*/ 440531 h 707231"/>
                  <a:gd name="connsiteX71" fmla="*/ 447675 w 1081087"/>
                  <a:gd name="connsiteY71" fmla="*/ 421481 h 707231"/>
                  <a:gd name="connsiteX72" fmla="*/ 419100 w 1081087"/>
                  <a:gd name="connsiteY72" fmla="*/ 497681 h 707231"/>
                  <a:gd name="connsiteX73" fmla="*/ 302418 w 1081087"/>
                  <a:gd name="connsiteY73" fmla="*/ 428625 h 707231"/>
                  <a:gd name="connsiteX74" fmla="*/ 254793 w 1081087"/>
                  <a:gd name="connsiteY74" fmla="*/ 500063 h 707231"/>
                  <a:gd name="connsiteX75" fmla="*/ 230981 w 1081087"/>
                  <a:gd name="connsiteY75" fmla="*/ 500063 h 707231"/>
                  <a:gd name="connsiteX76" fmla="*/ 183356 w 1081087"/>
                  <a:gd name="connsiteY76" fmla="*/ 516731 h 707231"/>
                  <a:gd name="connsiteX77" fmla="*/ 188118 w 1081087"/>
                  <a:gd name="connsiteY77" fmla="*/ 540544 h 707231"/>
                  <a:gd name="connsiteX78" fmla="*/ 138112 w 1081087"/>
                  <a:gd name="connsiteY78" fmla="*/ 559594 h 707231"/>
                  <a:gd name="connsiteX79" fmla="*/ 66675 w 1081087"/>
                  <a:gd name="connsiteY79" fmla="*/ 478631 h 707231"/>
                  <a:gd name="connsiteX80" fmla="*/ 66675 w 1081087"/>
                  <a:gd name="connsiteY80" fmla="*/ 442913 h 707231"/>
                  <a:gd name="connsiteX81" fmla="*/ 78581 w 1081087"/>
                  <a:gd name="connsiteY81" fmla="*/ 402431 h 707231"/>
                  <a:gd name="connsiteX82" fmla="*/ 78581 w 1081087"/>
                  <a:gd name="connsiteY82" fmla="*/ 364331 h 707231"/>
                  <a:gd name="connsiteX83" fmla="*/ 30956 w 1081087"/>
                  <a:gd name="connsiteY83" fmla="*/ 371475 h 707231"/>
                  <a:gd name="connsiteX84" fmla="*/ 23812 w 1081087"/>
                  <a:gd name="connsiteY84" fmla="*/ 350044 h 707231"/>
                  <a:gd name="connsiteX85" fmla="*/ 0 w 1081087"/>
                  <a:gd name="connsiteY85" fmla="*/ 314325 h 707231"/>
                  <a:gd name="connsiteX86" fmla="*/ 19050 w 1081087"/>
                  <a:gd name="connsiteY86" fmla="*/ 283369 h 707231"/>
                  <a:gd name="connsiteX0" fmla="*/ 19050 w 1081087"/>
                  <a:gd name="connsiteY0" fmla="*/ 283369 h 707231"/>
                  <a:gd name="connsiteX1" fmla="*/ 295275 w 1081087"/>
                  <a:gd name="connsiteY1" fmla="*/ 297656 h 707231"/>
                  <a:gd name="connsiteX2" fmla="*/ 323850 w 1081087"/>
                  <a:gd name="connsiteY2" fmla="*/ 264319 h 707231"/>
                  <a:gd name="connsiteX3" fmla="*/ 340518 w 1081087"/>
                  <a:gd name="connsiteY3" fmla="*/ 230981 h 707231"/>
                  <a:gd name="connsiteX4" fmla="*/ 359568 w 1081087"/>
                  <a:gd name="connsiteY4" fmla="*/ 214313 h 707231"/>
                  <a:gd name="connsiteX5" fmla="*/ 419100 w 1081087"/>
                  <a:gd name="connsiteY5" fmla="*/ 238125 h 707231"/>
                  <a:gd name="connsiteX6" fmla="*/ 414337 w 1081087"/>
                  <a:gd name="connsiteY6" fmla="*/ 145256 h 707231"/>
                  <a:gd name="connsiteX7" fmla="*/ 461962 w 1081087"/>
                  <a:gd name="connsiteY7" fmla="*/ 104775 h 707231"/>
                  <a:gd name="connsiteX8" fmla="*/ 557212 w 1081087"/>
                  <a:gd name="connsiteY8" fmla="*/ 130969 h 707231"/>
                  <a:gd name="connsiteX9" fmla="*/ 563167 w 1081087"/>
                  <a:gd name="connsiteY9" fmla="*/ 74258 h 707231"/>
                  <a:gd name="connsiteX10" fmla="*/ 600075 w 1081087"/>
                  <a:gd name="connsiteY10" fmla="*/ 40481 h 707231"/>
                  <a:gd name="connsiteX11" fmla="*/ 631031 w 1081087"/>
                  <a:gd name="connsiteY11" fmla="*/ 33338 h 707231"/>
                  <a:gd name="connsiteX12" fmla="*/ 716756 w 1081087"/>
                  <a:gd name="connsiteY12" fmla="*/ 0 h 707231"/>
                  <a:gd name="connsiteX13" fmla="*/ 795337 w 1081087"/>
                  <a:gd name="connsiteY13" fmla="*/ 38100 h 707231"/>
                  <a:gd name="connsiteX14" fmla="*/ 828675 w 1081087"/>
                  <a:gd name="connsiteY14" fmla="*/ 30956 h 707231"/>
                  <a:gd name="connsiteX15" fmla="*/ 831056 w 1081087"/>
                  <a:gd name="connsiteY15" fmla="*/ 88106 h 707231"/>
                  <a:gd name="connsiteX16" fmla="*/ 773906 w 1081087"/>
                  <a:gd name="connsiteY16" fmla="*/ 111919 h 707231"/>
                  <a:gd name="connsiteX17" fmla="*/ 790575 w 1081087"/>
                  <a:gd name="connsiteY17" fmla="*/ 133350 h 707231"/>
                  <a:gd name="connsiteX18" fmla="*/ 821531 w 1081087"/>
                  <a:gd name="connsiteY18" fmla="*/ 121444 h 707231"/>
                  <a:gd name="connsiteX19" fmla="*/ 835551 w 1081087"/>
                  <a:gd name="connsiteY19" fmla="*/ 114384 h 707231"/>
                  <a:gd name="connsiteX20" fmla="*/ 864661 w 1081087"/>
                  <a:gd name="connsiteY20" fmla="*/ 264657 h 707231"/>
                  <a:gd name="connsiteX21" fmla="*/ 823912 w 1081087"/>
                  <a:gd name="connsiteY21" fmla="*/ 211931 h 707231"/>
                  <a:gd name="connsiteX22" fmla="*/ 821531 w 1081087"/>
                  <a:gd name="connsiteY22" fmla="*/ 230981 h 707231"/>
                  <a:gd name="connsiteX23" fmla="*/ 838200 w 1081087"/>
                  <a:gd name="connsiteY23" fmla="*/ 283369 h 707231"/>
                  <a:gd name="connsiteX24" fmla="*/ 869156 w 1081087"/>
                  <a:gd name="connsiteY24" fmla="*/ 307181 h 707231"/>
                  <a:gd name="connsiteX25" fmla="*/ 897328 w 1081087"/>
                  <a:gd name="connsiteY25" fmla="*/ 316623 h 707231"/>
                  <a:gd name="connsiteX26" fmla="*/ 933450 w 1081087"/>
                  <a:gd name="connsiteY26" fmla="*/ 340519 h 707231"/>
                  <a:gd name="connsiteX27" fmla="*/ 981075 w 1081087"/>
                  <a:gd name="connsiteY27" fmla="*/ 352538 h 707231"/>
                  <a:gd name="connsiteX28" fmla="*/ 993025 w 1081087"/>
                  <a:gd name="connsiteY28" fmla="*/ 326344 h 707231"/>
                  <a:gd name="connsiteX29" fmla="*/ 1036020 w 1081087"/>
                  <a:gd name="connsiteY29" fmla="*/ 304800 h 707231"/>
                  <a:gd name="connsiteX30" fmla="*/ 1047750 w 1081087"/>
                  <a:gd name="connsiteY30" fmla="*/ 345281 h 707231"/>
                  <a:gd name="connsiteX31" fmla="*/ 1073943 w 1081087"/>
                  <a:gd name="connsiteY31" fmla="*/ 345281 h 707231"/>
                  <a:gd name="connsiteX32" fmla="*/ 1081087 w 1081087"/>
                  <a:gd name="connsiteY32" fmla="*/ 366713 h 707231"/>
                  <a:gd name="connsiteX33" fmla="*/ 1081087 w 1081087"/>
                  <a:gd name="connsiteY33" fmla="*/ 366713 h 707231"/>
                  <a:gd name="connsiteX34" fmla="*/ 1050131 w 1081087"/>
                  <a:gd name="connsiteY34" fmla="*/ 400050 h 707231"/>
                  <a:gd name="connsiteX35" fmla="*/ 1035843 w 1081087"/>
                  <a:gd name="connsiteY35" fmla="*/ 421481 h 707231"/>
                  <a:gd name="connsiteX36" fmla="*/ 1023937 w 1081087"/>
                  <a:gd name="connsiteY36" fmla="*/ 457200 h 707231"/>
                  <a:gd name="connsiteX37" fmla="*/ 1000125 w 1081087"/>
                  <a:gd name="connsiteY37" fmla="*/ 457200 h 707231"/>
                  <a:gd name="connsiteX38" fmla="*/ 1002506 w 1081087"/>
                  <a:gd name="connsiteY38" fmla="*/ 431006 h 707231"/>
                  <a:gd name="connsiteX39" fmla="*/ 981075 w 1081087"/>
                  <a:gd name="connsiteY39" fmla="*/ 431006 h 707231"/>
                  <a:gd name="connsiteX40" fmla="*/ 966787 w 1081087"/>
                  <a:gd name="connsiteY40" fmla="*/ 457200 h 707231"/>
                  <a:gd name="connsiteX41" fmla="*/ 957262 w 1081087"/>
                  <a:gd name="connsiteY41" fmla="*/ 481013 h 707231"/>
                  <a:gd name="connsiteX42" fmla="*/ 938212 w 1081087"/>
                  <a:gd name="connsiteY42" fmla="*/ 483394 h 707231"/>
                  <a:gd name="connsiteX43" fmla="*/ 895350 w 1081087"/>
                  <a:gd name="connsiteY43" fmla="*/ 488156 h 707231"/>
                  <a:gd name="connsiteX44" fmla="*/ 885825 w 1081087"/>
                  <a:gd name="connsiteY44" fmla="*/ 490538 h 707231"/>
                  <a:gd name="connsiteX45" fmla="*/ 857250 w 1081087"/>
                  <a:gd name="connsiteY45" fmla="*/ 504825 h 707231"/>
                  <a:gd name="connsiteX46" fmla="*/ 833437 w 1081087"/>
                  <a:gd name="connsiteY46" fmla="*/ 500063 h 707231"/>
                  <a:gd name="connsiteX47" fmla="*/ 797718 w 1081087"/>
                  <a:gd name="connsiteY47" fmla="*/ 519113 h 707231"/>
                  <a:gd name="connsiteX48" fmla="*/ 759618 w 1081087"/>
                  <a:gd name="connsiteY48" fmla="*/ 528638 h 707231"/>
                  <a:gd name="connsiteX49" fmla="*/ 721518 w 1081087"/>
                  <a:gd name="connsiteY49" fmla="*/ 528638 h 707231"/>
                  <a:gd name="connsiteX50" fmla="*/ 731043 w 1081087"/>
                  <a:gd name="connsiteY50" fmla="*/ 542925 h 707231"/>
                  <a:gd name="connsiteX51" fmla="*/ 766762 w 1081087"/>
                  <a:gd name="connsiteY51" fmla="*/ 552450 h 707231"/>
                  <a:gd name="connsiteX52" fmla="*/ 762000 w 1081087"/>
                  <a:gd name="connsiteY52" fmla="*/ 573881 h 707231"/>
                  <a:gd name="connsiteX53" fmla="*/ 754856 w 1081087"/>
                  <a:gd name="connsiteY53" fmla="*/ 607219 h 707231"/>
                  <a:gd name="connsiteX54" fmla="*/ 792956 w 1081087"/>
                  <a:gd name="connsiteY54" fmla="*/ 566738 h 707231"/>
                  <a:gd name="connsiteX55" fmla="*/ 802481 w 1081087"/>
                  <a:gd name="connsiteY55" fmla="*/ 569119 h 707231"/>
                  <a:gd name="connsiteX56" fmla="*/ 776287 w 1081087"/>
                  <a:gd name="connsiteY56" fmla="*/ 611981 h 707231"/>
                  <a:gd name="connsiteX57" fmla="*/ 757237 w 1081087"/>
                  <a:gd name="connsiteY57" fmla="*/ 640556 h 707231"/>
                  <a:gd name="connsiteX58" fmla="*/ 733425 w 1081087"/>
                  <a:gd name="connsiteY58" fmla="*/ 659606 h 707231"/>
                  <a:gd name="connsiteX59" fmla="*/ 704850 w 1081087"/>
                  <a:gd name="connsiteY59" fmla="*/ 647700 h 707231"/>
                  <a:gd name="connsiteX60" fmla="*/ 657225 w 1081087"/>
                  <a:gd name="connsiteY60" fmla="*/ 685800 h 707231"/>
                  <a:gd name="connsiteX61" fmla="*/ 640556 w 1081087"/>
                  <a:gd name="connsiteY61" fmla="*/ 707231 h 707231"/>
                  <a:gd name="connsiteX62" fmla="*/ 611981 w 1081087"/>
                  <a:gd name="connsiteY62" fmla="*/ 685800 h 707231"/>
                  <a:gd name="connsiteX63" fmla="*/ 588168 w 1081087"/>
                  <a:gd name="connsiteY63" fmla="*/ 657225 h 707231"/>
                  <a:gd name="connsiteX64" fmla="*/ 564356 w 1081087"/>
                  <a:gd name="connsiteY64" fmla="*/ 616744 h 707231"/>
                  <a:gd name="connsiteX65" fmla="*/ 600075 w 1081087"/>
                  <a:gd name="connsiteY65" fmla="*/ 578644 h 707231"/>
                  <a:gd name="connsiteX66" fmla="*/ 578643 w 1081087"/>
                  <a:gd name="connsiteY66" fmla="*/ 564356 h 707231"/>
                  <a:gd name="connsiteX67" fmla="*/ 547687 w 1081087"/>
                  <a:gd name="connsiteY67" fmla="*/ 547688 h 707231"/>
                  <a:gd name="connsiteX68" fmla="*/ 554831 w 1081087"/>
                  <a:gd name="connsiteY68" fmla="*/ 488156 h 707231"/>
                  <a:gd name="connsiteX69" fmla="*/ 595312 w 1081087"/>
                  <a:gd name="connsiteY69" fmla="*/ 481013 h 707231"/>
                  <a:gd name="connsiteX70" fmla="*/ 569118 w 1081087"/>
                  <a:gd name="connsiteY70" fmla="*/ 435769 h 707231"/>
                  <a:gd name="connsiteX71" fmla="*/ 473868 w 1081087"/>
                  <a:gd name="connsiteY71" fmla="*/ 440531 h 707231"/>
                  <a:gd name="connsiteX72" fmla="*/ 447675 w 1081087"/>
                  <a:gd name="connsiteY72" fmla="*/ 421481 h 707231"/>
                  <a:gd name="connsiteX73" fmla="*/ 419100 w 1081087"/>
                  <a:gd name="connsiteY73" fmla="*/ 497681 h 707231"/>
                  <a:gd name="connsiteX74" fmla="*/ 302418 w 1081087"/>
                  <a:gd name="connsiteY74" fmla="*/ 428625 h 707231"/>
                  <a:gd name="connsiteX75" fmla="*/ 254793 w 1081087"/>
                  <a:gd name="connsiteY75" fmla="*/ 500063 h 707231"/>
                  <a:gd name="connsiteX76" fmla="*/ 230981 w 1081087"/>
                  <a:gd name="connsiteY76" fmla="*/ 500063 h 707231"/>
                  <a:gd name="connsiteX77" fmla="*/ 183356 w 1081087"/>
                  <a:gd name="connsiteY77" fmla="*/ 516731 h 707231"/>
                  <a:gd name="connsiteX78" fmla="*/ 188118 w 1081087"/>
                  <a:gd name="connsiteY78" fmla="*/ 540544 h 707231"/>
                  <a:gd name="connsiteX79" fmla="*/ 138112 w 1081087"/>
                  <a:gd name="connsiteY79" fmla="*/ 559594 h 707231"/>
                  <a:gd name="connsiteX80" fmla="*/ 66675 w 1081087"/>
                  <a:gd name="connsiteY80" fmla="*/ 478631 h 707231"/>
                  <a:gd name="connsiteX81" fmla="*/ 66675 w 1081087"/>
                  <a:gd name="connsiteY81" fmla="*/ 442913 h 707231"/>
                  <a:gd name="connsiteX82" fmla="*/ 78581 w 1081087"/>
                  <a:gd name="connsiteY82" fmla="*/ 402431 h 707231"/>
                  <a:gd name="connsiteX83" fmla="*/ 78581 w 1081087"/>
                  <a:gd name="connsiteY83" fmla="*/ 364331 h 707231"/>
                  <a:gd name="connsiteX84" fmla="*/ 30956 w 1081087"/>
                  <a:gd name="connsiteY84" fmla="*/ 371475 h 707231"/>
                  <a:gd name="connsiteX85" fmla="*/ 23812 w 1081087"/>
                  <a:gd name="connsiteY85" fmla="*/ 350044 h 707231"/>
                  <a:gd name="connsiteX86" fmla="*/ 0 w 1081087"/>
                  <a:gd name="connsiteY86" fmla="*/ 314325 h 707231"/>
                  <a:gd name="connsiteX87" fmla="*/ 19050 w 1081087"/>
                  <a:gd name="connsiteY87" fmla="*/ 283369 h 707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081087" h="707231">
                    <a:moveTo>
                      <a:pt x="19050" y="283369"/>
                    </a:moveTo>
                    <a:lnTo>
                      <a:pt x="295275" y="297656"/>
                    </a:lnTo>
                    <a:lnTo>
                      <a:pt x="323850" y="264319"/>
                    </a:lnTo>
                    <a:lnTo>
                      <a:pt x="340518" y="230981"/>
                    </a:lnTo>
                    <a:lnTo>
                      <a:pt x="359568" y="214313"/>
                    </a:lnTo>
                    <a:lnTo>
                      <a:pt x="419100" y="238125"/>
                    </a:lnTo>
                    <a:lnTo>
                      <a:pt x="414337" y="145256"/>
                    </a:lnTo>
                    <a:lnTo>
                      <a:pt x="461962" y="104775"/>
                    </a:lnTo>
                    <a:lnTo>
                      <a:pt x="557212" y="130969"/>
                    </a:lnTo>
                    <a:cubicBezTo>
                      <a:pt x="562313" y="115203"/>
                      <a:pt x="558066" y="90024"/>
                      <a:pt x="563167" y="74258"/>
                    </a:cubicBezTo>
                    <a:lnTo>
                      <a:pt x="600075" y="40481"/>
                    </a:lnTo>
                    <a:lnTo>
                      <a:pt x="631031" y="33338"/>
                    </a:lnTo>
                    <a:lnTo>
                      <a:pt x="716756" y="0"/>
                    </a:lnTo>
                    <a:lnTo>
                      <a:pt x="795337" y="38100"/>
                    </a:lnTo>
                    <a:lnTo>
                      <a:pt x="828675" y="30956"/>
                    </a:lnTo>
                    <a:cubicBezTo>
                      <a:pt x="829469" y="50006"/>
                      <a:pt x="830262" y="69056"/>
                      <a:pt x="831056" y="88106"/>
                    </a:cubicBezTo>
                    <a:lnTo>
                      <a:pt x="773906" y="111919"/>
                    </a:lnTo>
                    <a:lnTo>
                      <a:pt x="790575" y="133350"/>
                    </a:lnTo>
                    <a:cubicBezTo>
                      <a:pt x="800894" y="129381"/>
                      <a:pt x="814035" y="124605"/>
                      <a:pt x="821531" y="121444"/>
                    </a:cubicBezTo>
                    <a:cubicBezTo>
                      <a:pt x="829027" y="118283"/>
                      <a:pt x="828363" y="90515"/>
                      <a:pt x="835551" y="114384"/>
                    </a:cubicBezTo>
                    <a:cubicBezTo>
                      <a:pt x="842739" y="138253"/>
                      <a:pt x="854958" y="214566"/>
                      <a:pt x="864661" y="264657"/>
                    </a:cubicBezTo>
                    <a:lnTo>
                      <a:pt x="823912" y="211931"/>
                    </a:lnTo>
                    <a:lnTo>
                      <a:pt x="821531" y="230981"/>
                    </a:lnTo>
                    <a:lnTo>
                      <a:pt x="838200" y="283369"/>
                    </a:lnTo>
                    <a:lnTo>
                      <a:pt x="869156" y="307181"/>
                    </a:lnTo>
                    <a:cubicBezTo>
                      <a:pt x="878547" y="312682"/>
                      <a:pt x="887937" y="311122"/>
                      <a:pt x="897328" y="316623"/>
                    </a:cubicBezTo>
                    <a:lnTo>
                      <a:pt x="933450" y="340519"/>
                    </a:lnTo>
                    <a:lnTo>
                      <a:pt x="981075" y="352538"/>
                    </a:lnTo>
                    <a:lnTo>
                      <a:pt x="993025" y="326344"/>
                    </a:lnTo>
                    <a:lnTo>
                      <a:pt x="1036020" y="304800"/>
                    </a:lnTo>
                    <a:lnTo>
                      <a:pt x="1047750" y="345281"/>
                    </a:lnTo>
                    <a:lnTo>
                      <a:pt x="1073943" y="345281"/>
                    </a:lnTo>
                    <a:lnTo>
                      <a:pt x="1081087" y="366713"/>
                    </a:lnTo>
                    <a:lnTo>
                      <a:pt x="1081087" y="366713"/>
                    </a:lnTo>
                    <a:lnTo>
                      <a:pt x="1050131" y="400050"/>
                    </a:lnTo>
                    <a:lnTo>
                      <a:pt x="1035843" y="421481"/>
                    </a:lnTo>
                    <a:lnTo>
                      <a:pt x="1023937" y="457200"/>
                    </a:lnTo>
                    <a:lnTo>
                      <a:pt x="1000125" y="457200"/>
                    </a:lnTo>
                    <a:lnTo>
                      <a:pt x="1002506" y="431006"/>
                    </a:lnTo>
                    <a:lnTo>
                      <a:pt x="981075" y="431006"/>
                    </a:lnTo>
                    <a:lnTo>
                      <a:pt x="966787" y="457200"/>
                    </a:lnTo>
                    <a:lnTo>
                      <a:pt x="957262" y="481013"/>
                    </a:lnTo>
                    <a:lnTo>
                      <a:pt x="938212" y="483394"/>
                    </a:lnTo>
                    <a:lnTo>
                      <a:pt x="895350" y="488156"/>
                    </a:lnTo>
                    <a:lnTo>
                      <a:pt x="885825" y="490538"/>
                    </a:lnTo>
                    <a:lnTo>
                      <a:pt x="857250" y="504825"/>
                    </a:lnTo>
                    <a:lnTo>
                      <a:pt x="833437" y="500063"/>
                    </a:lnTo>
                    <a:lnTo>
                      <a:pt x="797718" y="519113"/>
                    </a:lnTo>
                    <a:lnTo>
                      <a:pt x="759618" y="528638"/>
                    </a:lnTo>
                    <a:lnTo>
                      <a:pt x="721518" y="528638"/>
                    </a:lnTo>
                    <a:lnTo>
                      <a:pt x="731043" y="542925"/>
                    </a:lnTo>
                    <a:lnTo>
                      <a:pt x="766762" y="552450"/>
                    </a:lnTo>
                    <a:lnTo>
                      <a:pt x="762000" y="573881"/>
                    </a:lnTo>
                    <a:lnTo>
                      <a:pt x="754856" y="607219"/>
                    </a:lnTo>
                    <a:lnTo>
                      <a:pt x="792956" y="566738"/>
                    </a:lnTo>
                    <a:lnTo>
                      <a:pt x="802481" y="569119"/>
                    </a:lnTo>
                    <a:lnTo>
                      <a:pt x="776287" y="611981"/>
                    </a:lnTo>
                    <a:lnTo>
                      <a:pt x="757237" y="640556"/>
                    </a:lnTo>
                    <a:lnTo>
                      <a:pt x="733425" y="659606"/>
                    </a:lnTo>
                    <a:lnTo>
                      <a:pt x="704850" y="647700"/>
                    </a:lnTo>
                    <a:lnTo>
                      <a:pt x="657225" y="685800"/>
                    </a:lnTo>
                    <a:lnTo>
                      <a:pt x="640556" y="707231"/>
                    </a:lnTo>
                    <a:lnTo>
                      <a:pt x="611981" y="685800"/>
                    </a:lnTo>
                    <a:lnTo>
                      <a:pt x="588168" y="657225"/>
                    </a:lnTo>
                    <a:lnTo>
                      <a:pt x="564356" y="616744"/>
                    </a:lnTo>
                    <a:lnTo>
                      <a:pt x="600075" y="578644"/>
                    </a:lnTo>
                    <a:lnTo>
                      <a:pt x="578643" y="564356"/>
                    </a:lnTo>
                    <a:lnTo>
                      <a:pt x="547687" y="547688"/>
                    </a:lnTo>
                    <a:lnTo>
                      <a:pt x="554831" y="488156"/>
                    </a:lnTo>
                    <a:lnTo>
                      <a:pt x="595312" y="481013"/>
                    </a:lnTo>
                    <a:lnTo>
                      <a:pt x="569118" y="435769"/>
                    </a:lnTo>
                    <a:lnTo>
                      <a:pt x="473868" y="440531"/>
                    </a:lnTo>
                    <a:lnTo>
                      <a:pt x="447675" y="421481"/>
                    </a:lnTo>
                    <a:lnTo>
                      <a:pt x="419100" y="497681"/>
                    </a:lnTo>
                    <a:lnTo>
                      <a:pt x="302418" y="428625"/>
                    </a:lnTo>
                    <a:lnTo>
                      <a:pt x="254793" y="500063"/>
                    </a:lnTo>
                    <a:lnTo>
                      <a:pt x="230981" y="500063"/>
                    </a:lnTo>
                    <a:lnTo>
                      <a:pt x="183356" y="516731"/>
                    </a:lnTo>
                    <a:lnTo>
                      <a:pt x="188118" y="540544"/>
                    </a:lnTo>
                    <a:lnTo>
                      <a:pt x="138112" y="559594"/>
                    </a:lnTo>
                    <a:lnTo>
                      <a:pt x="66675" y="478631"/>
                    </a:lnTo>
                    <a:lnTo>
                      <a:pt x="66675" y="442913"/>
                    </a:lnTo>
                    <a:lnTo>
                      <a:pt x="78581" y="402431"/>
                    </a:lnTo>
                    <a:lnTo>
                      <a:pt x="78581" y="364331"/>
                    </a:lnTo>
                    <a:lnTo>
                      <a:pt x="30956" y="371475"/>
                    </a:lnTo>
                    <a:lnTo>
                      <a:pt x="23812" y="350044"/>
                    </a:lnTo>
                    <a:cubicBezTo>
                      <a:pt x="22225" y="338931"/>
                      <a:pt x="1587" y="325438"/>
                      <a:pt x="0" y="314325"/>
                    </a:cubicBezTo>
                    <a:lnTo>
                      <a:pt x="19050" y="283369"/>
                    </a:lnTo>
                    <a:close/>
                  </a:path>
                </a:pathLst>
              </a:custGeom>
              <a:solidFill>
                <a:schemeClr val="accent4">
                  <a:lumMod val="90000"/>
                </a:schemeClr>
              </a:solidFill>
              <a:ln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F6D1A8C2-8FDB-4BCB-A534-846475C3A0CC}"/>
                  </a:ext>
                </a:extLst>
              </p:cNvPr>
              <p:cNvSpPr/>
              <p:nvPr/>
            </p:nvSpPr>
            <p:spPr>
              <a:xfrm>
                <a:off x="9503569" y="2928938"/>
                <a:ext cx="735806" cy="973931"/>
              </a:xfrm>
              <a:custGeom>
                <a:avLst/>
                <a:gdLst>
                  <a:gd name="connsiteX0" fmla="*/ 211931 w 735806"/>
                  <a:gd name="connsiteY0" fmla="*/ 133350 h 973931"/>
                  <a:gd name="connsiteX1" fmla="*/ 266700 w 735806"/>
                  <a:gd name="connsiteY1" fmla="*/ 114300 h 973931"/>
                  <a:gd name="connsiteX2" fmla="*/ 254794 w 735806"/>
                  <a:gd name="connsiteY2" fmla="*/ 90487 h 973931"/>
                  <a:gd name="connsiteX3" fmla="*/ 314325 w 735806"/>
                  <a:gd name="connsiteY3" fmla="*/ 83343 h 973931"/>
                  <a:gd name="connsiteX4" fmla="*/ 326231 w 735806"/>
                  <a:gd name="connsiteY4" fmla="*/ 78581 h 973931"/>
                  <a:gd name="connsiteX5" fmla="*/ 378619 w 735806"/>
                  <a:gd name="connsiteY5" fmla="*/ 0 h 973931"/>
                  <a:gd name="connsiteX6" fmla="*/ 492919 w 735806"/>
                  <a:gd name="connsiteY6" fmla="*/ 71437 h 973931"/>
                  <a:gd name="connsiteX7" fmla="*/ 521494 w 735806"/>
                  <a:gd name="connsiteY7" fmla="*/ 4762 h 973931"/>
                  <a:gd name="connsiteX8" fmla="*/ 550069 w 735806"/>
                  <a:gd name="connsiteY8" fmla="*/ 11906 h 973931"/>
                  <a:gd name="connsiteX9" fmla="*/ 654844 w 735806"/>
                  <a:gd name="connsiteY9" fmla="*/ 11906 h 973931"/>
                  <a:gd name="connsiteX10" fmla="*/ 676275 w 735806"/>
                  <a:gd name="connsiteY10" fmla="*/ 66675 h 973931"/>
                  <a:gd name="connsiteX11" fmla="*/ 628650 w 735806"/>
                  <a:gd name="connsiteY11" fmla="*/ 64293 h 973931"/>
                  <a:gd name="connsiteX12" fmla="*/ 621506 w 735806"/>
                  <a:gd name="connsiteY12" fmla="*/ 116681 h 973931"/>
                  <a:gd name="connsiteX13" fmla="*/ 681037 w 735806"/>
                  <a:gd name="connsiteY13" fmla="*/ 157162 h 973931"/>
                  <a:gd name="connsiteX14" fmla="*/ 645319 w 735806"/>
                  <a:gd name="connsiteY14" fmla="*/ 190500 h 973931"/>
                  <a:gd name="connsiteX15" fmla="*/ 676275 w 735806"/>
                  <a:gd name="connsiteY15" fmla="*/ 264318 h 973931"/>
                  <a:gd name="connsiteX16" fmla="*/ 719137 w 735806"/>
                  <a:gd name="connsiteY16" fmla="*/ 288131 h 973931"/>
                  <a:gd name="connsiteX17" fmla="*/ 702469 w 735806"/>
                  <a:gd name="connsiteY17" fmla="*/ 323850 h 973931"/>
                  <a:gd name="connsiteX18" fmla="*/ 716756 w 735806"/>
                  <a:gd name="connsiteY18" fmla="*/ 347662 h 973931"/>
                  <a:gd name="connsiteX19" fmla="*/ 735806 w 735806"/>
                  <a:gd name="connsiteY19" fmla="*/ 354806 h 973931"/>
                  <a:gd name="connsiteX20" fmla="*/ 714375 w 735806"/>
                  <a:gd name="connsiteY20" fmla="*/ 378618 h 973931"/>
                  <a:gd name="connsiteX21" fmla="*/ 683419 w 735806"/>
                  <a:gd name="connsiteY21" fmla="*/ 357187 h 973931"/>
                  <a:gd name="connsiteX22" fmla="*/ 711994 w 735806"/>
                  <a:gd name="connsiteY22" fmla="*/ 397668 h 973931"/>
                  <a:gd name="connsiteX23" fmla="*/ 683419 w 735806"/>
                  <a:gd name="connsiteY23" fmla="*/ 419100 h 973931"/>
                  <a:gd name="connsiteX24" fmla="*/ 657225 w 735806"/>
                  <a:gd name="connsiteY24" fmla="*/ 385762 h 973931"/>
                  <a:gd name="connsiteX25" fmla="*/ 669131 w 735806"/>
                  <a:gd name="connsiteY25" fmla="*/ 421481 h 973931"/>
                  <a:gd name="connsiteX26" fmla="*/ 650081 w 735806"/>
                  <a:gd name="connsiteY26" fmla="*/ 440531 h 973931"/>
                  <a:gd name="connsiteX27" fmla="*/ 650081 w 735806"/>
                  <a:gd name="connsiteY27" fmla="*/ 481012 h 973931"/>
                  <a:gd name="connsiteX28" fmla="*/ 659606 w 735806"/>
                  <a:gd name="connsiteY28" fmla="*/ 504825 h 973931"/>
                  <a:gd name="connsiteX29" fmla="*/ 652462 w 735806"/>
                  <a:gd name="connsiteY29" fmla="*/ 521493 h 973931"/>
                  <a:gd name="connsiteX30" fmla="*/ 623887 w 735806"/>
                  <a:gd name="connsiteY30" fmla="*/ 538162 h 973931"/>
                  <a:gd name="connsiteX31" fmla="*/ 576262 w 735806"/>
                  <a:gd name="connsiteY31" fmla="*/ 542925 h 973931"/>
                  <a:gd name="connsiteX32" fmla="*/ 559594 w 735806"/>
                  <a:gd name="connsiteY32" fmla="*/ 571500 h 973931"/>
                  <a:gd name="connsiteX33" fmla="*/ 550069 w 735806"/>
                  <a:gd name="connsiteY33" fmla="*/ 595312 h 973931"/>
                  <a:gd name="connsiteX34" fmla="*/ 621506 w 735806"/>
                  <a:gd name="connsiteY34" fmla="*/ 697706 h 973931"/>
                  <a:gd name="connsiteX35" fmla="*/ 561975 w 735806"/>
                  <a:gd name="connsiteY35" fmla="*/ 738187 h 973931"/>
                  <a:gd name="connsiteX36" fmla="*/ 535781 w 735806"/>
                  <a:gd name="connsiteY36" fmla="*/ 731043 h 973931"/>
                  <a:gd name="connsiteX37" fmla="*/ 526256 w 735806"/>
                  <a:gd name="connsiteY37" fmla="*/ 731043 h 973931"/>
                  <a:gd name="connsiteX38" fmla="*/ 531019 w 735806"/>
                  <a:gd name="connsiteY38" fmla="*/ 769143 h 973931"/>
                  <a:gd name="connsiteX39" fmla="*/ 554831 w 735806"/>
                  <a:gd name="connsiteY39" fmla="*/ 783431 h 973931"/>
                  <a:gd name="connsiteX40" fmla="*/ 538162 w 735806"/>
                  <a:gd name="connsiteY40" fmla="*/ 819150 h 973931"/>
                  <a:gd name="connsiteX41" fmla="*/ 540544 w 735806"/>
                  <a:gd name="connsiteY41" fmla="*/ 833437 h 973931"/>
                  <a:gd name="connsiteX42" fmla="*/ 288131 w 735806"/>
                  <a:gd name="connsiteY42" fmla="*/ 971550 h 973931"/>
                  <a:gd name="connsiteX43" fmla="*/ 273844 w 735806"/>
                  <a:gd name="connsiteY43" fmla="*/ 973931 h 973931"/>
                  <a:gd name="connsiteX44" fmla="*/ 264319 w 735806"/>
                  <a:gd name="connsiteY44" fmla="*/ 914400 h 973931"/>
                  <a:gd name="connsiteX45" fmla="*/ 142875 w 735806"/>
                  <a:gd name="connsiteY45" fmla="*/ 914400 h 973931"/>
                  <a:gd name="connsiteX46" fmla="*/ 142875 w 735806"/>
                  <a:gd name="connsiteY46" fmla="*/ 771525 h 973931"/>
                  <a:gd name="connsiteX47" fmla="*/ 157162 w 735806"/>
                  <a:gd name="connsiteY47" fmla="*/ 745331 h 973931"/>
                  <a:gd name="connsiteX48" fmla="*/ 171450 w 735806"/>
                  <a:gd name="connsiteY48" fmla="*/ 695325 h 973931"/>
                  <a:gd name="connsiteX49" fmla="*/ 133350 w 735806"/>
                  <a:gd name="connsiteY49" fmla="*/ 697706 h 973931"/>
                  <a:gd name="connsiteX50" fmla="*/ 138112 w 735806"/>
                  <a:gd name="connsiteY50" fmla="*/ 645318 h 973931"/>
                  <a:gd name="connsiteX51" fmla="*/ 92869 w 735806"/>
                  <a:gd name="connsiteY51" fmla="*/ 645318 h 973931"/>
                  <a:gd name="connsiteX52" fmla="*/ 71437 w 735806"/>
                  <a:gd name="connsiteY52" fmla="*/ 659606 h 973931"/>
                  <a:gd name="connsiteX53" fmla="*/ 76200 w 735806"/>
                  <a:gd name="connsiteY53" fmla="*/ 642937 h 973931"/>
                  <a:gd name="connsiteX54" fmla="*/ 30956 w 735806"/>
                  <a:gd name="connsiteY54" fmla="*/ 659606 h 973931"/>
                  <a:gd name="connsiteX55" fmla="*/ 16669 w 735806"/>
                  <a:gd name="connsiteY55" fmla="*/ 614362 h 973931"/>
                  <a:gd name="connsiteX56" fmla="*/ 35719 w 735806"/>
                  <a:gd name="connsiteY56" fmla="*/ 542925 h 973931"/>
                  <a:gd name="connsiteX57" fmla="*/ 97631 w 735806"/>
                  <a:gd name="connsiteY57" fmla="*/ 540543 h 973931"/>
                  <a:gd name="connsiteX58" fmla="*/ 0 w 735806"/>
                  <a:gd name="connsiteY58" fmla="*/ 414337 h 973931"/>
                  <a:gd name="connsiteX59" fmla="*/ 38100 w 735806"/>
                  <a:gd name="connsiteY59" fmla="*/ 354806 h 973931"/>
                  <a:gd name="connsiteX60" fmla="*/ 16669 w 735806"/>
                  <a:gd name="connsiteY60" fmla="*/ 333375 h 973931"/>
                  <a:gd name="connsiteX61" fmla="*/ 64294 w 735806"/>
                  <a:gd name="connsiteY61" fmla="*/ 316706 h 973931"/>
                  <a:gd name="connsiteX62" fmla="*/ 88106 w 735806"/>
                  <a:gd name="connsiteY62" fmla="*/ 233362 h 973931"/>
                  <a:gd name="connsiteX63" fmla="*/ 69056 w 735806"/>
                  <a:gd name="connsiteY63" fmla="*/ 216693 h 973931"/>
                  <a:gd name="connsiteX64" fmla="*/ 102394 w 735806"/>
                  <a:gd name="connsiteY64" fmla="*/ 140493 h 973931"/>
                  <a:gd name="connsiteX65" fmla="*/ 92869 w 735806"/>
                  <a:gd name="connsiteY65" fmla="*/ 104775 h 973931"/>
                  <a:gd name="connsiteX66" fmla="*/ 135731 w 735806"/>
                  <a:gd name="connsiteY66" fmla="*/ 64293 h 973931"/>
                  <a:gd name="connsiteX67" fmla="*/ 211931 w 735806"/>
                  <a:gd name="connsiteY67" fmla="*/ 133350 h 973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735806" h="973931">
                    <a:moveTo>
                      <a:pt x="211931" y="133350"/>
                    </a:moveTo>
                    <a:lnTo>
                      <a:pt x="266700" y="114300"/>
                    </a:lnTo>
                    <a:lnTo>
                      <a:pt x="254794" y="90487"/>
                    </a:lnTo>
                    <a:lnTo>
                      <a:pt x="314325" y="83343"/>
                    </a:lnTo>
                    <a:lnTo>
                      <a:pt x="326231" y="78581"/>
                    </a:lnTo>
                    <a:lnTo>
                      <a:pt x="378619" y="0"/>
                    </a:lnTo>
                    <a:lnTo>
                      <a:pt x="492919" y="71437"/>
                    </a:lnTo>
                    <a:lnTo>
                      <a:pt x="521494" y="4762"/>
                    </a:lnTo>
                    <a:lnTo>
                      <a:pt x="550069" y="11906"/>
                    </a:lnTo>
                    <a:lnTo>
                      <a:pt x="654844" y="11906"/>
                    </a:lnTo>
                    <a:lnTo>
                      <a:pt x="676275" y="66675"/>
                    </a:lnTo>
                    <a:lnTo>
                      <a:pt x="628650" y="64293"/>
                    </a:lnTo>
                    <a:lnTo>
                      <a:pt x="621506" y="116681"/>
                    </a:lnTo>
                    <a:lnTo>
                      <a:pt x="681037" y="157162"/>
                    </a:lnTo>
                    <a:lnTo>
                      <a:pt x="645319" y="190500"/>
                    </a:lnTo>
                    <a:lnTo>
                      <a:pt x="676275" y="264318"/>
                    </a:lnTo>
                    <a:lnTo>
                      <a:pt x="719137" y="288131"/>
                    </a:lnTo>
                    <a:lnTo>
                      <a:pt x="702469" y="323850"/>
                    </a:lnTo>
                    <a:lnTo>
                      <a:pt x="716756" y="347662"/>
                    </a:lnTo>
                    <a:lnTo>
                      <a:pt x="735806" y="354806"/>
                    </a:lnTo>
                    <a:lnTo>
                      <a:pt x="714375" y="378618"/>
                    </a:lnTo>
                    <a:lnTo>
                      <a:pt x="683419" y="357187"/>
                    </a:lnTo>
                    <a:lnTo>
                      <a:pt x="711994" y="397668"/>
                    </a:lnTo>
                    <a:lnTo>
                      <a:pt x="683419" y="419100"/>
                    </a:lnTo>
                    <a:lnTo>
                      <a:pt x="657225" y="385762"/>
                    </a:lnTo>
                    <a:lnTo>
                      <a:pt x="669131" y="421481"/>
                    </a:lnTo>
                    <a:lnTo>
                      <a:pt x="650081" y="440531"/>
                    </a:lnTo>
                    <a:lnTo>
                      <a:pt x="650081" y="481012"/>
                    </a:lnTo>
                    <a:lnTo>
                      <a:pt x="659606" y="504825"/>
                    </a:lnTo>
                    <a:lnTo>
                      <a:pt x="652462" y="521493"/>
                    </a:lnTo>
                    <a:lnTo>
                      <a:pt x="623887" y="538162"/>
                    </a:lnTo>
                    <a:lnTo>
                      <a:pt x="576262" y="542925"/>
                    </a:lnTo>
                    <a:lnTo>
                      <a:pt x="559594" y="571500"/>
                    </a:lnTo>
                    <a:lnTo>
                      <a:pt x="550069" y="595312"/>
                    </a:lnTo>
                    <a:lnTo>
                      <a:pt x="621506" y="697706"/>
                    </a:lnTo>
                    <a:lnTo>
                      <a:pt x="561975" y="738187"/>
                    </a:lnTo>
                    <a:lnTo>
                      <a:pt x="535781" y="731043"/>
                    </a:lnTo>
                    <a:lnTo>
                      <a:pt x="526256" y="731043"/>
                    </a:lnTo>
                    <a:lnTo>
                      <a:pt x="531019" y="769143"/>
                    </a:lnTo>
                    <a:lnTo>
                      <a:pt x="554831" y="783431"/>
                    </a:lnTo>
                    <a:lnTo>
                      <a:pt x="538162" y="819150"/>
                    </a:lnTo>
                    <a:lnTo>
                      <a:pt x="540544" y="833437"/>
                    </a:lnTo>
                    <a:lnTo>
                      <a:pt x="288131" y="971550"/>
                    </a:lnTo>
                    <a:lnTo>
                      <a:pt x="273844" y="973931"/>
                    </a:lnTo>
                    <a:lnTo>
                      <a:pt x="264319" y="914400"/>
                    </a:lnTo>
                    <a:lnTo>
                      <a:pt x="142875" y="914400"/>
                    </a:lnTo>
                    <a:lnTo>
                      <a:pt x="142875" y="771525"/>
                    </a:lnTo>
                    <a:lnTo>
                      <a:pt x="157162" y="745331"/>
                    </a:lnTo>
                    <a:lnTo>
                      <a:pt x="171450" y="695325"/>
                    </a:lnTo>
                    <a:lnTo>
                      <a:pt x="133350" y="697706"/>
                    </a:lnTo>
                    <a:lnTo>
                      <a:pt x="138112" y="645318"/>
                    </a:lnTo>
                    <a:lnTo>
                      <a:pt x="92869" y="645318"/>
                    </a:lnTo>
                    <a:lnTo>
                      <a:pt x="71437" y="659606"/>
                    </a:lnTo>
                    <a:lnTo>
                      <a:pt x="76200" y="642937"/>
                    </a:lnTo>
                    <a:lnTo>
                      <a:pt x="30956" y="659606"/>
                    </a:lnTo>
                    <a:lnTo>
                      <a:pt x="16669" y="614362"/>
                    </a:lnTo>
                    <a:lnTo>
                      <a:pt x="35719" y="542925"/>
                    </a:lnTo>
                    <a:lnTo>
                      <a:pt x="97631" y="540543"/>
                    </a:lnTo>
                    <a:lnTo>
                      <a:pt x="0" y="414337"/>
                    </a:lnTo>
                    <a:lnTo>
                      <a:pt x="38100" y="354806"/>
                    </a:lnTo>
                    <a:lnTo>
                      <a:pt x="16669" y="333375"/>
                    </a:lnTo>
                    <a:lnTo>
                      <a:pt x="64294" y="316706"/>
                    </a:lnTo>
                    <a:lnTo>
                      <a:pt x="88106" y="233362"/>
                    </a:lnTo>
                    <a:lnTo>
                      <a:pt x="69056" y="216693"/>
                    </a:lnTo>
                    <a:lnTo>
                      <a:pt x="102394" y="140493"/>
                    </a:lnTo>
                    <a:lnTo>
                      <a:pt x="92869" y="104775"/>
                    </a:lnTo>
                    <a:lnTo>
                      <a:pt x="135731" y="64293"/>
                    </a:lnTo>
                    <a:lnTo>
                      <a:pt x="211931" y="133350"/>
                    </a:lnTo>
                    <a:close/>
                  </a:path>
                </a:pathLst>
              </a:custGeom>
              <a:solidFill>
                <a:schemeClr val="accent3">
                  <a:lumMod val="20000"/>
                  <a:lumOff val="80000"/>
                </a:schemeClr>
              </a:solidFill>
              <a:ln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9" name="Oval 20">
              <a:extLst>
                <a:ext uri="{FF2B5EF4-FFF2-40B4-BE49-F238E27FC236}">
                  <a16:creationId xmlns:a16="http://schemas.microsoft.com/office/drawing/2014/main" id="{0458AD79-90CA-4B74-A5B0-53FE27FC910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021036" y="2687704"/>
              <a:ext cx="245528" cy="245528"/>
            </a:xfrm>
            <a:prstGeom prst="ellipse">
              <a:avLst/>
            </a:prstGeom>
            <a:solidFill>
              <a:srgbClr val="FFFF00"/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1</a:t>
              </a:r>
            </a:p>
          </p:txBody>
        </p:sp>
        <p:sp>
          <p:nvSpPr>
            <p:cNvPr id="40" name="Oval 20">
              <a:extLst>
                <a:ext uri="{FF2B5EF4-FFF2-40B4-BE49-F238E27FC236}">
                  <a16:creationId xmlns:a16="http://schemas.microsoft.com/office/drawing/2014/main" id="{493B03AA-7DC7-4D69-AFEA-6660FA3598A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654781" y="2687704"/>
              <a:ext cx="245528" cy="245528"/>
            </a:xfrm>
            <a:prstGeom prst="ellipse">
              <a:avLst/>
            </a:prstGeom>
            <a:solidFill>
              <a:srgbClr val="B9CAFF"/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2</a:t>
              </a:r>
            </a:p>
          </p:txBody>
        </p:sp>
        <p:sp>
          <p:nvSpPr>
            <p:cNvPr id="41" name="Oval 20">
              <a:extLst>
                <a:ext uri="{FF2B5EF4-FFF2-40B4-BE49-F238E27FC236}">
                  <a16:creationId xmlns:a16="http://schemas.microsoft.com/office/drawing/2014/main" id="{835D0296-4ED7-4EFD-912F-1BF73AD46F2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426704" y="2687704"/>
              <a:ext cx="245528" cy="245528"/>
            </a:xfrm>
            <a:prstGeom prst="ellipse">
              <a:avLst/>
            </a:prstGeom>
            <a:solidFill>
              <a:srgbClr val="FFC000"/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3</a:t>
              </a:r>
            </a:p>
          </p:txBody>
        </p:sp>
        <p:sp>
          <p:nvSpPr>
            <p:cNvPr id="42" name="Oval 20">
              <a:extLst>
                <a:ext uri="{FF2B5EF4-FFF2-40B4-BE49-F238E27FC236}">
                  <a16:creationId xmlns:a16="http://schemas.microsoft.com/office/drawing/2014/main" id="{A159B52E-4F2D-4FB8-A8A6-7913F56A99E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089228" y="2687704"/>
              <a:ext cx="245528" cy="245528"/>
            </a:xfrm>
            <a:prstGeom prst="ellipse">
              <a:avLst/>
            </a:prstGeom>
            <a:solidFill>
              <a:srgbClr val="70B8FF"/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4</a:t>
              </a:r>
            </a:p>
          </p:txBody>
        </p:sp>
        <p:sp>
          <p:nvSpPr>
            <p:cNvPr id="43" name="Oval 20">
              <a:extLst>
                <a:ext uri="{FF2B5EF4-FFF2-40B4-BE49-F238E27FC236}">
                  <a16:creationId xmlns:a16="http://schemas.microsoft.com/office/drawing/2014/main" id="{72DC81CB-CBB4-4CDF-B5CE-3AF02FDBB51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676581" y="3557541"/>
              <a:ext cx="245528" cy="245528"/>
            </a:xfrm>
            <a:prstGeom prst="ellipse">
              <a:avLst/>
            </a:prstGeom>
            <a:solidFill>
              <a:srgbClr val="DDF5D1"/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5</a:t>
              </a:r>
            </a:p>
          </p:txBody>
        </p:sp>
        <p:sp>
          <p:nvSpPr>
            <p:cNvPr id="44" name="Oval 20">
              <a:extLst>
                <a:ext uri="{FF2B5EF4-FFF2-40B4-BE49-F238E27FC236}">
                  <a16:creationId xmlns:a16="http://schemas.microsoft.com/office/drawing/2014/main" id="{B1A9A203-EB96-4D0D-BFD3-25CCDE256BD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981681" y="3875385"/>
              <a:ext cx="245528" cy="245528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6</a:t>
              </a:r>
            </a:p>
          </p:txBody>
        </p:sp>
        <p:sp>
          <p:nvSpPr>
            <p:cNvPr id="45" name="Oval 20">
              <a:extLst>
                <a:ext uri="{FF2B5EF4-FFF2-40B4-BE49-F238E27FC236}">
                  <a16:creationId xmlns:a16="http://schemas.microsoft.com/office/drawing/2014/main" id="{9654E922-7B08-4A08-BA19-30D2A855519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08225" y="4852374"/>
              <a:ext cx="245528" cy="245528"/>
            </a:xfrm>
            <a:prstGeom prst="ellipse">
              <a:avLst/>
            </a:prstGeom>
            <a:solidFill>
              <a:srgbClr val="FF7F7F"/>
            </a:solidFill>
            <a:ln w="7620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000"/>
                <a:t>7</a:t>
              </a: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E03807C-9C56-432D-BF92-00B9462E7A7B}"/>
                </a:ext>
              </a:extLst>
            </p:cNvPr>
            <p:cNvSpPr/>
            <p:nvPr/>
          </p:nvSpPr>
          <p:spPr>
            <a:xfrm>
              <a:off x="3127676" y="3843956"/>
              <a:ext cx="973931" cy="1250156"/>
            </a:xfrm>
            <a:custGeom>
              <a:avLst/>
              <a:gdLst>
                <a:gd name="connsiteX0" fmla="*/ 964406 w 973931"/>
                <a:gd name="connsiteY0" fmla="*/ 740569 h 1250156"/>
                <a:gd name="connsiteX1" fmla="*/ 919162 w 973931"/>
                <a:gd name="connsiteY1" fmla="*/ 790575 h 1250156"/>
                <a:gd name="connsiteX2" fmla="*/ 881062 w 973931"/>
                <a:gd name="connsiteY2" fmla="*/ 804863 h 1250156"/>
                <a:gd name="connsiteX3" fmla="*/ 859631 w 973931"/>
                <a:gd name="connsiteY3" fmla="*/ 814388 h 1250156"/>
                <a:gd name="connsiteX4" fmla="*/ 862012 w 973931"/>
                <a:gd name="connsiteY4" fmla="*/ 842963 h 1250156"/>
                <a:gd name="connsiteX5" fmla="*/ 852487 w 973931"/>
                <a:gd name="connsiteY5" fmla="*/ 847725 h 1250156"/>
                <a:gd name="connsiteX6" fmla="*/ 845343 w 973931"/>
                <a:gd name="connsiteY6" fmla="*/ 838200 h 1250156"/>
                <a:gd name="connsiteX7" fmla="*/ 831056 w 973931"/>
                <a:gd name="connsiteY7" fmla="*/ 835819 h 1250156"/>
                <a:gd name="connsiteX8" fmla="*/ 821531 w 973931"/>
                <a:gd name="connsiteY8" fmla="*/ 835819 h 1250156"/>
                <a:gd name="connsiteX9" fmla="*/ 828675 w 973931"/>
                <a:gd name="connsiteY9" fmla="*/ 862013 h 1250156"/>
                <a:gd name="connsiteX10" fmla="*/ 838200 w 973931"/>
                <a:gd name="connsiteY10" fmla="*/ 890588 h 1250156"/>
                <a:gd name="connsiteX11" fmla="*/ 826293 w 973931"/>
                <a:gd name="connsiteY11" fmla="*/ 907256 h 1250156"/>
                <a:gd name="connsiteX12" fmla="*/ 812006 w 973931"/>
                <a:gd name="connsiteY12" fmla="*/ 919163 h 1250156"/>
                <a:gd name="connsiteX13" fmla="*/ 809625 w 973931"/>
                <a:gd name="connsiteY13" fmla="*/ 895350 h 1250156"/>
                <a:gd name="connsiteX14" fmla="*/ 819150 w 973931"/>
                <a:gd name="connsiteY14" fmla="*/ 883444 h 1250156"/>
                <a:gd name="connsiteX15" fmla="*/ 816768 w 973931"/>
                <a:gd name="connsiteY15" fmla="*/ 876300 h 1250156"/>
                <a:gd name="connsiteX16" fmla="*/ 802481 w 973931"/>
                <a:gd name="connsiteY16" fmla="*/ 876300 h 1250156"/>
                <a:gd name="connsiteX17" fmla="*/ 788193 w 973931"/>
                <a:gd name="connsiteY17" fmla="*/ 871538 h 1250156"/>
                <a:gd name="connsiteX18" fmla="*/ 776287 w 973931"/>
                <a:gd name="connsiteY18" fmla="*/ 869156 h 1250156"/>
                <a:gd name="connsiteX19" fmla="*/ 773906 w 973931"/>
                <a:gd name="connsiteY19" fmla="*/ 862013 h 1250156"/>
                <a:gd name="connsiteX20" fmla="*/ 788193 w 973931"/>
                <a:gd name="connsiteY20" fmla="*/ 828675 h 1250156"/>
                <a:gd name="connsiteX21" fmla="*/ 773906 w 973931"/>
                <a:gd name="connsiteY21" fmla="*/ 823913 h 1250156"/>
                <a:gd name="connsiteX22" fmla="*/ 747712 w 973931"/>
                <a:gd name="connsiteY22" fmla="*/ 852488 h 1250156"/>
                <a:gd name="connsiteX23" fmla="*/ 752475 w 973931"/>
                <a:gd name="connsiteY23" fmla="*/ 873919 h 1250156"/>
                <a:gd name="connsiteX24" fmla="*/ 762000 w 973931"/>
                <a:gd name="connsiteY24" fmla="*/ 890588 h 1250156"/>
                <a:gd name="connsiteX25" fmla="*/ 757237 w 973931"/>
                <a:gd name="connsiteY25" fmla="*/ 914400 h 1250156"/>
                <a:gd name="connsiteX26" fmla="*/ 759618 w 973931"/>
                <a:gd name="connsiteY26" fmla="*/ 933450 h 1250156"/>
                <a:gd name="connsiteX27" fmla="*/ 747712 w 973931"/>
                <a:gd name="connsiteY27" fmla="*/ 942975 h 1250156"/>
                <a:gd name="connsiteX28" fmla="*/ 745331 w 973931"/>
                <a:gd name="connsiteY28" fmla="*/ 921544 h 1250156"/>
                <a:gd name="connsiteX29" fmla="*/ 728662 w 973931"/>
                <a:gd name="connsiteY29" fmla="*/ 907256 h 1250156"/>
                <a:gd name="connsiteX30" fmla="*/ 716756 w 973931"/>
                <a:gd name="connsiteY30" fmla="*/ 895350 h 1250156"/>
                <a:gd name="connsiteX31" fmla="*/ 709612 w 973931"/>
                <a:gd name="connsiteY31" fmla="*/ 895350 h 1250156"/>
                <a:gd name="connsiteX32" fmla="*/ 711993 w 973931"/>
                <a:gd name="connsiteY32" fmla="*/ 914400 h 1250156"/>
                <a:gd name="connsiteX33" fmla="*/ 721518 w 973931"/>
                <a:gd name="connsiteY33" fmla="*/ 938213 h 1250156"/>
                <a:gd name="connsiteX34" fmla="*/ 719137 w 973931"/>
                <a:gd name="connsiteY34" fmla="*/ 950119 h 1250156"/>
                <a:gd name="connsiteX35" fmla="*/ 716756 w 973931"/>
                <a:gd name="connsiteY35" fmla="*/ 973931 h 1250156"/>
                <a:gd name="connsiteX36" fmla="*/ 711993 w 973931"/>
                <a:gd name="connsiteY36" fmla="*/ 995363 h 1250156"/>
                <a:gd name="connsiteX37" fmla="*/ 700087 w 973931"/>
                <a:gd name="connsiteY37" fmla="*/ 995363 h 1250156"/>
                <a:gd name="connsiteX38" fmla="*/ 678656 w 973931"/>
                <a:gd name="connsiteY38" fmla="*/ 988219 h 1250156"/>
                <a:gd name="connsiteX39" fmla="*/ 664368 w 973931"/>
                <a:gd name="connsiteY39" fmla="*/ 985838 h 1250156"/>
                <a:gd name="connsiteX40" fmla="*/ 638175 w 973931"/>
                <a:gd name="connsiteY40" fmla="*/ 981075 h 1250156"/>
                <a:gd name="connsiteX41" fmla="*/ 647700 w 973931"/>
                <a:gd name="connsiteY41" fmla="*/ 1002506 h 1250156"/>
                <a:gd name="connsiteX42" fmla="*/ 661987 w 973931"/>
                <a:gd name="connsiteY42" fmla="*/ 1012031 h 1250156"/>
                <a:gd name="connsiteX43" fmla="*/ 671512 w 973931"/>
                <a:gd name="connsiteY43" fmla="*/ 1019175 h 1250156"/>
                <a:gd name="connsiteX44" fmla="*/ 664368 w 973931"/>
                <a:gd name="connsiteY44" fmla="*/ 1028700 h 1250156"/>
                <a:gd name="connsiteX45" fmla="*/ 657225 w 973931"/>
                <a:gd name="connsiteY45" fmla="*/ 1031081 h 1250156"/>
                <a:gd name="connsiteX46" fmla="*/ 640556 w 973931"/>
                <a:gd name="connsiteY46" fmla="*/ 1033463 h 1250156"/>
                <a:gd name="connsiteX47" fmla="*/ 626268 w 973931"/>
                <a:gd name="connsiteY47" fmla="*/ 1033463 h 1250156"/>
                <a:gd name="connsiteX48" fmla="*/ 614362 w 973931"/>
                <a:gd name="connsiteY48" fmla="*/ 1019175 h 1250156"/>
                <a:gd name="connsiteX49" fmla="*/ 604837 w 973931"/>
                <a:gd name="connsiteY49" fmla="*/ 1007269 h 1250156"/>
                <a:gd name="connsiteX50" fmla="*/ 592931 w 973931"/>
                <a:gd name="connsiteY50" fmla="*/ 997744 h 1250156"/>
                <a:gd name="connsiteX51" fmla="*/ 602456 w 973931"/>
                <a:gd name="connsiteY51" fmla="*/ 1028700 h 1250156"/>
                <a:gd name="connsiteX52" fmla="*/ 616743 w 973931"/>
                <a:gd name="connsiteY52" fmla="*/ 1062038 h 1250156"/>
                <a:gd name="connsiteX53" fmla="*/ 616743 w 973931"/>
                <a:gd name="connsiteY53" fmla="*/ 1092994 h 1250156"/>
                <a:gd name="connsiteX54" fmla="*/ 600075 w 973931"/>
                <a:gd name="connsiteY54" fmla="*/ 1112044 h 1250156"/>
                <a:gd name="connsiteX55" fmla="*/ 595312 w 973931"/>
                <a:gd name="connsiteY55" fmla="*/ 1062038 h 1250156"/>
                <a:gd name="connsiteX56" fmla="*/ 595312 w 973931"/>
                <a:gd name="connsiteY56" fmla="*/ 1062038 h 1250156"/>
                <a:gd name="connsiteX57" fmla="*/ 581025 w 973931"/>
                <a:gd name="connsiteY57" fmla="*/ 1026319 h 1250156"/>
                <a:gd name="connsiteX58" fmla="*/ 571500 w 973931"/>
                <a:gd name="connsiteY58" fmla="*/ 1019175 h 1250156"/>
                <a:gd name="connsiteX59" fmla="*/ 557212 w 973931"/>
                <a:gd name="connsiteY59" fmla="*/ 1016794 h 1250156"/>
                <a:gd name="connsiteX60" fmla="*/ 552450 w 973931"/>
                <a:gd name="connsiteY60" fmla="*/ 1014413 h 1250156"/>
                <a:gd name="connsiteX61" fmla="*/ 545306 w 973931"/>
                <a:gd name="connsiteY61" fmla="*/ 990600 h 1250156"/>
                <a:gd name="connsiteX62" fmla="*/ 545306 w 973931"/>
                <a:gd name="connsiteY62" fmla="*/ 971550 h 1250156"/>
                <a:gd name="connsiteX63" fmla="*/ 545306 w 973931"/>
                <a:gd name="connsiteY63" fmla="*/ 954881 h 1250156"/>
                <a:gd name="connsiteX64" fmla="*/ 540543 w 973931"/>
                <a:gd name="connsiteY64" fmla="*/ 950119 h 1250156"/>
                <a:gd name="connsiteX65" fmla="*/ 535781 w 973931"/>
                <a:gd name="connsiteY65" fmla="*/ 997744 h 1250156"/>
                <a:gd name="connsiteX66" fmla="*/ 540543 w 973931"/>
                <a:gd name="connsiteY66" fmla="*/ 1035844 h 1250156"/>
                <a:gd name="connsiteX67" fmla="*/ 561975 w 973931"/>
                <a:gd name="connsiteY67" fmla="*/ 1073944 h 1250156"/>
                <a:gd name="connsiteX68" fmla="*/ 561975 w 973931"/>
                <a:gd name="connsiteY68" fmla="*/ 1100138 h 1250156"/>
                <a:gd name="connsiteX69" fmla="*/ 538162 w 973931"/>
                <a:gd name="connsiteY69" fmla="*/ 1073944 h 1250156"/>
                <a:gd name="connsiteX70" fmla="*/ 533400 w 973931"/>
                <a:gd name="connsiteY70" fmla="*/ 1050131 h 1250156"/>
                <a:gd name="connsiteX71" fmla="*/ 519112 w 973931"/>
                <a:gd name="connsiteY71" fmla="*/ 1047750 h 1250156"/>
                <a:gd name="connsiteX72" fmla="*/ 519112 w 973931"/>
                <a:gd name="connsiteY72" fmla="*/ 1071563 h 1250156"/>
                <a:gd name="connsiteX73" fmla="*/ 519112 w 973931"/>
                <a:gd name="connsiteY73" fmla="*/ 1104900 h 1250156"/>
                <a:gd name="connsiteX74" fmla="*/ 502443 w 973931"/>
                <a:gd name="connsiteY74" fmla="*/ 1076325 h 1250156"/>
                <a:gd name="connsiteX75" fmla="*/ 488156 w 973931"/>
                <a:gd name="connsiteY75" fmla="*/ 1071563 h 1250156"/>
                <a:gd name="connsiteX76" fmla="*/ 490537 w 973931"/>
                <a:gd name="connsiteY76" fmla="*/ 1095375 h 1250156"/>
                <a:gd name="connsiteX77" fmla="*/ 507206 w 973931"/>
                <a:gd name="connsiteY77" fmla="*/ 1116806 h 1250156"/>
                <a:gd name="connsiteX78" fmla="*/ 519112 w 973931"/>
                <a:gd name="connsiteY78" fmla="*/ 1138238 h 1250156"/>
                <a:gd name="connsiteX79" fmla="*/ 523875 w 973931"/>
                <a:gd name="connsiteY79" fmla="*/ 1162050 h 1250156"/>
                <a:gd name="connsiteX80" fmla="*/ 504825 w 973931"/>
                <a:gd name="connsiteY80" fmla="*/ 1166813 h 1250156"/>
                <a:gd name="connsiteX81" fmla="*/ 497681 w 973931"/>
                <a:gd name="connsiteY81" fmla="*/ 1169194 h 1250156"/>
                <a:gd name="connsiteX82" fmla="*/ 495300 w 973931"/>
                <a:gd name="connsiteY82" fmla="*/ 1178719 h 1250156"/>
                <a:gd name="connsiteX83" fmla="*/ 492918 w 973931"/>
                <a:gd name="connsiteY83" fmla="*/ 1197769 h 1250156"/>
                <a:gd name="connsiteX84" fmla="*/ 476250 w 973931"/>
                <a:gd name="connsiteY84" fmla="*/ 1188244 h 1250156"/>
                <a:gd name="connsiteX85" fmla="*/ 464343 w 973931"/>
                <a:gd name="connsiteY85" fmla="*/ 1157288 h 1250156"/>
                <a:gd name="connsiteX86" fmla="*/ 438150 w 973931"/>
                <a:gd name="connsiteY86" fmla="*/ 1152525 h 1250156"/>
                <a:gd name="connsiteX87" fmla="*/ 459581 w 973931"/>
                <a:gd name="connsiteY87" fmla="*/ 1188244 h 1250156"/>
                <a:gd name="connsiteX88" fmla="*/ 464343 w 973931"/>
                <a:gd name="connsiteY88" fmla="*/ 1204913 h 1250156"/>
                <a:gd name="connsiteX89" fmla="*/ 440531 w 973931"/>
                <a:gd name="connsiteY89" fmla="*/ 1204913 h 1250156"/>
                <a:gd name="connsiteX90" fmla="*/ 433387 w 973931"/>
                <a:gd name="connsiteY90" fmla="*/ 1204913 h 1250156"/>
                <a:gd name="connsiteX91" fmla="*/ 421481 w 973931"/>
                <a:gd name="connsiteY91" fmla="*/ 1204913 h 1250156"/>
                <a:gd name="connsiteX92" fmla="*/ 411956 w 973931"/>
                <a:gd name="connsiteY92" fmla="*/ 1209675 h 1250156"/>
                <a:gd name="connsiteX93" fmla="*/ 404812 w 973931"/>
                <a:gd name="connsiteY93" fmla="*/ 1228725 h 1250156"/>
                <a:gd name="connsiteX94" fmla="*/ 397668 w 973931"/>
                <a:gd name="connsiteY94" fmla="*/ 1250156 h 1250156"/>
                <a:gd name="connsiteX95" fmla="*/ 385762 w 973931"/>
                <a:gd name="connsiteY95" fmla="*/ 1223963 h 1250156"/>
                <a:gd name="connsiteX96" fmla="*/ 364331 w 973931"/>
                <a:gd name="connsiteY96" fmla="*/ 1209675 h 1250156"/>
                <a:gd name="connsiteX97" fmla="*/ 340518 w 973931"/>
                <a:gd name="connsiteY97" fmla="*/ 1207294 h 1250156"/>
                <a:gd name="connsiteX98" fmla="*/ 347662 w 973931"/>
                <a:gd name="connsiteY98" fmla="*/ 1188244 h 1250156"/>
                <a:gd name="connsiteX99" fmla="*/ 373856 w 973931"/>
                <a:gd name="connsiteY99" fmla="*/ 1178719 h 1250156"/>
                <a:gd name="connsiteX100" fmla="*/ 388143 w 973931"/>
                <a:gd name="connsiteY100" fmla="*/ 1169194 h 1250156"/>
                <a:gd name="connsiteX101" fmla="*/ 378618 w 973931"/>
                <a:gd name="connsiteY101" fmla="*/ 1150144 h 1250156"/>
                <a:gd name="connsiteX102" fmla="*/ 373856 w 973931"/>
                <a:gd name="connsiteY102" fmla="*/ 1131094 h 1250156"/>
                <a:gd name="connsiteX103" fmla="*/ 364331 w 973931"/>
                <a:gd name="connsiteY103" fmla="*/ 1107281 h 1250156"/>
                <a:gd name="connsiteX104" fmla="*/ 364331 w 973931"/>
                <a:gd name="connsiteY104" fmla="*/ 1083469 h 1250156"/>
                <a:gd name="connsiteX105" fmla="*/ 359568 w 973931"/>
                <a:gd name="connsiteY105" fmla="*/ 1131094 h 1250156"/>
                <a:gd name="connsiteX106" fmla="*/ 369093 w 973931"/>
                <a:gd name="connsiteY106" fmla="*/ 1181100 h 1250156"/>
                <a:gd name="connsiteX107" fmla="*/ 338137 w 973931"/>
                <a:gd name="connsiteY107" fmla="*/ 1185863 h 1250156"/>
                <a:gd name="connsiteX108" fmla="*/ 328612 w 973931"/>
                <a:gd name="connsiteY108" fmla="*/ 1159669 h 1250156"/>
                <a:gd name="connsiteX109" fmla="*/ 307181 w 973931"/>
                <a:gd name="connsiteY109" fmla="*/ 1152525 h 1250156"/>
                <a:gd name="connsiteX110" fmla="*/ 323850 w 973931"/>
                <a:gd name="connsiteY110" fmla="*/ 1178719 h 1250156"/>
                <a:gd name="connsiteX111" fmla="*/ 330993 w 973931"/>
                <a:gd name="connsiteY111" fmla="*/ 1214438 h 1250156"/>
                <a:gd name="connsiteX112" fmla="*/ 311943 w 973931"/>
                <a:gd name="connsiteY112" fmla="*/ 1233488 h 1250156"/>
                <a:gd name="connsiteX113" fmla="*/ 295275 w 973931"/>
                <a:gd name="connsiteY113" fmla="*/ 1238250 h 1250156"/>
                <a:gd name="connsiteX114" fmla="*/ 292893 w 973931"/>
                <a:gd name="connsiteY114" fmla="*/ 1190625 h 1250156"/>
                <a:gd name="connsiteX115" fmla="*/ 300037 w 973931"/>
                <a:gd name="connsiteY115" fmla="*/ 1138238 h 1250156"/>
                <a:gd name="connsiteX116" fmla="*/ 285750 w 973931"/>
                <a:gd name="connsiteY116" fmla="*/ 1104900 h 1250156"/>
                <a:gd name="connsiteX117" fmla="*/ 285750 w 973931"/>
                <a:gd name="connsiteY117" fmla="*/ 1071563 h 1250156"/>
                <a:gd name="connsiteX118" fmla="*/ 276225 w 973931"/>
                <a:gd name="connsiteY118" fmla="*/ 1057275 h 1250156"/>
                <a:gd name="connsiteX119" fmla="*/ 276225 w 973931"/>
                <a:gd name="connsiteY119" fmla="*/ 1026319 h 1250156"/>
                <a:gd name="connsiteX120" fmla="*/ 283368 w 973931"/>
                <a:gd name="connsiteY120" fmla="*/ 1009650 h 1250156"/>
                <a:gd name="connsiteX121" fmla="*/ 295275 w 973931"/>
                <a:gd name="connsiteY121" fmla="*/ 971550 h 1250156"/>
                <a:gd name="connsiteX122" fmla="*/ 273843 w 973931"/>
                <a:gd name="connsiteY122" fmla="*/ 969169 h 1250156"/>
                <a:gd name="connsiteX123" fmla="*/ 242887 w 973931"/>
                <a:gd name="connsiteY123" fmla="*/ 966788 h 1250156"/>
                <a:gd name="connsiteX124" fmla="*/ 223837 w 973931"/>
                <a:gd name="connsiteY124" fmla="*/ 957263 h 1250156"/>
                <a:gd name="connsiteX125" fmla="*/ 209550 w 973931"/>
                <a:gd name="connsiteY125" fmla="*/ 942975 h 1250156"/>
                <a:gd name="connsiteX126" fmla="*/ 230981 w 973931"/>
                <a:gd name="connsiteY126" fmla="*/ 919163 h 1250156"/>
                <a:gd name="connsiteX127" fmla="*/ 261937 w 973931"/>
                <a:gd name="connsiteY127" fmla="*/ 900113 h 1250156"/>
                <a:gd name="connsiteX128" fmla="*/ 285750 w 973931"/>
                <a:gd name="connsiteY128" fmla="*/ 878681 h 1250156"/>
                <a:gd name="connsiteX129" fmla="*/ 309562 w 973931"/>
                <a:gd name="connsiteY129" fmla="*/ 828675 h 1250156"/>
                <a:gd name="connsiteX130" fmla="*/ 330993 w 973931"/>
                <a:gd name="connsiteY130" fmla="*/ 790575 h 1250156"/>
                <a:gd name="connsiteX131" fmla="*/ 323850 w 973931"/>
                <a:gd name="connsiteY131" fmla="*/ 762000 h 1250156"/>
                <a:gd name="connsiteX132" fmla="*/ 323850 w 973931"/>
                <a:gd name="connsiteY132" fmla="*/ 738188 h 1250156"/>
                <a:gd name="connsiteX133" fmla="*/ 323850 w 973931"/>
                <a:gd name="connsiteY133" fmla="*/ 723900 h 1250156"/>
                <a:gd name="connsiteX134" fmla="*/ 311943 w 973931"/>
                <a:gd name="connsiteY134" fmla="*/ 714375 h 1250156"/>
                <a:gd name="connsiteX135" fmla="*/ 302418 w 973931"/>
                <a:gd name="connsiteY135" fmla="*/ 742950 h 1250156"/>
                <a:gd name="connsiteX136" fmla="*/ 304800 w 973931"/>
                <a:gd name="connsiteY136" fmla="*/ 776288 h 1250156"/>
                <a:gd name="connsiteX137" fmla="*/ 290512 w 973931"/>
                <a:gd name="connsiteY137" fmla="*/ 826294 h 1250156"/>
                <a:gd name="connsiteX138" fmla="*/ 259556 w 973931"/>
                <a:gd name="connsiteY138" fmla="*/ 869156 h 1250156"/>
                <a:gd name="connsiteX139" fmla="*/ 228600 w 973931"/>
                <a:gd name="connsiteY139" fmla="*/ 900113 h 1250156"/>
                <a:gd name="connsiteX140" fmla="*/ 209550 w 973931"/>
                <a:gd name="connsiteY140" fmla="*/ 902494 h 1250156"/>
                <a:gd name="connsiteX141" fmla="*/ 200025 w 973931"/>
                <a:gd name="connsiteY141" fmla="*/ 900113 h 1250156"/>
                <a:gd name="connsiteX142" fmla="*/ 195262 w 973931"/>
                <a:gd name="connsiteY142" fmla="*/ 885825 h 1250156"/>
                <a:gd name="connsiteX143" fmla="*/ 195262 w 973931"/>
                <a:gd name="connsiteY143" fmla="*/ 876300 h 1250156"/>
                <a:gd name="connsiteX144" fmla="*/ 183356 w 973931"/>
                <a:gd name="connsiteY144" fmla="*/ 873919 h 1250156"/>
                <a:gd name="connsiteX145" fmla="*/ 180975 w 973931"/>
                <a:gd name="connsiteY145" fmla="*/ 888206 h 1250156"/>
                <a:gd name="connsiteX146" fmla="*/ 180975 w 973931"/>
                <a:gd name="connsiteY146" fmla="*/ 909638 h 1250156"/>
                <a:gd name="connsiteX147" fmla="*/ 164306 w 973931"/>
                <a:gd name="connsiteY147" fmla="*/ 902494 h 1250156"/>
                <a:gd name="connsiteX148" fmla="*/ 159543 w 973931"/>
                <a:gd name="connsiteY148" fmla="*/ 866775 h 1250156"/>
                <a:gd name="connsiteX149" fmla="*/ 138112 w 973931"/>
                <a:gd name="connsiteY149" fmla="*/ 850106 h 1250156"/>
                <a:gd name="connsiteX150" fmla="*/ 111918 w 973931"/>
                <a:gd name="connsiteY150" fmla="*/ 828675 h 1250156"/>
                <a:gd name="connsiteX151" fmla="*/ 83343 w 973931"/>
                <a:gd name="connsiteY151" fmla="*/ 804863 h 1250156"/>
                <a:gd name="connsiteX152" fmla="*/ 61912 w 973931"/>
                <a:gd name="connsiteY152" fmla="*/ 788194 h 1250156"/>
                <a:gd name="connsiteX153" fmla="*/ 42862 w 973931"/>
                <a:gd name="connsiteY153" fmla="*/ 747713 h 1250156"/>
                <a:gd name="connsiteX154" fmla="*/ 52387 w 973931"/>
                <a:gd name="connsiteY154" fmla="*/ 721519 h 1250156"/>
                <a:gd name="connsiteX155" fmla="*/ 61912 w 973931"/>
                <a:gd name="connsiteY155" fmla="*/ 688181 h 1250156"/>
                <a:gd name="connsiteX156" fmla="*/ 61912 w 973931"/>
                <a:gd name="connsiteY156" fmla="*/ 669131 h 1250156"/>
                <a:gd name="connsiteX157" fmla="*/ 59531 w 973931"/>
                <a:gd name="connsiteY157" fmla="*/ 640556 h 1250156"/>
                <a:gd name="connsiteX158" fmla="*/ 59531 w 973931"/>
                <a:gd name="connsiteY158" fmla="*/ 628650 h 1250156"/>
                <a:gd name="connsiteX159" fmla="*/ 59531 w 973931"/>
                <a:gd name="connsiteY159" fmla="*/ 614363 h 1250156"/>
                <a:gd name="connsiteX160" fmla="*/ 59531 w 973931"/>
                <a:gd name="connsiteY160" fmla="*/ 607219 h 1250156"/>
                <a:gd name="connsiteX161" fmla="*/ 33337 w 973931"/>
                <a:gd name="connsiteY161" fmla="*/ 616744 h 1250156"/>
                <a:gd name="connsiteX162" fmla="*/ 11906 w 973931"/>
                <a:gd name="connsiteY162" fmla="*/ 623888 h 1250156"/>
                <a:gd name="connsiteX163" fmla="*/ 0 w 973931"/>
                <a:gd name="connsiteY163" fmla="*/ 626269 h 1250156"/>
                <a:gd name="connsiteX164" fmla="*/ 0 w 973931"/>
                <a:gd name="connsiteY164" fmla="*/ 564356 h 1250156"/>
                <a:gd name="connsiteX165" fmla="*/ 2381 w 973931"/>
                <a:gd name="connsiteY165" fmla="*/ 507206 h 1250156"/>
                <a:gd name="connsiteX166" fmla="*/ 2381 w 973931"/>
                <a:gd name="connsiteY166" fmla="*/ 483394 h 1250156"/>
                <a:gd name="connsiteX167" fmla="*/ 19050 w 973931"/>
                <a:gd name="connsiteY167" fmla="*/ 473869 h 1250156"/>
                <a:gd name="connsiteX168" fmla="*/ 88106 w 973931"/>
                <a:gd name="connsiteY168" fmla="*/ 447675 h 1250156"/>
                <a:gd name="connsiteX169" fmla="*/ 154781 w 973931"/>
                <a:gd name="connsiteY169" fmla="*/ 419100 h 1250156"/>
                <a:gd name="connsiteX170" fmla="*/ 235743 w 973931"/>
                <a:gd name="connsiteY170" fmla="*/ 369094 h 1250156"/>
                <a:gd name="connsiteX171" fmla="*/ 269081 w 973931"/>
                <a:gd name="connsiteY171" fmla="*/ 350044 h 1250156"/>
                <a:gd name="connsiteX172" fmla="*/ 283368 w 973931"/>
                <a:gd name="connsiteY172" fmla="*/ 326231 h 1250156"/>
                <a:gd name="connsiteX173" fmla="*/ 285750 w 973931"/>
                <a:gd name="connsiteY173" fmla="*/ 295275 h 1250156"/>
                <a:gd name="connsiteX174" fmla="*/ 273843 w 973931"/>
                <a:gd name="connsiteY174" fmla="*/ 269081 h 1250156"/>
                <a:gd name="connsiteX175" fmla="*/ 264318 w 973931"/>
                <a:gd name="connsiteY175" fmla="*/ 247650 h 1250156"/>
                <a:gd name="connsiteX176" fmla="*/ 264318 w 973931"/>
                <a:gd name="connsiteY176" fmla="*/ 235744 h 1250156"/>
                <a:gd name="connsiteX177" fmla="*/ 302418 w 973931"/>
                <a:gd name="connsiteY177" fmla="*/ 230981 h 1250156"/>
                <a:gd name="connsiteX178" fmla="*/ 338137 w 973931"/>
                <a:gd name="connsiteY178" fmla="*/ 223838 h 1250156"/>
                <a:gd name="connsiteX179" fmla="*/ 361950 w 973931"/>
                <a:gd name="connsiteY179" fmla="*/ 209550 h 1250156"/>
                <a:gd name="connsiteX180" fmla="*/ 342900 w 973931"/>
                <a:gd name="connsiteY180" fmla="*/ 178594 h 1250156"/>
                <a:gd name="connsiteX181" fmla="*/ 297656 w 973931"/>
                <a:gd name="connsiteY181" fmla="*/ 119063 h 1250156"/>
                <a:gd name="connsiteX182" fmla="*/ 285750 w 973931"/>
                <a:gd name="connsiteY182" fmla="*/ 109538 h 1250156"/>
                <a:gd name="connsiteX183" fmla="*/ 290512 w 973931"/>
                <a:gd name="connsiteY183" fmla="*/ 88106 h 1250156"/>
                <a:gd name="connsiteX184" fmla="*/ 311943 w 973931"/>
                <a:gd name="connsiteY184" fmla="*/ 71438 h 1250156"/>
                <a:gd name="connsiteX185" fmla="*/ 311943 w 973931"/>
                <a:gd name="connsiteY185" fmla="*/ 54769 h 1250156"/>
                <a:gd name="connsiteX186" fmla="*/ 347662 w 973931"/>
                <a:gd name="connsiteY186" fmla="*/ 38100 h 1250156"/>
                <a:gd name="connsiteX187" fmla="*/ 361950 w 973931"/>
                <a:gd name="connsiteY187" fmla="*/ 42863 h 1250156"/>
                <a:gd name="connsiteX188" fmla="*/ 376237 w 973931"/>
                <a:gd name="connsiteY188" fmla="*/ 38100 h 1250156"/>
                <a:gd name="connsiteX189" fmla="*/ 383381 w 973931"/>
                <a:gd name="connsiteY189" fmla="*/ 26194 h 1250156"/>
                <a:gd name="connsiteX190" fmla="*/ 392906 w 973931"/>
                <a:gd name="connsiteY190" fmla="*/ 11906 h 1250156"/>
                <a:gd name="connsiteX191" fmla="*/ 397668 w 973931"/>
                <a:gd name="connsiteY191" fmla="*/ 0 h 1250156"/>
                <a:gd name="connsiteX192" fmla="*/ 404812 w 973931"/>
                <a:gd name="connsiteY192" fmla="*/ 4763 h 1250156"/>
                <a:gd name="connsiteX193" fmla="*/ 419100 w 973931"/>
                <a:gd name="connsiteY193" fmla="*/ 26194 h 1250156"/>
                <a:gd name="connsiteX194" fmla="*/ 440531 w 973931"/>
                <a:gd name="connsiteY194" fmla="*/ 42863 h 1250156"/>
                <a:gd name="connsiteX195" fmla="*/ 454818 w 973931"/>
                <a:gd name="connsiteY195" fmla="*/ 66675 h 1250156"/>
                <a:gd name="connsiteX196" fmla="*/ 461962 w 973931"/>
                <a:gd name="connsiteY196" fmla="*/ 90488 h 1250156"/>
                <a:gd name="connsiteX197" fmla="*/ 471487 w 973931"/>
                <a:gd name="connsiteY197" fmla="*/ 100013 h 1250156"/>
                <a:gd name="connsiteX198" fmla="*/ 490537 w 973931"/>
                <a:gd name="connsiteY198" fmla="*/ 90488 h 1250156"/>
                <a:gd name="connsiteX199" fmla="*/ 478631 w 973931"/>
                <a:gd name="connsiteY199" fmla="*/ 66675 h 1250156"/>
                <a:gd name="connsiteX200" fmla="*/ 490537 w 973931"/>
                <a:gd name="connsiteY200" fmla="*/ 57150 h 1250156"/>
                <a:gd name="connsiteX201" fmla="*/ 490537 w 973931"/>
                <a:gd name="connsiteY201" fmla="*/ 57150 h 1250156"/>
                <a:gd name="connsiteX202" fmla="*/ 516731 w 973931"/>
                <a:gd name="connsiteY202" fmla="*/ 52388 h 1250156"/>
                <a:gd name="connsiteX203" fmla="*/ 521493 w 973931"/>
                <a:gd name="connsiteY203" fmla="*/ 66675 h 1250156"/>
                <a:gd name="connsiteX204" fmla="*/ 516731 w 973931"/>
                <a:gd name="connsiteY204" fmla="*/ 95250 h 1250156"/>
                <a:gd name="connsiteX205" fmla="*/ 533400 w 973931"/>
                <a:gd name="connsiteY205" fmla="*/ 97631 h 1250156"/>
                <a:gd name="connsiteX206" fmla="*/ 533400 w 973931"/>
                <a:gd name="connsiteY206" fmla="*/ 57150 h 1250156"/>
                <a:gd name="connsiteX207" fmla="*/ 533400 w 973931"/>
                <a:gd name="connsiteY207" fmla="*/ 57150 h 1250156"/>
                <a:gd name="connsiteX208" fmla="*/ 561975 w 973931"/>
                <a:gd name="connsiteY208" fmla="*/ 57150 h 1250156"/>
                <a:gd name="connsiteX209" fmla="*/ 571500 w 973931"/>
                <a:gd name="connsiteY209" fmla="*/ 71438 h 1250156"/>
                <a:gd name="connsiteX210" fmla="*/ 573881 w 973931"/>
                <a:gd name="connsiteY210" fmla="*/ 35719 h 1250156"/>
                <a:gd name="connsiteX211" fmla="*/ 578643 w 973931"/>
                <a:gd name="connsiteY211" fmla="*/ 28575 h 1250156"/>
                <a:gd name="connsiteX212" fmla="*/ 604837 w 973931"/>
                <a:gd name="connsiteY212" fmla="*/ 38100 h 1250156"/>
                <a:gd name="connsiteX213" fmla="*/ 628650 w 973931"/>
                <a:gd name="connsiteY213" fmla="*/ 47625 h 1250156"/>
                <a:gd name="connsiteX214" fmla="*/ 657225 w 973931"/>
                <a:gd name="connsiteY214" fmla="*/ 52388 h 1250156"/>
                <a:gd name="connsiteX215" fmla="*/ 683418 w 973931"/>
                <a:gd name="connsiteY215" fmla="*/ 71438 h 1250156"/>
                <a:gd name="connsiteX216" fmla="*/ 711993 w 973931"/>
                <a:gd name="connsiteY216" fmla="*/ 78581 h 1250156"/>
                <a:gd name="connsiteX217" fmla="*/ 709612 w 973931"/>
                <a:gd name="connsiteY217" fmla="*/ 57150 h 1250156"/>
                <a:gd name="connsiteX218" fmla="*/ 728662 w 973931"/>
                <a:gd name="connsiteY218" fmla="*/ 92869 h 1250156"/>
                <a:gd name="connsiteX219" fmla="*/ 719137 w 973931"/>
                <a:gd name="connsiteY219" fmla="*/ 116681 h 1250156"/>
                <a:gd name="connsiteX220" fmla="*/ 757237 w 973931"/>
                <a:gd name="connsiteY220" fmla="*/ 135731 h 1250156"/>
                <a:gd name="connsiteX221" fmla="*/ 766762 w 973931"/>
                <a:gd name="connsiteY221" fmla="*/ 169069 h 1250156"/>
                <a:gd name="connsiteX222" fmla="*/ 754856 w 973931"/>
                <a:gd name="connsiteY222" fmla="*/ 188119 h 1250156"/>
                <a:gd name="connsiteX223" fmla="*/ 735806 w 973931"/>
                <a:gd name="connsiteY223" fmla="*/ 200025 h 1250156"/>
                <a:gd name="connsiteX224" fmla="*/ 735806 w 973931"/>
                <a:gd name="connsiteY224" fmla="*/ 200025 h 1250156"/>
                <a:gd name="connsiteX225" fmla="*/ 759618 w 973931"/>
                <a:gd name="connsiteY225" fmla="*/ 211931 h 1250156"/>
                <a:gd name="connsiteX226" fmla="*/ 781050 w 973931"/>
                <a:gd name="connsiteY226" fmla="*/ 221456 h 1250156"/>
                <a:gd name="connsiteX227" fmla="*/ 795337 w 973931"/>
                <a:gd name="connsiteY227" fmla="*/ 245269 h 1250156"/>
                <a:gd name="connsiteX228" fmla="*/ 814387 w 973931"/>
                <a:gd name="connsiteY228" fmla="*/ 271463 h 1250156"/>
                <a:gd name="connsiteX229" fmla="*/ 823912 w 973931"/>
                <a:gd name="connsiteY229" fmla="*/ 295275 h 1250156"/>
                <a:gd name="connsiteX230" fmla="*/ 835818 w 973931"/>
                <a:gd name="connsiteY230" fmla="*/ 316706 h 1250156"/>
                <a:gd name="connsiteX231" fmla="*/ 838200 w 973931"/>
                <a:gd name="connsiteY231" fmla="*/ 342900 h 1250156"/>
                <a:gd name="connsiteX232" fmla="*/ 842962 w 973931"/>
                <a:gd name="connsiteY232" fmla="*/ 366713 h 1250156"/>
                <a:gd name="connsiteX233" fmla="*/ 814387 w 973931"/>
                <a:gd name="connsiteY233" fmla="*/ 378619 h 1250156"/>
                <a:gd name="connsiteX234" fmla="*/ 807243 w 973931"/>
                <a:gd name="connsiteY234" fmla="*/ 409575 h 1250156"/>
                <a:gd name="connsiteX235" fmla="*/ 802481 w 973931"/>
                <a:gd name="connsiteY235" fmla="*/ 428625 h 1250156"/>
                <a:gd name="connsiteX236" fmla="*/ 802481 w 973931"/>
                <a:gd name="connsiteY236" fmla="*/ 442913 h 1250156"/>
                <a:gd name="connsiteX237" fmla="*/ 773906 w 973931"/>
                <a:gd name="connsiteY237" fmla="*/ 433388 h 1250156"/>
                <a:gd name="connsiteX238" fmla="*/ 762000 w 973931"/>
                <a:gd name="connsiteY238" fmla="*/ 440531 h 1250156"/>
                <a:gd name="connsiteX239" fmla="*/ 762000 w 973931"/>
                <a:gd name="connsiteY239" fmla="*/ 440531 h 1250156"/>
                <a:gd name="connsiteX240" fmla="*/ 778668 w 973931"/>
                <a:gd name="connsiteY240" fmla="*/ 473869 h 1250156"/>
                <a:gd name="connsiteX241" fmla="*/ 790575 w 973931"/>
                <a:gd name="connsiteY241" fmla="*/ 492919 h 1250156"/>
                <a:gd name="connsiteX242" fmla="*/ 809625 w 973931"/>
                <a:gd name="connsiteY242" fmla="*/ 509588 h 1250156"/>
                <a:gd name="connsiteX243" fmla="*/ 823912 w 973931"/>
                <a:gd name="connsiteY243" fmla="*/ 528638 h 1250156"/>
                <a:gd name="connsiteX244" fmla="*/ 847725 w 973931"/>
                <a:gd name="connsiteY244" fmla="*/ 535781 h 1250156"/>
                <a:gd name="connsiteX245" fmla="*/ 862012 w 973931"/>
                <a:gd name="connsiteY245" fmla="*/ 545306 h 1250156"/>
                <a:gd name="connsiteX246" fmla="*/ 883443 w 973931"/>
                <a:gd name="connsiteY246" fmla="*/ 545306 h 1250156"/>
                <a:gd name="connsiteX247" fmla="*/ 895350 w 973931"/>
                <a:gd name="connsiteY247" fmla="*/ 523875 h 1250156"/>
                <a:gd name="connsiteX248" fmla="*/ 916781 w 973931"/>
                <a:gd name="connsiteY248" fmla="*/ 526256 h 1250156"/>
                <a:gd name="connsiteX249" fmla="*/ 942975 w 973931"/>
                <a:gd name="connsiteY249" fmla="*/ 561975 h 1250156"/>
                <a:gd name="connsiteX250" fmla="*/ 959643 w 973931"/>
                <a:gd name="connsiteY250" fmla="*/ 578644 h 1250156"/>
                <a:gd name="connsiteX251" fmla="*/ 950118 w 973931"/>
                <a:gd name="connsiteY251" fmla="*/ 600075 h 1250156"/>
                <a:gd name="connsiteX252" fmla="*/ 962025 w 973931"/>
                <a:gd name="connsiteY252" fmla="*/ 633413 h 1250156"/>
                <a:gd name="connsiteX253" fmla="*/ 973931 w 973931"/>
                <a:gd name="connsiteY253" fmla="*/ 654844 h 1250156"/>
                <a:gd name="connsiteX254" fmla="*/ 964406 w 973931"/>
                <a:gd name="connsiteY254" fmla="*/ 740569 h 12501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</a:cxnLst>
              <a:rect l="l" t="t" r="r" b="b"/>
              <a:pathLst>
                <a:path w="973931" h="1250156">
                  <a:moveTo>
                    <a:pt x="964406" y="740569"/>
                  </a:moveTo>
                  <a:lnTo>
                    <a:pt x="919162" y="790575"/>
                  </a:lnTo>
                  <a:lnTo>
                    <a:pt x="881062" y="804863"/>
                  </a:lnTo>
                  <a:lnTo>
                    <a:pt x="859631" y="814388"/>
                  </a:lnTo>
                  <a:lnTo>
                    <a:pt x="862012" y="842963"/>
                  </a:lnTo>
                  <a:lnTo>
                    <a:pt x="852487" y="847725"/>
                  </a:lnTo>
                  <a:lnTo>
                    <a:pt x="845343" y="838200"/>
                  </a:lnTo>
                  <a:lnTo>
                    <a:pt x="831056" y="835819"/>
                  </a:lnTo>
                  <a:lnTo>
                    <a:pt x="821531" y="835819"/>
                  </a:lnTo>
                  <a:lnTo>
                    <a:pt x="828675" y="862013"/>
                  </a:lnTo>
                  <a:lnTo>
                    <a:pt x="838200" y="890588"/>
                  </a:lnTo>
                  <a:lnTo>
                    <a:pt x="826293" y="907256"/>
                  </a:lnTo>
                  <a:lnTo>
                    <a:pt x="812006" y="919163"/>
                  </a:lnTo>
                  <a:lnTo>
                    <a:pt x="809625" y="895350"/>
                  </a:lnTo>
                  <a:lnTo>
                    <a:pt x="819150" y="883444"/>
                  </a:lnTo>
                  <a:lnTo>
                    <a:pt x="816768" y="876300"/>
                  </a:lnTo>
                  <a:lnTo>
                    <a:pt x="802481" y="876300"/>
                  </a:lnTo>
                  <a:lnTo>
                    <a:pt x="788193" y="871538"/>
                  </a:lnTo>
                  <a:lnTo>
                    <a:pt x="776287" y="869156"/>
                  </a:lnTo>
                  <a:lnTo>
                    <a:pt x="773906" y="862013"/>
                  </a:lnTo>
                  <a:lnTo>
                    <a:pt x="788193" y="828675"/>
                  </a:lnTo>
                  <a:lnTo>
                    <a:pt x="773906" y="823913"/>
                  </a:lnTo>
                  <a:lnTo>
                    <a:pt x="747712" y="852488"/>
                  </a:lnTo>
                  <a:lnTo>
                    <a:pt x="752475" y="873919"/>
                  </a:lnTo>
                  <a:lnTo>
                    <a:pt x="762000" y="890588"/>
                  </a:lnTo>
                  <a:lnTo>
                    <a:pt x="757237" y="914400"/>
                  </a:lnTo>
                  <a:lnTo>
                    <a:pt x="759618" y="933450"/>
                  </a:lnTo>
                  <a:lnTo>
                    <a:pt x="747712" y="942975"/>
                  </a:lnTo>
                  <a:lnTo>
                    <a:pt x="745331" y="921544"/>
                  </a:lnTo>
                  <a:lnTo>
                    <a:pt x="728662" y="907256"/>
                  </a:lnTo>
                  <a:lnTo>
                    <a:pt x="716756" y="895350"/>
                  </a:lnTo>
                  <a:lnTo>
                    <a:pt x="709612" y="895350"/>
                  </a:lnTo>
                  <a:lnTo>
                    <a:pt x="711993" y="914400"/>
                  </a:lnTo>
                  <a:lnTo>
                    <a:pt x="721518" y="938213"/>
                  </a:lnTo>
                  <a:lnTo>
                    <a:pt x="719137" y="950119"/>
                  </a:lnTo>
                  <a:lnTo>
                    <a:pt x="716756" y="973931"/>
                  </a:lnTo>
                  <a:lnTo>
                    <a:pt x="711993" y="995363"/>
                  </a:lnTo>
                  <a:lnTo>
                    <a:pt x="700087" y="995363"/>
                  </a:lnTo>
                  <a:lnTo>
                    <a:pt x="678656" y="988219"/>
                  </a:lnTo>
                  <a:lnTo>
                    <a:pt x="664368" y="985838"/>
                  </a:lnTo>
                  <a:lnTo>
                    <a:pt x="638175" y="981075"/>
                  </a:lnTo>
                  <a:lnTo>
                    <a:pt x="647700" y="1002506"/>
                  </a:lnTo>
                  <a:lnTo>
                    <a:pt x="661987" y="1012031"/>
                  </a:lnTo>
                  <a:lnTo>
                    <a:pt x="671512" y="1019175"/>
                  </a:lnTo>
                  <a:lnTo>
                    <a:pt x="664368" y="1028700"/>
                  </a:lnTo>
                  <a:lnTo>
                    <a:pt x="657225" y="1031081"/>
                  </a:lnTo>
                  <a:lnTo>
                    <a:pt x="640556" y="1033463"/>
                  </a:lnTo>
                  <a:lnTo>
                    <a:pt x="626268" y="1033463"/>
                  </a:lnTo>
                  <a:lnTo>
                    <a:pt x="614362" y="1019175"/>
                  </a:lnTo>
                  <a:lnTo>
                    <a:pt x="604837" y="1007269"/>
                  </a:lnTo>
                  <a:lnTo>
                    <a:pt x="592931" y="997744"/>
                  </a:lnTo>
                  <a:lnTo>
                    <a:pt x="602456" y="1028700"/>
                  </a:lnTo>
                  <a:lnTo>
                    <a:pt x="616743" y="1062038"/>
                  </a:lnTo>
                  <a:lnTo>
                    <a:pt x="616743" y="1092994"/>
                  </a:lnTo>
                  <a:lnTo>
                    <a:pt x="600075" y="1112044"/>
                  </a:lnTo>
                  <a:lnTo>
                    <a:pt x="595312" y="1062038"/>
                  </a:lnTo>
                  <a:lnTo>
                    <a:pt x="595312" y="1062038"/>
                  </a:lnTo>
                  <a:lnTo>
                    <a:pt x="581025" y="1026319"/>
                  </a:lnTo>
                  <a:lnTo>
                    <a:pt x="571500" y="1019175"/>
                  </a:lnTo>
                  <a:lnTo>
                    <a:pt x="557212" y="1016794"/>
                  </a:lnTo>
                  <a:lnTo>
                    <a:pt x="552450" y="1014413"/>
                  </a:lnTo>
                  <a:lnTo>
                    <a:pt x="545306" y="990600"/>
                  </a:lnTo>
                  <a:lnTo>
                    <a:pt x="545306" y="971550"/>
                  </a:lnTo>
                  <a:lnTo>
                    <a:pt x="545306" y="954881"/>
                  </a:lnTo>
                  <a:lnTo>
                    <a:pt x="540543" y="950119"/>
                  </a:lnTo>
                  <a:lnTo>
                    <a:pt x="535781" y="997744"/>
                  </a:lnTo>
                  <a:lnTo>
                    <a:pt x="540543" y="1035844"/>
                  </a:lnTo>
                  <a:lnTo>
                    <a:pt x="561975" y="1073944"/>
                  </a:lnTo>
                  <a:lnTo>
                    <a:pt x="561975" y="1100138"/>
                  </a:lnTo>
                  <a:lnTo>
                    <a:pt x="538162" y="1073944"/>
                  </a:lnTo>
                  <a:lnTo>
                    <a:pt x="533400" y="1050131"/>
                  </a:lnTo>
                  <a:lnTo>
                    <a:pt x="519112" y="1047750"/>
                  </a:lnTo>
                  <a:lnTo>
                    <a:pt x="519112" y="1071563"/>
                  </a:lnTo>
                  <a:lnTo>
                    <a:pt x="519112" y="1104900"/>
                  </a:lnTo>
                  <a:lnTo>
                    <a:pt x="502443" y="1076325"/>
                  </a:lnTo>
                  <a:lnTo>
                    <a:pt x="488156" y="1071563"/>
                  </a:lnTo>
                  <a:lnTo>
                    <a:pt x="490537" y="1095375"/>
                  </a:lnTo>
                  <a:lnTo>
                    <a:pt x="507206" y="1116806"/>
                  </a:lnTo>
                  <a:lnTo>
                    <a:pt x="519112" y="1138238"/>
                  </a:lnTo>
                  <a:lnTo>
                    <a:pt x="523875" y="1162050"/>
                  </a:lnTo>
                  <a:lnTo>
                    <a:pt x="504825" y="1166813"/>
                  </a:lnTo>
                  <a:lnTo>
                    <a:pt x="497681" y="1169194"/>
                  </a:lnTo>
                  <a:lnTo>
                    <a:pt x="495300" y="1178719"/>
                  </a:lnTo>
                  <a:lnTo>
                    <a:pt x="492918" y="1197769"/>
                  </a:lnTo>
                  <a:lnTo>
                    <a:pt x="476250" y="1188244"/>
                  </a:lnTo>
                  <a:lnTo>
                    <a:pt x="464343" y="1157288"/>
                  </a:lnTo>
                  <a:lnTo>
                    <a:pt x="438150" y="1152525"/>
                  </a:lnTo>
                  <a:lnTo>
                    <a:pt x="459581" y="1188244"/>
                  </a:lnTo>
                  <a:lnTo>
                    <a:pt x="464343" y="1204913"/>
                  </a:lnTo>
                  <a:lnTo>
                    <a:pt x="440531" y="1204913"/>
                  </a:lnTo>
                  <a:lnTo>
                    <a:pt x="433387" y="1204913"/>
                  </a:lnTo>
                  <a:lnTo>
                    <a:pt x="421481" y="1204913"/>
                  </a:lnTo>
                  <a:lnTo>
                    <a:pt x="411956" y="1209675"/>
                  </a:lnTo>
                  <a:lnTo>
                    <a:pt x="404812" y="1228725"/>
                  </a:lnTo>
                  <a:lnTo>
                    <a:pt x="397668" y="1250156"/>
                  </a:lnTo>
                  <a:lnTo>
                    <a:pt x="385762" y="1223963"/>
                  </a:lnTo>
                  <a:lnTo>
                    <a:pt x="364331" y="1209675"/>
                  </a:lnTo>
                  <a:lnTo>
                    <a:pt x="340518" y="1207294"/>
                  </a:lnTo>
                  <a:lnTo>
                    <a:pt x="347662" y="1188244"/>
                  </a:lnTo>
                  <a:lnTo>
                    <a:pt x="373856" y="1178719"/>
                  </a:lnTo>
                  <a:lnTo>
                    <a:pt x="388143" y="1169194"/>
                  </a:lnTo>
                  <a:lnTo>
                    <a:pt x="378618" y="1150144"/>
                  </a:lnTo>
                  <a:lnTo>
                    <a:pt x="373856" y="1131094"/>
                  </a:lnTo>
                  <a:lnTo>
                    <a:pt x="364331" y="1107281"/>
                  </a:lnTo>
                  <a:lnTo>
                    <a:pt x="364331" y="1083469"/>
                  </a:lnTo>
                  <a:lnTo>
                    <a:pt x="359568" y="1131094"/>
                  </a:lnTo>
                  <a:lnTo>
                    <a:pt x="369093" y="1181100"/>
                  </a:lnTo>
                  <a:lnTo>
                    <a:pt x="338137" y="1185863"/>
                  </a:lnTo>
                  <a:lnTo>
                    <a:pt x="328612" y="1159669"/>
                  </a:lnTo>
                  <a:lnTo>
                    <a:pt x="307181" y="1152525"/>
                  </a:lnTo>
                  <a:lnTo>
                    <a:pt x="323850" y="1178719"/>
                  </a:lnTo>
                  <a:lnTo>
                    <a:pt x="330993" y="1214438"/>
                  </a:lnTo>
                  <a:lnTo>
                    <a:pt x="311943" y="1233488"/>
                  </a:lnTo>
                  <a:lnTo>
                    <a:pt x="295275" y="1238250"/>
                  </a:lnTo>
                  <a:lnTo>
                    <a:pt x="292893" y="1190625"/>
                  </a:lnTo>
                  <a:lnTo>
                    <a:pt x="300037" y="1138238"/>
                  </a:lnTo>
                  <a:lnTo>
                    <a:pt x="285750" y="1104900"/>
                  </a:lnTo>
                  <a:lnTo>
                    <a:pt x="285750" y="1071563"/>
                  </a:lnTo>
                  <a:lnTo>
                    <a:pt x="276225" y="1057275"/>
                  </a:lnTo>
                  <a:lnTo>
                    <a:pt x="276225" y="1026319"/>
                  </a:lnTo>
                  <a:lnTo>
                    <a:pt x="283368" y="1009650"/>
                  </a:lnTo>
                  <a:lnTo>
                    <a:pt x="295275" y="971550"/>
                  </a:lnTo>
                  <a:lnTo>
                    <a:pt x="273843" y="969169"/>
                  </a:lnTo>
                  <a:lnTo>
                    <a:pt x="242887" y="966788"/>
                  </a:lnTo>
                  <a:lnTo>
                    <a:pt x="223837" y="957263"/>
                  </a:lnTo>
                  <a:lnTo>
                    <a:pt x="209550" y="942975"/>
                  </a:lnTo>
                  <a:lnTo>
                    <a:pt x="230981" y="919163"/>
                  </a:lnTo>
                  <a:lnTo>
                    <a:pt x="261937" y="900113"/>
                  </a:lnTo>
                  <a:lnTo>
                    <a:pt x="285750" y="878681"/>
                  </a:lnTo>
                  <a:lnTo>
                    <a:pt x="309562" y="828675"/>
                  </a:lnTo>
                  <a:lnTo>
                    <a:pt x="330993" y="790575"/>
                  </a:lnTo>
                  <a:lnTo>
                    <a:pt x="323850" y="762000"/>
                  </a:lnTo>
                  <a:lnTo>
                    <a:pt x="323850" y="738188"/>
                  </a:lnTo>
                  <a:lnTo>
                    <a:pt x="323850" y="723900"/>
                  </a:lnTo>
                  <a:lnTo>
                    <a:pt x="311943" y="714375"/>
                  </a:lnTo>
                  <a:lnTo>
                    <a:pt x="302418" y="742950"/>
                  </a:lnTo>
                  <a:lnTo>
                    <a:pt x="304800" y="776288"/>
                  </a:lnTo>
                  <a:lnTo>
                    <a:pt x="290512" y="826294"/>
                  </a:lnTo>
                  <a:lnTo>
                    <a:pt x="259556" y="869156"/>
                  </a:lnTo>
                  <a:lnTo>
                    <a:pt x="228600" y="900113"/>
                  </a:lnTo>
                  <a:lnTo>
                    <a:pt x="209550" y="902494"/>
                  </a:lnTo>
                  <a:lnTo>
                    <a:pt x="200025" y="900113"/>
                  </a:lnTo>
                  <a:lnTo>
                    <a:pt x="195262" y="885825"/>
                  </a:lnTo>
                  <a:lnTo>
                    <a:pt x="195262" y="876300"/>
                  </a:lnTo>
                  <a:lnTo>
                    <a:pt x="183356" y="873919"/>
                  </a:lnTo>
                  <a:lnTo>
                    <a:pt x="180975" y="888206"/>
                  </a:lnTo>
                  <a:lnTo>
                    <a:pt x="180975" y="909638"/>
                  </a:lnTo>
                  <a:lnTo>
                    <a:pt x="164306" y="902494"/>
                  </a:lnTo>
                  <a:lnTo>
                    <a:pt x="159543" y="866775"/>
                  </a:lnTo>
                  <a:lnTo>
                    <a:pt x="138112" y="850106"/>
                  </a:lnTo>
                  <a:lnTo>
                    <a:pt x="111918" y="828675"/>
                  </a:lnTo>
                  <a:lnTo>
                    <a:pt x="83343" y="804863"/>
                  </a:lnTo>
                  <a:lnTo>
                    <a:pt x="61912" y="788194"/>
                  </a:lnTo>
                  <a:lnTo>
                    <a:pt x="42862" y="747713"/>
                  </a:lnTo>
                  <a:lnTo>
                    <a:pt x="52387" y="721519"/>
                  </a:lnTo>
                  <a:lnTo>
                    <a:pt x="61912" y="688181"/>
                  </a:lnTo>
                  <a:lnTo>
                    <a:pt x="61912" y="669131"/>
                  </a:lnTo>
                  <a:lnTo>
                    <a:pt x="59531" y="640556"/>
                  </a:lnTo>
                  <a:lnTo>
                    <a:pt x="59531" y="628650"/>
                  </a:lnTo>
                  <a:lnTo>
                    <a:pt x="59531" y="614363"/>
                  </a:lnTo>
                  <a:lnTo>
                    <a:pt x="59531" y="607219"/>
                  </a:lnTo>
                  <a:lnTo>
                    <a:pt x="33337" y="616744"/>
                  </a:lnTo>
                  <a:lnTo>
                    <a:pt x="11906" y="623888"/>
                  </a:lnTo>
                  <a:lnTo>
                    <a:pt x="0" y="626269"/>
                  </a:lnTo>
                  <a:lnTo>
                    <a:pt x="0" y="564356"/>
                  </a:lnTo>
                  <a:cubicBezTo>
                    <a:pt x="794" y="545306"/>
                    <a:pt x="1587" y="526256"/>
                    <a:pt x="2381" y="507206"/>
                  </a:cubicBezTo>
                  <a:lnTo>
                    <a:pt x="2381" y="483394"/>
                  </a:lnTo>
                  <a:lnTo>
                    <a:pt x="19050" y="473869"/>
                  </a:lnTo>
                  <a:lnTo>
                    <a:pt x="88106" y="447675"/>
                  </a:lnTo>
                  <a:lnTo>
                    <a:pt x="154781" y="419100"/>
                  </a:lnTo>
                  <a:lnTo>
                    <a:pt x="235743" y="369094"/>
                  </a:lnTo>
                  <a:lnTo>
                    <a:pt x="269081" y="350044"/>
                  </a:lnTo>
                  <a:lnTo>
                    <a:pt x="283368" y="326231"/>
                  </a:lnTo>
                  <a:lnTo>
                    <a:pt x="285750" y="295275"/>
                  </a:lnTo>
                  <a:lnTo>
                    <a:pt x="273843" y="269081"/>
                  </a:lnTo>
                  <a:lnTo>
                    <a:pt x="264318" y="247650"/>
                  </a:lnTo>
                  <a:lnTo>
                    <a:pt x="264318" y="235744"/>
                  </a:lnTo>
                  <a:lnTo>
                    <a:pt x="302418" y="230981"/>
                  </a:lnTo>
                  <a:lnTo>
                    <a:pt x="338137" y="223838"/>
                  </a:lnTo>
                  <a:lnTo>
                    <a:pt x="361950" y="209550"/>
                  </a:lnTo>
                  <a:lnTo>
                    <a:pt x="342900" y="178594"/>
                  </a:lnTo>
                  <a:lnTo>
                    <a:pt x="297656" y="119063"/>
                  </a:lnTo>
                  <a:lnTo>
                    <a:pt x="285750" y="109538"/>
                  </a:lnTo>
                  <a:lnTo>
                    <a:pt x="290512" y="88106"/>
                  </a:lnTo>
                  <a:lnTo>
                    <a:pt x="311943" y="71438"/>
                  </a:lnTo>
                  <a:lnTo>
                    <a:pt x="311943" y="54769"/>
                  </a:lnTo>
                  <a:lnTo>
                    <a:pt x="347662" y="38100"/>
                  </a:lnTo>
                  <a:lnTo>
                    <a:pt x="361950" y="42863"/>
                  </a:lnTo>
                  <a:lnTo>
                    <a:pt x="376237" y="38100"/>
                  </a:lnTo>
                  <a:lnTo>
                    <a:pt x="383381" y="26194"/>
                  </a:lnTo>
                  <a:lnTo>
                    <a:pt x="392906" y="11906"/>
                  </a:lnTo>
                  <a:lnTo>
                    <a:pt x="397668" y="0"/>
                  </a:lnTo>
                  <a:lnTo>
                    <a:pt x="404812" y="4763"/>
                  </a:lnTo>
                  <a:lnTo>
                    <a:pt x="419100" y="26194"/>
                  </a:lnTo>
                  <a:lnTo>
                    <a:pt x="440531" y="42863"/>
                  </a:lnTo>
                  <a:lnTo>
                    <a:pt x="454818" y="66675"/>
                  </a:lnTo>
                  <a:lnTo>
                    <a:pt x="461962" y="90488"/>
                  </a:lnTo>
                  <a:lnTo>
                    <a:pt x="471487" y="100013"/>
                  </a:lnTo>
                  <a:lnTo>
                    <a:pt x="490537" y="90488"/>
                  </a:lnTo>
                  <a:lnTo>
                    <a:pt x="478631" y="66675"/>
                  </a:lnTo>
                  <a:lnTo>
                    <a:pt x="490537" y="57150"/>
                  </a:lnTo>
                  <a:lnTo>
                    <a:pt x="490537" y="57150"/>
                  </a:lnTo>
                  <a:lnTo>
                    <a:pt x="516731" y="52388"/>
                  </a:lnTo>
                  <a:lnTo>
                    <a:pt x="521493" y="66675"/>
                  </a:lnTo>
                  <a:lnTo>
                    <a:pt x="516731" y="95250"/>
                  </a:lnTo>
                  <a:lnTo>
                    <a:pt x="533400" y="97631"/>
                  </a:lnTo>
                  <a:lnTo>
                    <a:pt x="533400" y="57150"/>
                  </a:lnTo>
                  <a:lnTo>
                    <a:pt x="533400" y="57150"/>
                  </a:lnTo>
                  <a:lnTo>
                    <a:pt x="561975" y="57150"/>
                  </a:lnTo>
                  <a:lnTo>
                    <a:pt x="571500" y="71438"/>
                  </a:lnTo>
                  <a:lnTo>
                    <a:pt x="573881" y="35719"/>
                  </a:lnTo>
                  <a:lnTo>
                    <a:pt x="578643" y="28575"/>
                  </a:lnTo>
                  <a:lnTo>
                    <a:pt x="604837" y="38100"/>
                  </a:lnTo>
                  <a:lnTo>
                    <a:pt x="628650" y="47625"/>
                  </a:lnTo>
                  <a:lnTo>
                    <a:pt x="657225" y="52388"/>
                  </a:lnTo>
                  <a:lnTo>
                    <a:pt x="683418" y="71438"/>
                  </a:lnTo>
                  <a:lnTo>
                    <a:pt x="711993" y="78581"/>
                  </a:lnTo>
                  <a:lnTo>
                    <a:pt x="709612" y="57150"/>
                  </a:lnTo>
                  <a:lnTo>
                    <a:pt x="728662" y="92869"/>
                  </a:lnTo>
                  <a:lnTo>
                    <a:pt x="719137" y="116681"/>
                  </a:lnTo>
                  <a:lnTo>
                    <a:pt x="757237" y="135731"/>
                  </a:lnTo>
                  <a:lnTo>
                    <a:pt x="766762" y="169069"/>
                  </a:lnTo>
                  <a:lnTo>
                    <a:pt x="754856" y="188119"/>
                  </a:lnTo>
                  <a:lnTo>
                    <a:pt x="735806" y="200025"/>
                  </a:lnTo>
                  <a:lnTo>
                    <a:pt x="735806" y="200025"/>
                  </a:lnTo>
                  <a:lnTo>
                    <a:pt x="759618" y="211931"/>
                  </a:lnTo>
                  <a:lnTo>
                    <a:pt x="781050" y="221456"/>
                  </a:lnTo>
                  <a:lnTo>
                    <a:pt x="795337" y="245269"/>
                  </a:lnTo>
                  <a:lnTo>
                    <a:pt x="814387" y="271463"/>
                  </a:lnTo>
                  <a:lnTo>
                    <a:pt x="823912" y="295275"/>
                  </a:lnTo>
                  <a:lnTo>
                    <a:pt x="835818" y="316706"/>
                  </a:lnTo>
                  <a:lnTo>
                    <a:pt x="838200" y="342900"/>
                  </a:lnTo>
                  <a:lnTo>
                    <a:pt x="842962" y="366713"/>
                  </a:lnTo>
                  <a:lnTo>
                    <a:pt x="814387" y="378619"/>
                  </a:lnTo>
                  <a:lnTo>
                    <a:pt x="807243" y="409575"/>
                  </a:lnTo>
                  <a:lnTo>
                    <a:pt x="802481" y="428625"/>
                  </a:lnTo>
                  <a:lnTo>
                    <a:pt x="802481" y="442913"/>
                  </a:lnTo>
                  <a:lnTo>
                    <a:pt x="773906" y="433388"/>
                  </a:lnTo>
                  <a:lnTo>
                    <a:pt x="762000" y="440531"/>
                  </a:lnTo>
                  <a:lnTo>
                    <a:pt x="762000" y="440531"/>
                  </a:lnTo>
                  <a:lnTo>
                    <a:pt x="778668" y="473869"/>
                  </a:lnTo>
                  <a:lnTo>
                    <a:pt x="790575" y="492919"/>
                  </a:lnTo>
                  <a:lnTo>
                    <a:pt x="809625" y="509588"/>
                  </a:lnTo>
                  <a:lnTo>
                    <a:pt x="823912" y="528638"/>
                  </a:lnTo>
                  <a:lnTo>
                    <a:pt x="847725" y="535781"/>
                  </a:lnTo>
                  <a:lnTo>
                    <a:pt x="862012" y="545306"/>
                  </a:lnTo>
                  <a:lnTo>
                    <a:pt x="883443" y="545306"/>
                  </a:lnTo>
                  <a:lnTo>
                    <a:pt x="895350" y="523875"/>
                  </a:lnTo>
                  <a:lnTo>
                    <a:pt x="916781" y="526256"/>
                  </a:lnTo>
                  <a:lnTo>
                    <a:pt x="942975" y="561975"/>
                  </a:lnTo>
                  <a:lnTo>
                    <a:pt x="959643" y="578644"/>
                  </a:lnTo>
                  <a:lnTo>
                    <a:pt x="950118" y="600075"/>
                  </a:lnTo>
                  <a:lnTo>
                    <a:pt x="962025" y="633413"/>
                  </a:lnTo>
                  <a:lnTo>
                    <a:pt x="973931" y="654844"/>
                  </a:lnTo>
                  <a:lnTo>
                    <a:pt x="964406" y="740569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65" name="Oval 20">
            <a:extLst>
              <a:ext uri="{FF2B5EF4-FFF2-40B4-BE49-F238E27FC236}">
                <a16:creationId xmlns:a16="http://schemas.microsoft.com/office/drawing/2014/main" id="{602C3A39-BA24-4C35-8BD0-BEDC6A5D49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5352136"/>
            <a:ext cx="306910" cy="306910"/>
          </a:xfrm>
          <a:prstGeom prst="ellipse">
            <a:avLst/>
          </a:prstGeom>
          <a:solidFill>
            <a:srgbClr val="FF7F7F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7</a:t>
            </a:r>
          </a:p>
        </p:txBody>
      </p:sp>
      <p:sp>
        <p:nvSpPr>
          <p:cNvPr id="61" name="Oval 20">
            <a:extLst>
              <a:ext uri="{FF2B5EF4-FFF2-40B4-BE49-F238E27FC236}">
                <a16:creationId xmlns:a16="http://schemas.microsoft.com/office/drawing/2014/main" id="{5DE74C4C-655A-4685-97C1-C5E4434A844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4834430"/>
            <a:ext cx="306910" cy="30691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6</a:t>
            </a:r>
          </a:p>
        </p:txBody>
      </p:sp>
      <p:sp>
        <p:nvSpPr>
          <p:cNvPr id="62" name="Oval 20">
            <a:extLst>
              <a:ext uri="{FF2B5EF4-FFF2-40B4-BE49-F238E27FC236}">
                <a16:creationId xmlns:a16="http://schemas.microsoft.com/office/drawing/2014/main" id="{F9A16025-EA87-4BBE-AAF0-869896C8EB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4316723"/>
            <a:ext cx="306910" cy="306910"/>
          </a:xfrm>
          <a:prstGeom prst="ellipse">
            <a:avLst/>
          </a:prstGeom>
          <a:solidFill>
            <a:srgbClr val="DDF5D1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5</a:t>
            </a:r>
          </a:p>
        </p:txBody>
      </p:sp>
      <p:sp>
        <p:nvSpPr>
          <p:cNvPr id="63" name="Oval 20">
            <a:extLst>
              <a:ext uri="{FF2B5EF4-FFF2-40B4-BE49-F238E27FC236}">
                <a16:creationId xmlns:a16="http://schemas.microsoft.com/office/drawing/2014/main" id="{20DBCCD1-5F28-494D-9D04-5E5A4D7B67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3799016"/>
            <a:ext cx="306910" cy="306910"/>
          </a:xfrm>
          <a:prstGeom prst="ellipse">
            <a:avLst/>
          </a:prstGeom>
          <a:solidFill>
            <a:srgbClr val="70B8FF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4</a:t>
            </a:r>
          </a:p>
        </p:txBody>
      </p:sp>
      <p:sp>
        <p:nvSpPr>
          <p:cNvPr id="64" name="Oval 20">
            <a:extLst>
              <a:ext uri="{FF2B5EF4-FFF2-40B4-BE49-F238E27FC236}">
                <a16:creationId xmlns:a16="http://schemas.microsoft.com/office/drawing/2014/main" id="{492D4090-7454-4FE1-86F3-0B1C0555BC4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3281309"/>
            <a:ext cx="306910" cy="306910"/>
          </a:xfrm>
          <a:prstGeom prst="ellipse">
            <a:avLst/>
          </a:prstGeom>
          <a:solidFill>
            <a:srgbClr val="FFC000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3</a:t>
            </a:r>
          </a:p>
        </p:txBody>
      </p:sp>
      <p:sp>
        <p:nvSpPr>
          <p:cNvPr id="66" name="Oval 20">
            <a:extLst>
              <a:ext uri="{FF2B5EF4-FFF2-40B4-BE49-F238E27FC236}">
                <a16:creationId xmlns:a16="http://schemas.microsoft.com/office/drawing/2014/main" id="{8E02A976-B144-41D4-AA1D-1500A79AF17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2727511"/>
            <a:ext cx="306910" cy="306910"/>
          </a:xfrm>
          <a:prstGeom prst="ellipse">
            <a:avLst/>
          </a:prstGeom>
          <a:solidFill>
            <a:srgbClr val="B9CAFF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2</a:t>
            </a:r>
          </a:p>
        </p:txBody>
      </p:sp>
      <p:sp>
        <p:nvSpPr>
          <p:cNvPr id="67" name="Oval 20">
            <a:extLst>
              <a:ext uri="{FF2B5EF4-FFF2-40B4-BE49-F238E27FC236}">
                <a16:creationId xmlns:a16="http://schemas.microsoft.com/office/drawing/2014/main" id="{A785F753-7DDE-45BE-B44C-4DE3B257C3E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12332" y="2173713"/>
            <a:ext cx="306910" cy="306910"/>
          </a:xfrm>
          <a:prstGeom prst="ellipse">
            <a:avLst/>
          </a:prstGeom>
          <a:solidFill>
            <a:srgbClr val="FFFF00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1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D79E28CB-3714-4C4D-88FB-8AA8BFA3F39C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5628015" cy="49828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ARPA workforce strategy, and how Market Makers support it</a:t>
            </a:r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CC38A450-71A5-4629-8011-573D3D0B5BFC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3" name="Oval 20">
            <a:extLst>
              <a:ext uri="{FF2B5EF4-FFF2-40B4-BE49-F238E27FC236}">
                <a16:creationId xmlns:a16="http://schemas.microsoft.com/office/drawing/2014/main" id="{54D0150C-1DAF-464F-8EFF-3A691F09063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7672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04E9360-7FAA-4293-A2EA-F1C498BB59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04E9360-7FAA-4293-A2EA-F1C498BB59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710CBC-5E04-4769-9009-F7F4656FDF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9613B9-9D98-430F-BD46-101A671078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DD738B9-7EB8-4117-930E-58CACE99290E}"/>
              </a:ext>
            </a:extLst>
          </p:cNvPr>
          <p:cNvSpPr txBox="1"/>
          <p:nvPr/>
        </p:nvSpPr>
        <p:spPr>
          <a:xfrm>
            <a:off x="447674" y="1509486"/>
            <a:ext cx="4185516" cy="432875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dirty="0">
                <a:solidFill>
                  <a:schemeClr val="accent6"/>
                </a:solidFill>
                <a:sym typeface="+mn-lt"/>
              </a:rPr>
              <a:t>TAB 5: Programs and Benefits</a:t>
            </a:r>
          </a:p>
          <a:p>
            <a:endParaRPr lang="en-US" sz="1600" dirty="0">
              <a:solidFill>
                <a:schemeClr val="tx2"/>
              </a:solidFill>
              <a:sym typeface="+mn-lt"/>
            </a:endParaRPr>
          </a:p>
          <a:p>
            <a:r>
              <a:rPr lang="en-US" sz="1600" dirty="0">
                <a:sym typeface="+mn-lt"/>
              </a:rPr>
              <a:t>The Programs window allows staff to check </a:t>
            </a:r>
            <a:br>
              <a:rPr lang="en-US" sz="1600" dirty="0">
                <a:sym typeface="+mn-lt"/>
              </a:rPr>
            </a:br>
            <a:r>
              <a:rPr lang="en-US" sz="1600" dirty="0">
                <a:sym typeface="+mn-lt"/>
              </a:rPr>
              <a:t>any state or local programs that </a:t>
            </a:r>
            <a:br>
              <a:rPr lang="en-US" sz="1600" dirty="0">
                <a:sym typeface="+mn-lt"/>
              </a:rPr>
            </a:br>
            <a:r>
              <a:rPr lang="en-US" sz="1600" dirty="0">
                <a:sym typeface="+mn-lt"/>
              </a:rPr>
              <a:t>the business is enrolled in. </a:t>
            </a:r>
          </a:p>
          <a:p>
            <a:endParaRPr lang="en-US" sz="1600" dirty="0">
              <a:sym typeface="+mn-lt"/>
            </a:endParaRPr>
          </a:p>
          <a:p>
            <a:r>
              <a:rPr lang="en-US" sz="1600" dirty="0">
                <a:sym typeface="+mn-lt"/>
              </a:rPr>
              <a:t>There are seven (7)  Employer Programs to </a:t>
            </a:r>
            <a:br>
              <a:rPr lang="en-US" sz="1600" dirty="0">
                <a:sym typeface="+mn-lt"/>
              </a:rPr>
            </a:br>
            <a:r>
              <a:rPr lang="en-US" sz="1600" dirty="0">
                <a:sym typeface="+mn-lt"/>
              </a:rPr>
              <a:t>align with the planning regions.</a:t>
            </a:r>
          </a:p>
          <a:p>
            <a:endParaRPr lang="en-US" sz="1600" dirty="0">
              <a:sym typeface="+mn-lt"/>
            </a:endParaRPr>
          </a:p>
          <a:p>
            <a:r>
              <a:rPr lang="en-US" sz="1600" dirty="0">
                <a:sym typeface="+mn-lt"/>
              </a:rPr>
              <a:t>Market Makers should check off </a:t>
            </a:r>
            <a:br>
              <a:rPr lang="en-US" sz="1600" dirty="0">
                <a:sym typeface="+mn-lt"/>
              </a:rPr>
            </a:br>
            <a:r>
              <a:rPr lang="en-US" sz="1600" dirty="0">
                <a:sym typeface="+mn-lt"/>
              </a:rPr>
              <a:t>the appropriate regional program for each employer they have both a lead for and have made contact with regarding the </a:t>
            </a:r>
            <a:r>
              <a:rPr lang="en-US" sz="1600" dirty="0" err="1">
                <a:sym typeface="+mn-lt"/>
              </a:rPr>
              <a:t>FutureSkills</a:t>
            </a:r>
            <a:r>
              <a:rPr lang="en-US" sz="1600" dirty="0">
                <a:sym typeface="+mn-lt"/>
              </a:rPr>
              <a:t> program.</a:t>
            </a:r>
          </a:p>
          <a:p>
            <a:endParaRPr lang="en-US" sz="1600" dirty="0">
              <a:sym typeface="+mn-lt"/>
            </a:endParaRPr>
          </a:p>
          <a:p>
            <a:r>
              <a:rPr lang="en-US" sz="1600" dirty="0">
                <a:sym typeface="+mn-lt"/>
              </a:rPr>
              <a:t>Make sure to have the </a:t>
            </a:r>
            <a:r>
              <a:rPr lang="en-US" sz="1600" i="1" dirty="0">
                <a:sym typeface="+mn-lt"/>
              </a:rPr>
              <a:t>Show Local Office Programs Only </a:t>
            </a:r>
            <a:r>
              <a:rPr lang="en-US" sz="1600" dirty="0">
                <a:sym typeface="+mn-lt"/>
              </a:rPr>
              <a:t>checked on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25369-3AA0-4395-8B25-818DE34F4B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24705"/>
            <a:ext cx="6579036" cy="3656896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839747A-B78B-4D10-A6A0-F06F96D7A5E6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BE1ADBD4-BAB8-4B08-9A61-21469D445E5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4881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26D5BC-E1EA-4530-8DB8-09D3E63D3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26D5BC-E1EA-4530-8DB8-09D3E63D3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7E3B5B0-50F2-4F3D-8171-A9AF9B5E5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FA652A-DC63-4E7B-9166-C39171FE7B4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56B4C5-B181-4077-8EB0-A39638A9D3DD}"/>
              </a:ext>
            </a:extLst>
          </p:cNvPr>
          <p:cNvSpPr txBox="1"/>
          <p:nvPr/>
        </p:nvSpPr>
        <p:spPr>
          <a:xfrm>
            <a:off x="447674" y="1509486"/>
            <a:ext cx="4185516" cy="387798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6: Employer Services 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>
                <a:solidFill>
                  <a:srgbClr val="000000"/>
                </a:solidFill>
                <a:sym typeface="+mn-lt"/>
              </a:rPr>
              <a:t>Adding an Employer Service in MOSES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pPr marL="486000" lvl="1" indent="-324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sym typeface="+mn-lt"/>
              </a:rPr>
              <a:t>Move to the </a:t>
            </a:r>
            <a:r>
              <a:rPr lang="en-US" i="1">
                <a:solidFill>
                  <a:srgbClr val="000000"/>
                </a:solidFill>
                <a:sym typeface="+mn-lt"/>
              </a:rPr>
              <a:t>Employer Services </a:t>
            </a:r>
            <a:r>
              <a:rPr lang="en-US">
                <a:solidFill>
                  <a:srgbClr val="000000"/>
                </a:solidFill>
                <a:sym typeface="+mn-lt"/>
              </a:rPr>
              <a:t>tab</a:t>
            </a:r>
          </a:p>
          <a:p>
            <a:pPr marL="486000" lvl="1" indent="-324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>
                <a:solidFill>
                  <a:srgbClr val="000000"/>
                </a:solidFill>
                <a:sym typeface="+mn-lt"/>
              </a:rPr>
              <a:t>Click the </a:t>
            </a:r>
            <a:r>
              <a:rPr lang="en-US" i="1">
                <a:solidFill>
                  <a:srgbClr val="000000"/>
                </a:solidFill>
                <a:sym typeface="+mn-lt"/>
              </a:rPr>
              <a:t>Add</a:t>
            </a:r>
            <a:r>
              <a:rPr lang="en-US">
                <a:solidFill>
                  <a:srgbClr val="000000"/>
                </a:solidFill>
                <a:sym typeface="+mn-lt"/>
              </a:rPr>
              <a:t> button to add a service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i="1">
                <a:sym typeface="+mn-lt"/>
              </a:rPr>
              <a:t>Note that for every service entered there should be a comprehensive summary of the conversation with the employer.</a:t>
            </a:r>
          </a:p>
        </p:txBody>
      </p:sp>
      <p:pic>
        <p:nvPicPr>
          <p:cNvPr id="8" name="Picture 5" descr="MM_ServicesAdd.PNG">
            <a:extLst>
              <a:ext uri="{FF2B5EF4-FFF2-40B4-BE49-F238E27FC236}">
                <a16:creationId xmlns:a16="http://schemas.microsoft.com/office/drawing/2014/main" id="{EC36B287-6BCD-42C0-BD5D-ED57E004947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4328" y="1510578"/>
            <a:ext cx="6552447" cy="42225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11F481-6501-416C-B47F-9C5E3CE5AE9C}"/>
              </a:ext>
            </a:extLst>
          </p:cNvPr>
          <p:cNvSpPr/>
          <p:nvPr/>
        </p:nvSpPr>
        <p:spPr>
          <a:xfrm>
            <a:off x="10668000" y="2733674"/>
            <a:ext cx="546100" cy="27404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ym typeface="+mn-lt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2FF48D-F981-405D-A3CA-C1ACF274554A}"/>
              </a:ext>
            </a:extLst>
          </p:cNvPr>
          <p:cNvSpPr/>
          <p:nvPr/>
        </p:nvSpPr>
        <p:spPr>
          <a:xfrm>
            <a:off x="8966200" y="2081213"/>
            <a:ext cx="863600" cy="236537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ym typeface="+mn-lt"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2B599B79-A4F5-490A-9340-D7C49812247C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B028E7CA-B1B3-4946-B408-485164CB431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2799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sym typeface="+mn-l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OSES employer record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F3926F-37B1-42DA-8FA6-3EC281017D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C074FB-07C3-48F9-92C0-FB95101C3974}"/>
              </a:ext>
            </a:extLst>
          </p:cNvPr>
          <p:cNvSpPr txBox="1"/>
          <p:nvPr/>
        </p:nvSpPr>
        <p:spPr>
          <a:xfrm>
            <a:off x="447674" y="1507839"/>
            <a:ext cx="4185516" cy="437042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spcAft>
                <a:spcPts val="1200"/>
              </a:spcAft>
            </a:pPr>
            <a:r>
              <a:rPr lang="en-US" dirty="0">
                <a:solidFill>
                  <a:schemeClr val="accent6"/>
                </a:solidFill>
                <a:sym typeface="+mn-lt"/>
              </a:rPr>
              <a:t>TAB 6: Employer Services</a:t>
            </a:r>
          </a:p>
          <a:p>
            <a:r>
              <a:rPr lang="en-US" sz="1600" dirty="0">
                <a:sym typeface="+mn-lt"/>
              </a:rPr>
              <a:t>Each employer enrolled in the </a:t>
            </a:r>
            <a:r>
              <a:rPr lang="en-US" sz="1600" dirty="0" err="1">
                <a:sym typeface="+mn-lt"/>
              </a:rPr>
              <a:t>FutureSkills</a:t>
            </a:r>
            <a:r>
              <a:rPr lang="en-US" sz="1600" dirty="0">
                <a:sym typeface="+mn-lt"/>
              </a:rPr>
              <a:t> regional program, must also </a:t>
            </a:r>
            <a:br>
              <a:rPr lang="en-US" sz="1600" dirty="0">
                <a:sym typeface="+mn-lt"/>
              </a:rPr>
            </a:br>
            <a:r>
              <a:rPr lang="en-US" sz="1600" dirty="0">
                <a:sym typeface="+mn-lt"/>
              </a:rPr>
              <a:t>have a "Lead" service recorded.</a:t>
            </a:r>
          </a:p>
          <a:p>
            <a:endParaRPr lang="en-US" sz="1600" dirty="0">
              <a:sym typeface="+mn-lt"/>
            </a:endParaRPr>
          </a:p>
          <a:p>
            <a:r>
              <a:rPr lang="en-US" sz="1600" dirty="0">
                <a:sym typeface="+mn-lt"/>
              </a:rPr>
              <a:t>To define “Lead”: Market Makers will add a Marketing and Outreach Services – Business Contact service for each employer they have identified as a lead for the </a:t>
            </a:r>
            <a:r>
              <a:rPr lang="en-US" sz="1600" dirty="0" err="1">
                <a:sym typeface="+mn-lt"/>
              </a:rPr>
              <a:t>FutureSkills</a:t>
            </a:r>
            <a:r>
              <a:rPr lang="en-US" sz="1600" dirty="0">
                <a:sym typeface="+mn-lt"/>
              </a:rPr>
              <a:t> program.</a:t>
            </a:r>
          </a:p>
          <a:p>
            <a:endParaRPr lang="en-US" sz="1600" dirty="0">
              <a:sym typeface="+mn-lt"/>
            </a:endParaRPr>
          </a:p>
          <a:p>
            <a:r>
              <a:rPr lang="en-US" sz="1600" dirty="0">
                <a:sym typeface="+mn-lt"/>
              </a:rPr>
              <a:t>To define “Qualified Lead”: </a:t>
            </a:r>
          </a:p>
          <a:p>
            <a:r>
              <a:rPr lang="en-US" sz="1600" dirty="0">
                <a:sym typeface="+mn-lt"/>
              </a:rPr>
              <a:t>The Market Maker will add a Business Information and Incentives – Business Assessment service for each employer they have identified as </a:t>
            </a:r>
            <a:br>
              <a:rPr lang="en-US" sz="1600" dirty="0">
                <a:sym typeface="+mn-lt"/>
              </a:rPr>
            </a:br>
            <a:r>
              <a:rPr lang="en-US" sz="1600" dirty="0">
                <a:sym typeface="+mn-lt"/>
              </a:rPr>
              <a:t>a qualified lead for the </a:t>
            </a:r>
            <a:r>
              <a:rPr lang="en-US" sz="1600" dirty="0" err="1">
                <a:sym typeface="+mn-lt"/>
              </a:rPr>
              <a:t>FutureSkills</a:t>
            </a:r>
            <a:r>
              <a:rPr lang="en-US" sz="1600" dirty="0">
                <a:sym typeface="+mn-lt"/>
              </a:rPr>
              <a:t> program.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D83CF13C-5A7F-40B2-88E3-17424CE84D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4329" y="1506494"/>
            <a:ext cx="6542604" cy="3878306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BC9E71E3-5266-4CDE-89D7-E56E68890683}"/>
              </a:ext>
            </a:extLst>
          </p:cNvPr>
          <p:cNvSpPr/>
          <p:nvPr/>
        </p:nvSpPr>
        <p:spPr>
          <a:xfrm>
            <a:off x="8371299" y="2876228"/>
            <a:ext cx="2825856" cy="552772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0000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ym typeface="+mn-lt"/>
            </a:endParaRP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F7322EEA-B712-439B-B8F3-23032AAFE0D9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39E97347-72F8-4CA1-9CBA-BA69E16F46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03678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8735C44-EE0E-444B-AABB-3B922F3741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8735C44-EE0E-444B-AABB-3B922F3741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D65A3F-0FFB-43A0-910F-3C75E2D6B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87AADC-B3EC-4ED3-AAB6-B2F31F0B7B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80CFAA-0408-42D1-88D6-1C75C2565F1F}"/>
              </a:ext>
            </a:extLst>
          </p:cNvPr>
          <p:cNvSpPr txBox="1"/>
          <p:nvPr/>
        </p:nvSpPr>
        <p:spPr>
          <a:xfrm>
            <a:off x="447675" y="1509486"/>
            <a:ext cx="4185516" cy="410754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6: Employer Services 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r>
              <a:rPr lang="en-US">
                <a:sym typeface="+mn-lt"/>
              </a:rPr>
              <a:t>New services appear at the top of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the service summary screen.</a:t>
            </a:r>
          </a:p>
          <a:p>
            <a:endParaRPr lang="en-US">
              <a:sym typeface="+mn-lt"/>
            </a:endParaRPr>
          </a:p>
          <a:p>
            <a:r>
              <a:rPr lang="en-US">
                <a:sym typeface="+mn-lt"/>
              </a:rPr>
              <a:t>Services will show history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of interaction with employer.</a:t>
            </a:r>
          </a:p>
          <a:p>
            <a:endParaRPr lang="en-US">
              <a:sym typeface="+mn-lt"/>
            </a:endParaRPr>
          </a:p>
          <a:p>
            <a:endParaRPr lang="en-US">
              <a:sym typeface="+mn-lt"/>
            </a:endParaRPr>
          </a:p>
          <a:p>
            <a:r>
              <a:rPr lang="en-US">
                <a:sym typeface="+mn-lt"/>
              </a:rPr>
              <a:t>Again, remember that for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every service entered there should be a comprehensive summary of the conversation with the employer.</a:t>
            </a:r>
          </a:p>
          <a:p>
            <a:endParaRPr lang="en-US">
              <a:sym typeface="+mn-lt"/>
            </a:endParaRPr>
          </a:p>
          <a:p>
            <a:endParaRPr lang="en-US">
              <a:solidFill>
                <a:srgbClr val="009876"/>
              </a:solidFill>
              <a:sym typeface="+mn-lt"/>
            </a:endParaRPr>
          </a:p>
          <a:p>
            <a:endParaRPr lang="en-US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795FB6F6-0086-4F54-BB4E-080622AA15D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9" y="1513088"/>
            <a:ext cx="6545024" cy="3233084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8E5F3405-0A1B-4F77-8EF6-A8C4F34A293E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F69CC127-20B6-4704-8F4B-5CF230B43F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09162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5CFADB-61C6-42EB-B96A-F991A7FDAF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5CFADB-61C6-42EB-B96A-F991A7FDA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D34A73C-8DF0-4EFF-9038-5ADFB41B7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de-DE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A89385-308B-4A3E-B435-E8026B042B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de-DE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8957BC-D3E1-41AE-9960-DD98DBCB4756}"/>
              </a:ext>
            </a:extLst>
          </p:cNvPr>
          <p:cNvSpPr txBox="1"/>
          <p:nvPr/>
        </p:nvSpPr>
        <p:spPr>
          <a:xfrm>
            <a:off x="447675" y="1503589"/>
            <a:ext cx="4185516" cy="445287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dirty="0">
                <a:solidFill>
                  <a:schemeClr val="accent6"/>
                </a:solidFill>
                <a:sym typeface="+mn-lt"/>
              </a:rPr>
              <a:t>TAB 6: Employer Services</a:t>
            </a:r>
            <a:r>
              <a:rPr lang="de-DE" dirty="0">
                <a:solidFill>
                  <a:schemeClr val="tx2"/>
                </a:solidFill>
                <a:sym typeface="+mn-lt"/>
              </a:rPr>
              <a:t> </a:t>
            </a:r>
          </a:p>
          <a:p>
            <a:endParaRPr lang="de-DE" sz="1600" dirty="0">
              <a:solidFill>
                <a:schemeClr val="tx2"/>
              </a:solidFill>
              <a:sym typeface="+mn-lt"/>
            </a:endParaRPr>
          </a:p>
          <a:p>
            <a:r>
              <a:rPr lang="de-DE" sz="1600" dirty="0">
                <a:sym typeface="+mn-lt"/>
              </a:rPr>
              <a:t>To define “Referral”: </a:t>
            </a:r>
          </a:p>
          <a:p>
            <a:r>
              <a:rPr lang="de-DE" sz="1600" dirty="0">
                <a:sym typeface="+mn-lt"/>
              </a:rPr>
              <a:t>The Market Maker will add a </a:t>
            </a:r>
            <a:br>
              <a:rPr lang="de-DE" sz="1600" dirty="0">
                <a:solidFill>
                  <a:schemeClr val="tx2"/>
                </a:solidFill>
                <a:sym typeface="+mn-lt"/>
              </a:rPr>
            </a:br>
            <a:r>
              <a:rPr lang="de-DE" sz="1600" dirty="0">
                <a:solidFill>
                  <a:schemeClr val="accent6"/>
                </a:solidFill>
                <a:sym typeface="+mn-lt"/>
              </a:rPr>
              <a:t>Referrals to Grants and Incentives </a:t>
            </a:r>
            <a:r>
              <a:rPr lang="de-DE" sz="1600" dirty="0">
                <a:sym typeface="+mn-lt"/>
              </a:rPr>
              <a:t>service </a:t>
            </a:r>
            <a:br>
              <a:rPr lang="de-DE" sz="1600" dirty="0">
                <a:sym typeface="+mn-lt"/>
              </a:rPr>
            </a:br>
            <a:r>
              <a:rPr lang="de-DE" sz="1600" dirty="0">
                <a:sym typeface="+mn-lt"/>
              </a:rPr>
              <a:t>for each employer they refer for training and/or support</a:t>
            </a:r>
            <a:r>
              <a:rPr lang="de-DE" sz="1600" dirty="0">
                <a:solidFill>
                  <a:schemeClr val="tx2"/>
                </a:solidFill>
                <a:sym typeface="+mn-lt"/>
              </a:rPr>
              <a:t>. </a:t>
            </a:r>
          </a:p>
          <a:p>
            <a:endParaRPr lang="de-DE" sz="1600" dirty="0">
              <a:solidFill>
                <a:schemeClr val="accent6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de-DE" sz="1600" dirty="0">
                <a:solidFill>
                  <a:schemeClr val="accent6"/>
                </a:solidFill>
                <a:sym typeface="+mn-lt"/>
              </a:rPr>
              <a:t>New FutureSkills Services for MOSES</a:t>
            </a:r>
            <a:r>
              <a:rPr lang="de-DE" sz="1600" dirty="0">
                <a:solidFill>
                  <a:srgbClr val="000000"/>
                </a:solidFill>
                <a:sym typeface="+mn-lt"/>
              </a:rPr>
              <a:t>:</a:t>
            </a:r>
          </a:p>
          <a:p>
            <a:r>
              <a:rPr lang="de-DE" sz="1600" dirty="0">
                <a:sym typeface="+mn-lt"/>
              </a:rPr>
              <a:t>Under the category of Referrals </a:t>
            </a:r>
            <a:br>
              <a:rPr lang="de-DE" sz="1600" dirty="0">
                <a:sym typeface="+mn-lt"/>
              </a:rPr>
            </a:br>
            <a:r>
              <a:rPr lang="de-DE" sz="1600" dirty="0">
                <a:sym typeface="+mn-lt"/>
              </a:rPr>
              <a:t>to Grants and Incentives: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sz="1600" dirty="0">
                <a:sym typeface="+mn-lt"/>
              </a:rPr>
              <a:t>MassHire for Business Services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sz="1600" dirty="0">
                <a:sym typeface="+mn-lt"/>
              </a:rPr>
              <a:t>FutureSkills - CTI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sz="1600" dirty="0">
                <a:sym typeface="+mn-lt"/>
              </a:rPr>
              <a:t>FutureSkills - RENEW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sz="1600" dirty="0">
                <a:sym typeface="+mn-lt"/>
              </a:rPr>
              <a:t>FutureSkills – WCTF</a:t>
            </a: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BD53B4A9-2131-415E-BE4C-B0FB38EE79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7" y="1542297"/>
            <a:ext cx="6550745" cy="3639303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83277CD5-0FE2-4748-96B2-D157BA88299B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442386F5-C6D6-4B39-975A-9BCACEE736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2375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DCB901D-DF47-4AB9-859C-E87A3185DA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DCB901D-DF47-4AB9-859C-E87A3185D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18637D-9ADE-49A6-A3BA-194718C05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86844-27FD-41D6-9836-0BE6106537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85A7B96-CD7C-4428-A816-BD07FEF398A0}"/>
              </a:ext>
            </a:extLst>
          </p:cNvPr>
          <p:cNvSpPr txBox="1"/>
          <p:nvPr/>
        </p:nvSpPr>
        <p:spPr>
          <a:xfrm>
            <a:off x="447675" y="1509486"/>
            <a:ext cx="4185516" cy="203132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6: Employer Services 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New services appear at the top of </a:t>
            </a:r>
            <a:br>
              <a:rPr lang="en-US">
                <a:solidFill>
                  <a:srgbClr val="000000"/>
                </a:solidFill>
                <a:sym typeface="+mn-lt"/>
              </a:rPr>
            </a:br>
            <a:r>
              <a:rPr lang="en-US">
                <a:solidFill>
                  <a:srgbClr val="000000"/>
                </a:solidFill>
                <a:sym typeface="+mn-lt"/>
              </a:rPr>
              <a:t>the service summary screen.</a:t>
            </a:r>
          </a:p>
          <a:p>
            <a:endParaRPr lang="en-US">
              <a:solidFill>
                <a:srgbClr val="000000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Services will show history </a:t>
            </a:r>
            <a:br>
              <a:rPr lang="en-US">
                <a:solidFill>
                  <a:srgbClr val="000000"/>
                </a:solidFill>
                <a:sym typeface="+mn-lt"/>
              </a:rPr>
            </a:br>
            <a:r>
              <a:rPr lang="en-US">
                <a:solidFill>
                  <a:srgbClr val="000000"/>
                </a:solidFill>
                <a:sym typeface="+mn-lt"/>
              </a:rPr>
              <a:t>of interaction with employer.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49DD56CD-B302-4969-AF6A-25E1B900D2C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456086"/>
            <a:ext cx="6553078" cy="3662014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55C38B1C-9D97-49EE-B437-E174F59249BE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691ECD21-32D1-4D25-B7C8-F066FD63492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41412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61A2A9-EB8D-4644-9378-F5775760E1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61A2A9-EB8D-4644-9378-F5775760E1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589674E-3497-4A13-B781-6858A2359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de-DE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761157-DCA8-43B3-9B80-904FA9F8BF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de-DE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6C8E64-6E77-484D-8B81-B81C68BCFBC3}"/>
              </a:ext>
            </a:extLst>
          </p:cNvPr>
          <p:cNvSpPr txBox="1"/>
          <p:nvPr/>
        </p:nvSpPr>
        <p:spPr>
          <a:xfrm>
            <a:off x="447675" y="1509773"/>
            <a:ext cx="4185516" cy="4154427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de-DE" dirty="0">
                <a:solidFill>
                  <a:schemeClr val="accent6"/>
                </a:solidFill>
                <a:sym typeface="+mn-lt"/>
              </a:rPr>
              <a:t>TAB 6: Employer Services </a:t>
            </a:r>
          </a:p>
          <a:p>
            <a:endParaRPr lang="de-DE" dirty="0">
              <a:solidFill>
                <a:schemeClr val="tx2"/>
              </a:solidFill>
              <a:sym typeface="+mn-lt"/>
            </a:endParaRPr>
          </a:p>
          <a:p>
            <a:r>
              <a:rPr lang="de-DE" dirty="0">
                <a:solidFill>
                  <a:schemeClr val="accent6"/>
                </a:solidFill>
                <a:sym typeface="+mn-lt"/>
              </a:rPr>
              <a:t>Once a referral is made for an employer and there is a successful outcome, add an outcome service to the employer record indicating a successful referral; i.e.; a grant from the Commonwealth Corporation for training.</a:t>
            </a:r>
          </a:p>
          <a:p>
            <a:endParaRPr lang="de-DE" dirty="0">
              <a:solidFill>
                <a:schemeClr val="accent6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de-DE" dirty="0">
                <a:solidFill>
                  <a:schemeClr val="accent6"/>
                </a:solidFill>
                <a:sym typeface="+mn-lt"/>
              </a:rPr>
              <a:t>FutureSkills Services for MOSES: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de-DE" dirty="0">
                <a:sym typeface="+mn-lt"/>
              </a:rPr>
              <a:t>Under the category of Outcomes</a:t>
            </a:r>
          </a:p>
          <a:p>
            <a:pPr marL="486000" lvl="1" indent="-324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dirty="0">
                <a:sym typeface="+mn-lt"/>
              </a:rPr>
              <a:t>FutureSkills - CTI</a:t>
            </a:r>
          </a:p>
          <a:p>
            <a:pPr marL="486000" lvl="1" indent="-324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dirty="0">
                <a:sym typeface="+mn-lt"/>
              </a:rPr>
              <a:t>FutureSkills - RENEW</a:t>
            </a:r>
          </a:p>
          <a:p>
            <a:pPr marL="486000" lvl="1" indent="-324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de-DE" dirty="0">
                <a:sym typeface="+mn-lt"/>
              </a:rPr>
              <a:t>FutureSkills - WCTF</a:t>
            </a:r>
          </a:p>
          <a:p>
            <a:endParaRPr lang="de-DE" dirty="0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E8A979D3-1E3A-4D7F-BD35-9DF14895A7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26775"/>
            <a:ext cx="6537363" cy="3642125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C9A569A1-8A15-484D-B60B-985046BDE7B9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10ED9318-1EED-44F5-BD81-18C7E9941F1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94379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9ABDBB-E323-42AA-96D4-A8FDB23732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9ABDBB-E323-42AA-96D4-A8FDB2373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BA509AD-C29A-4C61-88C2-5CD031C00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385EA6-072D-4A6C-800A-D772B47B74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0A7FC0-1B44-4EA6-B748-5A3F8C246EA5}"/>
              </a:ext>
            </a:extLst>
          </p:cNvPr>
          <p:cNvSpPr txBox="1"/>
          <p:nvPr/>
        </p:nvSpPr>
        <p:spPr>
          <a:xfrm>
            <a:off x="447674" y="1511300"/>
            <a:ext cx="4185516" cy="147732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6: Employer Services 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An outcome service is a companion </a:t>
            </a:r>
            <a:br>
              <a:rPr lang="en-US">
                <a:solidFill>
                  <a:srgbClr val="000000"/>
                </a:solidFill>
                <a:sym typeface="+mn-lt"/>
              </a:rPr>
            </a:br>
            <a:r>
              <a:rPr lang="en-US">
                <a:solidFill>
                  <a:srgbClr val="000000"/>
                </a:solidFill>
                <a:sym typeface="+mn-lt"/>
              </a:rPr>
              <a:t>to the referral service to indicate a successful referral has been made</a:t>
            </a:r>
            <a:r>
              <a:rPr lang="en-US">
                <a:solidFill>
                  <a:schemeClr val="tx2"/>
                </a:solidFill>
                <a:sym typeface="+mn-lt"/>
              </a:rPr>
              <a:t>.</a:t>
            </a:r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D6F1AEC4-8745-4B37-8990-7811DDCCEF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28601"/>
            <a:ext cx="6559719" cy="3614899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9BE174F2-A9C9-4E2E-970F-B547F459A4C4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EF5DC49A-6656-41C6-B4E9-9B71A93B001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102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D504C3-C34A-45B4-9C7D-44F0DA2B81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D504C3-C34A-45B4-9C7D-44F0DA2B81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BE0387-1829-46A6-A8C6-D6B06163F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9589455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DB63E9-E43F-41BA-8A4E-401C8D9AC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FB4C6B-1DD0-4E92-AC5A-D582BFE3565E}"/>
              </a:ext>
            </a:extLst>
          </p:cNvPr>
          <p:cNvSpPr txBox="1"/>
          <p:nvPr/>
        </p:nvSpPr>
        <p:spPr>
          <a:xfrm>
            <a:off x="447674" y="1511301"/>
            <a:ext cx="4185516" cy="304698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7: Closing / Layoff</a:t>
            </a:r>
          </a:p>
          <a:p>
            <a:endParaRPr lang="en-US">
              <a:solidFill>
                <a:schemeClr val="accent6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This tab is for the exclusive use of</a:t>
            </a:r>
            <a:br>
              <a:rPr lang="en-US">
                <a:solidFill>
                  <a:srgbClr val="000000"/>
                </a:solidFill>
                <a:sym typeface="+mn-lt"/>
              </a:rPr>
            </a:br>
            <a:r>
              <a:rPr lang="en-US">
                <a:solidFill>
                  <a:srgbClr val="000000"/>
                </a:solidFill>
                <a:sym typeface="+mn-lt"/>
              </a:rPr>
              <a:t>the MassHire Rapid Response Team and Central Office. In this tab, the user can record the status Of Closings / Layoffs, Trade Petitions filed, and National Dislocated Worker Grant information.</a:t>
            </a:r>
          </a:p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969128-79E3-4DB0-BFFB-6C345DBFE5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497620"/>
            <a:ext cx="6539017" cy="4207375"/>
          </a:xfrm>
          <a:prstGeom prst="rect">
            <a:avLst/>
          </a:prstGeom>
        </p:spPr>
      </p:pic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850FDA6F-21DC-4DCD-A1B0-3D2319954FC7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F01C0D07-5F93-485F-956E-1451A5CBC52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3046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4B0C60-90C3-4B11-9088-5944CB0D0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781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4B0C60-90C3-4B11-9088-5944CB0D0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24364D6-0FA9-4E28-86EE-C0AAF7297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egional blueprints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42160268-046B-45BA-8A62-D0FBD1338CE7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4B89ECAF-0EFC-4676-8F1A-4DE92D6F7CA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84317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551903-C0F0-4767-A747-55ABDD87A6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/>
                </a:solidFill>
              </a:rPr>
              <a:t>Market Maker role and responsibiliti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0A0C29-1667-44C5-A331-7EB73686E9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64">
              <a:solidFill>
                <a:srgbClr val="FFFFFF"/>
              </a:solidFill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04ABF764-D480-4964-AAC9-33E4B7E3EA42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AAEE622D-DFF6-4F6C-A164-031D9B4BCA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1529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82097E-0234-4CA6-8CAB-11A7276625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442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82097E-0234-4CA6-8CAB-11A727662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D38C7FA-C505-4090-A33F-CC2BA11424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2020 regional blueprints</a:t>
            </a:r>
          </a:p>
        </p:txBody>
      </p:sp>
      <p:sp>
        <p:nvSpPr>
          <p:cNvPr id="14" name="Rectangle 13">
            <a:hlinkClick r:id="rId5"/>
            <a:extLst>
              <a:ext uri="{FF2B5EF4-FFF2-40B4-BE49-F238E27FC236}">
                <a16:creationId xmlns:a16="http://schemas.microsoft.com/office/drawing/2014/main" id="{4A6754C8-F734-4B71-B64F-874F7DAE2532}"/>
              </a:ext>
            </a:extLst>
          </p:cNvPr>
          <p:cNvSpPr/>
          <p:nvPr/>
        </p:nvSpPr>
        <p:spPr>
          <a:xfrm>
            <a:off x="4870382" y="2305446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Cape &amp; Islands</a:t>
            </a:r>
          </a:p>
        </p:txBody>
      </p:sp>
      <p:sp>
        <p:nvSpPr>
          <p:cNvPr id="15" name="Rectangle 14">
            <a:hlinkClick r:id="rId6"/>
            <a:extLst>
              <a:ext uri="{FF2B5EF4-FFF2-40B4-BE49-F238E27FC236}">
                <a16:creationId xmlns:a16="http://schemas.microsoft.com/office/drawing/2014/main" id="{EF5B48EC-F95F-4B9D-BFE3-76A48AB03CE0}"/>
              </a:ext>
            </a:extLst>
          </p:cNvPr>
          <p:cNvSpPr/>
          <p:nvPr/>
        </p:nvSpPr>
        <p:spPr>
          <a:xfrm>
            <a:off x="4870382" y="2969269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Central</a:t>
            </a:r>
          </a:p>
        </p:txBody>
      </p:sp>
      <p:sp>
        <p:nvSpPr>
          <p:cNvPr id="16" name="Rectangle 15">
            <a:hlinkClick r:id="rId7"/>
            <a:extLst>
              <a:ext uri="{FF2B5EF4-FFF2-40B4-BE49-F238E27FC236}">
                <a16:creationId xmlns:a16="http://schemas.microsoft.com/office/drawing/2014/main" id="{D2966160-BA1E-431D-AE0C-7A24F8A0E118}"/>
              </a:ext>
            </a:extLst>
          </p:cNvPr>
          <p:cNvSpPr/>
          <p:nvPr/>
        </p:nvSpPr>
        <p:spPr>
          <a:xfrm>
            <a:off x="4870382" y="3633092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Greater Boston</a:t>
            </a:r>
          </a:p>
        </p:txBody>
      </p:sp>
      <p:sp>
        <p:nvSpPr>
          <p:cNvPr id="17" name="Rectangle 16">
            <a:hlinkClick r:id="rId8"/>
            <a:extLst>
              <a:ext uri="{FF2B5EF4-FFF2-40B4-BE49-F238E27FC236}">
                <a16:creationId xmlns:a16="http://schemas.microsoft.com/office/drawing/2014/main" id="{E8611112-808D-4CBC-9833-A8570185F3AC}"/>
              </a:ext>
            </a:extLst>
          </p:cNvPr>
          <p:cNvSpPr/>
          <p:nvPr/>
        </p:nvSpPr>
        <p:spPr>
          <a:xfrm>
            <a:off x="4870382" y="4296915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Northeast</a:t>
            </a:r>
          </a:p>
        </p:txBody>
      </p:sp>
      <p:sp>
        <p:nvSpPr>
          <p:cNvPr id="18" name="Rectangle 17">
            <a:hlinkClick r:id="rId9"/>
            <a:extLst>
              <a:ext uri="{FF2B5EF4-FFF2-40B4-BE49-F238E27FC236}">
                <a16:creationId xmlns:a16="http://schemas.microsoft.com/office/drawing/2014/main" id="{DE2E996B-FDFE-47F9-9CBD-7619C20E4ECC}"/>
              </a:ext>
            </a:extLst>
          </p:cNvPr>
          <p:cNvSpPr/>
          <p:nvPr/>
        </p:nvSpPr>
        <p:spPr>
          <a:xfrm>
            <a:off x="4870382" y="4960738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Pioneer Valley</a:t>
            </a:r>
          </a:p>
        </p:txBody>
      </p:sp>
      <p:sp>
        <p:nvSpPr>
          <p:cNvPr id="19" name="Rectangle 18">
            <a:hlinkClick r:id="rId10"/>
            <a:extLst>
              <a:ext uri="{FF2B5EF4-FFF2-40B4-BE49-F238E27FC236}">
                <a16:creationId xmlns:a16="http://schemas.microsoft.com/office/drawing/2014/main" id="{21E541E2-B1C4-4E30-9C3E-6E1FD2210A76}"/>
              </a:ext>
            </a:extLst>
          </p:cNvPr>
          <p:cNvSpPr/>
          <p:nvPr/>
        </p:nvSpPr>
        <p:spPr>
          <a:xfrm>
            <a:off x="4870382" y="5624561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Southeast</a:t>
            </a:r>
          </a:p>
        </p:txBody>
      </p:sp>
      <p:sp>
        <p:nvSpPr>
          <p:cNvPr id="13" name="Rectangle 12">
            <a:hlinkClick r:id="rId11"/>
            <a:extLst>
              <a:ext uri="{FF2B5EF4-FFF2-40B4-BE49-F238E27FC236}">
                <a16:creationId xmlns:a16="http://schemas.microsoft.com/office/drawing/2014/main" id="{B59F9BC7-CD02-486B-ABF2-56A349DB35BD}"/>
              </a:ext>
            </a:extLst>
          </p:cNvPr>
          <p:cNvSpPr/>
          <p:nvPr/>
        </p:nvSpPr>
        <p:spPr>
          <a:xfrm>
            <a:off x="4870382" y="1641622"/>
            <a:ext cx="6683441" cy="530077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000">
                <a:solidFill>
                  <a:srgbClr val="000000"/>
                </a:solidFill>
              </a:rPr>
              <a:t>Berkshi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A120A0A-ED59-4913-8F07-FBFED998942B}"/>
              </a:ext>
            </a:extLst>
          </p:cNvPr>
          <p:cNvSpPr/>
          <p:nvPr/>
        </p:nvSpPr>
        <p:spPr>
          <a:xfrm>
            <a:off x="4784657" y="1641622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8097068-1AC1-4597-BDB7-424FD1A071F8}"/>
              </a:ext>
            </a:extLst>
          </p:cNvPr>
          <p:cNvSpPr/>
          <p:nvPr/>
        </p:nvSpPr>
        <p:spPr>
          <a:xfrm>
            <a:off x="4784657" y="2305445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934F53E-8B2A-49E3-BF02-721A9F38673D}"/>
              </a:ext>
            </a:extLst>
          </p:cNvPr>
          <p:cNvSpPr/>
          <p:nvPr/>
        </p:nvSpPr>
        <p:spPr>
          <a:xfrm>
            <a:off x="4784657" y="2969268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52FC80B-742E-4C22-81AA-1D6191417B29}"/>
              </a:ext>
            </a:extLst>
          </p:cNvPr>
          <p:cNvSpPr/>
          <p:nvPr/>
        </p:nvSpPr>
        <p:spPr>
          <a:xfrm>
            <a:off x="4784657" y="3633091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84DEE9-DDFF-4B17-9059-7B3113C061C4}"/>
              </a:ext>
            </a:extLst>
          </p:cNvPr>
          <p:cNvSpPr/>
          <p:nvPr/>
        </p:nvSpPr>
        <p:spPr>
          <a:xfrm>
            <a:off x="4784657" y="4296914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50DE0F4-84FC-4E9A-A30E-8F2234164B9D}"/>
              </a:ext>
            </a:extLst>
          </p:cNvPr>
          <p:cNvSpPr/>
          <p:nvPr/>
        </p:nvSpPr>
        <p:spPr>
          <a:xfrm>
            <a:off x="4784657" y="4960737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D5F6E4E-AC86-48B4-A531-F13197D4DE61}"/>
              </a:ext>
            </a:extLst>
          </p:cNvPr>
          <p:cNvSpPr/>
          <p:nvPr/>
        </p:nvSpPr>
        <p:spPr>
          <a:xfrm>
            <a:off x="4784657" y="5624561"/>
            <a:ext cx="85725" cy="530077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0486951F-9836-43A7-88D6-5659F351E7B8}"/>
              </a:ext>
            </a:extLst>
          </p:cNvPr>
          <p:cNvSpPr/>
          <p:nvPr/>
        </p:nvSpPr>
        <p:spPr>
          <a:xfrm>
            <a:off x="4300817" y="1000125"/>
            <a:ext cx="7253008" cy="47627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200" b="1">
                <a:solidFill>
                  <a:srgbClr val="FFFFFF"/>
                </a:solidFill>
              </a:rPr>
              <a:t>Regi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B5CA3686-75AA-440A-89A4-55AAAF915CC5}"/>
              </a:ext>
            </a:extLst>
          </p:cNvPr>
          <p:cNvSpPr/>
          <p:nvPr/>
        </p:nvSpPr>
        <p:spPr>
          <a:xfrm>
            <a:off x="4411107" y="1282286"/>
            <a:ext cx="193743" cy="19411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50000"/>
                    <a:lumOff val="5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rgbClr val="FFFFFF"/>
              </a:solidFill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2D26771-254F-4D9F-88B3-40F97AF1F557}"/>
              </a:ext>
            </a:extLst>
          </p:cNvPr>
          <p:cNvCxnSpPr>
            <a:stCxn id="47" idx="2"/>
            <a:endCxn id="44" idx="0"/>
          </p:cNvCxnSpPr>
          <p:nvPr/>
        </p:nvCxnSpPr>
        <p:spPr>
          <a:xfrm>
            <a:off x="4507979" y="1476399"/>
            <a:ext cx="0" cy="4316109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C8E68FF0-199B-487D-97BB-721EF8EF6364}"/>
              </a:ext>
            </a:extLst>
          </p:cNvPr>
          <p:cNvSpPr/>
          <p:nvPr/>
        </p:nvSpPr>
        <p:spPr>
          <a:xfrm>
            <a:off x="4410888" y="1809570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262F807-A0DC-4D8D-8F06-7FD30BD22D87}"/>
              </a:ext>
            </a:extLst>
          </p:cNvPr>
          <p:cNvSpPr/>
          <p:nvPr/>
        </p:nvSpPr>
        <p:spPr>
          <a:xfrm>
            <a:off x="4410888" y="2473394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3988511-281B-4816-9AF8-ACD743CEC5D4}"/>
              </a:ext>
            </a:extLst>
          </p:cNvPr>
          <p:cNvSpPr/>
          <p:nvPr/>
        </p:nvSpPr>
        <p:spPr>
          <a:xfrm>
            <a:off x="4410888" y="3137217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B67D0B0A-8C6D-4CD3-BA6F-799CC28E94B2}"/>
              </a:ext>
            </a:extLst>
          </p:cNvPr>
          <p:cNvSpPr/>
          <p:nvPr/>
        </p:nvSpPr>
        <p:spPr>
          <a:xfrm>
            <a:off x="4410888" y="3801040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8B301A2-124D-4F32-B1A5-BDA1B71325B5}"/>
              </a:ext>
            </a:extLst>
          </p:cNvPr>
          <p:cNvSpPr/>
          <p:nvPr/>
        </p:nvSpPr>
        <p:spPr>
          <a:xfrm>
            <a:off x="4410888" y="4464863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1C7B81C-87F7-4277-94CF-03A32E0FE70E}"/>
              </a:ext>
            </a:extLst>
          </p:cNvPr>
          <p:cNvSpPr/>
          <p:nvPr/>
        </p:nvSpPr>
        <p:spPr>
          <a:xfrm>
            <a:off x="4410888" y="5792508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B9F2BBCB-7FE1-4145-AF92-D7D987CA3B87}"/>
              </a:ext>
            </a:extLst>
          </p:cNvPr>
          <p:cNvSpPr/>
          <p:nvPr/>
        </p:nvSpPr>
        <p:spPr>
          <a:xfrm>
            <a:off x="4410888" y="5128686"/>
            <a:ext cx="194181" cy="194181"/>
          </a:xfrm>
          <a:prstGeom prst="ellipse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3B1A6A19-26FA-4961-AA70-07B25F178439}"/>
              </a:ext>
            </a:extLst>
          </p:cNvPr>
          <p:cNvCxnSpPr>
            <a:stCxn id="39" idx="6"/>
            <a:endCxn id="22" idx="1"/>
          </p:cNvCxnSpPr>
          <p:nvPr/>
        </p:nvCxnSpPr>
        <p:spPr>
          <a:xfrm>
            <a:off x="4605069" y="1906661"/>
            <a:ext cx="179588" cy="0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8CE2E62-5BE8-4C6B-8101-F23BFE29F317}"/>
              </a:ext>
            </a:extLst>
          </p:cNvPr>
          <p:cNvCxnSpPr>
            <a:cxnSpLocks/>
            <a:stCxn id="40" idx="6"/>
            <a:endCxn id="23" idx="1"/>
          </p:cNvCxnSpPr>
          <p:nvPr/>
        </p:nvCxnSpPr>
        <p:spPr>
          <a:xfrm flipV="1">
            <a:off x="4605069" y="2570484"/>
            <a:ext cx="179588" cy="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EB6AC08-B717-41F0-BF6A-35A1008C45E6}"/>
              </a:ext>
            </a:extLst>
          </p:cNvPr>
          <p:cNvCxnSpPr>
            <a:cxnSpLocks/>
            <a:stCxn id="41" idx="6"/>
            <a:endCxn id="32" idx="1"/>
          </p:cNvCxnSpPr>
          <p:nvPr/>
        </p:nvCxnSpPr>
        <p:spPr>
          <a:xfrm flipV="1">
            <a:off x="4605069" y="3234307"/>
            <a:ext cx="179588" cy="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7BE65DF7-832F-4994-882E-D60B5CCB2CE4}"/>
              </a:ext>
            </a:extLst>
          </p:cNvPr>
          <p:cNvCxnSpPr>
            <a:cxnSpLocks/>
            <a:stCxn id="42" idx="6"/>
            <a:endCxn id="33" idx="1"/>
          </p:cNvCxnSpPr>
          <p:nvPr/>
        </p:nvCxnSpPr>
        <p:spPr>
          <a:xfrm flipV="1">
            <a:off x="4605069" y="3898130"/>
            <a:ext cx="179588" cy="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04EBFE2-23C8-43E5-8BF6-00B6D347DC71}"/>
              </a:ext>
            </a:extLst>
          </p:cNvPr>
          <p:cNvCxnSpPr>
            <a:cxnSpLocks/>
            <a:stCxn id="43" idx="6"/>
            <a:endCxn id="35" idx="1"/>
          </p:cNvCxnSpPr>
          <p:nvPr/>
        </p:nvCxnSpPr>
        <p:spPr>
          <a:xfrm flipV="1">
            <a:off x="4605069" y="4561953"/>
            <a:ext cx="179588" cy="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D15E514-76E3-4714-A0B9-797A274CFEC9}"/>
              </a:ext>
            </a:extLst>
          </p:cNvPr>
          <p:cNvCxnSpPr>
            <a:cxnSpLocks/>
            <a:stCxn id="50" idx="6"/>
            <a:endCxn id="36" idx="1"/>
          </p:cNvCxnSpPr>
          <p:nvPr/>
        </p:nvCxnSpPr>
        <p:spPr>
          <a:xfrm flipV="1">
            <a:off x="4605069" y="5225776"/>
            <a:ext cx="179588" cy="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8496916E-B5BA-4A66-B617-278FFFF469C8}"/>
              </a:ext>
            </a:extLst>
          </p:cNvPr>
          <p:cNvCxnSpPr>
            <a:cxnSpLocks/>
            <a:stCxn id="44" idx="6"/>
            <a:endCxn id="37" idx="1"/>
          </p:cNvCxnSpPr>
          <p:nvPr/>
        </p:nvCxnSpPr>
        <p:spPr>
          <a:xfrm>
            <a:off x="4605069" y="5889599"/>
            <a:ext cx="179588" cy="1"/>
          </a:xfrm>
          <a:prstGeom prst="line">
            <a:avLst/>
          </a:prstGeom>
          <a:ln w="1587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FA74EF31-B738-4877-8187-63788811E41E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Oval 20">
            <a:extLst>
              <a:ext uri="{FF2B5EF4-FFF2-40B4-BE49-F238E27FC236}">
                <a16:creationId xmlns:a16="http://schemas.microsoft.com/office/drawing/2014/main" id="{10CB7616-4C25-459F-9528-1BCF93578E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9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1FC38271-AAAF-4DA7-BA95-5EBD0BE8F475}"/>
              </a:ext>
            </a:extLst>
          </p:cNvPr>
          <p:cNvSpPr txBox="1">
            <a:spLocks/>
          </p:cNvSpPr>
          <p:nvPr/>
        </p:nvSpPr>
        <p:spPr>
          <a:xfrm>
            <a:off x="462684" y="304799"/>
            <a:ext cx="2257367" cy="26235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Regional blueprints</a:t>
            </a:r>
          </a:p>
        </p:txBody>
      </p:sp>
    </p:spTree>
    <p:extLst>
      <p:ext uri="{BB962C8B-B14F-4D97-AF65-F5344CB8AC3E}">
        <p14:creationId xmlns:p14="http://schemas.microsoft.com/office/powerpoint/2010/main" val="1070379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4B0C60-90C3-4B11-9088-5944CB0D0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477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4B0C60-90C3-4B11-9088-5944CB0D0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24364D6-0FA9-4E28-86EE-C0AAF7297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arget occupations for Market Maker outreach by region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42B6499F-1267-4540-BA87-D25D8ADB40B2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B812DA72-D8EE-4FCA-B8DA-85A8AC5702D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50259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394C9AE-F93C-498A-8471-E9351C061E05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Greater Boston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7328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59515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 (K)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150" b="1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ctr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K)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 (K)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Occupations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%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9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.4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969357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67766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7599933"/>
                  </a:ext>
                </a:extLst>
              </a:tr>
            </a:tbl>
          </a:graphicData>
        </a:graphic>
      </p:graphicFrame>
      <p:sp>
        <p:nvSpPr>
          <p:cNvPr id="25" name="Title 2">
            <a:extLst>
              <a:ext uri="{FF2B5EF4-FFF2-40B4-BE49-F238E27FC236}">
                <a16:creationId xmlns:a16="http://schemas.microsoft.com/office/drawing/2014/main" id="{9376CBD6-BFA8-49D5-B1E6-817EC3C64A84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Greater Boston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2851646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198960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078258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2627020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1949272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655132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69B877D6-4764-4067-8C27-1F09D5AF7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4" y="6496263"/>
            <a:ext cx="10427923" cy="35317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85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legal, and military occupations excluded from analysis; healthcare support occupations include therapy, dental, medical, and pharmacy assistants 2. Weighted CAGR between 2018 - 2028 calculated using LMI long-term occupation projections; not all occupations available; 3. UI claimants weekly average, 9/2021; </a:t>
            </a:r>
            <a:r>
              <a:rPr lang="en-US" sz="85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85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More detail in Appendix; 5. Regional priority occupations sourced from Regional Labor Market Blueprints, 2018 - 202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43E91E-BF56-4BF1-98AA-6774D7188FB0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4885278" y="6128601"/>
            <a:chExt cx="5135022" cy="2462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E935565-AE43-41DC-8329-A65C059FCBF3}"/>
                </a:ext>
              </a:extLst>
            </p:cNvPr>
            <p:cNvGrpSpPr/>
            <p:nvPr/>
          </p:nvGrpSpPr>
          <p:grpSpPr>
            <a:xfrm>
              <a:off x="4885278" y="6128601"/>
              <a:ext cx="5135022" cy="246221"/>
              <a:chOff x="5475646" y="5999764"/>
              <a:chExt cx="5135022" cy="246221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094A88-692C-48CB-8B13-372AED0FF899}"/>
                  </a:ext>
                </a:extLst>
              </p:cNvPr>
              <p:cNvSpPr txBox="1"/>
              <p:nvPr/>
            </p:nvSpPr>
            <p:spPr>
              <a:xfrm>
                <a:off x="7258468" y="5999764"/>
                <a:ext cx="3352200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Regional priority occupations (2-digit SOC code), 2020</a:t>
                </a:r>
                <a:r>
                  <a:rPr lang="en-US" sz="1000" i="1" baseline="30000">
                    <a:solidFill>
                      <a:srgbClr val="000000"/>
                    </a:solidFill>
                  </a:rPr>
                  <a:t>5</a:t>
                </a:r>
                <a:r>
                  <a:rPr lang="en-US" sz="1000" i="1">
                    <a:solidFill>
                      <a:srgbClr val="000000"/>
                    </a:solidFill>
                  </a:rPr>
                  <a:t> </a:t>
                </a:r>
                <a:endParaRPr lang="en-US" sz="1000" i="1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C37AC4-725E-44EB-92CE-40A5BD29200F}"/>
                  </a:ext>
                </a:extLst>
              </p:cNvPr>
              <p:cNvSpPr txBox="1"/>
              <p:nvPr/>
            </p:nvSpPr>
            <p:spPr>
              <a:xfrm>
                <a:off x="5551832" y="5999764"/>
                <a:ext cx="1547218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 MA priority occupations</a:t>
                </a:r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82DB7582-7401-48E0-A6C7-FA42CBACDC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646" y="6021880"/>
                <a:ext cx="178729" cy="171508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rgbClr val="00269E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77ABED-5F08-4F8B-99D6-9F95ECF0F4FD}"/>
                </a:ext>
              </a:extLst>
            </p:cNvPr>
            <p:cNvSpPr/>
            <p:nvPr/>
          </p:nvSpPr>
          <p:spPr>
            <a:xfrm>
              <a:off x="6584868" y="6182881"/>
              <a:ext cx="139586" cy="1393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96A4292B-99C3-4911-AD31-AFA1641232C1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6" name="Oval 20">
            <a:extLst>
              <a:ext uri="{FF2B5EF4-FFF2-40B4-BE49-F238E27FC236}">
                <a16:creationId xmlns:a16="http://schemas.microsoft.com/office/drawing/2014/main" id="{902B36AD-9CC9-41D8-92F1-DAAB84FFEBC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96208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394C9AE-F93C-498A-8471-E9351C061E05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Pioneer Valley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732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38669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l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</a:t>
                      </a: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Occupations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5%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1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31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860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9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8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9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894857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5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0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3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280517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72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3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2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413127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29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6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Occupations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7%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7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82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5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Occupations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3%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9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6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7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8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5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5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1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5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3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8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3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3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7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3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Occupations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9%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1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4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3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1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3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egal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0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4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9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599933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2763349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4292318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3222230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2999325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1718134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DEF6378-1607-4B74-8A1E-FCE60BCD5303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5475646" y="5999764"/>
            <a:chExt cx="5135022" cy="246221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5ACA2F49-788A-4EBB-84BB-BAA4D6F69DA9}"/>
                </a:ext>
              </a:extLst>
            </p:cNvPr>
            <p:cNvSpPr txBox="1"/>
            <p:nvPr/>
          </p:nvSpPr>
          <p:spPr>
            <a:xfrm>
              <a:off x="7258468" y="5999764"/>
              <a:ext cx="3352200" cy="24622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000" i="1">
                  <a:solidFill>
                    <a:srgbClr val="000000"/>
                  </a:solidFill>
                </a:rPr>
                <a:t>Regional priority occupations (2-digit SOC code), 2020</a:t>
              </a:r>
              <a:r>
                <a:rPr lang="en-US" sz="1000" i="1" baseline="30000">
                  <a:solidFill>
                    <a:srgbClr val="000000"/>
                  </a:solidFill>
                </a:rPr>
                <a:t>4</a:t>
              </a:r>
              <a:r>
                <a:rPr lang="en-US" sz="1000" i="1">
                  <a:solidFill>
                    <a:srgbClr val="000000"/>
                  </a:solidFill>
                </a:rPr>
                <a:t> </a:t>
              </a:r>
              <a:endParaRPr lang="en-US" sz="1000" i="1" baseline="30000">
                <a:solidFill>
                  <a:srgbClr val="000000"/>
                </a:solidFill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B96622D-9419-4625-835C-E9385F2678A7}"/>
                </a:ext>
              </a:extLst>
            </p:cNvPr>
            <p:cNvSpPr txBox="1"/>
            <p:nvPr/>
          </p:nvSpPr>
          <p:spPr>
            <a:xfrm>
              <a:off x="5551832" y="5999764"/>
              <a:ext cx="1547218" cy="24622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000" i="1">
                  <a:solidFill>
                    <a:srgbClr val="000000"/>
                  </a:solidFill>
                </a:rPr>
                <a:t> MA priority occupations</a:t>
              </a:r>
            </a:p>
          </p:txBody>
        </p:sp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id="{F43AF35F-5228-4304-80D0-37DB9A3222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75646" y="6021880"/>
              <a:ext cx="178729" cy="171508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3866094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3" name="ee4pFootnotes">
            <a:extLst>
              <a:ext uri="{FF2B5EF4-FFF2-40B4-BE49-F238E27FC236}">
                <a16:creationId xmlns:a16="http://schemas.microsoft.com/office/drawing/2014/main" id="{22A37E98-FD5C-451F-8481-706DF2BAD1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4" y="6537409"/>
            <a:ext cx="10390846" cy="2492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and military occupations excluded from analysis; 2. Weighted CAGR between 2018 - 2028 calculated using LMI long-term occupation projections; not all occupations available; 3. UI claimants weekly average, 9/2021; </a:t>
            </a:r>
            <a:r>
              <a:rPr lang="en-US" sz="90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Regional priority occupations sourced from Regional Labor Market Blueprints, 2018 - 2020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B0A147C-6495-49B3-83CC-023B225F0DDC}"/>
              </a:ext>
            </a:extLst>
          </p:cNvPr>
          <p:cNvSpPr/>
          <p:nvPr/>
        </p:nvSpPr>
        <p:spPr>
          <a:xfrm>
            <a:off x="6584868" y="6182881"/>
            <a:ext cx="139586" cy="13934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4" name="Title 2">
            <a:extLst>
              <a:ext uri="{FF2B5EF4-FFF2-40B4-BE49-F238E27FC236}">
                <a16:creationId xmlns:a16="http://schemas.microsoft.com/office/drawing/2014/main" id="{72F1DD54-E6F4-4EB9-8115-86F907AB28CD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Pioneer Valley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sp>
        <p:nvSpPr>
          <p:cNvPr id="55" name="Isosceles Triangle 54">
            <a:extLst>
              <a:ext uri="{FF2B5EF4-FFF2-40B4-BE49-F238E27FC236}">
                <a16:creationId xmlns:a16="http://schemas.microsoft.com/office/drawing/2014/main" id="{804DECC1-F975-4FF7-8D1A-EE7FDEF1A26E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4257F5BB-64AE-47C3-807B-B41C8AE9202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54156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394C9AE-F93C-498A-8471-E9351C061E05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Berkshires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7328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59515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150" b="1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l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</a:t>
                      </a: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Occupations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2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7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7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6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2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7766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74546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599933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985121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884760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078258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436770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1739722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5102807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69B877D6-4764-4067-8C27-1F09D5AF7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3" y="6553786"/>
            <a:ext cx="10427923" cy="2492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legal, and military occupations excluded from analysis; 2. Weighted CAGR between 2018 - 2028 calculated using LMI long-term occupation projections; not all occupations available; 3. UI claimants weekly average, 9/2021; </a:t>
            </a:r>
            <a:r>
              <a:rPr lang="en-US" sz="90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Regional priority occupations sourced from Regional Labor Market Blueprints, 2018 - 202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43E91E-BF56-4BF1-98AA-6774D7188FB0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4885278" y="6128601"/>
            <a:chExt cx="5135022" cy="2462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E935565-AE43-41DC-8329-A65C059FCBF3}"/>
                </a:ext>
              </a:extLst>
            </p:cNvPr>
            <p:cNvGrpSpPr/>
            <p:nvPr/>
          </p:nvGrpSpPr>
          <p:grpSpPr>
            <a:xfrm>
              <a:off x="4885278" y="6128601"/>
              <a:ext cx="5135022" cy="246221"/>
              <a:chOff x="5475646" y="5999764"/>
              <a:chExt cx="5135022" cy="246221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094A88-692C-48CB-8B13-372AED0FF899}"/>
                  </a:ext>
                </a:extLst>
              </p:cNvPr>
              <p:cNvSpPr txBox="1"/>
              <p:nvPr/>
            </p:nvSpPr>
            <p:spPr>
              <a:xfrm>
                <a:off x="7258468" y="5999764"/>
                <a:ext cx="3352200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Regional priority occupations (2-digit SOC code), 2020</a:t>
                </a:r>
                <a:r>
                  <a:rPr lang="en-US" sz="1000" i="1" baseline="30000">
                    <a:solidFill>
                      <a:srgbClr val="000000"/>
                    </a:solidFill>
                  </a:rPr>
                  <a:t>4</a:t>
                </a:r>
                <a:r>
                  <a:rPr lang="en-US" sz="1000" i="1">
                    <a:solidFill>
                      <a:srgbClr val="000000"/>
                    </a:solidFill>
                  </a:rPr>
                  <a:t> </a:t>
                </a:r>
                <a:endParaRPr lang="en-US" sz="1000" i="1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C37AC4-725E-44EB-92CE-40A5BD29200F}"/>
                  </a:ext>
                </a:extLst>
              </p:cNvPr>
              <p:cNvSpPr txBox="1"/>
              <p:nvPr/>
            </p:nvSpPr>
            <p:spPr>
              <a:xfrm>
                <a:off x="5551832" y="5999764"/>
                <a:ext cx="1547218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 MA priority occupations</a:t>
                </a:r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82DB7582-7401-48E0-A6C7-FA42CBACDC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646" y="6021880"/>
                <a:ext cx="178729" cy="171508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rgbClr val="00269E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77ABED-5F08-4F8B-99D6-9F95ECF0F4FD}"/>
                </a:ext>
              </a:extLst>
            </p:cNvPr>
            <p:cNvSpPr/>
            <p:nvPr/>
          </p:nvSpPr>
          <p:spPr>
            <a:xfrm>
              <a:off x="6584868" y="6182881"/>
              <a:ext cx="139586" cy="1393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1BFC2EB5-59A7-4E39-A2A7-51FA82A19F62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Berkshires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56725408-9664-4F2D-8A26-2E960889CFE5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ADF5A928-2C89-4165-9623-84C7528306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0500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394C9AE-F93C-498A-8471-E9351C061E05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Cape &amp; Islands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5181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38669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l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</a:t>
                      </a: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Occupations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1%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1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3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7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Occupations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6%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Occupations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2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1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32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8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8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4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4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4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Occupations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6350" marR="6350" marT="6350" marB="0" anchor="b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2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9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8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3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0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4677665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1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374546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Occupations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0%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2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5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97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347234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2554560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4275603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5345548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3641597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1698626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3866094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69B877D6-4764-4067-8C27-1F09D5AF7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4" y="6537409"/>
            <a:ext cx="10390846" cy="2492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and military occupations excluded from analysis; 2. Weighted CAGR between 2018 - 2028 calculated using LMI long-term occupation projections; not all occupations available; 3. UI claimants weekly average, 9/2021; </a:t>
            </a:r>
            <a:r>
              <a:rPr lang="en-US" sz="90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Regional priority occupations sourced from Regional Labor Market Blueprints, 2018 - 202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43E91E-BF56-4BF1-98AA-6774D7188FB0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4885278" y="6128601"/>
            <a:chExt cx="5135022" cy="2462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E935565-AE43-41DC-8329-A65C059FCBF3}"/>
                </a:ext>
              </a:extLst>
            </p:cNvPr>
            <p:cNvGrpSpPr/>
            <p:nvPr/>
          </p:nvGrpSpPr>
          <p:grpSpPr>
            <a:xfrm>
              <a:off x="4885278" y="6128601"/>
              <a:ext cx="5135022" cy="246221"/>
              <a:chOff x="5475646" y="5999764"/>
              <a:chExt cx="5135022" cy="246221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094A88-692C-48CB-8B13-372AED0FF899}"/>
                  </a:ext>
                </a:extLst>
              </p:cNvPr>
              <p:cNvSpPr txBox="1"/>
              <p:nvPr/>
            </p:nvSpPr>
            <p:spPr>
              <a:xfrm>
                <a:off x="7258468" y="5999764"/>
                <a:ext cx="3352200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Regional priority occupations (2-digit SOC code), 2020</a:t>
                </a:r>
                <a:r>
                  <a:rPr lang="en-US" sz="1000" i="1" baseline="30000">
                    <a:solidFill>
                      <a:srgbClr val="000000"/>
                    </a:solidFill>
                  </a:rPr>
                  <a:t>4</a:t>
                </a:r>
                <a:r>
                  <a:rPr lang="en-US" sz="1000" i="1">
                    <a:solidFill>
                      <a:srgbClr val="000000"/>
                    </a:solidFill>
                  </a:rPr>
                  <a:t> </a:t>
                </a:r>
                <a:endParaRPr lang="en-US" sz="1000" i="1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C37AC4-725E-44EB-92CE-40A5BD29200F}"/>
                  </a:ext>
                </a:extLst>
              </p:cNvPr>
              <p:cNvSpPr txBox="1"/>
              <p:nvPr/>
            </p:nvSpPr>
            <p:spPr>
              <a:xfrm>
                <a:off x="5551832" y="5999764"/>
                <a:ext cx="1547218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 MA priority occupations</a:t>
                </a:r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82DB7582-7401-48E0-A6C7-FA42CBACDC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646" y="6021880"/>
                <a:ext cx="178729" cy="171508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rgbClr val="00269E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77ABED-5F08-4F8B-99D6-9F95ECF0F4FD}"/>
                </a:ext>
              </a:extLst>
            </p:cNvPr>
            <p:cNvSpPr/>
            <p:nvPr/>
          </p:nvSpPr>
          <p:spPr>
            <a:xfrm>
              <a:off x="6584868" y="6182881"/>
              <a:ext cx="139586" cy="1393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22BC94E3-724A-4301-891E-BB363DF9E285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Cape &amp; Islands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CE43157E-AD7C-4A7D-ABC8-D3FEDB36B4EB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1E336C52-0DC4-470D-B440-B23A900DF9F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212617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394C9AE-F93C-498A-8471-E9351C061E05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Northeast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7328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38669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l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</a:t>
                      </a: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Occupations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%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2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96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744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7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31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4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2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06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3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51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2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61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9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0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5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7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8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72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7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5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3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5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1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77665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745468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599933"/>
                  </a:ext>
                </a:extLst>
              </a:tr>
              <a:tr h="214710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egal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347234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2554560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5" y="3410494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5" y="2991906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3641597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1698626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6" y="3866094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69B877D6-4764-4067-8C27-1F09D5AF7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4" y="6537409"/>
            <a:ext cx="10390846" cy="2492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and military occupations excluded from analysis; 2. Weighted CAGR between 2018 - 2028 calculated using LMI long-term occupation projections; not all occupations available; 3. UI claimants weekly average, 9/2021; </a:t>
            </a:r>
            <a:r>
              <a:rPr lang="en-US" sz="90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Regional priority occupations sourced from Regional Labor Market Blueprints, 2018 - 202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43E91E-BF56-4BF1-98AA-6774D7188FB0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4885278" y="6128601"/>
            <a:chExt cx="5135022" cy="2462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E935565-AE43-41DC-8329-A65C059FCBF3}"/>
                </a:ext>
              </a:extLst>
            </p:cNvPr>
            <p:cNvGrpSpPr/>
            <p:nvPr/>
          </p:nvGrpSpPr>
          <p:grpSpPr>
            <a:xfrm>
              <a:off x="4885278" y="6128601"/>
              <a:ext cx="5135022" cy="246221"/>
              <a:chOff x="5475646" y="5999764"/>
              <a:chExt cx="5135022" cy="246221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094A88-692C-48CB-8B13-372AED0FF899}"/>
                  </a:ext>
                </a:extLst>
              </p:cNvPr>
              <p:cNvSpPr txBox="1"/>
              <p:nvPr/>
            </p:nvSpPr>
            <p:spPr>
              <a:xfrm>
                <a:off x="7258468" y="5999764"/>
                <a:ext cx="3352200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Regional priority occupations (2-digit SOC code), 2020</a:t>
                </a:r>
                <a:r>
                  <a:rPr lang="en-US" sz="1000" i="1" baseline="30000">
                    <a:solidFill>
                      <a:srgbClr val="000000"/>
                    </a:solidFill>
                  </a:rPr>
                  <a:t>4</a:t>
                </a:r>
                <a:r>
                  <a:rPr lang="en-US" sz="1000" i="1">
                    <a:solidFill>
                      <a:srgbClr val="000000"/>
                    </a:solidFill>
                  </a:rPr>
                  <a:t> </a:t>
                </a:r>
                <a:endParaRPr lang="en-US" sz="1000" i="1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C37AC4-725E-44EB-92CE-40A5BD29200F}"/>
                  </a:ext>
                </a:extLst>
              </p:cNvPr>
              <p:cNvSpPr txBox="1"/>
              <p:nvPr/>
            </p:nvSpPr>
            <p:spPr>
              <a:xfrm>
                <a:off x="5551832" y="5999764"/>
                <a:ext cx="1547218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 MA priority occupations</a:t>
                </a:r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82DB7582-7401-48E0-A6C7-FA42CBACDC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646" y="6021880"/>
                <a:ext cx="178729" cy="171508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rgbClr val="00269E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77ABED-5F08-4F8B-99D6-9F95ECF0F4FD}"/>
                </a:ext>
              </a:extLst>
            </p:cNvPr>
            <p:cNvSpPr/>
            <p:nvPr/>
          </p:nvSpPr>
          <p:spPr>
            <a:xfrm>
              <a:off x="6584868" y="6182881"/>
              <a:ext cx="139586" cy="1393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8" name="Title 2">
            <a:extLst>
              <a:ext uri="{FF2B5EF4-FFF2-40B4-BE49-F238E27FC236}">
                <a16:creationId xmlns:a16="http://schemas.microsoft.com/office/drawing/2014/main" id="{8E47F3D0-EDD0-4DB9-9F97-8311366BEC3F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Northeast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DF9DD583-810A-43D9-A4CB-5C2ABEDF2BE1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7" name="Oval 20">
            <a:extLst>
              <a:ext uri="{FF2B5EF4-FFF2-40B4-BE49-F238E27FC236}">
                <a16:creationId xmlns:a16="http://schemas.microsoft.com/office/drawing/2014/main" id="{F72970F3-8B24-4651-A3F2-888BDB925E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964223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7328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59515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K)</a:t>
                      </a: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l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 (K)</a:t>
                      </a: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 (K)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Occupations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%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Occupations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7766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1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74546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Occupations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599933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1973948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973438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099643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208789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1739722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650534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69B877D6-4764-4067-8C27-1F09D5AF7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3" y="6553786"/>
            <a:ext cx="10427923" cy="2492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legal, and military occupations excluded from analysis; 2. Weighted CAGR between 2018 - 2028 calculated using LMI long-term occupation projections; not all occupations available; 3. UI claimants weekly average, 9/2021; </a:t>
            </a:r>
            <a:r>
              <a:rPr lang="en-US" sz="90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Regional priority occupations sourced from Regional Labor Market Blueprints, 2018 - 202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43E91E-BF56-4BF1-98AA-6774D7188FB0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4885278" y="6128601"/>
            <a:chExt cx="5135022" cy="2462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E935565-AE43-41DC-8329-A65C059FCBF3}"/>
                </a:ext>
              </a:extLst>
            </p:cNvPr>
            <p:cNvGrpSpPr/>
            <p:nvPr/>
          </p:nvGrpSpPr>
          <p:grpSpPr>
            <a:xfrm>
              <a:off x="4885278" y="6128601"/>
              <a:ext cx="5135022" cy="246221"/>
              <a:chOff x="5475646" y="5999764"/>
              <a:chExt cx="5135022" cy="246221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094A88-692C-48CB-8B13-372AED0FF899}"/>
                  </a:ext>
                </a:extLst>
              </p:cNvPr>
              <p:cNvSpPr txBox="1"/>
              <p:nvPr/>
            </p:nvSpPr>
            <p:spPr>
              <a:xfrm>
                <a:off x="7258468" y="5999764"/>
                <a:ext cx="3352200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Regional priority occupations (2-digit SOC code), 2020</a:t>
                </a:r>
                <a:r>
                  <a:rPr lang="en-US" sz="1000" i="1" baseline="30000">
                    <a:solidFill>
                      <a:srgbClr val="000000"/>
                    </a:solidFill>
                  </a:rPr>
                  <a:t>4</a:t>
                </a:r>
                <a:r>
                  <a:rPr lang="en-US" sz="1000" i="1">
                    <a:solidFill>
                      <a:srgbClr val="000000"/>
                    </a:solidFill>
                  </a:rPr>
                  <a:t> </a:t>
                </a:r>
                <a:endParaRPr lang="en-US" sz="1000" i="1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C37AC4-725E-44EB-92CE-40A5BD29200F}"/>
                  </a:ext>
                </a:extLst>
              </p:cNvPr>
              <p:cNvSpPr txBox="1"/>
              <p:nvPr/>
            </p:nvSpPr>
            <p:spPr>
              <a:xfrm>
                <a:off x="5551832" y="5999764"/>
                <a:ext cx="1547218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 MA priority occupations</a:t>
                </a:r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82DB7582-7401-48E0-A6C7-FA42CBACDC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646" y="6021880"/>
                <a:ext cx="178729" cy="171508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rgbClr val="00269E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77ABED-5F08-4F8B-99D6-9F95ECF0F4FD}"/>
                </a:ext>
              </a:extLst>
            </p:cNvPr>
            <p:cNvSpPr/>
            <p:nvPr/>
          </p:nvSpPr>
          <p:spPr>
            <a:xfrm>
              <a:off x="6584868" y="6182881"/>
              <a:ext cx="139586" cy="1393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A98CD66-F2D5-4A57-8E11-8F0DB10CCA24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Central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A645B236-2E88-470E-BC29-691C27AFF1A1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Central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15701133-B149-48BB-8639-3220C931C5C8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413313BC-C083-44E1-A717-CA851D50C6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35697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86A8D849-732B-44EB-861D-160637FC48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5" name="Object 74" hidden="1">
                        <a:extLst>
                          <a:ext uri="{FF2B5EF4-FFF2-40B4-BE49-F238E27FC236}">
                            <a16:creationId xmlns:a16="http://schemas.microsoft.com/office/drawing/2014/main" id="{86A8D849-732B-44EB-861D-160637FC4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C715C8D-BC4F-436F-A149-A14F7E679F77}"/>
              </a:ext>
            </a:extLst>
          </p:cNvPr>
          <p:cNvGraphicFramePr>
            <a:graphicFrameLocks noGrp="1"/>
          </p:cNvGraphicFramePr>
          <p:nvPr/>
        </p:nvGraphicFramePr>
        <p:xfrm>
          <a:off x="462684" y="1270968"/>
          <a:ext cx="9557616" cy="47328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9366">
                  <a:extLst>
                    <a:ext uri="{9D8B030D-6E8A-4147-A177-3AD203B41FA5}">
                      <a16:colId xmlns:a16="http://schemas.microsoft.com/office/drawing/2014/main" val="3542154030"/>
                    </a:ext>
                  </a:extLst>
                </a:gridCol>
                <a:gridCol w="1476375">
                  <a:extLst>
                    <a:ext uri="{9D8B030D-6E8A-4147-A177-3AD203B41FA5}">
                      <a16:colId xmlns:a16="http://schemas.microsoft.com/office/drawing/2014/main" val="2389305385"/>
                    </a:ext>
                  </a:extLst>
                </a:gridCol>
                <a:gridCol w="1133475">
                  <a:extLst>
                    <a:ext uri="{9D8B030D-6E8A-4147-A177-3AD203B41FA5}">
                      <a16:colId xmlns:a16="http://schemas.microsoft.com/office/drawing/2014/main" val="2277542751"/>
                    </a:ext>
                  </a:extLst>
                </a:gridCol>
                <a:gridCol w="1231900">
                  <a:extLst>
                    <a:ext uri="{9D8B030D-6E8A-4147-A177-3AD203B41FA5}">
                      <a16:colId xmlns:a16="http://schemas.microsoft.com/office/drawing/2014/main" val="3019165805"/>
                    </a:ext>
                  </a:extLst>
                </a:gridCol>
                <a:gridCol w="1206500">
                  <a:extLst>
                    <a:ext uri="{9D8B030D-6E8A-4147-A177-3AD203B41FA5}">
                      <a16:colId xmlns:a16="http://schemas.microsoft.com/office/drawing/2014/main" val="2897997909"/>
                    </a:ext>
                  </a:extLst>
                </a:gridCol>
              </a:tblGrid>
              <a:tr h="459515">
                <a:tc>
                  <a:txBody>
                    <a:bodyPr/>
                    <a:lstStyle/>
                    <a:p>
                      <a:pPr marL="91440" algn="l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Occupation category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ctr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ual growth rate</a:t>
                      </a:r>
                      <a:r>
                        <a:rPr lang="en-US" sz="1150" b="1" i="0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041" marR="104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I claimants, 9/2021</a:t>
                      </a:r>
                      <a:r>
                        <a:rPr lang="en-US" sz="1150" b="1" u="none" strike="noStrike" baseline="3000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(K)</a:t>
                      </a:r>
                    </a:p>
                  </a:txBody>
                  <a:tcPr marL="0" marR="12938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b openings,</a:t>
                      </a:r>
                    </a:p>
                    <a:p>
                      <a:pPr marL="91440" algn="ctr" fontAlgn="b"/>
                      <a:r>
                        <a:rPr lang="en-US" sz="115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/2021 (K)</a:t>
                      </a:r>
                    </a:p>
                  </a:txBody>
                  <a:tcPr marL="0" marR="123031" marT="1041" marB="0" anchor="ctr">
                    <a:solidFill>
                      <a:srgbClr val="00269E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ctr"/>
                      <a:r>
                        <a:rPr lang="en-US" sz="1150" b="1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penings v. claimants (K)</a:t>
                      </a:r>
                      <a:endParaRPr lang="en-US" sz="115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73025" marT="1041" marB="0" anchor="ctr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461917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Practitioners and Technical 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575772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Sales and Related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5261737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nsportation and Material Moving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593993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ice and Administrative Support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9190540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964024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ducation, Training, and Library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270841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puter and Mathematical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95463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stallation, Maintenance, and Repair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34662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ts, Design, Entertainment, Sports, and Media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842256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siness and Financial Operations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730624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od Preparation and Serving Related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BB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64495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ommunity and Social Service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86108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ealthcare Support 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474161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uilding and Grounds Cleaning and Maintenance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172097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rchitecture and Engineering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9456032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tective Service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3998509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ife, Physical, and Social Science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677665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ersonal Care and Service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3745468"/>
                  </a:ext>
                </a:extLst>
              </a:tr>
              <a:tr h="224913">
                <a:tc>
                  <a:txBody>
                    <a:bodyPr/>
                    <a:lstStyle/>
                    <a:p>
                      <a:pPr marL="91440"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oduction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6%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7599933"/>
                  </a:ext>
                </a:extLst>
              </a:tr>
            </a:tbl>
          </a:graphicData>
        </a:graphic>
      </p:graphicFrame>
      <p:grpSp>
        <p:nvGrpSpPr>
          <p:cNvPr id="39" name="Group 38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2169258"/>
            <a:ext cx="233519" cy="233519"/>
            <a:chOff x="5961063" y="3294063"/>
            <a:chExt cx="269875" cy="269875"/>
          </a:xfrm>
        </p:grpSpPr>
        <p:sp>
          <p:nvSpPr>
            <p:cNvPr id="4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742617"/>
            <a:ext cx="233519" cy="233519"/>
            <a:chOff x="5961063" y="3294063"/>
            <a:chExt cx="269875" cy="269875"/>
          </a:xfrm>
        </p:grpSpPr>
        <p:sp>
          <p:nvSpPr>
            <p:cNvPr id="45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073009"/>
            <a:ext cx="233519" cy="233519"/>
            <a:chOff x="5961063" y="3294063"/>
            <a:chExt cx="269875" cy="269875"/>
          </a:xfrm>
        </p:grpSpPr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3294388"/>
            <a:ext cx="233519" cy="233519"/>
            <a:chOff x="5961063" y="3294063"/>
            <a:chExt cx="269875" cy="269875"/>
          </a:xfrm>
        </p:grpSpPr>
        <p:sp>
          <p:nvSpPr>
            <p:cNvPr id="71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4D6BC15-C2FE-41FE-AEFB-80D67543C2E0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1739722"/>
            <a:ext cx="233519" cy="233519"/>
            <a:chOff x="5961063" y="3294063"/>
            <a:chExt cx="269875" cy="269875"/>
          </a:xfrm>
        </p:grpSpPr>
        <p:sp>
          <p:nvSpPr>
            <p:cNvPr id="74" name="Oval 14">
              <a:extLst>
                <a:ext uri="{FF2B5EF4-FFF2-40B4-BE49-F238E27FC236}">
                  <a16:creationId xmlns:a16="http://schemas.microsoft.com/office/drawing/2014/main" id="{39E794F2-9353-4CBB-94F3-A658966F2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2A3810D5-A3A4-4095-8B43-0BC95E644D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2FCB9A82-297E-46E5-836D-7B8FC1014B07}"/>
              </a:ext>
            </a:extLst>
          </p:cNvPr>
          <p:cNvGrpSpPr>
            <a:grpSpLocks noChangeAspect="1"/>
          </p:cNvGrpSpPr>
          <p:nvPr/>
        </p:nvGrpSpPr>
        <p:grpSpPr>
          <a:xfrm>
            <a:off x="182704" y="4872477"/>
            <a:ext cx="233519" cy="233519"/>
            <a:chOff x="5961063" y="3294063"/>
            <a:chExt cx="269875" cy="269875"/>
          </a:xfrm>
        </p:grpSpPr>
        <p:sp>
          <p:nvSpPr>
            <p:cNvPr id="85" name="Oval 14">
              <a:extLst>
                <a:ext uri="{FF2B5EF4-FFF2-40B4-BE49-F238E27FC236}">
                  <a16:creationId xmlns:a16="http://schemas.microsoft.com/office/drawing/2014/main" id="{5C942522-F636-4BA5-A40D-2D9FA5603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5">
              <a:extLst>
                <a:ext uri="{FF2B5EF4-FFF2-40B4-BE49-F238E27FC236}">
                  <a16:creationId xmlns:a16="http://schemas.microsoft.com/office/drawing/2014/main" id="{D17B46C3-8338-4F72-9325-08A79F558A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18213" y="3352801"/>
              <a:ext cx="157162" cy="15081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834C49C-D7B3-4055-97A1-E66AC5138B74}"/>
              </a:ext>
            </a:extLst>
          </p:cNvPr>
          <p:cNvGrpSpPr/>
          <p:nvPr/>
        </p:nvGrpSpPr>
        <p:grpSpPr>
          <a:xfrm>
            <a:off x="10376023" y="4970263"/>
            <a:ext cx="1378693" cy="1033572"/>
            <a:chOff x="5086724" y="1934726"/>
            <a:chExt cx="2227321" cy="103357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F1D8199B-82F8-4CA9-B79E-7325E0467ACD}"/>
                </a:ext>
              </a:extLst>
            </p:cNvPr>
            <p:cNvCxnSpPr/>
            <p:nvPr/>
          </p:nvCxnSpPr>
          <p:spPr>
            <a:xfrm>
              <a:off x="5086724" y="2851147"/>
              <a:ext cx="323773" cy="0"/>
            </a:xfrm>
            <a:prstGeom prst="line">
              <a:avLst/>
            </a:prstGeom>
            <a:ln>
              <a:solidFill>
                <a:srgbClr val="C00000"/>
              </a:solidFill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E05EB49-EC15-46D2-96D7-42B94FC6AFD1}"/>
                </a:ext>
              </a:extLst>
            </p:cNvPr>
            <p:cNvSpPr/>
            <p:nvPr/>
          </p:nvSpPr>
          <p:spPr>
            <a:xfrm>
              <a:off x="5386633" y="1934726"/>
              <a:ext cx="1927412" cy="1033572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kern="0"/>
                <a:t>Occupations with fewer job openings compared to UI claimants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BBE10D77-6653-4943-8896-770F0EAB3678}"/>
              </a:ext>
            </a:extLst>
          </p:cNvPr>
          <p:cNvGrpSpPr/>
          <p:nvPr/>
        </p:nvGrpSpPr>
        <p:grpSpPr>
          <a:xfrm>
            <a:off x="10376023" y="1643063"/>
            <a:ext cx="1378693" cy="1340163"/>
            <a:chOff x="5086724" y="2076677"/>
            <a:chExt cx="2227321" cy="1340163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8ACA39B9-ECBE-4C95-87DD-B77A7B54B96B}"/>
                </a:ext>
              </a:extLst>
            </p:cNvPr>
            <p:cNvCxnSpPr/>
            <p:nvPr/>
          </p:nvCxnSpPr>
          <p:spPr>
            <a:xfrm>
              <a:off x="5086724" y="2298254"/>
              <a:ext cx="323773" cy="0"/>
            </a:xfrm>
            <a:prstGeom prst="line">
              <a:avLst/>
            </a:prstGeom>
            <a:ln>
              <a:headEnd type="oval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AC0995A4-58DE-4B65-988E-9C9A0FD2073E}"/>
                </a:ext>
              </a:extLst>
            </p:cNvPr>
            <p:cNvSpPr/>
            <p:nvPr/>
          </p:nvSpPr>
          <p:spPr>
            <a:xfrm>
              <a:off x="5386633" y="2076677"/>
              <a:ext cx="1927412" cy="1340163"/>
            </a:xfrm>
            <a:prstGeom prst="rect">
              <a:avLst/>
            </a:prstGeom>
            <a:solidFill>
              <a:sysClr val="window" lastClr="FFFFFF"/>
            </a:solidFill>
            <a:ln w="19050" cap="rnd" cmpd="sng" algn="ctr">
              <a:solidFill>
                <a:srgbClr val="55CA7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</a:rPr>
                <a:t>In-demand occupations with a high number of job openings compared to UI claimants</a:t>
              </a:r>
            </a:p>
          </p:txBody>
        </p:sp>
      </p:grpSp>
      <p:sp>
        <p:nvSpPr>
          <p:cNvPr id="82" name="Arrow: Down 8">
            <a:extLst>
              <a:ext uri="{FF2B5EF4-FFF2-40B4-BE49-F238E27FC236}">
                <a16:creationId xmlns:a16="http://schemas.microsoft.com/office/drawing/2014/main" id="{41951B88-0728-40B0-995F-20253D6C3D8E}"/>
              </a:ext>
            </a:extLst>
          </p:cNvPr>
          <p:cNvSpPr/>
          <p:nvPr/>
        </p:nvSpPr>
        <p:spPr>
          <a:xfrm rot="10800000">
            <a:off x="10207638" y="1296368"/>
            <a:ext cx="323773" cy="4707466"/>
          </a:xfrm>
          <a:prstGeom prst="downArrow">
            <a:avLst/>
          </a:prstGeom>
          <a:gradFill>
            <a:gsLst>
              <a:gs pos="56000">
                <a:schemeClr val="bg1">
                  <a:lumMod val="95000"/>
                </a:schemeClr>
              </a:gs>
              <a:gs pos="0">
                <a:srgbClr val="E71C57"/>
              </a:gs>
              <a:gs pos="65000">
                <a:schemeClr val="accent3">
                  <a:lumMod val="20000"/>
                  <a:lumOff val="80000"/>
                </a:schemeClr>
              </a:gs>
              <a:gs pos="74000">
                <a:schemeClr val="accent3">
                  <a:lumMod val="40000"/>
                  <a:lumOff val="60000"/>
                </a:schemeClr>
              </a:gs>
              <a:gs pos="100000">
                <a:srgbClr val="00B050"/>
              </a:gs>
            </a:gsLst>
            <a:lin ang="5400000" scaled="1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ee4pFootnotes">
            <a:extLst>
              <a:ext uri="{FF2B5EF4-FFF2-40B4-BE49-F238E27FC236}">
                <a16:creationId xmlns:a16="http://schemas.microsoft.com/office/drawing/2014/main" id="{69B877D6-4764-4067-8C27-1F09D5AF7B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3" y="6553786"/>
            <a:ext cx="10427923" cy="2492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1. Construction, farming, legal, and military occupations excluded from analysis; 2. Weighted CAGR between 2018 - 2028 calculated using LMI long-term occupation projections; not all occupations available; 3. UI claimants weekly average, 9/2021; </a:t>
            </a:r>
            <a:r>
              <a:rPr lang="en-US" sz="900" err="1">
                <a:solidFill>
                  <a:schemeClr val="bg1">
                    <a:lumMod val="50000"/>
                  </a:schemeClr>
                </a:solidFill>
                <a:sym typeface="+mn-lt"/>
              </a:rPr>
              <a:t>PEUC</a:t>
            </a:r>
            <a:r>
              <a:rPr lang="en-US" sz="900">
                <a:solidFill>
                  <a:schemeClr val="bg1">
                    <a:lumMod val="50000"/>
                  </a:schemeClr>
                </a:solidFill>
                <a:sym typeface="+mn-lt"/>
              </a:rPr>
              <a:t> and EB excluded given expiration date in first week of 9/2021; 4. Regional priority occupations sourced from Regional Labor Market Blueprints, 2018 - 2020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A43E91E-BF56-4BF1-98AA-6774D7188FB0}"/>
              </a:ext>
            </a:extLst>
          </p:cNvPr>
          <p:cNvGrpSpPr/>
          <p:nvPr/>
        </p:nvGrpSpPr>
        <p:grpSpPr>
          <a:xfrm>
            <a:off x="4885278" y="6128601"/>
            <a:ext cx="5135022" cy="246221"/>
            <a:chOff x="4885278" y="6128601"/>
            <a:chExt cx="5135022" cy="246221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E935565-AE43-41DC-8329-A65C059FCBF3}"/>
                </a:ext>
              </a:extLst>
            </p:cNvPr>
            <p:cNvGrpSpPr/>
            <p:nvPr/>
          </p:nvGrpSpPr>
          <p:grpSpPr>
            <a:xfrm>
              <a:off x="4885278" y="6128601"/>
              <a:ext cx="5135022" cy="246221"/>
              <a:chOff x="5475646" y="5999764"/>
              <a:chExt cx="5135022" cy="246221"/>
            </a:xfrm>
          </p:grpSpPr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28094A88-692C-48CB-8B13-372AED0FF899}"/>
                  </a:ext>
                </a:extLst>
              </p:cNvPr>
              <p:cNvSpPr txBox="1"/>
              <p:nvPr/>
            </p:nvSpPr>
            <p:spPr>
              <a:xfrm>
                <a:off x="7258468" y="5999764"/>
                <a:ext cx="3352200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Regional priority occupations (2-digit SOC code), 2020</a:t>
                </a:r>
                <a:r>
                  <a:rPr lang="en-US" sz="1000" i="1" baseline="30000">
                    <a:solidFill>
                      <a:srgbClr val="000000"/>
                    </a:solidFill>
                  </a:rPr>
                  <a:t>4</a:t>
                </a:r>
                <a:r>
                  <a:rPr lang="en-US" sz="1000" i="1">
                    <a:solidFill>
                      <a:srgbClr val="000000"/>
                    </a:solidFill>
                  </a:rPr>
                  <a:t> </a:t>
                </a:r>
                <a:endParaRPr lang="en-US" sz="1000" i="1" baseline="300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3C37AC4-725E-44EB-92CE-40A5BD29200F}"/>
                  </a:ext>
                </a:extLst>
              </p:cNvPr>
              <p:cNvSpPr txBox="1"/>
              <p:nvPr/>
            </p:nvSpPr>
            <p:spPr>
              <a:xfrm>
                <a:off x="5551832" y="5999764"/>
                <a:ext cx="1547218" cy="246221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000" i="1">
                    <a:solidFill>
                      <a:srgbClr val="000000"/>
                    </a:solidFill>
                  </a:rPr>
                  <a:t> MA priority occupations</a:t>
                </a:r>
              </a:p>
            </p:txBody>
          </p:sp>
          <p:sp>
            <p:nvSpPr>
              <p:cNvPr id="59" name="Freeform 15">
                <a:extLst>
                  <a:ext uri="{FF2B5EF4-FFF2-40B4-BE49-F238E27FC236}">
                    <a16:creationId xmlns:a16="http://schemas.microsoft.com/office/drawing/2014/main" id="{82DB7582-7401-48E0-A6C7-FA42CBACDC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5646" y="6021880"/>
                <a:ext cx="178729" cy="171508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rgbClr val="00269E">
                  <a:lumMod val="10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B77ABED-5F08-4F8B-99D6-9F95ECF0F4FD}"/>
                </a:ext>
              </a:extLst>
            </p:cNvPr>
            <p:cNvSpPr/>
            <p:nvPr/>
          </p:nvSpPr>
          <p:spPr>
            <a:xfrm>
              <a:off x="6584868" y="6182881"/>
              <a:ext cx="139586" cy="13934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A98CD66-F2D5-4A57-8E11-8F0DB10CCA24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kumimoji="0" lang="en-US" sz="1100" b="1" i="0" u="none" strike="noStrike" kern="1200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ea typeface="+mn-ea"/>
                <a:cs typeface="Arial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Southeast: </a:t>
            </a:r>
            <a:r>
              <a:rPr lang="en-US">
                <a:solidFill>
                  <a:srgbClr val="000000"/>
                </a:solidFill>
              </a:rPr>
              <a:t>Target occupations for Market Maker outreach by region</a:t>
            </a: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924815DF-6FE5-41E1-A088-DFDD3E4367E1}"/>
              </a:ext>
            </a:extLst>
          </p:cNvPr>
          <p:cNvSpPr txBox="1">
            <a:spLocks/>
          </p:cNvSpPr>
          <p:nvPr/>
        </p:nvSpPr>
        <p:spPr>
          <a:xfrm>
            <a:off x="462686" y="606288"/>
            <a:ext cx="1016025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sz="1600" u="sng">
                <a:solidFill>
                  <a:srgbClr val="00269E"/>
                </a:solidFill>
              </a:rPr>
              <a:t>Southeast</a:t>
            </a:r>
            <a:r>
              <a:rPr lang="en-US" sz="1600">
                <a:solidFill>
                  <a:srgbClr val="00269E"/>
                </a:solidFill>
              </a:rPr>
              <a:t>: Market Makers should target in-demand occupations with high number of job openings compared to UI claimants – training programs can help close the gap between openings and claimants</a:t>
            </a:r>
            <a:endParaRPr lang="en-US" sz="1400" b="0">
              <a:solidFill>
                <a:srgbClr val="000000"/>
              </a:solidFill>
            </a:endParaRPr>
          </a:p>
        </p:txBody>
      </p:sp>
      <p:sp>
        <p:nvSpPr>
          <p:cNvPr id="46" name="Isosceles Triangle 45">
            <a:extLst>
              <a:ext uri="{FF2B5EF4-FFF2-40B4-BE49-F238E27FC236}">
                <a16:creationId xmlns:a16="http://schemas.microsoft.com/office/drawing/2014/main" id="{FCE8046D-C55E-47B3-8627-745153BA3D70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162C885E-E3A8-4C3C-86D1-A237EEA5E2D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89382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5866810-F79A-4D5B-98F0-546A24B6419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/>
                </a:solidFill>
              </a:rPr>
              <a:t>Additional collateral for Market Maker outreach to employe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FBDFBE6-C97C-4966-851F-CD7D7A48CC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64">
              <a:solidFill>
                <a:srgbClr val="FFFFFF"/>
              </a:solidFill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2F133980-8EFE-43C6-82E3-450DFB269DE3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B824DD1D-77EE-4854-B79F-9043B41638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619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FBDAFC-C92C-4B69-9EC0-CB74B8D4A4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FBDAFC-C92C-4B69-9EC0-CB74B8D4A4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C3745F10-D9D3-4A3D-9BCD-F919BB12A1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2764203"/>
            <a:ext cx="2709140" cy="1314311"/>
          </a:xfrm>
        </p:spPr>
        <p:txBody>
          <a:bodyPr vert="horz"/>
          <a:lstStyle/>
          <a:p>
            <a:r>
              <a:rPr lang="en-US" sz="3000"/>
              <a:t>4 overarching goals for Market Maker positions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FE263B2-D55F-49AE-964D-A74778EF810C}"/>
              </a:ext>
            </a:extLst>
          </p:cNvPr>
          <p:cNvSpPr txBox="1"/>
          <p:nvPr/>
        </p:nvSpPr>
        <p:spPr>
          <a:xfrm>
            <a:off x="5676900" y="1321925"/>
            <a:ext cx="5800725" cy="8286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>
                <a:solidFill>
                  <a:srgbClr val="000000"/>
                </a:solidFill>
              </a:rPr>
              <a:t>Increase the </a:t>
            </a:r>
            <a:r>
              <a:rPr lang="en-US">
                <a:solidFill>
                  <a:schemeClr val="tx2"/>
                </a:solidFill>
              </a:rPr>
              <a:t>number of employers participating in “upskilling” partnerships </a:t>
            </a:r>
            <a:r>
              <a:rPr lang="en-US">
                <a:solidFill>
                  <a:srgbClr val="000000"/>
                </a:solidFill>
              </a:rPr>
              <a:t>(funded through </a:t>
            </a:r>
            <a:r>
              <a:rPr lang="en-US" err="1">
                <a:solidFill>
                  <a:srgbClr val="000000"/>
                </a:solidFill>
              </a:rPr>
              <a:t>ARPA</a:t>
            </a:r>
            <a:r>
              <a:rPr lang="en-US">
                <a:solidFill>
                  <a:srgbClr val="000000"/>
                </a:solidFill>
              </a:rPr>
              <a:t> grants) to create a pipeline of TRAINED workers to address hiring nee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38ED9F-1DCC-4457-9F3E-30247F90DB0D}"/>
              </a:ext>
            </a:extLst>
          </p:cNvPr>
          <p:cNvSpPr txBox="1"/>
          <p:nvPr/>
        </p:nvSpPr>
        <p:spPr>
          <a:xfrm>
            <a:off x="5676900" y="2611017"/>
            <a:ext cx="5800725" cy="8286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>
                <a:solidFill>
                  <a:srgbClr val="00269E"/>
                </a:solidFill>
              </a:rPr>
              <a:t>Build stronger connections</a:t>
            </a:r>
            <a:r>
              <a:rPr lang="en-US">
                <a:solidFill>
                  <a:srgbClr val="000000"/>
                </a:solidFill>
              </a:rPr>
              <a:t> between businesses, community-based organizations (CBOs), institutions, regional state partners</a:t>
            </a:r>
            <a:r>
              <a:rPr lang="en-US" baseline="30000">
                <a:solidFill>
                  <a:srgbClr val="000000"/>
                </a:solidFill>
              </a:rPr>
              <a:t>1</a:t>
            </a:r>
            <a:r>
              <a:rPr lang="en-US">
                <a:solidFill>
                  <a:srgbClr val="000000"/>
                </a:solidFill>
              </a:rPr>
              <a:t>,</a:t>
            </a:r>
            <a:r>
              <a:rPr lang="en-US" baseline="30000">
                <a:solidFill>
                  <a:srgbClr val="000000"/>
                </a:solidFill>
              </a:rPr>
              <a:t> </a:t>
            </a:r>
            <a:r>
              <a:rPr lang="en-US">
                <a:solidFill>
                  <a:srgbClr val="000000"/>
                </a:solidFill>
              </a:rPr>
              <a:t>and WSC/</a:t>
            </a:r>
            <a:r>
              <a:rPr lang="en-US" err="1">
                <a:solidFill>
                  <a:srgbClr val="000000"/>
                </a:solidFill>
              </a:rPr>
              <a:t>CommCorp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69590EA-9FE6-4072-AAAE-E5908394A2E5}"/>
              </a:ext>
            </a:extLst>
          </p:cNvPr>
          <p:cNvSpPr txBox="1"/>
          <p:nvPr/>
        </p:nvSpPr>
        <p:spPr>
          <a:xfrm>
            <a:off x="5665325" y="3900109"/>
            <a:ext cx="5800725" cy="8286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>
                <a:solidFill>
                  <a:srgbClr val="000000"/>
                </a:solidFill>
              </a:rPr>
              <a:t>Increase awareness and </a:t>
            </a:r>
            <a:r>
              <a:rPr lang="en-US">
                <a:solidFill>
                  <a:srgbClr val="00269E"/>
                </a:solidFill>
              </a:rPr>
              <a:t>effectiveness of state training resources</a:t>
            </a:r>
            <a:r>
              <a:rPr lang="en-US">
                <a:solidFill>
                  <a:srgbClr val="000000"/>
                </a:solidFill>
              </a:rPr>
              <a:t> within the broader workforce community 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611BDF5-1C5A-44D6-BB3F-9D37E3FA3C5D}"/>
              </a:ext>
            </a:extLst>
          </p:cNvPr>
          <p:cNvGrpSpPr>
            <a:grpSpLocks noChangeAspect="1"/>
          </p:cNvGrpSpPr>
          <p:nvPr/>
        </p:nvGrpSpPr>
        <p:grpSpPr>
          <a:xfrm>
            <a:off x="4681875" y="1377488"/>
            <a:ext cx="717550" cy="717550"/>
            <a:chOff x="5273675" y="2606675"/>
            <a:chExt cx="1644650" cy="1644650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D901818D-96CA-40D6-A642-3940760BFF8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F99279F-1FFE-4480-B7E1-8F27DA9A79BB}"/>
                </a:ext>
              </a:extLst>
            </p:cNvPr>
            <p:cNvGrpSpPr/>
            <p:nvPr/>
          </p:nvGrpSpPr>
          <p:grpSpPr>
            <a:xfrm>
              <a:off x="5443538" y="2855913"/>
              <a:ext cx="1303338" cy="1119187"/>
              <a:chOff x="5443538" y="2855913"/>
              <a:chExt cx="1303338" cy="1119187"/>
            </a:xfrm>
          </p:grpSpPr>
          <p:sp>
            <p:nvSpPr>
              <p:cNvPr id="27" name="Freeform 13">
                <a:extLst>
                  <a:ext uri="{FF2B5EF4-FFF2-40B4-BE49-F238E27FC236}">
                    <a16:creationId xmlns:a16="http://schemas.microsoft.com/office/drawing/2014/main" id="{B839C30B-8756-4F88-BDB7-A75F06D73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3127374"/>
                <a:ext cx="1303338" cy="847726"/>
              </a:xfrm>
              <a:custGeom>
                <a:avLst/>
                <a:gdLst>
                  <a:gd name="connsiteX0" fmla="*/ 255392 w 1303338"/>
                  <a:gd name="connsiteY0" fmla="*/ 620713 h 847726"/>
                  <a:gd name="connsiteX1" fmla="*/ 239712 w 1303338"/>
                  <a:gd name="connsiteY1" fmla="*/ 636327 h 847726"/>
                  <a:gd name="connsiteX2" fmla="*/ 239712 w 1303338"/>
                  <a:gd name="connsiteY2" fmla="*/ 725750 h 847726"/>
                  <a:gd name="connsiteX3" fmla="*/ 255392 w 1303338"/>
                  <a:gd name="connsiteY3" fmla="*/ 741363 h 847726"/>
                  <a:gd name="connsiteX4" fmla="*/ 1047945 w 1303338"/>
                  <a:gd name="connsiteY4" fmla="*/ 741363 h 847726"/>
                  <a:gd name="connsiteX5" fmla="*/ 1063625 w 1303338"/>
                  <a:gd name="connsiteY5" fmla="*/ 725750 h 847726"/>
                  <a:gd name="connsiteX6" fmla="*/ 1063625 w 1303338"/>
                  <a:gd name="connsiteY6" fmla="*/ 636327 h 847726"/>
                  <a:gd name="connsiteX7" fmla="*/ 1047945 w 1303338"/>
                  <a:gd name="connsiteY7" fmla="*/ 620713 h 847726"/>
                  <a:gd name="connsiteX8" fmla="*/ 255392 w 1303338"/>
                  <a:gd name="connsiteY8" fmla="*/ 620713 h 847726"/>
                  <a:gd name="connsiteX9" fmla="*/ 0 w 1303338"/>
                  <a:gd name="connsiteY9" fmla="*/ 315913 h 847726"/>
                  <a:gd name="connsiteX10" fmla="*/ 15703 w 1303338"/>
                  <a:gd name="connsiteY10" fmla="*/ 315913 h 847726"/>
                  <a:gd name="connsiteX11" fmla="*/ 31406 w 1303338"/>
                  <a:gd name="connsiteY11" fmla="*/ 315913 h 847726"/>
                  <a:gd name="connsiteX12" fmla="*/ 1271932 w 1303338"/>
                  <a:gd name="connsiteY12" fmla="*/ 315913 h 847726"/>
                  <a:gd name="connsiteX13" fmla="*/ 1287635 w 1303338"/>
                  <a:gd name="connsiteY13" fmla="*/ 315913 h 847726"/>
                  <a:gd name="connsiteX14" fmla="*/ 1303338 w 1303338"/>
                  <a:gd name="connsiteY14" fmla="*/ 315913 h 847726"/>
                  <a:gd name="connsiteX15" fmla="*/ 1303338 w 1303338"/>
                  <a:gd name="connsiteY15" fmla="*/ 816948 h 847726"/>
                  <a:gd name="connsiteX16" fmla="*/ 1271932 w 1303338"/>
                  <a:gd name="connsiteY16" fmla="*/ 847726 h 847726"/>
                  <a:gd name="connsiteX17" fmla="*/ 31406 w 1303338"/>
                  <a:gd name="connsiteY17" fmla="*/ 847726 h 847726"/>
                  <a:gd name="connsiteX18" fmla="*/ 0 w 1303338"/>
                  <a:gd name="connsiteY18" fmla="*/ 816948 h 847726"/>
                  <a:gd name="connsiteX19" fmla="*/ 0 w 1303338"/>
                  <a:gd name="connsiteY19" fmla="*/ 315913 h 847726"/>
                  <a:gd name="connsiteX20" fmla="*/ 31406 w 1303338"/>
                  <a:gd name="connsiteY20" fmla="*/ 0 h 847726"/>
                  <a:gd name="connsiteX21" fmla="*/ 279083 w 1303338"/>
                  <a:gd name="connsiteY21" fmla="*/ 0 h 847726"/>
                  <a:gd name="connsiteX22" fmla="*/ 279083 w 1303338"/>
                  <a:gd name="connsiteY22" fmla="*/ 15764 h 847726"/>
                  <a:gd name="connsiteX23" fmla="*/ 279083 w 1303338"/>
                  <a:gd name="connsiteY23" fmla="*/ 31528 h 847726"/>
                  <a:gd name="connsiteX24" fmla="*/ 279083 w 1303338"/>
                  <a:gd name="connsiteY24" fmla="*/ 137578 h 847726"/>
                  <a:gd name="connsiteX25" fmla="*/ 341894 w 1303338"/>
                  <a:gd name="connsiteY25" fmla="*/ 200635 h 847726"/>
                  <a:gd name="connsiteX26" fmla="*/ 343322 w 1303338"/>
                  <a:gd name="connsiteY26" fmla="*/ 200635 h 847726"/>
                  <a:gd name="connsiteX27" fmla="*/ 404706 w 1303338"/>
                  <a:gd name="connsiteY27" fmla="*/ 136145 h 847726"/>
                  <a:gd name="connsiteX28" fmla="*/ 404706 w 1303338"/>
                  <a:gd name="connsiteY28" fmla="*/ 31528 h 847726"/>
                  <a:gd name="connsiteX29" fmla="*/ 404706 w 1303338"/>
                  <a:gd name="connsiteY29" fmla="*/ 15764 h 847726"/>
                  <a:gd name="connsiteX30" fmla="*/ 404706 w 1303338"/>
                  <a:gd name="connsiteY30" fmla="*/ 0 h 847726"/>
                  <a:gd name="connsiteX31" fmla="*/ 898632 w 1303338"/>
                  <a:gd name="connsiteY31" fmla="*/ 0 h 847726"/>
                  <a:gd name="connsiteX32" fmla="*/ 898632 w 1303338"/>
                  <a:gd name="connsiteY32" fmla="*/ 15764 h 847726"/>
                  <a:gd name="connsiteX33" fmla="*/ 898632 w 1303338"/>
                  <a:gd name="connsiteY33" fmla="*/ 31528 h 847726"/>
                  <a:gd name="connsiteX34" fmla="*/ 898632 w 1303338"/>
                  <a:gd name="connsiteY34" fmla="*/ 136145 h 847726"/>
                  <a:gd name="connsiteX35" fmla="*/ 960016 w 1303338"/>
                  <a:gd name="connsiteY35" fmla="*/ 200635 h 847726"/>
                  <a:gd name="connsiteX36" fmla="*/ 961444 w 1303338"/>
                  <a:gd name="connsiteY36" fmla="*/ 200635 h 847726"/>
                  <a:gd name="connsiteX37" fmla="*/ 1024255 w 1303338"/>
                  <a:gd name="connsiteY37" fmla="*/ 137578 h 847726"/>
                  <a:gd name="connsiteX38" fmla="*/ 1024255 w 1303338"/>
                  <a:gd name="connsiteY38" fmla="*/ 31528 h 847726"/>
                  <a:gd name="connsiteX39" fmla="*/ 1024255 w 1303338"/>
                  <a:gd name="connsiteY39" fmla="*/ 15764 h 847726"/>
                  <a:gd name="connsiteX40" fmla="*/ 1024255 w 1303338"/>
                  <a:gd name="connsiteY40" fmla="*/ 0 h 847726"/>
                  <a:gd name="connsiteX41" fmla="*/ 1271932 w 1303338"/>
                  <a:gd name="connsiteY41" fmla="*/ 0 h 847726"/>
                  <a:gd name="connsiteX42" fmla="*/ 1303338 w 1303338"/>
                  <a:gd name="connsiteY42" fmla="*/ 31528 h 847726"/>
                  <a:gd name="connsiteX43" fmla="*/ 1303338 w 1303338"/>
                  <a:gd name="connsiteY43" fmla="*/ 287338 h 847726"/>
                  <a:gd name="connsiteX44" fmla="*/ 1287635 w 1303338"/>
                  <a:gd name="connsiteY44" fmla="*/ 287338 h 847726"/>
                  <a:gd name="connsiteX45" fmla="*/ 1271932 w 1303338"/>
                  <a:gd name="connsiteY45" fmla="*/ 287338 h 847726"/>
                  <a:gd name="connsiteX46" fmla="*/ 31406 w 1303338"/>
                  <a:gd name="connsiteY46" fmla="*/ 287338 h 847726"/>
                  <a:gd name="connsiteX47" fmla="*/ 15703 w 1303338"/>
                  <a:gd name="connsiteY47" fmla="*/ 287338 h 847726"/>
                  <a:gd name="connsiteX48" fmla="*/ 0 w 1303338"/>
                  <a:gd name="connsiteY48" fmla="*/ 287338 h 847726"/>
                  <a:gd name="connsiteX49" fmla="*/ 0 w 1303338"/>
                  <a:gd name="connsiteY49" fmla="*/ 31528 h 847726"/>
                  <a:gd name="connsiteX50" fmla="*/ 31406 w 1303338"/>
                  <a:gd name="connsiteY50" fmla="*/ 0 h 847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303338" h="847726">
                    <a:moveTo>
                      <a:pt x="255392" y="620713"/>
                    </a:moveTo>
                    <a:cubicBezTo>
                      <a:pt x="246127" y="620713"/>
                      <a:pt x="239712" y="627810"/>
                      <a:pt x="239712" y="636327"/>
                    </a:cubicBezTo>
                    <a:cubicBezTo>
                      <a:pt x="239712" y="636327"/>
                      <a:pt x="239712" y="636327"/>
                      <a:pt x="239712" y="725750"/>
                    </a:cubicBezTo>
                    <a:cubicBezTo>
                      <a:pt x="239712" y="734266"/>
                      <a:pt x="246127" y="741363"/>
                      <a:pt x="255392" y="741363"/>
                    </a:cubicBezTo>
                    <a:cubicBezTo>
                      <a:pt x="255392" y="741363"/>
                      <a:pt x="255392" y="741363"/>
                      <a:pt x="1047945" y="741363"/>
                    </a:cubicBezTo>
                    <a:cubicBezTo>
                      <a:pt x="1057211" y="741363"/>
                      <a:pt x="1063625" y="734266"/>
                      <a:pt x="1063625" y="725750"/>
                    </a:cubicBezTo>
                    <a:cubicBezTo>
                      <a:pt x="1063625" y="725750"/>
                      <a:pt x="1063625" y="725750"/>
                      <a:pt x="1063625" y="636327"/>
                    </a:cubicBezTo>
                    <a:cubicBezTo>
                      <a:pt x="1063625" y="627810"/>
                      <a:pt x="1057211" y="620713"/>
                      <a:pt x="1047945" y="620713"/>
                    </a:cubicBezTo>
                    <a:cubicBezTo>
                      <a:pt x="1047945" y="620713"/>
                      <a:pt x="1047945" y="620713"/>
                      <a:pt x="255392" y="620713"/>
                    </a:cubicBezTo>
                    <a:close/>
                    <a:moveTo>
                      <a:pt x="0" y="315913"/>
                    </a:moveTo>
                    <a:cubicBezTo>
                      <a:pt x="0" y="315913"/>
                      <a:pt x="0" y="315913"/>
                      <a:pt x="15703" y="315913"/>
                    </a:cubicBezTo>
                    <a:cubicBezTo>
                      <a:pt x="15703" y="315913"/>
                      <a:pt x="15703" y="315913"/>
                      <a:pt x="31406" y="315913"/>
                    </a:cubicBezTo>
                    <a:cubicBezTo>
                      <a:pt x="31406" y="315913"/>
                      <a:pt x="31406" y="315913"/>
                      <a:pt x="1271932" y="315913"/>
                    </a:cubicBezTo>
                    <a:cubicBezTo>
                      <a:pt x="1271932" y="315913"/>
                      <a:pt x="1271932" y="315913"/>
                      <a:pt x="1287635" y="315913"/>
                    </a:cubicBezTo>
                    <a:cubicBezTo>
                      <a:pt x="1287635" y="315913"/>
                      <a:pt x="1287635" y="315913"/>
                      <a:pt x="1303338" y="315913"/>
                    </a:cubicBezTo>
                    <a:cubicBezTo>
                      <a:pt x="1303338" y="315913"/>
                      <a:pt x="1303338" y="315913"/>
                      <a:pt x="1303338" y="816948"/>
                    </a:cubicBezTo>
                    <a:cubicBezTo>
                      <a:pt x="1303338" y="834127"/>
                      <a:pt x="1289063" y="847726"/>
                      <a:pt x="1271932" y="847726"/>
                    </a:cubicBezTo>
                    <a:cubicBezTo>
                      <a:pt x="1271932" y="847726"/>
                      <a:pt x="1271932" y="847726"/>
                      <a:pt x="31406" y="847726"/>
                    </a:cubicBezTo>
                    <a:cubicBezTo>
                      <a:pt x="14276" y="847726"/>
                      <a:pt x="0" y="834127"/>
                      <a:pt x="0" y="816948"/>
                    </a:cubicBezTo>
                    <a:cubicBezTo>
                      <a:pt x="0" y="816948"/>
                      <a:pt x="0" y="816948"/>
                      <a:pt x="0" y="315913"/>
                    </a:cubicBezTo>
                    <a:close/>
                    <a:moveTo>
                      <a:pt x="31406" y="0"/>
                    </a:moveTo>
                    <a:cubicBezTo>
                      <a:pt x="31406" y="0"/>
                      <a:pt x="31406" y="0"/>
                      <a:pt x="279083" y="0"/>
                    </a:cubicBezTo>
                    <a:cubicBezTo>
                      <a:pt x="279083" y="0"/>
                      <a:pt x="279083" y="0"/>
                      <a:pt x="279083" y="15764"/>
                    </a:cubicBezTo>
                    <a:cubicBezTo>
                      <a:pt x="279083" y="15764"/>
                      <a:pt x="279083" y="15764"/>
                      <a:pt x="279083" y="31528"/>
                    </a:cubicBezTo>
                    <a:cubicBezTo>
                      <a:pt x="279083" y="31528"/>
                      <a:pt x="279083" y="31528"/>
                      <a:pt x="279083" y="137578"/>
                    </a:cubicBezTo>
                    <a:cubicBezTo>
                      <a:pt x="279083" y="171973"/>
                      <a:pt x="307634" y="200635"/>
                      <a:pt x="341894" y="200635"/>
                    </a:cubicBezTo>
                    <a:cubicBezTo>
                      <a:pt x="342608" y="200635"/>
                      <a:pt x="342608" y="200635"/>
                      <a:pt x="343322" y="200635"/>
                    </a:cubicBezTo>
                    <a:cubicBezTo>
                      <a:pt x="376869" y="199918"/>
                      <a:pt x="404706" y="171256"/>
                      <a:pt x="404706" y="136145"/>
                    </a:cubicBezTo>
                    <a:cubicBezTo>
                      <a:pt x="404706" y="136145"/>
                      <a:pt x="404706" y="136145"/>
                      <a:pt x="404706" y="31528"/>
                    </a:cubicBezTo>
                    <a:cubicBezTo>
                      <a:pt x="404706" y="31528"/>
                      <a:pt x="404706" y="31528"/>
                      <a:pt x="404706" y="15764"/>
                    </a:cubicBezTo>
                    <a:cubicBezTo>
                      <a:pt x="404706" y="15764"/>
                      <a:pt x="404706" y="15764"/>
                      <a:pt x="404706" y="0"/>
                    </a:cubicBezTo>
                    <a:cubicBezTo>
                      <a:pt x="404706" y="0"/>
                      <a:pt x="404706" y="0"/>
                      <a:pt x="898632" y="0"/>
                    </a:cubicBezTo>
                    <a:cubicBezTo>
                      <a:pt x="898632" y="0"/>
                      <a:pt x="898632" y="0"/>
                      <a:pt x="898632" y="15764"/>
                    </a:cubicBezTo>
                    <a:cubicBezTo>
                      <a:pt x="898632" y="15764"/>
                      <a:pt x="898632" y="15764"/>
                      <a:pt x="898632" y="31528"/>
                    </a:cubicBezTo>
                    <a:cubicBezTo>
                      <a:pt x="898632" y="31528"/>
                      <a:pt x="898632" y="31528"/>
                      <a:pt x="898632" y="136145"/>
                    </a:cubicBezTo>
                    <a:cubicBezTo>
                      <a:pt x="898632" y="171256"/>
                      <a:pt x="926469" y="199918"/>
                      <a:pt x="960016" y="200635"/>
                    </a:cubicBezTo>
                    <a:cubicBezTo>
                      <a:pt x="960730" y="200635"/>
                      <a:pt x="960730" y="200635"/>
                      <a:pt x="961444" y="200635"/>
                    </a:cubicBezTo>
                    <a:cubicBezTo>
                      <a:pt x="995705" y="200635"/>
                      <a:pt x="1024255" y="171973"/>
                      <a:pt x="1024255" y="137578"/>
                    </a:cubicBezTo>
                    <a:cubicBezTo>
                      <a:pt x="1024255" y="137578"/>
                      <a:pt x="1024255" y="137578"/>
                      <a:pt x="1024255" y="31528"/>
                    </a:cubicBezTo>
                    <a:cubicBezTo>
                      <a:pt x="1024255" y="31528"/>
                      <a:pt x="1024255" y="31528"/>
                      <a:pt x="1024255" y="15764"/>
                    </a:cubicBezTo>
                    <a:cubicBezTo>
                      <a:pt x="1024255" y="15764"/>
                      <a:pt x="1024255" y="15764"/>
                      <a:pt x="1024255" y="0"/>
                    </a:cubicBezTo>
                    <a:cubicBezTo>
                      <a:pt x="1024255" y="0"/>
                      <a:pt x="1024255" y="0"/>
                      <a:pt x="1271932" y="0"/>
                    </a:cubicBezTo>
                    <a:cubicBezTo>
                      <a:pt x="1289063" y="0"/>
                      <a:pt x="1303338" y="14331"/>
                      <a:pt x="1303338" y="31528"/>
                    </a:cubicBezTo>
                    <a:cubicBezTo>
                      <a:pt x="1303338" y="31528"/>
                      <a:pt x="1303338" y="31528"/>
                      <a:pt x="1303338" y="287338"/>
                    </a:cubicBezTo>
                    <a:cubicBezTo>
                      <a:pt x="1303338" y="287338"/>
                      <a:pt x="1303338" y="287338"/>
                      <a:pt x="1287635" y="287338"/>
                    </a:cubicBezTo>
                    <a:cubicBezTo>
                      <a:pt x="1287635" y="287338"/>
                      <a:pt x="1287635" y="287338"/>
                      <a:pt x="1271932" y="287338"/>
                    </a:cubicBezTo>
                    <a:cubicBezTo>
                      <a:pt x="1271932" y="287338"/>
                      <a:pt x="1271932" y="287338"/>
                      <a:pt x="31406" y="287338"/>
                    </a:cubicBezTo>
                    <a:cubicBezTo>
                      <a:pt x="31406" y="287338"/>
                      <a:pt x="31406" y="287338"/>
                      <a:pt x="15703" y="287338"/>
                    </a:cubicBezTo>
                    <a:cubicBezTo>
                      <a:pt x="15703" y="287338"/>
                      <a:pt x="15703" y="287338"/>
                      <a:pt x="0" y="287338"/>
                    </a:cubicBezTo>
                    <a:cubicBezTo>
                      <a:pt x="0" y="287338"/>
                      <a:pt x="0" y="287338"/>
                      <a:pt x="0" y="31528"/>
                    </a:cubicBezTo>
                    <a:cubicBezTo>
                      <a:pt x="0" y="14331"/>
                      <a:pt x="14276" y="0"/>
                      <a:pt x="31406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DABFD58C-31B4-46C2-A593-7A843F21A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4688" y="2855913"/>
                <a:ext cx="681038" cy="439738"/>
              </a:xfrm>
              <a:custGeom>
                <a:avLst/>
                <a:gdLst>
                  <a:gd name="T0" fmla="*/ 745 w 956"/>
                  <a:gd name="T1" fmla="*/ 0 h 616"/>
                  <a:gd name="T2" fmla="*/ 211 w 956"/>
                  <a:gd name="T3" fmla="*/ 0 h 616"/>
                  <a:gd name="T4" fmla="*/ 0 w 956"/>
                  <a:gd name="T5" fmla="*/ 211 h 616"/>
                  <a:gd name="T6" fmla="*/ 0 w 956"/>
                  <a:gd name="T7" fmla="*/ 381 h 616"/>
                  <a:gd name="T8" fmla="*/ 0 w 956"/>
                  <a:gd name="T9" fmla="*/ 403 h 616"/>
                  <a:gd name="T10" fmla="*/ 0 w 956"/>
                  <a:gd name="T11" fmla="*/ 425 h 616"/>
                  <a:gd name="T12" fmla="*/ 0 w 956"/>
                  <a:gd name="T13" fmla="*/ 572 h 616"/>
                  <a:gd name="T14" fmla="*/ 44 w 956"/>
                  <a:gd name="T15" fmla="*/ 616 h 616"/>
                  <a:gd name="T16" fmla="*/ 45 w 956"/>
                  <a:gd name="T17" fmla="*/ 616 h 616"/>
                  <a:gd name="T18" fmla="*/ 88 w 956"/>
                  <a:gd name="T19" fmla="*/ 570 h 616"/>
                  <a:gd name="T20" fmla="*/ 88 w 956"/>
                  <a:gd name="T21" fmla="*/ 425 h 616"/>
                  <a:gd name="T22" fmla="*/ 88 w 956"/>
                  <a:gd name="T23" fmla="*/ 403 h 616"/>
                  <a:gd name="T24" fmla="*/ 88 w 956"/>
                  <a:gd name="T25" fmla="*/ 381 h 616"/>
                  <a:gd name="T26" fmla="*/ 88 w 956"/>
                  <a:gd name="T27" fmla="*/ 211 h 616"/>
                  <a:gd name="T28" fmla="*/ 211 w 956"/>
                  <a:gd name="T29" fmla="*/ 88 h 616"/>
                  <a:gd name="T30" fmla="*/ 745 w 956"/>
                  <a:gd name="T31" fmla="*/ 88 h 616"/>
                  <a:gd name="T32" fmla="*/ 868 w 956"/>
                  <a:gd name="T33" fmla="*/ 211 h 616"/>
                  <a:gd name="T34" fmla="*/ 868 w 956"/>
                  <a:gd name="T35" fmla="*/ 381 h 616"/>
                  <a:gd name="T36" fmla="*/ 868 w 956"/>
                  <a:gd name="T37" fmla="*/ 403 h 616"/>
                  <a:gd name="T38" fmla="*/ 868 w 956"/>
                  <a:gd name="T39" fmla="*/ 425 h 616"/>
                  <a:gd name="T40" fmla="*/ 868 w 956"/>
                  <a:gd name="T41" fmla="*/ 570 h 616"/>
                  <a:gd name="T42" fmla="*/ 911 w 956"/>
                  <a:gd name="T43" fmla="*/ 616 h 616"/>
                  <a:gd name="T44" fmla="*/ 912 w 956"/>
                  <a:gd name="T45" fmla="*/ 616 h 616"/>
                  <a:gd name="T46" fmla="*/ 956 w 956"/>
                  <a:gd name="T47" fmla="*/ 572 h 616"/>
                  <a:gd name="T48" fmla="*/ 956 w 956"/>
                  <a:gd name="T49" fmla="*/ 425 h 616"/>
                  <a:gd name="T50" fmla="*/ 956 w 956"/>
                  <a:gd name="T51" fmla="*/ 403 h 616"/>
                  <a:gd name="T52" fmla="*/ 956 w 956"/>
                  <a:gd name="T53" fmla="*/ 381 h 616"/>
                  <a:gd name="T54" fmla="*/ 956 w 956"/>
                  <a:gd name="T55" fmla="*/ 211 h 616"/>
                  <a:gd name="T56" fmla="*/ 745 w 956"/>
                  <a:gd name="T57" fmla="*/ 0 h 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56" h="616">
                    <a:moveTo>
                      <a:pt x="745" y="0"/>
                    </a:moveTo>
                    <a:cubicBezTo>
                      <a:pt x="211" y="0"/>
                      <a:pt x="211" y="0"/>
                      <a:pt x="211" y="0"/>
                    </a:cubicBezTo>
                    <a:cubicBezTo>
                      <a:pt x="95" y="0"/>
                      <a:pt x="0" y="95"/>
                      <a:pt x="0" y="211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0" y="403"/>
                      <a:pt x="0" y="403"/>
                      <a:pt x="0" y="403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0" y="572"/>
                      <a:pt x="0" y="572"/>
                      <a:pt x="0" y="572"/>
                    </a:cubicBezTo>
                    <a:cubicBezTo>
                      <a:pt x="0" y="596"/>
                      <a:pt x="20" y="616"/>
                      <a:pt x="44" y="616"/>
                    </a:cubicBezTo>
                    <a:cubicBezTo>
                      <a:pt x="45" y="616"/>
                      <a:pt x="45" y="616"/>
                      <a:pt x="45" y="616"/>
                    </a:cubicBezTo>
                    <a:cubicBezTo>
                      <a:pt x="69" y="615"/>
                      <a:pt x="88" y="594"/>
                      <a:pt x="88" y="570"/>
                    </a:cubicBezTo>
                    <a:cubicBezTo>
                      <a:pt x="88" y="425"/>
                      <a:pt x="88" y="425"/>
                      <a:pt x="88" y="425"/>
                    </a:cubicBezTo>
                    <a:cubicBezTo>
                      <a:pt x="88" y="403"/>
                      <a:pt x="88" y="403"/>
                      <a:pt x="88" y="403"/>
                    </a:cubicBezTo>
                    <a:cubicBezTo>
                      <a:pt x="88" y="381"/>
                      <a:pt x="88" y="381"/>
                      <a:pt x="88" y="381"/>
                    </a:cubicBezTo>
                    <a:cubicBezTo>
                      <a:pt x="88" y="211"/>
                      <a:pt x="88" y="211"/>
                      <a:pt x="88" y="211"/>
                    </a:cubicBezTo>
                    <a:cubicBezTo>
                      <a:pt x="88" y="143"/>
                      <a:pt x="143" y="88"/>
                      <a:pt x="211" y="88"/>
                    </a:cubicBezTo>
                    <a:cubicBezTo>
                      <a:pt x="745" y="88"/>
                      <a:pt x="745" y="88"/>
                      <a:pt x="745" y="88"/>
                    </a:cubicBezTo>
                    <a:cubicBezTo>
                      <a:pt x="813" y="88"/>
                      <a:pt x="868" y="143"/>
                      <a:pt x="868" y="211"/>
                    </a:cubicBezTo>
                    <a:cubicBezTo>
                      <a:pt x="868" y="381"/>
                      <a:pt x="868" y="381"/>
                      <a:pt x="868" y="381"/>
                    </a:cubicBezTo>
                    <a:cubicBezTo>
                      <a:pt x="868" y="403"/>
                      <a:pt x="868" y="403"/>
                      <a:pt x="868" y="403"/>
                    </a:cubicBezTo>
                    <a:cubicBezTo>
                      <a:pt x="868" y="425"/>
                      <a:pt x="868" y="425"/>
                      <a:pt x="868" y="425"/>
                    </a:cubicBezTo>
                    <a:cubicBezTo>
                      <a:pt x="868" y="570"/>
                      <a:pt x="868" y="570"/>
                      <a:pt x="868" y="570"/>
                    </a:cubicBezTo>
                    <a:cubicBezTo>
                      <a:pt x="868" y="594"/>
                      <a:pt x="887" y="615"/>
                      <a:pt x="911" y="616"/>
                    </a:cubicBezTo>
                    <a:cubicBezTo>
                      <a:pt x="912" y="616"/>
                      <a:pt x="912" y="616"/>
                      <a:pt x="912" y="616"/>
                    </a:cubicBezTo>
                    <a:cubicBezTo>
                      <a:pt x="936" y="616"/>
                      <a:pt x="956" y="596"/>
                      <a:pt x="956" y="572"/>
                    </a:cubicBezTo>
                    <a:cubicBezTo>
                      <a:pt x="956" y="425"/>
                      <a:pt x="956" y="425"/>
                      <a:pt x="956" y="425"/>
                    </a:cubicBezTo>
                    <a:cubicBezTo>
                      <a:pt x="956" y="403"/>
                      <a:pt x="956" y="403"/>
                      <a:pt x="956" y="403"/>
                    </a:cubicBezTo>
                    <a:cubicBezTo>
                      <a:pt x="956" y="381"/>
                      <a:pt x="956" y="381"/>
                      <a:pt x="956" y="381"/>
                    </a:cubicBezTo>
                    <a:cubicBezTo>
                      <a:pt x="956" y="211"/>
                      <a:pt x="956" y="211"/>
                      <a:pt x="956" y="211"/>
                    </a:cubicBezTo>
                    <a:cubicBezTo>
                      <a:pt x="956" y="95"/>
                      <a:pt x="861" y="0"/>
                      <a:pt x="745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2E34993-CF87-4E76-AC30-6DDA9F64CCF3}"/>
              </a:ext>
            </a:extLst>
          </p:cNvPr>
          <p:cNvGrpSpPr>
            <a:grpSpLocks noChangeAspect="1"/>
          </p:cNvGrpSpPr>
          <p:nvPr/>
        </p:nvGrpSpPr>
        <p:grpSpPr>
          <a:xfrm>
            <a:off x="4681875" y="2666580"/>
            <a:ext cx="717550" cy="717550"/>
            <a:chOff x="2667000" y="0"/>
            <a:chExt cx="6858000" cy="6858000"/>
          </a:xfrm>
        </p:grpSpPr>
        <p:sp>
          <p:nvSpPr>
            <p:cNvPr id="30" name="AutoShape 22">
              <a:extLst>
                <a:ext uri="{FF2B5EF4-FFF2-40B4-BE49-F238E27FC236}">
                  <a16:creationId xmlns:a16="http://schemas.microsoft.com/office/drawing/2014/main" id="{A22DD2DE-C367-4EAA-A91A-2B2CDCCDB5D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67000" y="0"/>
              <a:ext cx="6858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249F095-E33F-45C8-83A4-528AF6E3A27C}"/>
                </a:ext>
              </a:extLst>
            </p:cNvPr>
            <p:cNvGrpSpPr/>
            <p:nvPr/>
          </p:nvGrpSpPr>
          <p:grpSpPr>
            <a:xfrm>
              <a:off x="3806825" y="1143000"/>
              <a:ext cx="4578350" cy="4565650"/>
              <a:chOff x="3806825" y="1143000"/>
              <a:chExt cx="4578351" cy="4565650"/>
            </a:xfrm>
          </p:grpSpPr>
          <p:sp>
            <p:nvSpPr>
              <p:cNvPr id="32" name="Freeform 119">
                <a:extLst>
                  <a:ext uri="{FF2B5EF4-FFF2-40B4-BE49-F238E27FC236}">
                    <a16:creationId xmlns:a16="http://schemas.microsoft.com/office/drawing/2014/main" id="{E26AA733-302D-461B-A5E3-5DA7C12319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6825" y="1143000"/>
                <a:ext cx="4578351" cy="4565650"/>
              </a:xfrm>
              <a:custGeom>
                <a:avLst/>
                <a:gdLst>
                  <a:gd name="connsiteX0" fmla="*/ 4152900 w 4578351"/>
                  <a:gd name="connsiteY0" fmla="*/ 3848100 h 4565650"/>
                  <a:gd name="connsiteX1" fmla="*/ 3860800 w 4578351"/>
                  <a:gd name="connsiteY1" fmla="*/ 4143375 h 4565650"/>
                  <a:gd name="connsiteX2" fmla="*/ 4152900 w 4578351"/>
                  <a:gd name="connsiteY2" fmla="*/ 4438650 h 4565650"/>
                  <a:gd name="connsiteX3" fmla="*/ 4445000 w 4578351"/>
                  <a:gd name="connsiteY3" fmla="*/ 4143375 h 4565650"/>
                  <a:gd name="connsiteX4" fmla="*/ 4152900 w 4578351"/>
                  <a:gd name="connsiteY4" fmla="*/ 3848100 h 4565650"/>
                  <a:gd name="connsiteX5" fmla="*/ 413545 w 4578351"/>
                  <a:gd name="connsiteY5" fmla="*/ 3848100 h 4565650"/>
                  <a:gd name="connsiteX6" fmla="*/ 115888 w 4578351"/>
                  <a:gd name="connsiteY6" fmla="*/ 4143375 h 4565650"/>
                  <a:gd name="connsiteX7" fmla="*/ 413545 w 4578351"/>
                  <a:gd name="connsiteY7" fmla="*/ 4438650 h 4565650"/>
                  <a:gd name="connsiteX8" fmla="*/ 711202 w 4578351"/>
                  <a:gd name="connsiteY8" fmla="*/ 4143375 h 4565650"/>
                  <a:gd name="connsiteX9" fmla="*/ 413545 w 4578351"/>
                  <a:gd name="connsiteY9" fmla="*/ 3848100 h 4565650"/>
                  <a:gd name="connsiteX10" fmla="*/ 3239087 w 4578351"/>
                  <a:gd name="connsiteY10" fmla="*/ 3092450 h 4565650"/>
                  <a:gd name="connsiteX11" fmla="*/ 3253968 w 4578351"/>
                  <a:gd name="connsiteY11" fmla="*/ 3092450 h 4565650"/>
                  <a:gd name="connsiteX12" fmla="*/ 3262896 w 4578351"/>
                  <a:gd name="connsiteY12" fmla="*/ 3092450 h 4565650"/>
                  <a:gd name="connsiteX13" fmla="*/ 3646819 w 4578351"/>
                  <a:gd name="connsiteY13" fmla="*/ 3148997 h 4565650"/>
                  <a:gd name="connsiteX14" fmla="*/ 3703365 w 4578351"/>
                  <a:gd name="connsiteY14" fmla="*/ 3220425 h 4565650"/>
                  <a:gd name="connsiteX15" fmla="*/ 3628962 w 4578351"/>
                  <a:gd name="connsiteY15" fmla="*/ 3276972 h 4565650"/>
                  <a:gd name="connsiteX16" fmla="*/ 3408727 w 4578351"/>
                  <a:gd name="connsiteY16" fmla="*/ 3247211 h 4565650"/>
                  <a:gd name="connsiteX17" fmla="*/ 3911695 w 4578351"/>
                  <a:gd name="connsiteY17" fmla="*/ 3803753 h 4565650"/>
                  <a:gd name="connsiteX18" fmla="*/ 4158715 w 4578351"/>
                  <a:gd name="connsiteY18" fmla="*/ 3726373 h 4565650"/>
                  <a:gd name="connsiteX19" fmla="*/ 4578351 w 4578351"/>
                  <a:gd name="connsiteY19" fmla="*/ 4146011 h 4565650"/>
                  <a:gd name="connsiteX20" fmla="*/ 4158715 w 4578351"/>
                  <a:gd name="connsiteY20" fmla="*/ 4565650 h 4565650"/>
                  <a:gd name="connsiteX21" fmla="*/ 3739079 w 4578351"/>
                  <a:gd name="connsiteY21" fmla="*/ 4146011 h 4565650"/>
                  <a:gd name="connsiteX22" fmla="*/ 3819435 w 4578351"/>
                  <a:gd name="connsiteY22" fmla="*/ 3898990 h 4565650"/>
                  <a:gd name="connsiteX23" fmla="*/ 3316467 w 4578351"/>
                  <a:gd name="connsiteY23" fmla="*/ 3339472 h 4565650"/>
                  <a:gd name="connsiteX24" fmla="*/ 3325395 w 4578351"/>
                  <a:gd name="connsiteY24" fmla="*/ 3544827 h 4565650"/>
                  <a:gd name="connsiteX25" fmla="*/ 3262896 w 4578351"/>
                  <a:gd name="connsiteY25" fmla="*/ 3613279 h 4565650"/>
                  <a:gd name="connsiteX26" fmla="*/ 3194445 w 4578351"/>
                  <a:gd name="connsiteY26" fmla="*/ 3550779 h 4565650"/>
                  <a:gd name="connsiteX27" fmla="*/ 3176588 w 4578351"/>
                  <a:gd name="connsiteY27" fmla="*/ 3160902 h 4565650"/>
                  <a:gd name="connsiteX28" fmla="*/ 3176588 w 4578351"/>
                  <a:gd name="connsiteY28" fmla="*/ 3157926 h 4565650"/>
                  <a:gd name="connsiteX29" fmla="*/ 3176588 w 4578351"/>
                  <a:gd name="connsiteY29" fmla="*/ 3151973 h 4565650"/>
                  <a:gd name="connsiteX30" fmla="*/ 3176588 w 4578351"/>
                  <a:gd name="connsiteY30" fmla="*/ 3148997 h 4565650"/>
                  <a:gd name="connsiteX31" fmla="*/ 3179564 w 4578351"/>
                  <a:gd name="connsiteY31" fmla="*/ 3143045 h 4565650"/>
                  <a:gd name="connsiteX32" fmla="*/ 3179564 w 4578351"/>
                  <a:gd name="connsiteY32" fmla="*/ 3140069 h 4565650"/>
                  <a:gd name="connsiteX33" fmla="*/ 3182541 w 4578351"/>
                  <a:gd name="connsiteY33" fmla="*/ 3134117 h 4565650"/>
                  <a:gd name="connsiteX34" fmla="*/ 3185517 w 4578351"/>
                  <a:gd name="connsiteY34" fmla="*/ 3128164 h 4565650"/>
                  <a:gd name="connsiteX35" fmla="*/ 3188493 w 4578351"/>
                  <a:gd name="connsiteY35" fmla="*/ 3122212 h 4565650"/>
                  <a:gd name="connsiteX36" fmla="*/ 3188493 w 4578351"/>
                  <a:gd name="connsiteY36" fmla="*/ 3119236 h 4565650"/>
                  <a:gd name="connsiteX37" fmla="*/ 3191469 w 4578351"/>
                  <a:gd name="connsiteY37" fmla="*/ 3116260 h 4565650"/>
                  <a:gd name="connsiteX38" fmla="*/ 3203374 w 4578351"/>
                  <a:gd name="connsiteY38" fmla="*/ 3107331 h 4565650"/>
                  <a:gd name="connsiteX39" fmla="*/ 3206350 w 4578351"/>
                  <a:gd name="connsiteY39" fmla="*/ 3104355 h 4565650"/>
                  <a:gd name="connsiteX40" fmla="*/ 3209326 w 4578351"/>
                  <a:gd name="connsiteY40" fmla="*/ 3101379 h 4565650"/>
                  <a:gd name="connsiteX41" fmla="*/ 3221230 w 4578351"/>
                  <a:gd name="connsiteY41" fmla="*/ 3098403 h 4565650"/>
                  <a:gd name="connsiteX42" fmla="*/ 3227183 w 4578351"/>
                  <a:gd name="connsiteY42" fmla="*/ 3095426 h 4565650"/>
                  <a:gd name="connsiteX43" fmla="*/ 3230159 w 4578351"/>
                  <a:gd name="connsiteY43" fmla="*/ 3095426 h 4565650"/>
                  <a:gd name="connsiteX44" fmla="*/ 3233135 w 4578351"/>
                  <a:gd name="connsiteY44" fmla="*/ 3095426 h 4565650"/>
                  <a:gd name="connsiteX45" fmla="*/ 3239087 w 4578351"/>
                  <a:gd name="connsiteY45" fmla="*/ 3092450 h 4565650"/>
                  <a:gd name="connsiteX46" fmla="*/ 1315455 w 4578351"/>
                  <a:gd name="connsiteY46" fmla="*/ 3092450 h 4565650"/>
                  <a:gd name="connsiteX47" fmla="*/ 1324383 w 4578351"/>
                  <a:gd name="connsiteY47" fmla="*/ 3092450 h 4565650"/>
                  <a:gd name="connsiteX48" fmla="*/ 1339264 w 4578351"/>
                  <a:gd name="connsiteY48" fmla="*/ 3092450 h 4565650"/>
                  <a:gd name="connsiteX49" fmla="*/ 1345216 w 4578351"/>
                  <a:gd name="connsiteY49" fmla="*/ 3095426 h 4565650"/>
                  <a:gd name="connsiteX50" fmla="*/ 1348193 w 4578351"/>
                  <a:gd name="connsiteY50" fmla="*/ 3095426 h 4565650"/>
                  <a:gd name="connsiteX51" fmla="*/ 1351169 w 4578351"/>
                  <a:gd name="connsiteY51" fmla="*/ 3095426 h 4565650"/>
                  <a:gd name="connsiteX52" fmla="*/ 1357121 w 4578351"/>
                  <a:gd name="connsiteY52" fmla="*/ 3098403 h 4565650"/>
                  <a:gd name="connsiteX53" fmla="*/ 1369026 w 4578351"/>
                  <a:gd name="connsiteY53" fmla="*/ 3101379 h 4565650"/>
                  <a:gd name="connsiteX54" fmla="*/ 1372002 w 4578351"/>
                  <a:gd name="connsiteY54" fmla="*/ 3104355 h 4565650"/>
                  <a:gd name="connsiteX55" fmla="*/ 1374978 w 4578351"/>
                  <a:gd name="connsiteY55" fmla="*/ 3107331 h 4565650"/>
                  <a:gd name="connsiteX56" fmla="*/ 1386882 w 4578351"/>
                  <a:gd name="connsiteY56" fmla="*/ 3116260 h 4565650"/>
                  <a:gd name="connsiteX57" fmla="*/ 1389859 w 4578351"/>
                  <a:gd name="connsiteY57" fmla="*/ 3119236 h 4565650"/>
                  <a:gd name="connsiteX58" fmla="*/ 1389859 w 4578351"/>
                  <a:gd name="connsiteY58" fmla="*/ 3122212 h 4565650"/>
                  <a:gd name="connsiteX59" fmla="*/ 1392835 w 4578351"/>
                  <a:gd name="connsiteY59" fmla="*/ 3128164 h 4565650"/>
                  <a:gd name="connsiteX60" fmla="*/ 1395811 w 4578351"/>
                  <a:gd name="connsiteY60" fmla="*/ 3134117 h 4565650"/>
                  <a:gd name="connsiteX61" fmla="*/ 1398787 w 4578351"/>
                  <a:gd name="connsiteY61" fmla="*/ 3140069 h 4565650"/>
                  <a:gd name="connsiteX62" fmla="*/ 1398787 w 4578351"/>
                  <a:gd name="connsiteY62" fmla="*/ 3143045 h 4565650"/>
                  <a:gd name="connsiteX63" fmla="*/ 1401763 w 4578351"/>
                  <a:gd name="connsiteY63" fmla="*/ 3148997 h 4565650"/>
                  <a:gd name="connsiteX64" fmla="*/ 1401763 w 4578351"/>
                  <a:gd name="connsiteY64" fmla="*/ 3151973 h 4565650"/>
                  <a:gd name="connsiteX65" fmla="*/ 1401763 w 4578351"/>
                  <a:gd name="connsiteY65" fmla="*/ 3157926 h 4565650"/>
                  <a:gd name="connsiteX66" fmla="*/ 1401763 w 4578351"/>
                  <a:gd name="connsiteY66" fmla="*/ 3160902 h 4565650"/>
                  <a:gd name="connsiteX67" fmla="*/ 1383906 w 4578351"/>
                  <a:gd name="connsiteY67" fmla="*/ 3550779 h 4565650"/>
                  <a:gd name="connsiteX68" fmla="*/ 1315455 w 4578351"/>
                  <a:gd name="connsiteY68" fmla="*/ 3613279 h 4565650"/>
                  <a:gd name="connsiteX69" fmla="*/ 1252956 w 4578351"/>
                  <a:gd name="connsiteY69" fmla="*/ 3544827 h 4565650"/>
                  <a:gd name="connsiteX70" fmla="*/ 1261885 w 4578351"/>
                  <a:gd name="connsiteY70" fmla="*/ 3339472 h 4565650"/>
                  <a:gd name="connsiteX71" fmla="*/ 758916 w 4578351"/>
                  <a:gd name="connsiteY71" fmla="*/ 3898990 h 4565650"/>
                  <a:gd name="connsiteX72" fmla="*/ 839272 w 4578351"/>
                  <a:gd name="connsiteY72" fmla="*/ 4146011 h 4565650"/>
                  <a:gd name="connsiteX73" fmla="*/ 419636 w 4578351"/>
                  <a:gd name="connsiteY73" fmla="*/ 4565650 h 4565650"/>
                  <a:gd name="connsiteX74" fmla="*/ 0 w 4578351"/>
                  <a:gd name="connsiteY74" fmla="*/ 4146011 h 4565650"/>
                  <a:gd name="connsiteX75" fmla="*/ 419636 w 4578351"/>
                  <a:gd name="connsiteY75" fmla="*/ 3726373 h 4565650"/>
                  <a:gd name="connsiteX76" fmla="*/ 666656 w 4578351"/>
                  <a:gd name="connsiteY76" fmla="*/ 3803753 h 4565650"/>
                  <a:gd name="connsiteX77" fmla="*/ 1169624 w 4578351"/>
                  <a:gd name="connsiteY77" fmla="*/ 3247211 h 4565650"/>
                  <a:gd name="connsiteX78" fmla="*/ 949390 w 4578351"/>
                  <a:gd name="connsiteY78" fmla="*/ 3276972 h 4565650"/>
                  <a:gd name="connsiteX79" fmla="*/ 874986 w 4578351"/>
                  <a:gd name="connsiteY79" fmla="*/ 3220425 h 4565650"/>
                  <a:gd name="connsiteX80" fmla="*/ 931533 w 4578351"/>
                  <a:gd name="connsiteY80" fmla="*/ 3148997 h 4565650"/>
                  <a:gd name="connsiteX81" fmla="*/ 1315455 w 4578351"/>
                  <a:gd name="connsiteY81" fmla="*/ 3092450 h 4565650"/>
                  <a:gd name="connsiteX82" fmla="*/ 2304257 w 4578351"/>
                  <a:gd name="connsiteY82" fmla="*/ 1339849 h 4565650"/>
                  <a:gd name="connsiteX83" fmla="*/ 1346200 w 4578351"/>
                  <a:gd name="connsiteY83" fmla="*/ 2294731 h 4565650"/>
                  <a:gd name="connsiteX84" fmla="*/ 2304257 w 4578351"/>
                  <a:gd name="connsiteY84" fmla="*/ 3249613 h 4565650"/>
                  <a:gd name="connsiteX85" fmla="*/ 3262314 w 4578351"/>
                  <a:gd name="connsiteY85" fmla="*/ 2294731 h 4565650"/>
                  <a:gd name="connsiteX86" fmla="*/ 2304257 w 4578351"/>
                  <a:gd name="connsiteY86" fmla="*/ 1339849 h 4565650"/>
                  <a:gd name="connsiteX87" fmla="*/ 2305050 w 4578351"/>
                  <a:gd name="connsiteY87" fmla="*/ 1220787 h 4565650"/>
                  <a:gd name="connsiteX88" fmla="*/ 3378200 w 4578351"/>
                  <a:gd name="connsiteY88" fmla="*/ 2296319 h 4565650"/>
                  <a:gd name="connsiteX89" fmla="*/ 2305050 w 4578351"/>
                  <a:gd name="connsiteY89" fmla="*/ 3371851 h 4565650"/>
                  <a:gd name="connsiteX90" fmla="*/ 1231900 w 4578351"/>
                  <a:gd name="connsiteY90" fmla="*/ 2296319 h 4565650"/>
                  <a:gd name="connsiteX91" fmla="*/ 2305050 w 4578351"/>
                  <a:gd name="connsiteY91" fmla="*/ 1220787 h 4565650"/>
                  <a:gd name="connsiteX92" fmla="*/ 4152900 w 4578351"/>
                  <a:gd name="connsiteY92" fmla="*/ 128588 h 4565650"/>
                  <a:gd name="connsiteX93" fmla="*/ 3860800 w 4578351"/>
                  <a:gd name="connsiteY93" fmla="*/ 419895 h 4565650"/>
                  <a:gd name="connsiteX94" fmla="*/ 4152900 w 4578351"/>
                  <a:gd name="connsiteY94" fmla="*/ 711202 h 4565650"/>
                  <a:gd name="connsiteX95" fmla="*/ 4445000 w 4578351"/>
                  <a:gd name="connsiteY95" fmla="*/ 419895 h 4565650"/>
                  <a:gd name="connsiteX96" fmla="*/ 4152900 w 4578351"/>
                  <a:gd name="connsiteY96" fmla="*/ 128588 h 4565650"/>
                  <a:gd name="connsiteX97" fmla="*/ 413545 w 4578351"/>
                  <a:gd name="connsiteY97" fmla="*/ 128588 h 4565650"/>
                  <a:gd name="connsiteX98" fmla="*/ 115888 w 4578351"/>
                  <a:gd name="connsiteY98" fmla="*/ 419895 h 4565650"/>
                  <a:gd name="connsiteX99" fmla="*/ 413545 w 4578351"/>
                  <a:gd name="connsiteY99" fmla="*/ 711202 h 4565650"/>
                  <a:gd name="connsiteX100" fmla="*/ 711202 w 4578351"/>
                  <a:gd name="connsiteY100" fmla="*/ 419895 h 4565650"/>
                  <a:gd name="connsiteX101" fmla="*/ 413545 w 4578351"/>
                  <a:gd name="connsiteY101" fmla="*/ 128588 h 4565650"/>
                  <a:gd name="connsiteX102" fmla="*/ 4158715 w 4578351"/>
                  <a:gd name="connsiteY102" fmla="*/ 0 h 4565650"/>
                  <a:gd name="connsiteX103" fmla="*/ 4578351 w 4578351"/>
                  <a:gd name="connsiteY103" fmla="*/ 419639 h 4565650"/>
                  <a:gd name="connsiteX104" fmla="*/ 4158715 w 4578351"/>
                  <a:gd name="connsiteY104" fmla="*/ 839278 h 4565650"/>
                  <a:gd name="connsiteX105" fmla="*/ 3911695 w 4578351"/>
                  <a:gd name="connsiteY105" fmla="*/ 758921 h 4565650"/>
                  <a:gd name="connsiteX106" fmla="*/ 3408727 w 4578351"/>
                  <a:gd name="connsiteY106" fmla="*/ 1318440 h 4565650"/>
                  <a:gd name="connsiteX107" fmla="*/ 3628962 w 4578351"/>
                  <a:gd name="connsiteY107" fmla="*/ 1285702 h 4565650"/>
                  <a:gd name="connsiteX108" fmla="*/ 3703365 w 4578351"/>
                  <a:gd name="connsiteY108" fmla="*/ 1342249 h 4565650"/>
                  <a:gd name="connsiteX109" fmla="*/ 3646819 w 4578351"/>
                  <a:gd name="connsiteY109" fmla="*/ 1416653 h 4565650"/>
                  <a:gd name="connsiteX110" fmla="*/ 3262896 w 4578351"/>
                  <a:gd name="connsiteY110" fmla="*/ 1470224 h 4565650"/>
                  <a:gd name="connsiteX111" fmla="*/ 3253968 w 4578351"/>
                  <a:gd name="connsiteY111" fmla="*/ 1473200 h 4565650"/>
                  <a:gd name="connsiteX112" fmla="*/ 3239087 w 4578351"/>
                  <a:gd name="connsiteY112" fmla="*/ 1470224 h 4565650"/>
                  <a:gd name="connsiteX113" fmla="*/ 3233135 w 4578351"/>
                  <a:gd name="connsiteY113" fmla="*/ 1470224 h 4565650"/>
                  <a:gd name="connsiteX114" fmla="*/ 3230159 w 4578351"/>
                  <a:gd name="connsiteY114" fmla="*/ 1470224 h 4565650"/>
                  <a:gd name="connsiteX115" fmla="*/ 3227183 w 4578351"/>
                  <a:gd name="connsiteY115" fmla="*/ 1467248 h 4565650"/>
                  <a:gd name="connsiteX116" fmla="*/ 3221230 w 4578351"/>
                  <a:gd name="connsiteY116" fmla="*/ 1467248 h 4565650"/>
                  <a:gd name="connsiteX117" fmla="*/ 3219232 w 4578351"/>
                  <a:gd name="connsiteY117" fmla="*/ 1466249 h 4565650"/>
                  <a:gd name="connsiteX118" fmla="*/ 3209326 w 4578351"/>
                  <a:gd name="connsiteY118" fmla="*/ 1461296 h 4565650"/>
                  <a:gd name="connsiteX119" fmla="*/ 3206350 w 4578351"/>
                  <a:gd name="connsiteY119" fmla="*/ 1461296 h 4565650"/>
                  <a:gd name="connsiteX120" fmla="*/ 3203374 w 4578351"/>
                  <a:gd name="connsiteY120" fmla="*/ 1458319 h 4565650"/>
                  <a:gd name="connsiteX121" fmla="*/ 3191469 w 4578351"/>
                  <a:gd name="connsiteY121" fmla="*/ 1446415 h 4565650"/>
                  <a:gd name="connsiteX122" fmla="*/ 3188493 w 4578351"/>
                  <a:gd name="connsiteY122" fmla="*/ 1443439 h 4565650"/>
                  <a:gd name="connsiteX123" fmla="*/ 3185517 w 4578351"/>
                  <a:gd name="connsiteY123" fmla="*/ 1437486 h 4565650"/>
                  <a:gd name="connsiteX124" fmla="*/ 3182541 w 4578351"/>
                  <a:gd name="connsiteY124" fmla="*/ 1431534 h 4565650"/>
                  <a:gd name="connsiteX125" fmla="*/ 3179564 w 4578351"/>
                  <a:gd name="connsiteY125" fmla="*/ 1422605 h 4565650"/>
                  <a:gd name="connsiteX126" fmla="*/ 3176588 w 4578351"/>
                  <a:gd name="connsiteY126" fmla="*/ 1413677 h 4565650"/>
                  <a:gd name="connsiteX127" fmla="*/ 3176588 w 4578351"/>
                  <a:gd name="connsiteY127" fmla="*/ 1404748 h 4565650"/>
                  <a:gd name="connsiteX128" fmla="*/ 3176588 w 4578351"/>
                  <a:gd name="connsiteY128" fmla="*/ 1401772 h 4565650"/>
                  <a:gd name="connsiteX129" fmla="*/ 3194445 w 4578351"/>
                  <a:gd name="connsiteY129" fmla="*/ 1014871 h 4565650"/>
                  <a:gd name="connsiteX130" fmla="*/ 3262896 w 4578351"/>
                  <a:gd name="connsiteY130" fmla="*/ 952372 h 4565650"/>
                  <a:gd name="connsiteX131" fmla="*/ 3325395 w 4578351"/>
                  <a:gd name="connsiteY131" fmla="*/ 1020824 h 4565650"/>
                  <a:gd name="connsiteX132" fmla="*/ 3316467 w 4578351"/>
                  <a:gd name="connsiteY132" fmla="*/ 1226179 h 4565650"/>
                  <a:gd name="connsiteX133" fmla="*/ 3819435 w 4578351"/>
                  <a:gd name="connsiteY133" fmla="*/ 666660 h 4565650"/>
                  <a:gd name="connsiteX134" fmla="*/ 3739079 w 4578351"/>
                  <a:gd name="connsiteY134" fmla="*/ 419639 h 4565650"/>
                  <a:gd name="connsiteX135" fmla="*/ 4158715 w 4578351"/>
                  <a:gd name="connsiteY135" fmla="*/ 0 h 4565650"/>
                  <a:gd name="connsiteX136" fmla="*/ 419636 w 4578351"/>
                  <a:gd name="connsiteY136" fmla="*/ 0 h 4565650"/>
                  <a:gd name="connsiteX137" fmla="*/ 839272 w 4578351"/>
                  <a:gd name="connsiteY137" fmla="*/ 419639 h 4565650"/>
                  <a:gd name="connsiteX138" fmla="*/ 758916 w 4578351"/>
                  <a:gd name="connsiteY138" fmla="*/ 666660 h 4565650"/>
                  <a:gd name="connsiteX139" fmla="*/ 1261885 w 4578351"/>
                  <a:gd name="connsiteY139" fmla="*/ 1226179 h 4565650"/>
                  <a:gd name="connsiteX140" fmla="*/ 1252956 w 4578351"/>
                  <a:gd name="connsiteY140" fmla="*/ 1020824 h 4565650"/>
                  <a:gd name="connsiteX141" fmla="*/ 1315455 w 4578351"/>
                  <a:gd name="connsiteY141" fmla="*/ 952372 h 4565650"/>
                  <a:gd name="connsiteX142" fmla="*/ 1383906 w 4578351"/>
                  <a:gd name="connsiteY142" fmla="*/ 1014871 h 4565650"/>
                  <a:gd name="connsiteX143" fmla="*/ 1401763 w 4578351"/>
                  <a:gd name="connsiteY143" fmla="*/ 1401772 h 4565650"/>
                  <a:gd name="connsiteX144" fmla="*/ 1401763 w 4578351"/>
                  <a:gd name="connsiteY144" fmla="*/ 1404748 h 4565650"/>
                  <a:gd name="connsiteX145" fmla="*/ 1401763 w 4578351"/>
                  <a:gd name="connsiteY145" fmla="*/ 1413677 h 4565650"/>
                  <a:gd name="connsiteX146" fmla="*/ 1398787 w 4578351"/>
                  <a:gd name="connsiteY146" fmla="*/ 1422605 h 4565650"/>
                  <a:gd name="connsiteX147" fmla="*/ 1395811 w 4578351"/>
                  <a:gd name="connsiteY147" fmla="*/ 1431534 h 4565650"/>
                  <a:gd name="connsiteX148" fmla="*/ 1392835 w 4578351"/>
                  <a:gd name="connsiteY148" fmla="*/ 1437486 h 4565650"/>
                  <a:gd name="connsiteX149" fmla="*/ 1389859 w 4578351"/>
                  <a:gd name="connsiteY149" fmla="*/ 1443439 h 4565650"/>
                  <a:gd name="connsiteX150" fmla="*/ 1386882 w 4578351"/>
                  <a:gd name="connsiteY150" fmla="*/ 1446415 h 4565650"/>
                  <a:gd name="connsiteX151" fmla="*/ 1374978 w 4578351"/>
                  <a:gd name="connsiteY151" fmla="*/ 1458319 h 4565650"/>
                  <a:gd name="connsiteX152" fmla="*/ 1372002 w 4578351"/>
                  <a:gd name="connsiteY152" fmla="*/ 1461296 h 4565650"/>
                  <a:gd name="connsiteX153" fmla="*/ 1369026 w 4578351"/>
                  <a:gd name="connsiteY153" fmla="*/ 1461296 h 4565650"/>
                  <a:gd name="connsiteX154" fmla="*/ 1357121 w 4578351"/>
                  <a:gd name="connsiteY154" fmla="*/ 1467248 h 4565650"/>
                  <a:gd name="connsiteX155" fmla="*/ 1351169 w 4578351"/>
                  <a:gd name="connsiteY155" fmla="*/ 1467248 h 4565650"/>
                  <a:gd name="connsiteX156" fmla="*/ 1348193 w 4578351"/>
                  <a:gd name="connsiteY156" fmla="*/ 1470224 h 4565650"/>
                  <a:gd name="connsiteX157" fmla="*/ 1345216 w 4578351"/>
                  <a:gd name="connsiteY157" fmla="*/ 1470224 h 4565650"/>
                  <a:gd name="connsiteX158" fmla="*/ 1339264 w 4578351"/>
                  <a:gd name="connsiteY158" fmla="*/ 1470224 h 4565650"/>
                  <a:gd name="connsiteX159" fmla="*/ 1324383 w 4578351"/>
                  <a:gd name="connsiteY159" fmla="*/ 1473200 h 4565650"/>
                  <a:gd name="connsiteX160" fmla="*/ 1315455 w 4578351"/>
                  <a:gd name="connsiteY160" fmla="*/ 1470224 h 4565650"/>
                  <a:gd name="connsiteX161" fmla="*/ 931533 w 4578351"/>
                  <a:gd name="connsiteY161" fmla="*/ 1416653 h 4565650"/>
                  <a:gd name="connsiteX162" fmla="*/ 874986 w 4578351"/>
                  <a:gd name="connsiteY162" fmla="*/ 1342249 h 4565650"/>
                  <a:gd name="connsiteX163" fmla="*/ 949390 w 4578351"/>
                  <a:gd name="connsiteY163" fmla="*/ 1285702 h 4565650"/>
                  <a:gd name="connsiteX164" fmla="*/ 1169624 w 4578351"/>
                  <a:gd name="connsiteY164" fmla="*/ 1318440 h 4565650"/>
                  <a:gd name="connsiteX165" fmla="*/ 666656 w 4578351"/>
                  <a:gd name="connsiteY165" fmla="*/ 758921 h 4565650"/>
                  <a:gd name="connsiteX166" fmla="*/ 419636 w 4578351"/>
                  <a:gd name="connsiteY166" fmla="*/ 839278 h 4565650"/>
                  <a:gd name="connsiteX167" fmla="*/ 0 w 4578351"/>
                  <a:gd name="connsiteY167" fmla="*/ 419639 h 4565650"/>
                  <a:gd name="connsiteX168" fmla="*/ 419636 w 4578351"/>
                  <a:gd name="connsiteY168" fmla="*/ 0 h 456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</a:cxnLst>
                <a:rect l="l" t="t" r="r" b="b"/>
                <a:pathLst>
                  <a:path w="4578351" h="4565650">
                    <a:moveTo>
                      <a:pt x="4152900" y="3848100"/>
                    </a:moveTo>
                    <a:cubicBezTo>
                      <a:pt x="3991578" y="3848100"/>
                      <a:pt x="3860800" y="3980299"/>
                      <a:pt x="3860800" y="4143375"/>
                    </a:cubicBezTo>
                    <a:cubicBezTo>
                      <a:pt x="3860800" y="4306451"/>
                      <a:pt x="3991578" y="4438650"/>
                      <a:pt x="4152900" y="4438650"/>
                    </a:cubicBezTo>
                    <a:cubicBezTo>
                      <a:pt x="4314222" y="4438650"/>
                      <a:pt x="4445000" y="4306451"/>
                      <a:pt x="4445000" y="4143375"/>
                    </a:cubicBezTo>
                    <a:cubicBezTo>
                      <a:pt x="4445000" y="3980299"/>
                      <a:pt x="4314222" y="3848100"/>
                      <a:pt x="4152900" y="3848100"/>
                    </a:cubicBezTo>
                    <a:close/>
                    <a:moveTo>
                      <a:pt x="413545" y="3848100"/>
                    </a:moveTo>
                    <a:cubicBezTo>
                      <a:pt x="249154" y="3848100"/>
                      <a:pt x="115888" y="3980299"/>
                      <a:pt x="115888" y="4143375"/>
                    </a:cubicBezTo>
                    <a:cubicBezTo>
                      <a:pt x="115888" y="4306451"/>
                      <a:pt x="249154" y="4438650"/>
                      <a:pt x="413545" y="4438650"/>
                    </a:cubicBezTo>
                    <a:cubicBezTo>
                      <a:pt x="577936" y="4438650"/>
                      <a:pt x="711202" y="4306451"/>
                      <a:pt x="711202" y="4143375"/>
                    </a:cubicBezTo>
                    <a:cubicBezTo>
                      <a:pt x="711202" y="3980299"/>
                      <a:pt x="577936" y="3848100"/>
                      <a:pt x="413545" y="3848100"/>
                    </a:cubicBezTo>
                    <a:close/>
                    <a:moveTo>
                      <a:pt x="3239087" y="3092450"/>
                    </a:moveTo>
                    <a:cubicBezTo>
                      <a:pt x="3242063" y="3092450"/>
                      <a:pt x="3248016" y="3092450"/>
                      <a:pt x="3253968" y="3092450"/>
                    </a:cubicBezTo>
                    <a:cubicBezTo>
                      <a:pt x="3256944" y="3092450"/>
                      <a:pt x="3259920" y="3092450"/>
                      <a:pt x="3262896" y="3092450"/>
                    </a:cubicBezTo>
                    <a:cubicBezTo>
                      <a:pt x="3262896" y="3092450"/>
                      <a:pt x="3262896" y="3092450"/>
                      <a:pt x="3646819" y="3148997"/>
                    </a:cubicBezTo>
                    <a:cubicBezTo>
                      <a:pt x="3682532" y="3151973"/>
                      <a:pt x="3706342" y="3184711"/>
                      <a:pt x="3703365" y="3220425"/>
                    </a:cubicBezTo>
                    <a:cubicBezTo>
                      <a:pt x="3697413" y="3256139"/>
                      <a:pt x="3664676" y="3282925"/>
                      <a:pt x="3628962" y="3276972"/>
                    </a:cubicBezTo>
                    <a:cubicBezTo>
                      <a:pt x="3628962" y="3276972"/>
                      <a:pt x="3628962" y="3276972"/>
                      <a:pt x="3408727" y="3247211"/>
                    </a:cubicBezTo>
                    <a:cubicBezTo>
                      <a:pt x="3408727" y="3247211"/>
                      <a:pt x="3408727" y="3247211"/>
                      <a:pt x="3911695" y="3803753"/>
                    </a:cubicBezTo>
                    <a:cubicBezTo>
                      <a:pt x="3980147" y="3756134"/>
                      <a:pt x="4066455" y="3726373"/>
                      <a:pt x="4158715" y="3726373"/>
                    </a:cubicBezTo>
                    <a:cubicBezTo>
                      <a:pt x="4387878" y="3726373"/>
                      <a:pt x="4578351" y="3913871"/>
                      <a:pt x="4578351" y="4146011"/>
                    </a:cubicBezTo>
                    <a:cubicBezTo>
                      <a:pt x="4578351" y="4375176"/>
                      <a:pt x="4387878" y="4565650"/>
                      <a:pt x="4158715" y="4565650"/>
                    </a:cubicBezTo>
                    <a:cubicBezTo>
                      <a:pt x="3926576" y="4565650"/>
                      <a:pt x="3739079" y="4375176"/>
                      <a:pt x="3739079" y="4146011"/>
                    </a:cubicBezTo>
                    <a:cubicBezTo>
                      <a:pt x="3739079" y="4053750"/>
                      <a:pt x="3768841" y="3967442"/>
                      <a:pt x="3819435" y="3898990"/>
                    </a:cubicBezTo>
                    <a:cubicBezTo>
                      <a:pt x="3819435" y="3898990"/>
                      <a:pt x="3819435" y="3898990"/>
                      <a:pt x="3316467" y="3339472"/>
                    </a:cubicBezTo>
                    <a:cubicBezTo>
                      <a:pt x="3316467" y="3339472"/>
                      <a:pt x="3316467" y="3339472"/>
                      <a:pt x="3325395" y="3544827"/>
                    </a:cubicBezTo>
                    <a:cubicBezTo>
                      <a:pt x="3328371" y="3580541"/>
                      <a:pt x="3298610" y="3610302"/>
                      <a:pt x="3262896" y="3613279"/>
                    </a:cubicBezTo>
                    <a:cubicBezTo>
                      <a:pt x="3227183" y="3613279"/>
                      <a:pt x="3197421" y="3586493"/>
                      <a:pt x="3194445" y="3550779"/>
                    </a:cubicBezTo>
                    <a:cubicBezTo>
                      <a:pt x="3194445" y="3550779"/>
                      <a:pt x="3194445" y="3550779"/>
                      <a:pt x="3176588" y="3160902"/>
                    </a:cubicBezTo>
                    <a:cubicBezTo>
                      <a:pt x="3176588" y="3160902"/>
                      <a:pt x="3176588" y="3160902"/>
                      <a:pt x="3176588" y="3157926"/>
                    </a:cubicBezTo>
                    <a:cubicBezTo>
                      <a:pt x="3176588" y="3157926"/>
                      <a:pt x="3176588" y="3154950"/>
                      <a:pt x="3176588" y="3151973"/>
                    </a:cubicBezTo>
                    <a:cubicBezTo>
                      <a:pt x="3176588" y="3151973"/>
                      <a:pt x="3176588" y="3151973"/>
                      <a:pt x="3176588" y="3148997"/>
                    </a:cubicBezTo>
                    <a:cubicBezTo>
                      <a:pt x="3176588" y="3148997"/>
                      <a:pt x="3176588" y="3146021"/>
                      <a:pt x="3179564" y="3143045"/>
                    </a:cubicBezTo>
                    <a:cubicBezTo>
                      <a:pt x="3179564" y="3143045"/>
                      <a:pt x="3179564" y="3143045"/>
                      <a:pt x="3179564" y="3140069"/>
                    </a:cubicBezTo>
                    <a:cubicBezTo>
                      <a:pt x="3179564" y="3137093"/>
                      <a:pt x="3179564" y="3137093"/>
                      <a:pt x="3182541" y="3134117"/>
                    </a:cubicBezTo>
                    <a:cubicBezTo>
                      <a:pt x="3182541" y="3131140"/>
                      <a:pt x="3182541" y="3128164"/>
                      <a:pt x="3185517" y="3128164"/>
                    </a:cubicBezTo>
                    <a:cubicBezTo>
                      <a:pt x="3185517" y="3125188"/>
                      <a:pt x="3185517" y="3125188"/>
                      <a:pt x="3188493" y="3122212"/>
                    </a:cubicBezTo>
                    <a:cubicBezTo>
                      <a:pt x="3188493" y="3122212"/>
                      <a:pt x="3188493" y="3122212"/>
                      <a:pt x="3188493" y="3119236"/>
                    </a:cubicBezTo>
                    <a:cubicBezTo>
                      <a:pt x="3191469" y="3119236"/>
                      <a:pt x="3191469" y="3119236"/>
                      <a:pt x="3191469" y="3116260"/>
                    </a:cubicBezTo>
                    <a:cubicBezTo>
                      <a:pt x="3194445" y="3113283"/>
                      <a:pt x="3197421" y="3110307"/>
                      <a:pt x="3203374" y="3107331"/>
                    </a:cubicBezTo>
                    <a:cubicBezTo>
                      <a:pt x="3203374" y="3104355"/>
                      <a:pt x="3206350" y="3104355"/>
                      <a:pt x="3206350" y="3104355"/>
                    </a:cubicBezTo>
                    <a:cubicBezTo>
                      <a:pt x="3206350" y="3104355"/>
                      <a:pt x="3209326" y="3104355"/>
                      <a:pt x="3209326" y="3101379"/>
                    </a:cubicBezTo>
                    <a:cubicBezTo>
                      <a:pt x="3212302" y="3101379"/>
                      <a:pt x="3215278" y="3098403"/>
                      <a:pt x="3221230" y="3098403"/>
                    </a:cubicBezTo>
                    <a:cubicBezTo>
                      <a:pt x="3221230" y="3095426"/>
                      <a:pt x="3224207" y="3095426"/>
                      <a:pt x="3227183" y="3095426"/>
                    </a:cubicBezTo>
                    <a:cubicBezTo>
                      <a:pt x="3227183" y="3095426"/>
                      <a:pt x="3227183" y="3095426"/>
                      <a:pt x="3230159" y="3095426"/>
                    </a:cubicBezTo>
                    <a:cubicBezTo>
                      <a:pt x="3233135" y="3095426"/>
                      <a:pt x="3233135" y="3095426"/>
                      <a:pt x="3233135" y="3095426"/>
                    </a:cubicBezTo>
                    <a:cubicBezTo>
                      <a:pt x="3236111" y="3095426"/>
                      <a:pt x="3236111" y="3095426"/>
                      <a:pt x="3239087" y="3092450"/>
                    </a:cubicBezTo>
                    <a:close/>
                    <a:moveTo>
                      <a:pt x="1315455" y="3092450"/>
                    </a:moveTo>
                    <a:cubicBezTo>
                      <a:pt x="1318431" y="3092450"/>
                      <a:pt x="1321407" y="3092450"/>
                      <a:pt x="1324383" y="3092450"/>
                    </a:cubicBezTo>
                    <a:cubicBezTo>
                      <a:pt x="1330336" y="3092450"/>
                      <a:pt x="1336288" y="3092450"/>
                      <a:pt x="1339264" y="3092450"/>
                    </a:cubicBezTo>
                    <a:cubicBezTo>
                      <a:pt x="1342240" y="3095426"/>
                      <a:pt x="1342240" y="3095426"/>
                      <a:pt x="1345216" y="3095426"/>
                    </a:cubicBezTo>
                    <a:cubicBezTo>
                      <a:pt x="1345216" y="3095426"/>
                      <a:pt x="1345216" y="3095426"/>
                      <a:pt x="1348193" y="3095426"/>
                    </a:cubicBezTo>
                    <a:cubicBezTo>
                      <a:pt x="1348193" y="3095426"/>
                      <a:pt x="1348193" y="3095426"/>
                      <a:pt x="1351169" y="3095426"/>
                    </a:cubicBezTo>
                    <a:cubicBezTo>
                      <a:pt x="1354145" y="3095426"/>
                      <a:pt x="1357121" y="3095426"/>
                      <a:pt x="1357121" y="3098403"/>
                    </a:cubicBezTo>
                    <a:cubicBezTo>
                      <a:pt x="1363073" y="3098403"/>
                      <a:pt x="1366049" y="3101379"/>
                      <a:pt x="1369026" y="3101379"/>
                    </a:cubicBezTo>
                    <a:cubicBezTo>
                      <a:pt x="1372002" y="3104355"/>
                      <a:pt x="1372002" y="3104355"/>
                      <a:pt x="1372002" y="3104355"/>
                    </a:cubicBezTo>
                    <a:cubicBezTo>
                      <a:pt x="1372002" y="3104355"/>
                      <a:pt x="1374978" y="3104355"/>
                      <a:pt x="1374978" y="3107331"/>
                    </a:cubicBezTo>
                    <a:cubicBezTo>
                      <a:pt x="1380930" y="3110307"/>
                      <a:pt x="1383906" y="3113283"/>
                      <a:pt x="1386882" y="3116260"/>
                    </a:cubicBezTo>
                    <a:cubicBezTo>
                      <a:pt x="1386882" y="3119236"/>
                      <a:pt x="1389859" y="3119236"/>
                      <a:pt x="1389859" y="3119236"/>
                    </a:cubicBezTo>
                    <a:cubicBezTo>
                      <a:pt x="1389859" y="3122212"/>
                      <a:pt x="1389859" y="3122212"/>
                      <a:pt x="1389859" y="3122212"/>
                    </a:cubicBezTo>
                    <a:cubicBezTo>
                      <a:pt x="1392835" y="3125188"/>
                      <a:pt x="1392835" y="3125188"/>
                      <a:pt x="1392835" y="3128164"/>
                    </a:cubicBezTo>
                    <a:cubicBezTo>
                      <a:pt x="1395811" y="3128164"/>
                      <a:pt x="1395811" y="3131140"/>
                      <a:pt x="1395811" y="3134117"/>
                    </a:cubicBezTo>
                    <a:cubicBezTo>
                      <a:pt x="1398787" y="3137093"/>
                      <a:pt x="1398787" y="3137093"/>
                      <a:pt x="1398787" y="3140069"/>
                    </a:cubicBezTo>
                    <a:cubicBezTo>
                      <a:pt x="1398787" y="3143045"/>
                      <a:pt x="1398787" y="3143045"/>
                      <a:pt x="1398787" y="3143045"/>
                    </a:cubicBezTo>
                    <a:cubicBezTo>
                      <a:pt x="1401763" y="3146021"/>
                      <a:pt x="1401763" y="3148997"/>
                      <a:pt x="1401763" y="3148997"/>
                    </a:cubicBezTo>
                    <a:cubicBezTo>
                      <a:pt x="1401763" y="3151973"/>
                      <a:pt x="1401763" y="3151973"/>
                      <a:pt x="1401763" y="3151973"/>
                    </a:cubicBezTo>
                    <a:cubicBezTo>
                      <a:pt x="1401763" y="3154950"/>
                      <a:pt x="1401763" y="3157926"/>
                      <a:pt x="1401763" y="3157926"/>
                    </a:cubicBezTo>
                    <a:cubicBezTo>
                      <a:pt x="1401763" y="3157926"/>
                      <a:pt x="1401763" y="3157926"/>
                      <a:pt x="1401763" y="3160902"/>
                    </a:cubicBezTo>
                    <a:cubicBezTo>
                      <a:pt x="1401763" y="3160902"/>
                      <a:pt x="1401763" y="3160902"/>
                      <a:pt x="1383906" y="3550779"/>
                    </a:cubicBezTo>
                    <a:cubicBezTo>
                      <a:pt x="1380930" y="3586493"/>
                      <a:pt x="1351169" y="3613279"/>
                      <a:pt x="1315455" y="3613279"/>
                    </a:cubicBezTo>
                    <a:cubicBezTo>
                      <a:pt x="1279741" y="3610302"/>
                      <a:pt x="1249980" y="3580541"/>
                      <a:pt x="1252956" y="3544827"/>
                    </a:cubicBezTo>
                    <a:cubicBezTo>
                      <a:pt x="1252956" y="3544827"/>
                      <a:pt x="1252956" y="3544827"/>
                      <a:pt x="1261885" y="3339472"/>
                    </a:cubicBezTo>
                    <a:cubicBezTo>
                      <a:pt x="1261885" y="3339472"/>
                      <a:pt x="1261885" y="3339472"/>
                      <a:pt x="758916" y="3898990"/>
                    </a:cubicBezTo>
                    <a:cubicBezTo>
                      <a:pt x="809511" y="3967442"/>
                      <a:pt x="839272" y="4053750"/>
                      <a:pt x="839272" y="4146011"/>
                    </a:cubicBezTo>
                    <a:cubicBezTo>
                      <a:pt x="839272" y="4375176"/>
                      <a:pt x="651775" y="4565650"/>
                      <a:pt x="419636" y="4565650"/>
                    </a:cubicBezTo>
                    <a:cubicBezTo>
                      <a:pt x="190473" y="4565650"/>
                      <a:pt x="0" y="4375176"/>
                      <a:pt x="0" y="4146011"/>
                    </a:cubicBezTo>
                    <a:cubicBezTo>
                      <a:pt x="0" y="3913871"/>
                      <a:pt x="190473" y="3726373"/>
                      <a:pt x="419636" y="3726373"/>
                    </a:cubicBezTo>
                    <a:cubicBezTo>
                      <a:pt x="511897" y="3726373"/>
                      <a:pt x="598205" y="3756134"/>
                      <a:pt x="666656" y="3803753"/>
                    </a:cubicBezTo>
                    <a:cubicBezTo>
                      <a:pt x="666656" y="3803753"/>
                      <a:pt x="666656" y="3803753"/>
                      <a:pt x="1169624" y="3247211"/>
                    </a:cubicBezTo>
                    <a:cubicBezTo>
                      <a:pt x="1169624" y="3247211"/>
                      <a:pt x="1169624" y="3247211"/>
                      <a:pt x="949390" y="3276972"/>
                    </a:cubicBezTo>
                    <a:cubicBezTo>
                      <a:pt x="913676" y="3282925"/>
                      <a:pt x="880938" y="3256139"/>
                      <a:pt x="874986" y="3220425"/>
                    </a:cubicBezTo>
                    <a:cubicBezTo>
                      <a:pt x="872010" y="3184711"/>
                      <a:pt x="895819" y="3151973"/>
                      <a:pt x="931533" y="3148997"/>
                    </a:cubicBezTo>
                    <a:cubicBezTo>
                      <a:pt x="931533" y="3148997"/>
                      <a:pt x="931533" y="3148997"/>
                      <a:pt x="1315455" y="3092450"/>
                    </a:cubicBezTo>
                    <a:close/>
                    <a:moveTo>
                      <a:pt x="2304257" y="1339849"/>
                    </a:moveTo>
                    <a:cubicBezTo>
                      <a:pt x="1775137" y="1339849"/>
                      <a:pt x="1346200" y="1767364"/>
                      <a:pt x="1346200" y="2294731"/>
                    </a:cubicBezTo>
                    <a:cubicBezTo>
                      <a:pt x="1346200" y="2822098"/>
                      <a:pt x="1775137" y="3249613"/>
                      <a:pt x="2304257" y="3249613"/>
                    </a:cubicBezTo>
                    <a:cubicBezTo>
                      <a:pt x="2833377" y="3249613"/>
                      <a:pt x="3262314" y="2822098"/>
                      <a:pt x="3262314" y="2294731"/>
                    </a:cubicBezTo>
                    <a:cubicBezTo>
                      <a:pt x="3262314" y="1767364"/>
                      <a:pt x="2833377" y="1339849"/>
                      <a:pt x="2304257" y="1339849"/>
                    </a:cubicBezTo>
                    <a:close/>
                    <a:moveTo>
                      <a:pt x="2305050" y="1220787"/>
                    </a:moveTo>
                    <a:cubicBezTo>
                      <a:pt x="2897734" y="1220787"/>
                      <a:pt x="3378200" y="1702319"/>
                      <a:pt x="3378200" y="2296319"/>
                    </a:cubicBezTo>
                    <a:cubicBezTo>
                      <a:pt x="3378200" y="2890319"/>
                      <a:pt x="2897734" y="3371851"/>
                      <a:pt x="2305050" y="3371851"/>
                    </a:cubicBezTo>
                    <a:cubicBezTo>
                      <a:pt x="1712366" y="3371851"/>
                      <a:pt x="1231900" y="2890319"/>
                      <a:pt x="1231900" y="2296319"/>
                    </a:cubicBezTo>
                    <a:cubicBezTo>
                      <a:pt x="1231900" y="1702319"/>
                      <a:pt x="1712366" y="1220787"/>
                      <a:pt x="2305050" y="1220787"/>
                    </a:cubicBezTo>
                    <a:close/>
                    <a:moveTo>
                      <a:pt x="4152900" y="128588"/>
                    </a:moveTo>
                    <a:cubicBezTo>
                      <a:pt x="3991578" y="128588"/>
                      <a:pt x="3860800" y="259011"/>
                      <a:pt x="3860800" y="419895"/>
                    </a:cubicBezTo>
                    <a:cubicBezTo>
                      <a:pt x="3860800" y="580779"/>
                      <a:pt x="3991578" y="711202"/>
                      <a:pt x="4152900" y="711202"/>
                    </a:cubicBezTo>
                    <a:cubicBezTo>
                      <a:pt x="4314222" y="711202"/>
                      <a:pt x="4445000" y="580779"/>
                      <a:pt x="4445000" y="419895"/>
                    </a:cubicBezTo>
                    <a:cubicBezTo>
                      <a:pt x="4445000" y="259011"/>
                      <a:pt x="4314222" y="128588"/>
                      <a:pt x="4152900" y="128588"/>
                    </a:cubicBezTo>
                    <a:close/>
                    <a:moveTo>
                      <a:pt x="413545" y="128588"/>
                    </a:moveTo>
                    <a:cubicBezTo>
                      <a:pt x="249154" y="128588"/>
                      <a:pt x="115888" y="259011"/>
                      <a:pt x="115888" y="419895"/>
                    </a:cubicBezTo>
                    <a:cubicBezTo>
                      <a:pt x="115888" y="580779"/>
                      <a:pt x="249154" y="711202"/>
                      <a:pt x="413545" y="711202"/>
                    </a:cubicBezTo>
                    <a:cubicBezTo>
                      <a:pt x="577936" y="711202"/>
                      <a:pt x="711202" y="580779"/>
                      <a:pt x="711202" y="419895"/>
                    </a:cubicBezTo>
                    <a:cubicBezTo>
                      <a:pt x="711202" y="259011"/>
                      <a:pt x="577936" y="128588"/>
                      <a:pt x="413545" y="128588"/>
                    </a:cubicBezTo>
                    <a:close/>
                    <a:moveTo>
                      <a:pt x="4158715" y="0"/>
                    </a:moveTo>
                    <a:cubicBezTo>
                      <a:pt x="4387878" y="0"/>
                      <a:pt x="4578351" y="187498"/>
                      <a:pt x="4578351" y="419639"/>
                    </a:cubicBezTo>
                    <a:cubicBezTo>
                      <a:pt x="4578351" y="651779"/>
                      <a:pt x="4387878" y="839278"/>
                      <a:pt x="4158715" y="839278"/>
                    </a:cubicBezTo>
                    <a:cubicBezTo>
                      <a:pt x="4066455" y="839278"/>
                      <a:pt x="3980147" y="809516"/>
                      <a:pt x="3911695" y="758921"/>
                    </a:cubicBezTo>
                    <a:cubicBezTo>
                      <a:pt x="3911695" y="758921"/>
                      <a:pt x="3911695" y="758921"/>
                      <a:pt x="3408727" y="1318440"/>
                    </a:cubicBezTo>
                    <a:cubicBezTo>
                      <a:pt x="3408727" y="1318440"/>
                      <a:pt x="3408727" y="1318440"/>
                      <a:pt x="3628962" y="1285702"/>
                    </a:cubicBezTo>
                    <a:cubicBezTo>
                      <a:pt x="3664676" y="1282726"/>
                      <a:pt x="3697413" y="1306535"/>
                      <a:pt x="3703365" y="1342249"/>
                    </a:cubicBezTo>
                    <a:cubicBezTo>
                      <a:pt x="3706342" y="1377963"/>
                      <a:pt x="3682532" y="1410701"/>
                      <a:pt x="3646819" y="1416653"/>
                    </a:cubicBezTo>
                    <a:cubicBezTo>
                      <a:pt x="3646819" y="1416653"/>
                      <a:pt x="3646819" y="1416653"/>
                      <a:pt x="3262896" y="1470224"/>
                    </a:cubicBezTo>
                    <a:cubicBezTo>
                      <a:pt x="3259920" y="1473200"/>
                      <a:pt x="3256944" y="1473200"/>
                      <a:pt x="3253968" y="1473200"/>
                    </a:cubicBezTo>
                    <a:cubicBezTo>
                      <a:pt x="3248016" y="1473200"/>
                      <a:pt x="3242063" y="1470224"/>
                      <a:pt x="3239087" y="1470224"/>
                    </a:cubicBezTo>
                    <a:cubicBezTo>
                      <a:pt x="3236111" y="1470224"/>
                      <a:pt x="3236111" y="1470224"/>
                      <a:pt x="3233135" y="1470224"/>
                    </a:cubicBezTo>
                    <a:cubicBezTo>
                      <a:pt x="3233135" y="1470224"/>
                      <a:pt x="3233135" y="1470224"/>
                      <a:pt x="3230159" y="1470224"/>
                    </a:cubicBezTo>
                    <a:cubicBezTo>
                      <a:pt x="3230159" y="1470224"/>
                      <a:pt x="3227183" y="1470224"/>
                      <a:pt x="3227183" y="1467248"/>
                    </a:cubicBezTo>
                    <a:cubicBezTo>
                      <a:pt x="3224207" y="1467248"/>
                      <a:pt x="3221230" y="1467248"/>
                      <a:pt x="3221230" y="1467248"/>
                    </a:cubicBezTo>
                    <a:lnTo>
                      <a:pt x="3219232" y="1466249"/>
                    </a:lnTo>
                    <a:lnTo>
                      <a:pt x="3209326" y="1461296"/>
                    </a:lnTo>
                    <a:cubicBezTo>
                      <a:pt x="3209326" y="1461296"/>
                      <a:pt x="3209326" y="1461296"/>
                      <a:pt x="3206350" y="1461296"/>
                    </a:cubicBezTo>
                    <a:cubicBezTo>
                      <a:pt x="3206350" y="1458319"/>
                      <a:pt x="3203374" y="1458319"/>
                      <a:pt x="3203374" y="1458319"/>
                    </a:cubicBezTo>
                    <a:cubicBezTo>
                      <a:pt x="3197421" y="1455343"/>
                      <a:pt x="3194445" y="1452367"/>
                      <a:pt x="3191469" y="1446415"/>
                    </a:cubicBezTo>
                    <a:cubicBezTo>
                      <a:pt x="3191469" y="1446415"/>
                      <a:pt x="3191469" y="1446415"/>
                      <a:pt x="3188493" y="1443439"/>
                    </a:cubicBezTo>
                    <a:cubicBezTo>
                      <a:pt x="3185517" y="1440462"/>
                      <a:pt x="3185517" y="1440462"/>
                      <a:pt x="3185517" y="1437486"/>
                    </a:cubicBezTo>
                    <a:cubicBezTo>
                      <a:pt x="3182541" y="1434510"/>
                      <a:pt x="3182541" y="1434510"/>
                      <a:pt x="3182541" y="1431534"/>
                    </a:cubicBezTo>
                    <a:cubicBezTo>
                      <a:pt x="3179564" y="1428558"/>
                      <a:pt x="3179564" y="1425582"/>
                      <a:pt x="3179564" y="1422605"/>
                    </a:cubicBezTo>
                    <a:cubicBezTo>
                      <a:pt x="3176588" y="1419629"/>
                      <a:pt x="3176588" y="1416653"/>
                      <a:pt x="3176588" y="1413677"/>
                    </a:cubicBezTo>
                    <a:cubicBezTo>
                      <a:pt x="3176588" y="1410701"/>
                      <a:pt x="3176588" y="1407725"/>
                      <a:pt x="3176588" y="1404748"/>
                    </a:cubicBezTo>
                    <a:cubicBezTo>
                      <a:pt x="3176588" y="1404748"/>
                      <a:pt x="3176588" y="1404748"/>
                      <a:pt x="3176588" y="1401772"/>
                    </a:cubicBezTo>
                    <a:cubicBezTo>
                      <a:pt x="3176588" y="1401772"/>
                      <a:pt x="3176588" y="1401772"/>
                      <a:pt x="3194445" y="1014871"/>
                    </a:cubicBezTo>
                    <a:cubicBezTo>
                      <a:pt x="3197421" y="979157"/>
                      <a:pt x="3227183" y="949396"/>
                      <a:pt x="3262896" y="952372"/>
                    </a:cubicBezTo>
                    <a:cubicBezTo>
                      <a:pt x="3298610" y="955348"/>
                      <a:pt x="3328371" y="985110"/>
                      <a:pt x="3325395" y="1020824"/>
                    </a:cubicBezTo>
                    <a:cubicBezTo>
                      <a:pt x="3325395" y="1020824"/>
                      <a:pt x="3325395" y="1020824"/>
                      <a:pt x="3316467" y="1226179"/>
                    </a:cubicBezTo>
                    <a:cubicBezTo>
                      <a:pt x="3316467" y="1226179"/>
                      <a:pt x="3316467" y="1226179"/>
                      <a:pt x="3819435" y="666660"/>
                    </a:cubicBezTo>
                    <a:cubicBezTo>
                      <a:pt x="3768841" y="598209"/>
                      <a:pt x="3739079" y="511900"/>
                      <a:pt x="3739079" y="419639"/>
                    </a:cubicBezTo>
                    <a:cubicBezTo>
                      <a:pt x="3739079" y="187498"/>
                      <a:pt x="3926576" y="0"/>
                      <a:pt x="4158715" y="0"/>
                    </a:cubicBezTo>
                    <a:close/>
                    <a:moveTo>
                      <a:pt x="419636" y="0"/>
                    </a:moveTo>
                    <a:cubicBezTo>
                      <a:pt x="651775" y="0"/>
                      <a:pt x="839272" y="187498"/>
                      <a:pt x="839272" y="419639"/>
                    </a:cubicBezTo>
                    <a:cubicBezTo>
                      <a:pt x="839272" y="511900"/>
                      <a:pt x="809511" y="598209"/>
                      <a:pt x="758916" y="666660"/>
                    </a:cubicBezTo>
                    <a:cubicBezTo>
                      <a:pt x="758916" y="666660"/>
                      <a:pt x="758916" y="666660"/>
                      <a:pt x="1261885" y="1226179"/>
                    </a:cubicBezTo>
                    <a:cubicBezTo>
                      <a:pt x="1261885" y="1226179"/>
                      <a:pt x="1261885" y="1226179"/>
                      <a:pt x="1252956" y="1020824"/>
                    </a:cubicBezTo>
                    <a:cubicBezTo>
                      <a:pt x="1249980" y="985110"/>
                      <a:pt x="1279741" y="955348"/>
                      <a:pt x="1315455" y="952372"/>
                    </a:cubicBezTo>
                    <a:cubicBezTo>
                      <a:pt x="1351169" y="949396"/>
                      <a:pt x="1380930" y="979157"/>
                      <a:pt x="1383906" y="1014871"/>
                    </a:cubicBezTo>
                    <a:cubicBezTo>
                      <a:pt x="1383906" y="1014871"/>
                      <a:pt x="1383906" y="1014871"/>
                      <a:pt x="1401763" y="1401772"/>
                    </a:cubicBezTo>
                    <a:cubicBezTo>
                      <a:pt x="1401763" y="1401772"/>
                      <a:pt x="1401763" y="1401772"/>
                      <a:pt x="1401763" y="1404748"/>
                    </a:cubicBezTo>
                    <a:cubicBezTo>
                      <a:pt x="1401763" y="1407725"/>
                      <a:pt x="1401763" y="1410701"/>
                      <a:pt x="1401763" y="1413677"/>
                    </a:cubicBezTo>
                    <a:cubicBezTo>
                      <a:pt x="1401763" y="1416653"/>
                      <a:pt x="1401763" y="1419629"/>
                      <a:pt x="1398787" y="1422605"/>
                    </a:cubicBezTo>
                    <a:cubicBezTo>
                      <a:pt x="1398787" y="1425582"/>
                      <a:pt x="1398787" y="1428558"/>
                      <a:pt x="1395811" y="1431534"/>
                    </a:cubicBezTo>
                    <a:cubicBezTo>
                      <a:pt x="1395811" y="1434510"/>
                      <a:pt x="1395811" y="1434510"/>
                      <a:pt x="1392835" y="1437486"/>
                    </a:cubicBezTo>
                    <a:cubicBezTo>
                      <a:pt x="1392835" y="1440462"/>
                      <a:pt x="1392835" y="1440462"/>
                      <a:pt x="1389859" y="1443439"/>
                    </a:cubicBezTo>
                    <a:cubicBezTo>
                      <a:pt x="1389859" y="1446415"/>
                      <a:pt x="1386882" y="1446415"/>
                      <a:pt x="1386882" y="1446415"/>
                    </a:cubicBezTo>
                    <a:cubicBezTo>
                      <a:pt x="1383906" y="1452367"/>
                      <a:pt x="1380930" y="1455343"/>
                      <a:pt x="1374978" y="1458319"/>
                    </a:cubicBezTo>
                    <a:cubicBezTo>
                      <a:pt x="1374978" y="1458319"/>
                      <a:pt x="1372002" y="1458319"/>
                      <a:pt x="1372002" y="1461296"/>
                    </a:cubicBezTo>
                    <a:cubicBezTo>
                      <a:pt x="1372002" y="1461296"/>
                      <a:pt x="1372002" y="1461296"/>
                      <a:pt x="1369026" y="1461296"/>
                    </a:cubicBezTo>
                    <a:cubicBezTo>
                      <a:pt x="1366049" y="1464272"/>
                      <a:pt x="1363073" y="1464272"/>
                      <a:pt x="1357121" y="1467248"/>
                    </a:cubicBezTo>
                    <a:cubicBezTo>
                      <a:pt x="1357121" y="1467248"/>
                      <a:pt x="1354145" y="1467248"/>
                      <a:pt x="1351169" y="1467248"/>
                    </a:cubicBezTo>
                    <a:cubicBezTo>
                      <a:pt x="1351169" y="1470224"/>
                      <a:pt x="1348193" y="1470224"/>
                      <a:pt x="1348193" y="1470224"/>
                    </a:cubicBezTo>
                    <a:cubicBezTo>
                      <a:pt x="1345216" y="1470224"/>
                      <a:pt x="1345216" y="1470224"/>
                      <a:pt x="1345216" y="1470224"/>
                    </a:cubicBezTo>
                    <a:cubicBezTo>
                      <a:pt x="1342240" y="1470224"/>
                      <a:pt x="1342240" y="1470224"/>
                      <a:pt x="1339264" y="1470224"/>
                    </a:cubicBezTo>
                    <a:cubicBezTo>
                      <a:pt x="1336288" y="1470224"/>
                      <a:pt x="1330336" y="1473200"/>
                      <a:pt x="1324383" y="1473200"/>
                    </a:cubicBezTo>
                    <a:cubicBezTo>
                      <a:pt x="1321407" y="1473200"/>
                      <a:pt x="1318431" y="1473200"/>
                      <a:pt x="1315455" y="1470224"/>
                    </a:cubicBezTo>
                    <a:cubicBezTo>
                      <a:pt x="1315455" y="1470224"/>
                      <a:pt x="1315455" y="1470224"/>
                      <a:pt x="931533" y="1416653"/>
                    </a:cubicBezTo>
                    <a:cubicBezTo>
                      <a:pt x="895819" y="1410701"/>
                      <a:pt x="872010" y="1377963"/>
                      <a:pt x="874986" y="1342249"/>
                    </a:cubicBezTo>
                    <a:cubicBezTo>
                      <a:pt x="880938" y="1306535"/>
                      <a:pt x="913676" y="1282726"/>
                      <a:pt x="949390" y="1285702"/>
                    </a:cubicBezTo>
                    <a:cubicBezTo>
                      <a:pt x="949390" y="1285702"/>
                      <a:pt x="949390" y="1285702"/>
                      <a:pt x="1169624" y="1318440"/>
                    </a:cubicBezTo>
                    <a:cubicBezTo>
                      <a:pt x="1169624" y="1318440"/>
                      <a:pt x="1169624" y="1318440"/>
                      <a:pt x="666656" y="758921"/>
                    </a:cubicBezTo>
                    <a:cubicBezTo>
                      <a:pt x="598205" y="809516"/>
                      <a:pt x="511897" y="839278"/>
                      <a:pt x="419636" y="839278"/>
                    </a:cubicBezTo>
                    <a:cubicBezTo>
                      <a:pt x="190473" y="839278"/>
                      <a:pt x="0" y="651779"/>
                      <a:pt x="0" y="419639"/>
                    </a:cubicBezTo>
                    <a:cubicBezTo>
                      <a:pt x="0" y="187498"/>
                      <a:pt x="190473" y="0"/>
                      <a:pt x="419636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3" name="Freeform 118">
                <a:extLst>
                  <a:ext uri="{FF2B5EF4-FFF2-40B4-BE49-F238E27FC236}">
                    <a16:creationId xmlns:a16="http://schemas.microsoft.com/office/drawing/2014/main" id="{EC2BA62D-618B-46A5-B834-2E80ECF644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0663" y="1377950"/>
                <a:ext cx="4113213" cy="4095750"/>
              </a:xfrm>
              <a:custGeom>
                <a:avLst/>
                <a:gdLst>
                  <a:gd name="connsiteX0" fmla="*/ 3929062 w 4113212"/>
                  <a:gd name="connsiteY0" fmla="*/ 3721100 h 4095750"/>
                  <a:gd name="connsiteX1" fmla="*/ 4113212 w 4113212"/>
                  <a:gd name="connsiteY1" fmla="*/ 3908425 h 4095750"/>
                  <a:gd name="connsiteX2" fmla="*/ 3929062 w 4113212"/>
                  <a:gd name="connsiteY2" fmla="*/ 4095750 h 4095750"/>
                  <a:gd name="connsiteX3" fmla="*/ 3744912 w 4113212"/>
                  <a:gd name="connsiteY3" fmla="*/ 3908425 h 4095750"/>
                  <a:gd name="connsiteX4" fmla="*/ 3929062 w 4113212"/>
                  <a:gd name="connsiteY4" fmla="*/ 3721100 h 4095750"/>
                  <a:gd name="connsiteX5" fmla="*/ 190500 w 4113212"/>
                  <a:gd name="connsiteY5" fmla="*/ 3721100 h 4095750"/>
                  <a:gd name="connsiteX6" fmla="*/ 381000 w 4113212"/>
                  <a:gd name="connsiteY6" fmla="*/ 3908425 h 4095750"/>
                  <a:gd name="connsiteX7" fmla="*/ 190500 w 4113212"/>
                  <a:gd name="connsiteY7" fmla="*/ 4095750 h 4095750"/>
                  <a:gd name="connsiteX8" fmla="*/ 0 w 4113212"/>
                  <a:gd name="connsiteY8" fmla="*/ 3908425 h 4095750"/>
                  <a:gd name="connsiteX9" fmla="*/ 190500 w 4113212"/>
                  <a:gd name="connsiteY9" fmla="*/ 3721100 h 4095750"/>
                  <a:gd name="connsiteX10" fmla="*/ 2080419 w 4113212"/>
                  <a:gd name="connsiteY10" fmla="*/ 1211263 h 4095750"/>
                  <a:gd name="connsiteX11" fmla="*/ 2932113 w 4113212"/>
                  <a:gd name="connsiteY11" fmla="*/ 2059782 h 4095750"/>
                  <a:gd name="connsiteX12" fmla="*/ 2080419 w 4113212"/>
                  <a:gd name="connsiteY12" fmla="*/ 2908301 h 4095750"/>
                  <a:gd name="connsiteX13" fmla="*/ 1228725 w 4113212"/>
                  <a:gd name="connsiteY13" fmla="*/ 2059782 h 4095750"/>
                  <a:gd name="connsiteX14" fmla="*/ 2080419 w 4113212"/>
                  <a:gd name="connsiteY14" fmla="*/ 1211263 h 4095750"/>
                  <a:gd name="connsiteX15" fmla="*/ 3929062 w 4113212"/>
                  <a:gd name="connsiteY15" fmla="*/ 0 h 4095750"/>
                  <a:gd name="connsiteX16" fmla="*/ 4113212 w 4113212"/>
                  <a:gd name="connsiteY16" fmla="*/ 184944 h 4095750"/>
                  <a:gd name="connsiteX17" fmla="*/ 3929062 w 4113212"/>
                  <a:gd name="connsiteY17" fmla="*/ 369888 h 4095750"/>
                  <a:gd name="connsiteX18" fmla="*/ 3744912 w 4113212"/>
                  <a:gd name="connsiteY18" fmla="*/ 184944 h 4095750"/>
                  <a:gd name="connsiteX19" fmla="*/ 3929062 w 4113212"/>
                  <a:gd name="connsiteY19" fmla="*/ 0 h 4095750"/>
                  <a:gd name="connsiteX20" fmla="*/ 190500 w 4113212"/>
                  <a:gd name="connsiteY20" fmla="*/ 0 h 4095750"/>
                  <a:gd name="connsiteX21" fmla="*/ 381000 w 4113212"/>
                  <a:gd name="connsiteY21" fmla="*/ 184944 h 4095750"/>
                  <a:gd name="connsiteX22" fmla="*/ 190500 w 4113212"/>
                  <a:gd name="connsiteY22" fmla="*/ 369888 h 4095750"/>
                  <a:gd name="connsiteX23" fmla="*/ 0 w 4113212"/>
                  <a:gd name="connsiteY23" fmla="*/ 184944 h 4095750"/>
                  <a:gd name="connsiteX24" fmla="*/ 190500 w 4113212"/>
                  <a:gd name="connsiteY24" fmla="*/ 0 h 409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113212" h="4095750">
                    <a:moveTo>
                      <a:pt x="3929062" y="3721100"/>
                    </a:moveTo>
                    <a:cubicBezTo>
                      <a:pt x="4030765" y="3721100"/>
                      <a:pt x="4113212" y="3804968"/>
                      <a:pt x="4113212" y="3908425"/>
                    </a:cubicBezTo>
                    <a:cubicBezTo>
                      <a:pt x="4113212" y="4011882"/>
                      <a:pt x="4030765" y="4095750"/>
                      <a:pt x="3929062" y="4095750"/>
                    </a:cubicBezTo>
                    <a:cubicBezTo>
                      <a:pt x="3827359" y="4095750"/>
                      <a:pt x="3744912" y="4011882"/>
                      <a:pt x="3744912" y="3908425"/>
                    </a:cubicBezTo>
                    <a:cubicBezTo>
                      <a:pt x="3744912" y="3804968"/>
                      <a:pt x="3827359" y="3721100"/>
                      <a:pt x="3929062" y="3721100"/>
                    </a:cubicBezTo>
                    <a:close/>
                    <a:moveTo>
                      <a:pt x="190500" y="3721100"/>
                    </a:moveTo>
                    <a:cubicBezTo>
                      <a:pt x="295710" y="3721100"/>
                      <a:pt x="381000" y="3804968"/>
                      <a:pt x="381000" y="3908425"/>
                    </a:cubicBezTo>
                    <a:cubicBezTo>
                      <a:pt x="381000" y="4011882"/>
                      <a:pt x="295710" y="4095750"/>
                      <a:pt x="190500" y="4095750"/>
                    </a:cubicBezTo>
                    <a:cubicBezTo>
                      <a:pt x="85290" y="4095750"/>
                      <a:pt x="0" y="4011882"/>
                      <a:pt x="0" y="3908425"/>
                    </a:cubicBezTo>
                    <a:cubicBezTo>
                      <a:pt x="0" y="3804968"/>
                      <a:pt x="85290" y="3721100"/>
                      <a:pt x="190500" y="3721100"/>
                    </a:cubicBezTo>
                    <a:close/>
                    <a:moveTo>
                      <a:pt x="2080419" y="1211263"/>
                    </a:moveTo>
                    <a:cubicBezTo>
                      <a:pt x="2550797" y="1211263"/>
                      <a:pt x="2932113" y="1591158"/>
                      <a:pt x="2932113" y="2059782"/>
                    </a:cubicBezTo>
                    <a:cubicBezTo>
                      <a:pt x="2932113" y="2528406"/>
                      <a:pt x="2550797" y="2908301"/>
                      <a:pt x="2080419" y="2908301"/>
                    </a:cubicBezTo>
                    <a:cubicBezTo>
                      <a:pt x="1610041" y="2908301"/>
                      <a:pt x="1228725" y="2528406"/>
                      <a:pt x="1228725" y="2059782"/>
                    </a:cubicBezTo>
                    <a:cubicBezTo>
                      <a:pt x="1228725" y="1591158"/>
                      <a:pt x="1610041" y="1211263"/>
                      <a:pt x="2080419" y="1211263"/>
                    </a:cubicBezTo>
                    <a:close/>
                    <a:moveTo>
                      <a:pt x="3929062" y="0"/>
                    </a:moveTo>
                    <a:cubicBezTo>
                      <a:pt x="4030765" y="0"/>
                      <a:pt x="4113212" y="82802"/>
                      <a:pt x="4113212" y="184944"/>
                    </a:cubicBezTo>
                    <a:cubicBezTo>
                      <a:pt x="4113212" y="287086"/>
                      <a:pt x="4030765" y="369888"/>
                      <a:pt x="3929062" y="369888"/>
                    </a:cubicBezTo>
                    <a:cubicBezTo>
                      <a:pt x="3827359" y="369888"/>
                      <a:pt x="3744912" y="287086"/>
                      <a:pt x="3744912" y="184944"/>
                    </a:cubicBezTo>
                    <a:cubicBezTo>
                      <a:pt x="3744912" y="82802"/>
                      <a:pt x="3827359" y="0"/>
                      <a:pt x="3929062" y="0"/>
                    </a:cubicBezTo>
                    <a:close/>
                    <a:moveTo>
                      <a:pt x="190500" y="0"/>
                    </a:moveTo>
                    <a:cubicBezTo>
                      <a:pt x="295710" y="0"/>
                      <a:pt x="381000" y="82802"/>
                      <a:pt x="381000" y="184944"/>
                    </a:cubicBezTo>
                    <a:cubicBezTo>
                      <a:pt x="381000" y="287086"/>
                      <a:pt x="295710" y="369888"/>
                      <a:pt x="190500" y="369888"/>
                    </a:cubicBezTo>
                    <a:cubicBezTo>
                      <a:pt x="85290" y="369888"/>
                      <a:pt x="0" y="287086"/>
                      <a:pt x="0" y="184944"/>
                    </a:cubicBezTo>
                    <a:cubicBezTo>
                      <a:pt x="0" y="82802"/>
                      <a:pt x="85290" y="0"/>
                      <a:pt x="190500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7AB4047-0F46-4E0C-88AC-D49248326196}"/>
              </a:ext>
            </a:extLst>
          </p:cNvPr>
          <p:cNvGrpSpPr>
            <a:grpSpLocks noChangeAspect="1"/>
          </p:cNvGrpSpPr>
          <p:nvPr/>
        </p:nvGrpSpPr>
        <p:grpSpPr>
          <a:xfrm>
            <a:off x="4681529" y="3955672"/>
            <a:ext cx="718243" cy="717550"/>
            <a:chOff x="6464300" y="2606675"/>
            <a:chExt cx="1646238" cy="1644650"/>
          </a:xfrm>
        </p:grpSpPr>
        <p:sp>
          <p:nvSpPr>
            <p:cNvPr id="35" name="AutoShape 3">
              <a:extLst>
                <a:ext uri="{FF2B5EF4-FFF2-40B4-BE49-F238E27FC236}">
                  <a16:creationId xmlns:a16="http://schemas.microsoft.com/office/drawing/2014/main" id="{F7DDE059-0596-48BE-B1A2-B9F98F2D87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39248CDF-9670-4055-B4BE-DEF03E4A88BF}"/>
                </a:ext>
              </a:extLst>
            </p:cNvPr>
            <p:cNvGrpSpPr/>
            <p:nvPr/>
          </p:nvGrpSpPr>
          <p:grpSpPr>
            <a:xfrm>
              <a:off x="6729413" y="2881312"/>
              <a:ext cx="1146175" cy="1125538"/>
              <a:chOff x="6729413" y="2881312"/>
              <a:chExt cx="1146175" cy="1125538"/>
            </a:xfrm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7ECC3A8E-C1C6-4108-8BF4-524C4F30BD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2944813"/>
                <a:ext cx="822325" cy="336550"/>
              </a:xfrm>
              <a:custGeom>
                <a:avLst/>
                <a:gdLst>
                  <a:gd name="connsiteX0" fmla="*/ 485775 w 822325"/>
                  <a:gd name="connsiteY0" fmla="*/ 0 h 336550"/>
                  <a:gd name="connsiteX1" fmla="*/ 779453 w 822325"/>
                  <a:gd name="connsiteY1" fmla="*/ 0 h 336550"/>
                  <a:gd name="connsiteX2" fmla="*/ 822325 w 822325"/>
                  <a:gd name="connsiteY2" fmla="*/ 39134 h 336550"/>
                  <a:gd name="connsiteX3" fmla="*/ 822325 w 822325"/>
                  <a:gd name="connsiteY3" fmla="*/ 300974 h 336550"/>
                  <a:gd name="connsiteX4" fmla="*/ 780167 w 822325"/>
                  <a:gd name="connsiteY4" fmla="*/ 336550 h 336550"/>
                  <a:gd name="connsiteX5" fmla="*/ 487919 w 822325"/>
                  <a:gd name="connsiteY5" fmla="*/ 336550 h 336550"/>
                  <a:gd name="connsiteX6" fmla="*/ 552228 w 822325"/>
                  <a:gd name="connsiteY6" fmla="*/ 169342 h 336550"/>
                  <a:gd name="connsiteX7" fmla="*/ 485775 w 822325"/>
                  <a:gd name="connsiteY7" fmla="*/ 0 h 336550"/>
                  <a:gd name="connsiteX8" fmla="*/ 41444 w 822325"/>
                  <a:gd name="connsiteY8" fmla="*/ 0 h 336550"/>
                  <a:gd name="connsiteX9" fmla="*/ 336550 w 822325"/>
                  <a:gd name="connsiteY9" fmla="*/ 0 h 336550"/>
                  <a:gd name="connsiteX10" fmla="*/ 269383 w 822325"/>
                  <a:gd name="connsiteY10" fmla="*/ 169342 h 336550"/>
                  <a:gd name="connsiteX11" fmla="*/ 334407 w 822325"/>
                  <a:gd name="connsiteY11" fmla="*/ 336550 h 336550"/>
                  <a:gd name="connsiteX12" fmla="*/ 40729 w 822325"/>
                  <a:gd name="connsiteY12" fmla="*/ 336550 h 336550"/>
                  <a:gd name="connsiteX13" fmla="*/ 0 w 822325"/>
                  <a:gd name="connsiteY13" fmla="*/ 301686 h 336550"/>
                  <a:gd name="connsiteX14" fmla="*/ 0 w 822325"/>
                  <a:gd name="connsiteY14" fmla="*/ 39134 h 336550"/>
                  <a:gd name="connsiteX15" fmla="*/ 41444 w 822325"/>
                  <a:gd name="connsiteY15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22325" h="336550">
                    <a:moveTo>
                      <a:pt x="485775" y="0"/>
                    </a:moveTo>
                    <a:cubicBezTo>
                      <a:pt x="485775" y="0"/>
                      <a:pt x="485775" y="0"/>
                      <a:pt x="779453" y="0"/>
                    </a:cubicBezTo>
                    <a:cubicBezTo>
                      <a:pt x="782311" y="21346"/>
                      <a:pt x="800174" y="38422"/>
                      <a:pt x="822325" y="39134"/>
                    </a:cubicBezTo>
                    <a:cubicBezTo>
                      <a:pt x="822325" y="39134"/>
                      <a:pt x="822325" y="39134"/>
                      <a:pt x="822325" y="300974"/>
                    </a:cubicBezTo>
                    <a:cubicBezTo>
                      <a:pt x="801603" y="301686"/>
                      <a:pt x="784454" y="316628"/>
                      <a:pt x="780167" y="336550"/>
                    </a:cubicBezTo>
                    <a:cubicBezTo>
                      <a:pt x="780167" y="336550"/>
                      <a:pt x="780167" y="336550"/>
                      <a:pt x="487919" y="336550"/>
                    </a:cubicBezTo>
                    <a:cubicBezTo>
                      <a:pt x="522932" y="298839"/>
                      <a:pt x="552228" y="237649"/>
                      <a:pt x="552228" y="169342"/>
                    </a:cubicBezTo>
                    <a:cubicBezTo>
                      <a:pt x="552228" y="99613"/>
                      <a:pt x="522217" y="37711"/>
                      <a:pt x="485775" y="0"/>
                    </a:cubicBezTo>
                    <a:close/>
                    <a:moveTo>
                      <a:pt x="41444" y="0"/>
                    </a:moveTo>
                    <a:lnTo>
                      <a:pt x="336550" y="0"/>
                    </a:lnTo>
                    <a:cubicBezTo>
                      <a:pt x="300109" y="37711"/>
                      <a:pt x="269383" y="99613"/>
                      <a:pt x="269383" y="169342"/>
                    </a:cubicBezTo>
                    <a:cubicBezTo>
                      <a:pt x="269383" y="237649"/>
                      <a:pt x="299394" y="298839"/>
                      <a:pt x="334407" y="336550"/>
                    </a:cubicBezTo>
                    <a:cubicBezTo>
                      <a:pt x="334407" y="336550"/>
                      <a:pt x="334407" y="336550"/>
                      <a:pt x="40729" y="336550"/>
                    </a:cubicBezTo>
                    <a:cubicBezTo>
                      <a:pt x="37157" y="317339"/>
                      <a:pt x="20007" y="303109"/>
                      <a:pt x="0" y="301686"/>
                    </a:cubicBezTo>
                    <a:cubicBezTo>
                      <a:pt x="0" y="301686"/>
                      <a:pt x="0" y="301686"/>
                      <a:pt x="0" y="39134"/>
                    </a:cubicBezTo>
                    <a:cubicBezTo>
                      <a:pt x="21437" y="37711"/>
                      <a:pt x="38586" y="20634"/>
                      <a:pt x="41444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6E12C17C-0F57-40DB-9292-0F5BDEC53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2881312"/>
                <a:ext cx="1146175" cy="1125538"/>
              </a:xfrm>
              <a:custGeom>
                <a:avLst/>
                <a:gdLst>
                  <a:gd name="connsiteX0" fmla="*/ 409739 w 1146175"/>
                  <a:gd name="connsiteY0" fmla="*/ 615791 h 1125538"/>
                  <a:gd name="connsiteX1" fmla="*/ 326138 w 1146175"/>
                  <a:gd name="connsiteY1" fmla="*/ 635801 h 1125538"/>
                  <a:gd name="connsiteX2" fmla="*/ 31750 w 1146175"/>
                  <a:gd name="connsiteY2" fmla="*/ 803020 h 1125538"/>
                  <a:gd name="connsiteX3" fmla="*/ 31750 w 1146175"/>
                  <a:gd name="connsiteY3" fmla="*/ 1087437 h 1125538"/>
                  <a:gd name="connsiteX4" fmla="*/ 368296 w 1146175"/>
                  <a:gd name="connsiteY4" fmla="*/ 957377 h 1125538"/>
                  <a:gd name="connsiteX5" fmla="*/ 419028 w 1146175"/>
                  <a:gd name="connsiteY5" fmla="*/ 949516 h 1125538"/>
                  <a:gd name="connsiteX6" fmla="*/ 568366 w 1146175"/>
                  <a:gd name="connsiteY6" fmla="*/ 960236 h 1125538"/>
                  <a:gd name="connsiteX7" fmla="*/ 797017 w 1146175"/>
                  <a:gd name="connsiteY7" fmla="*/ 933795 h 1125538"/>
                  <a:gd name="connsiteX8" fmla="*/ 1047818 w 1146175"/>
                  <a:gd name="connsiteY8" fmla="*/ 767290 h 1125538"/>
                  <a:gd name="connsiteX9" fmla="*/ 1079972 w 1146175"/>
                  <a:gd name="connsiteY9" fmla="*/ 730130 h 1125538"/>
                  <a:gd name="connsiteX10" fmla="*/ 1074971 w 1146175"/>
                  <a:gd name="connsiteY10" fmla="*/ 655810 h 1125538"/>
                  <a:gd name="connsiteX11" fmla="*/ 1036386 w 1146175"/>
                  <a:gd name="connsiteY11" fmla="*/ 642232 h 1125538"/>
                  <a:gd name="connsiteX12" fmla="*/ 999230 w 1146175"/>
                  <a:gd name="connsiteY12" fmla="*/ 660097 h 1125538"/>
                  <a:gd name="connsiteX13" fmla="*/ 951356 w 1146175"/>
                  <a:gd name="connsiteY13" fmla="*/ 713694 h 1125538"/>
                  <a:gd name="connsiteX14" fmla="*/ 805591 w 1146175"/>
                  <a:gd name="connsiteY14" fmla="*/ 805164 h 1125538"/>
                  <a:gd name="connsiteX15" fmla="*/ 608380 w 1146175"/>
                  <a:gd name="connsiteY15" fmla="*/ 794445 h 1125538"/>
                  <a:gd name="connsiteX16" fmla="*/ 553360 w 1146175"/>
                  <a:gd name="connsiteY16" fmla="*/ 772292 h 1125538"/>
                  <a:gd name="connsiteX17" fmla="*/ 544071 w 1146175"/>
                  <a:gd name="connsiteY17" fmla="*/ 755856 h 1125538"/>
                  <a:gd name="connsiteX18" fmla="*/ 557648 w 1146175"/>
                  <a:gd name="connsiteY18" fmla="*/ 742278 h 1125538"/>
                  <a:gd name="connsiteX19" fmla="*/ 715560 w 1146175"/>
                  <a:gd name="connsiteY19" fmla="*/ 726557 h 1125538"/>
                  <a:gd name="connsiteX20" fmla="*/ 759146 w 1146175"/>
                  <a:gd name="connsiteY20" fmla="*/ 679392 h 1125538"/>
                  <a:gd name="connsiteX21" fmla="*/ 713416 w 1146175"/>
                  <a:gd name="connsiteY21" fmla="*/ 631513 h 1125538"/>
                  <a:gd name="connsiteX22" fmla="*/ 409739 w 1146175"/>
                  <a:gd name="connsiteY22" fmla="*/ 615791 h 1125538"/>
                  <a:gd name="connsiteX23" fmla="*/ 390213 w 1146175"/>
                  <a:gd name="connsiteY23" fmla="*/ 584200 h 1125538"/>
                  <a:gd name="connsiteX24" fmla="*/ 393786 w 1146175"/>
                  <a:gd name="connsiteY24" fmla="*/ 584200 h 1125538"/>
                  <a:gd name="connsiteX25" fmla="*/ 396645 w 1146175"/>
                  <a:gd name="connsiteY25" fmla="*/ 584200 h 1125538"/>
                  <a:gd name="connsiteX26" fmla="*/ 399504 w 1146175"/>
                  <a:gd name="connsiteY26" fmla="*/ 584200 h 1125538"/>
                  <a:gd name="connsiteX27" fmla="*/ 403077 w 1146175"/>
                  <a:gd name="connsiteY27" fmla="*/ 584200 h 1125538"/>
                  <a:gd name="connsiteX28" fmla="*/ 410939 w 1146175"/>
                  <a:gd name="connsiteY28" fmla="*/ 584200 h 1125538"/>
                  <a:gd name="connsiteX29" fmla="*/ 715390 w 1146175"/>
                  <a:gd name="connsiteY29" fmla="*/ 599912 h 1125538"/>
                  <a:gd name="connsiteX30" fmla="*/ 780426 w 1146175"/>
                  <a:gd name="connsiteY30" fmla="*/ 640619 h 1125538"/>
                  <a:gd name="connsiteX31" fmla="*/ 782570 w 1146175"/>
                  <a:gd name="connsiteY31" fmla="*/ 644904 h 1125538"/>
                  <a:gd name="connsiteX32" fmla="*/ 789002 w 1146175"/>
                  <a:gd name="connsiteY32" fmla="*/ 663473 h 1125538"/>
                  <a:gd name="connsiteX33" fmla="*/ 790431 w 1146175"/>
                  <a:gd name="connsiteY33" fmla="*/ 679184 h 1125538"/>
                  <a:gd name="connsiteX34" fmla="*/ 789716 w 1146175"/>
                  <a:gd name="connsiteY34" fmla="*/ 684898 h 1125538"/>
                  <a:gd name="connsiteX35" fmla="*/ 789716 w 1146175"/>
                  <a:gd name="connsiteY35" fmla="*/ 685612 h 1125538"/>
                  <a:gd name="connsiteX36" fmla="*/ 789002 w 1146175"/>
                  <a:gd name="connsiteY36" fmla="*/ 691325 h 1125538"/>
                  <a:gd name="connsiteX37" fmla="*/ 763988 w 1146175"/>
                  <a:gd name="connsiteY37" fmla="*/ 738460 h 1125538"/>
                  <a:gd name="connsiteX38" fmla="*/ 763273 w 1146175"/>
                  <a:gd name="connsiteY38" fmla="*/ 738460 h 1125538"/>
                  <a:gd name="connsiteX39" fmla="*/ 758985 w 1146175"/>
                  <a:gd name="connsiteY39" fmla="*/ 742031 h 1125538"/>
                  <a:gd name="connsiteX40" fmla="*/ 754697 w 1146175"/>
                  <a:gd name="connsiteY40" fmla="*/ 744888 h 1125538"/>
                  <a:gd name="connsiteX41" fmla="*/ 753983 w 1146175"/>
                  <a:gd name="connsiteY41" fmla="*/ 745602 h 1125538"/>
                  <a:gd name="connsiteX42" fmla="*/ 749695 w 1146175"/>
                  <a:gd name="connsiteY42" fmla="*/ 748458 h 1125538"/>
                  <a:gd name="connsiteX43" fmla="*/ 748265 w 1146175"/>
                  <a:gd name="connsiteY43" fmla="*/ 749173 h 1125538"/>
                  <a:gd name="connsiteX44" fmla="*/ 743263 w 1146175"/>
                  <a:gd name="connsiteY44" fmla="*/ 751315 h 1125538"/>
                  <a:gd name="connsiteX45" fmla="*/ 742548 w 1146175"/>
                  <a:gd name="connsiteY45" fmla="*/ 752029 h 1125538"/>
                  <a:gd name="connsiteX46" fmla="*/ 738260 w 1146175"/>
                  <a:gd name="connsiteY46" fmla="*/ 753458 h 1125538"/>
                  <a:gd name="connsiteX47" fmla="*/ 718964 w 1146175"/>
                  <a:gd name="connsiteY47" fmla="*/ 757743 h 1125538"/>
                  <a:gd name="connsiteX48" fmla="*/ 624626 w 1146175"/>
                  <a:gd name="connsiteY48" fmla="*/ 767027 h 1125538"/>
                  <a:gd name="connsiteX49" fmla="*/ 743263 w 1146175"/>
                  <a:gd name="connsiteY49" fmla="*/ 784167 h 1125538"/>
                  <a:gd name="connsiteX50" fmla="*/ 775423 w 1146175"/>
                  <a:gd name="connsiteY50" fmla="*/ 779882 h 1125538"/>
                  <a:gd name="connsiteX51" fmla="*/ 785428 w 1146175"/>
                  <a:gd name="connsiteY51" fmla="*/ 777739 h 1125538"/>
                  <a:gd name="connsiteX52" fmla="*/ 786858 w 1146175"/>
                  <a:gd name="connsiteY52" fmla="*/ 777025 h 1125538"/>
                  <a:gd name="connsiteX53" fmla="*/ 796863 w 1146175"/>
                  <a:gd name="connsiteY53" fmla="*/ 774883 h 1125538"/>
                  <a:gd name="connsiteX54" fmla="*/ 826880 w 1146175"/>
                  <a:gd name="connsiteY54" fmla="*/ 764170 h 1125538"/>
                  <a:gd name="connsiteX55" fmla="*/ 909782 w 1146175"/>
                  <a:gd name="connsiteY55" fmla="*/ 711322 h 1125538"/>
                  <a:gd name="connsiteX56" fmla="*/ 928363 w 1146175"/>
                  <a:gd name="connsiteY56" fmla="*/ 692753 h 1125538"/>
                  <a:gd name="connsiteX57" fmla="*/ 975532 w 1146175"/>
                  <a:gd name="connsiteY57" fmla="*/ 639191 h 1125538"/>
                  <a:gd name="connsiteX58" fmla="*/ 978391 w 1146175"/>
                  <a:gd name="connsiteY58" fmla="*/ 635620 h 1125538"/>
                  <a:gd name="connsiteX59" fmla="*/ 979105 w 1146175"/>
                  <a:gd name="connsiteY59" fmla="*/ 635620 h 1125538"/>
                  <a:gd name="connsiteX60" fmla="*/ 1034135 w 1146175"/>
                  <a:gd name="connsiteY60" fmla="*/ 610624 h 1125538"/>
                  <a:gd name="connsiteX61" fmla="*/ 1034850 w 1146175"/>
                  <a:gd name="connsiteY61" fmla="*/ 610624 h 1125538"/>
                  <a:gd name="connsiteX62" fmla="*/ 1039138 w 1146175"/>
                  <a:gd name="connsiteY62" fmla="*/ 610624 h 1125538"/>
                  <a:gd name="connsiteX63" fmla="*/ 1040567 w 1146175"/>
                  <a:gd name="connsiteY63" fmla="*/ 610624 h 1125538"/>
                  <a:gd name="connsiteX64" fmla="*/ 1079875 w 1146175"/>
                  <a:gd name="connsiteY64" fmla="*/ 621337 h 1125538"/>
                  <a:gd name="connsiteX65" fmla="*/ 1083448 w 1146175"/>
                  <a:gd name="connsiteY65" fmla="*/ 623479 h 1125538"/>
                  <a:gd name="connsiteX66" fmla="*/ 1086307 w 1146175"/>
                  <a:gd name="connsiteY66" fmla="*/ 624908 h 1125538"/>
                  <a:gd name="connsiteX67" fmla="*/ 1087021 w 1146175"/>
                  <a:gd name="connsiteY67" fmla="*/ 625622 h 1125538"/>
                  <a:gd name="connsiteX68" fmla="*/ 1089880 w 1146175"/>
                  <a:gd name="connsiteY68" fmla="*/ 627764 h 1125538"/>
                  <a:gd name="connsiteX69" fmla="*/ 1090595 w 1146175"/>
                  <a:gd name="connsiteY69" fmla="*/ 628478 h 1125538"/>
                  <a:gd name="connsiteX70" fmla="*/ 1092739 w 1146175"/>
                  <a:gd name="connsiteY70" fmla="*/ 629907 h 1125538"/>
                  <a:gd name="connsiteX71" fmla="*/ 1095597 w 1146175"/>
                  <a:gd name="connsiteY71" fmla="*/ 632049 h 1125538"/>
                  <a:gd name="connsiteX72" fmla="*/ 1095597 w 1146175"/>
                  <a:gd name="connsiteY72" fmla="*/ 632763 h 1125538"/>
                  <a:gd name="connsiteX73" fmla="*/ 1103459 w 1146175"/>
                  <a:gd name="connsiteY73" fmla="*/ 749887 h 1125538"/>
                  <a:gd name="connsiteX74" fmla="*/ 1072013 w 1146175"/>
                  <a:gd name="connsiteY74" fmla="*/ 787738 h 1125538"/>
                  <a:gd name="connsiteX75" fmla="*/ 966241 w 1146175"/>
                  <a:gd name="connsiteY75" fmla="*/ 884150 h 1125538"/>
                  <a:gd name="connsiteX76" fmla="*/ 956950 w 1146175"/>
                  <a:gd name="connsiteY76" fmla="*/ 890577 h 1125538"/>
                  <a:gd name="connsiteX77" fmla="*/ 948374 w 1146175"/>
                  <a:gd name="connsiteY77" fmla="*/ 896291 h 1125538"/>
                  <a:gd name="connsiteX78" fmla="*/ 806154 w 1146175"/>
                  <a:gd name="connsiteY78" fmla="*/ 963422 h 1125538"/>
                  <a:gd name="connsiteX79" fmla="*/ 792575 w 1146175"/>
                  <a:gd name="connsiteY79" fmla="*/ 967707 h 1125538"/>
                  <a:gd name="connsiteX80" fmla="*/ 788287 w 1146175"/>
                  <a:gd name="connsiteY80" fmla="*/ 968422 h 1125538"/>
                  <a:gd name="connsiteX81" fmla="*/ 779711 w 1146175"/>
                  <a:gd name="connsiteY81" fmla="*/ 971278 h 1125538"/>
                  <a:gd name="connsiteX82" fmla="*/ 773994 w 1146175"/>
                  <a:gd name="connsiteY82" fmla="*/ 972707 h 1125538"/>
                  <a:gd name="connsiteX83" fmla="*/ 766132 w 1146175"/>
                  <a:gd name="connsiteY83" fmla="*/ 974135 h 1125538"/>
                  <a:gd name="connsiteX84" fmla="*/ 759700 w 1146175"/>
                  <a:gd name="connsiteY84" fmla="*/ 976277 h 1125538"/>
                  <a:gd name="connsiteX85" fmla="*/ 753983 w 1146175"/>
                  <a:gd name="connsiteY85" fmla="*/ 976992 h 1125538"/>
                  <a:gd name="connsiteX86" fmla="*/ 724681 w 1146175"/>
                  <a:gd name="connsiteY86" fmla="*/ 983419 h 1125538"/>
                  <a:gd name="connsiteX87" fmla="*/ 721822 w 1146175"/>
                  <a:gd name="connsiteY87" fmla="*/ 983419 h 1125538"/>
                  <a:gd name="connsiteX88" fmla="*/ 711102 w 1146175"/>
                  <a:gd name="connsiteY88" fmla="*/ 985562 h 1125538"/>
                  <a:gd name="connsiteX89" fmla="*/ 709673 w 1146175"/>
                  <a:gd name="connsiteY89" fmla="*/ 985562 h 1125538"/>
                  <a:gd name="connsiteX90" fmla="*/ 650355 w 1146175"/>
                  <a:gd name="connsiteY90" fmla="*/ 991989 h 1125538"/>
                  <a:gd name="connsiteX91" fmla="*/ 648211 w 1146175"/>
                  <a:gd name="connsiteY91" fmla="*/ 991989 h 1125538"/>
                  <a:gd name="connsiteX92" fmla="*/ 637491 w 1146175"/>
                  <a:gd name="connsiteY92" fmla="*/ 992703 h 1125538"/>
                  <a:gd name="connsiteX93" fmla="*/ 635347 w 1146175"/>
                  <a:gd name="connsiteY93" fmla="*/ 992703 h 1125538"/>
                  <a:gd name="connsiteX94" fmla="*/ 621053 w 1146175"/>
                  <a:gd name="connsiteY94" fmla="*/ 992703 h 1125538"/>
                  <a:gd name="connsiteX95" fmla="*/ 620338 w 1146175"/>
                  <a:gd name="connsiteY95" fmla="*/ 992703 h 1125538"/>
                  <a:gd name="connsiteX96" fmla="*/ 612477 w 1146175"/>
                  <a:gd name="connsiteY96" fmla="*/ 992703 h 1125538"/>
                  <a:gd name="connsiteX97" fmla="*/ 606045 w 1146175"/>
                  <a:gd name="connsiteY97" fmla="*/ 992703 h 1125538"/>
                  <a:gd name="connsiteX98" fmla="*/ 598898 w 1146175"/>
                  <a:gd name="connsiteY98" fmla="*/ 992703 h 1125538"/>
                  <a:gd name="connsiteX99" fmla="*/ 592466 w 1146175"/>
                  <a:gd name="connsiteY99" fmla="*/ 992703 h 1125538"/>
                  <a:gd name="connsiteX100" fmla="*/ 584605 w 1146175"/>
                  <a:gd name="connsiteY100" fmla="*/ 991989 h 1125538"/>
                  <a:gd name="connsiteX101" fmla="*/ 578887 w 1146175"/>
                  <a:gd name="connsiteY101" fmla="*/ 991989 h 1125538"/>
                  <a:gd name="connsiteX102" fmla="*/ 566738 w 1146175"/>
                  <a:gd name="connsiteY102" fmla="*/ 991275 h 1125538"/>
                  <a:gd name="connsiteX103" fmla="*/ 566023 w 1146175"/>
                  <a:gd name="connsiteY103" fmla="*/ 991275 h 1125538"/>
                  <a:gd name="connsiteX104" fmla="*/ 485265 w 1146175"/>
                  <a:gd name="connsiteY104" fmla="*/ 985562 h 1125538"/>
                  <a:gd name="connsiteX105" fmla="*/ 416656 w 1146175"/>
                  <a:gd name="connsiteY105" fmla="*/ 980562 h 1125538"/>
                  <a:gd name="connsiteX106" fmla="*/ 410939 w 1146175"/>
                  <a:gd name="connsiteY106" fmla="*/ 980562 h 1125538"/>
                  <a:gd name="connsiteX107" fmla="*/ 407365 w 1146175"/>
                  <a:gd name="connsiteY107" fmla="*/ 980562 h 1125538"/>
                  <a:gd name="connsiteX108" fmla="*/ 393072 w 1146175"/>
                  <a:gd name="connsiteY108" fmla="*/ 981991 h 1125538"/>
                  <a:gd name="connsiteX109" fmla="*/ 388784 w 1146175"/>
                  <a:gd name="connsiteY109" fmla="*/ 982705 h 1125538"/>
                  <a:gd name="connsiteX110" fmla="*/ 388784 w 1146175"/>
                  <a:gd name="connsiteY110" fmla="*/ 983419 h 1125538"/>
                  <a:gd name="connsiteX111" fmla="*/ 384496 w 1146175"/>
                  <a:gd name="connsiteY111" fmla="*/ 984133 h 1125538"/>
                  <a:gd name="connsiteX112" fmla="*/ 383781 w 1146175"/>
                  <a:gd name="connsiteY112" fmla="*/ 984847 h 1125538"/>
                  <a:gd name="connsiteX113" fmla="*/ 379493 w 1146175"/>
                  <a:gd name="connsiteY113" fmla="*/ 986276 h 1125538"/>
                  <a:gd name="connsiteX114" fmla="*/ 21441 w 1146175"/>
                  <a:gd name="connsiteY114" fmla="*/ 1124824 h 1125538"/>
                  <a:gd name="connsiteX115" fmla="*/ 15723 w 1146175"/>
                  <a:gd name="connsiteY115" fmla="*/ 1125538 h 1125538"/>
                  <a:gd name="connsiteX116" fmla="*/ 7147 w 1146175"/>
                  <a:gd name="connsiteY116" fmla="*/ 1122681 h 1125538"/>
                  <a:gd name="connsiteX117" fmla="*/ 0 w 1146175"/>
                  <a:gd name="connsiteY117" fmla="*/ 1109826 h 1125538"/>
                  <a:gd name="connsiteX118" fmla="*/ 0 w 1146175"/>
                  <a:gd name="connsiteY118" fmla="*/ 793451 h 1125538"/>
                  <a:gd name="connsiteX119" fmla="*/ 7862 w 1146175"/>
                  <a:gd name="connsiteY119" fmla="*/ 779882 h 1125538"/>
                  <a:gd name="connsiteX120" fmla="*/ 310169 w 1146175"/>
                  <a:gd name="connsiteY120" fmla="*/ 608482 h 1125538"/>
                  <a:gd name="connsiteX121" fmla="*/ 315887 w 1146175"/>
                  <a:gd name="connsiteY121" fmla="*/ 605625 h 1125538"/>
                  <a:gd name="connsiteX122" fmla="*/ 318031 w 1146175"/>
                  <a:gd name="connsiteY122" fmla="*/ 604197 h 1125538"/>
                  <a:gd name="connsiteX123" fmla="*/ 320889 w 1146175"/>
                  <a:gd name="connsiteY123" fmla="*/ 602768 h 1125538"/>
                  <a:gd name="connsiteX124" fmla="*/ 324463 w 1146175"/>
                  <a:gd name="connsiteY124" fmla="*/ 601340 h 1125538"/>
                  <a:gd name="connsiteX125" fmla="*/ 326607 w 1146175"/>
                  <a:gd name="connsiteY125" fmla="*/ 599912 h 1125538"/>
                  <a:gd name="connsiteX126" fmla="*/ 330180 w 1146175"/>
                  <a:gd name="connsiteY126" fmla="*/ 598483 h 1125538"/>
                  <a:gd name="connsiteX127" fmla="*/ 332324 w 1146175"/>
                  <a:gd name="connsiteY127" fmla="*/ 597769 h 1125538"/>
                  <a:gd name="connsiteX128" fmla="*/ 336612 w 1146175"/>
                  <a:gd name="connsiteY128" fmla="*/ 596341 h 1125538"/>
                  <a:gd name="connsiteX129" fmla="*/ 338042 w 1146175"/>
                  <a:gd name="connsiteY129" fmla="*/ 595627 h 1125538"/>
                  <a:gd name="connsiteX130" fmla="*/ 342330 w 1146175"/>
                  <a:gd name="connsiteY130" fmla="*/ 594198 h 1125538"/>
                  <a:gd name="connsiteX131" fmla="*/ 343044 w 1146175"/>
                  <a:gd name="connsiteY131" fmla="*/ 593484 h 1125538"/>
                  <a:gd name="connsiteX132" fmla="*/ 348047 w 1146175"/>
                  <a:gd name="connsiteY132" fmla="*/ 592056 h 1125538"/>
                  <a:gd name="connsiteX133" fmla="*/ 348762 w 1146175"/>
                  <a:gd name="connsiteY133" fmla="*/ 592056 h 1125538"/>
                  <a:gd name="connsiteX134" fmla="*/ 382352 w 1146175"/>
                  <a:gd name="connsiteY134" fmla="*/ 584914 h 1125538"/>
                  <a:gd name="connsiteX135" fmla="*/ 383781 w 1146175"/>
                  <a:gd name="connsiteY135" fmla="*/ 584914 h 1125538"/>
                  <a:gd name="connsiteX136" fmla="*/ 387354 w 1146175"/>
                  <a:gd name="connsiteY136" fmla="*/ 584914 h 1125538"/>
                  <a:gd name="connsiteX137" fmla="*/ 390213 w 1146175"/>
                  <a:gd name="connsiteY137" fmla="*/ 584200 h 1125538"/>
                  <a:gd name="connsiteX138" fmla="*/ 654433 w 1146175"/>
                  <a:gd name="connsiteY138" fmla="*/ 103187 h 1125538"/>
                  <a:gd name="connsiteX139" fmla="*/ 686457 w 1146175"/>
                  <a:gd name="connsiteY139" fmla="*/ 103187 h 1125538"/>
                  <a:gd name="connsiteX140" fmla="*/ 686457 w 1146175"/>
                  <a:gd name="connsiteY140" fmla="*/ 126776 h 1125538"/>
                  <a:gd name="connsiteX141" fmla="*/ 724174 w 1146175"/>
                  <a:gd name="connsiteY141" fmla="*/ 139643 h 1125538"/>
                  <a:gd name="connsiteX142" fmla="*/ 714211 w 1146175"/>
                  <a:gd name="connsiteY142" fmla="*/ 169665 h 1125538"/>
                  <a:gd name="connsiteX143" fmla="*/ 672936 w 1146175"/>
                  <a:gd name="connsiteY143" fmla="*/ 156083 h 1125538"/>
                  <a:gd name="connsiteX144" fmla="*/ 653722 w 1146175"/>
                  <a:gd name="connsiteY144" fmla="*/ 162517 h 1125538"/>
                  <a:gd name="connsiteX145" fmla="*/ 646605 w 1146175"/>
                  <a:gd name="connsiteY145" fmla="*/ 179672 h 1125538"/>
                  <a:gd name="connsiteX146" fmla="*/ 685034 w 1146175"/>
                  <a:gd name="connsiteY146" fmla="*/ 215413 h 1125538"/>
                  <a:gd name="connsiteX147" fmla="*/ 715634 w 1146175"/>
                  <a:gd name="connsiteY147" fmla="*/ 233998 h 1125538"/>
                  <a:gd name="connsiteX148" fmla="*/ 729155 w 1146175"/>
                  <a:gd name="connsiteY148" fmla="*/ 253298 h 1125538"/>
                  <a:gd name="connsiteX149" fmla="*/ 733425 w 1146175"/>
                  <a:gd name="connsiteY149" fmla="*/ 278317 h 1125538"/>
                  <a:gd name="connsiteX150" fmla="*/ 721327 w 1146175"/>
                  <a:gd name="connsiteY150" fmla="*/ 311198 h 1125538"/>
                  <a:gd name="connsiteX151" fmla="*/ 686457 w 1146175"/>
                  <a:gd name="connsiteY151" fmla="*/ 331213 h 1125538"/>
                  <a:gd name="connsiteX152" fmla="*/ 686457 w 1146175"/>
                  <a:gd name="connsiteY152" fmla="*/ 361950 h 1125538"/>
                  <a:gd name="connsiteX153" fmla="*/ 654433 w 1146175"/>
                  <a:gd name="connsiteY153" fmla="*/ 361950 h 1125538"/>
                  <a:gd name="connsiteX154" fmla="*/ 654433 w 1146175"/>
                  <a:gd name="connsiteY154" fmla="*/ 332643 h 1125538"/>
                  <a:gd name="connsiteX155" fmla="*/ 609600 w 1146175"/>
                  <a:gd name="connsiteY155" fmla="*/ 319061 h 1125538"/>
                  <a:gd name="connsiteX156" fmla="*/ 623833 w 1146175"/>
                  <a:gd name="connsiteY156" fmla="*/ 287609 h 1125538"/>
                  <a:gd name="connsiteX157" fmla="*/ 665820 w 1146175"/>
                  <a:gd name="connsiteY157" fmla="*/ 301906 h 1125538"/>
                  <a:gd name="connsiteX158" fmla="*/ 697132 w 1146175"/>
                  <a:gd name="connsiteY158" fmla="*/ 280461 h 1125538"/>
                  <a:gd name="connsiteX159" fmla="*/ 689304 w 1146175"/>
                  <a:gd name="connsiteY159" fmla="*/ 259732 h 1125538"/>
                  <a:gd name="connsiteX160" fmla="*/ 658703 w 1146175"/>
                  <a:gd name="connsiteY160" fmla="*/ 239002 h 1125538"/>
                  <a:gd name="connsiteX161" fmla="*/ 627391 w 1146175"/>
                  <a:gd name="connsiteY161" fmla="*/ 220417 h 1125538"/>
                  <a:gd name="connsiteX162" fmla="*/ 613870 w 1146175"/>
                  <a:gd name="connsiteY162" fmla="*/ 202546 h 1125538"/>
                  <a:gd name="connsiteX163" fmla="*/ 610312 w 1146175"/>
                  <a:gd name="connsiteY163" fmla="*/ 179672 h 1125538"/>
                  <a:gd name="connsiteX164" fmla="*/ 623121 w 1146175"/>
                  <a:gd name="connsiteY164" fmla="*/ 147506 h 1125538"/>
                  <a:gd name="connsiteX165" fmla="*/ 654433 w 1146175"/>
                  <a:gd name="connsiteY165" fmla="*/ 128920 h 1125538"/>
                  <a:gd name="connsiteX166" fmla="*/ 654433 w 1146175"/>
                  <a:gd name="connsiteY166" fmla="*/ 103187 h 1125538"/>
                  <a:gd name="connsiteX167" fmla="*/ 228600 w 1146175"/>
                  <a:gd name="connsiteY167" fmla="*/ 31750 h 1125538"/>
                  <a:gd name="connsiteX168" fmla="*/ 228600 w 1146175"/>
                  <a:gd name="connsiteY168" fmla="*/ 431800 h 1125538"/>
                  <a:gd name="connsiteX169" fmla="*/ 1114425 w 1146175"/>
                  <a:gd name="connsiteY169" fmla="*/ 431800 h 1125538"/>
                  <a:gd name="connsiteX170" fmla="*/ 1114425 w 1146175"/>
                  <a:gd name="connsiteY170" fmla="*/ 31750 h 1125538"/>
                  <a:gd name="connsiteX171" fmla="*/ 209003 w 1146175"/>
                  <a:gd name="connsiteY171" fmla="*/ 0 h 1125538"/>
                  <a:gd name="connsiteX172" fmla="*/ 1134023 w 1146175"/>
                  <a:gd name="connsiteY172" fmla="*/ 0 h 1125538"/>
                  <a:gd name="connsiteX173" fmla="*/ 1146175 w 1146175"/>
                  <a:gd name="connsiteY173" fmla="*/ 11428 h 1125538"/>
                  <a:gd name="connsiteX174" fmla="*/ 1146175 w 1146175"/>
                  <a:gd name="connsiteY174" fmla="*/ 451408 h 1125538"/>
                  <a:gd name="connsiteX175" fmla="*/ 1134023 w 1146175"/>
                  <a:gd name="connsiteY175" fmla="*/ 463550 h 1125538"/>
                  <a:gd name="connsiteX176" fmla="*/ 209003 w 1146175"/>
                  <a:gd name="connsiteY176" fmla="*/ 463550 h 1125538"/>
                  <a:gd name="connsiteX177" fmla="*/ 196850 w 1146175"/>
                  <a:gd name="connsiteY177" fmla="*/ 451408 h 1125538"/>
                  <a:gd name="connsiteX178" fmla="*/ 196850 w 1146175"/>
                  <a:gd name="connsiteY178" fmla="*/ 11428 h 1125538"/>
                  <a:gd name="connsiteX179" fmla="*/ 209003 w 1146175"/>
                  <a:gd name="connsiteY179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46175" h="1125538">
                    <a:moveTo>
                      <a:pt x="409739" y="615791"/>
                    </a:moveTo>
                    <a:cubicBezTo>
                      <a:pt x="380443" y="614362"/>
                      <a:pt x="351147" y="621508"/>
                      <a:pt x="326138" y="635801"/>
                    </a:cubicBezTo>
                    <a:cubicBezTo>
                      <a:pt x="326138" y="635801"/>
                      <a:pt x="326138" y="635801"/>
                      <a:pt x="31750" y="803020"/>
                    </a:cubicBezTo>
                    <a:cubicBezTo>
                      <a:pt x="31750" y="803020"/>
                      <a:pt x="31750" y="803020"/>
                      <a:pt x="31750" y="1087437"/>
                    </a:cubicBezTo>
                    <a:cubicBezTo>
                      <a:pt x="31750" y="1087437"/>
                      <a:pt x="31750" y="1087437"/>
                      <a:pt x="368296" y="957377"/>
                    </a:cubicBezTo>
                    <a:cubicBezTo>
                      <a:pt x="384730" y="950946"/>
                      <a:pt x="401879" y="948087"/>
                      <a:pt x="419028" y="949516"/>
                    </a:cubicBezTo>
                    <a:cubicBezTo>
                      <a:pt x="419028" y="949516"/>
                      <a:pt x="419028" y="949516"/>
                      <a:pt x="568366" y="960236"/>
                    </a:cubicBezTo>
                    <a:cubicBezTo>
                      <a:pt x="645535" y="965953"/>
                      <a:pt x="722705" y="956663"/>
                      <a:pt x="797017" y="933795"/>
                    </a:cubicBezTo>
                    <a:cubicBezTo>
                      <a:pt x="894908" y="903067"/>
                      <a:pt x="981367" y="845897"/>
                      <a:pt x="1047818" y="767290"/>
                    </a:cubicBezTo>
                    <a:cubicBezTo>
                      <a:pt x="1047818" y="767290"/>
                      <a:pt x="1047818" y="767290"/>
                      <a:pt x="1079972" y="730130"/>
                    </a:cubicBezTo>
                    <a:cubicBezTo>
                      <a:pt x="1098550" y="707977"/>
                      <a:pt x="1096407" y="675104"/>
                      <a:pt x="1074971" y="655810"/>
                    </a:cubicBezTo>
                    <a:cubicBezTo>
                      <a:pt x="1064253" y="646520"/>
                      <a:pt x="1050676" y="641517"/>
                      <a:pt x="1036386" y="642232"/>
                    </a:cubicBezTo>
                    <a:cubicBezTo>
                      <a:pt x="1022095" y="642947"/>
                      <a:pt x="1008519" y="649378"/>
                      <a:pt x="999230" y="660097"/>
                    </a:cubicBezTo>
                    <a:cubicBezTo>
                      <a:pt x="999230" y="660097"/>
                      <a:pt x="999230" y="660097"/>
                      <a:pt x="951356" y="713694"/>
                    </a:cubicBezTo>
                    <a:cubicBezTo>
                      <a:pt x="912771" y="758000"/>
                      <a:pt x="862039" y="789443"/>
                      <a:pt x="805591" y="805164"/>
                    </a:cubicBezTo>
                    <a:cubicBezTo>
                      <a:pt x="740568" y="823744"/>
                      <a:pt x="670544" y="819457"/>
                      <a:pt x="608380" y="794445"/>
                    </a:cubicBezTo>
                    <a:cubicBezTo>
                      <a:pt x="608380" y="794445"/>
                      <a:pt x="608380" y="794445"/>
                      <a:pt x="553360" y="772292"/>
                    </a:cubicBezTo>
                    <a:cubicBezTo>
                      <a:pt x="546930" y="769434"/>
                      <a:pt x="542642" y="763002"/>
                      <a:pt x="544071" y="755856"/>
                    </a:cubicBezTo>
                    <a:cubicBezTo>
                      <a:pt x="544786" y="748710"/>
                      <a:pt x="550502" y="742993"/>
                      <a:pt x="557648" y="742278"/>
                    </a:cubicBezTo>
                    <a:cubicBezTo>
                      <a:pt x="557648" y="742278"/>
                      <a:pt x="557648" y="742278"/>
                      <a:pt x="715560" y="726557"/>
                    </a:cubicBezTo>
                    <a:cubicBezTo>
                      <a:pt x="740568" y="724413"/>
                      <a:pt x="759146" y="703689"/>
                      <a:pt x="759146" y="679392"/>
                    </a:cubicBezTo>
                    <a:cubicBezTo>
                      <a:pt x="759146" y="653666"/>
                      <a:pt x="739139" y="632942"/>
                      <a:pt x="713416" y="631513"/>
                    </a:cubicBezTo>
                    <a:cubicBezTo>
                      <a:pt x="713416" y="631513"/>
                      <a:pt x="713416" y="631513"/>
                      <a:pt x="409739" y="615791"/>
                    </a:cubicBezTo>
                    <a:close/>
                    <a:moveTo>
                      <a:pt x="390213" y="584200"/>
                    </a:moveTo>
                    <a:cubicBezTo>
                      <a:pt x="391642" y="584200"/>
                      <a:pt x="392357" y="584200"/>
                      <a:pt x="393786" y="584200"/>
                    </a:cubicBezTo>
                    <a:cubicBezTo>
                      <a:pt x="394501" y="584200"/>
                      <a:pt x="395930" y="584200"/>
                      <a:pt x="396645" y="584200"/>
                    </a:cubicBezTo>
                    <a:cubicBezTo>
                      <a:pt x="398074" y="584200"/>
                      <a:pt x="398789" y="584200"/>
                      <a:pt x="399504" y="584200"/>
                    </a:cubicBezTo>
                    <a:cubicBezTo>
                      <a:pt x="400933" y="584200"/>
                      <a:pt x="401648" y="584200"/>
                      <a:pt x="403077" y="584200"/>
                    </a:cubicBezTo>
                    <a:cubicBezTo>
                      <a:pt x="405221" y="584200"/>
                      <a:pt x="408080" y="584200"/>
                      <a:pt x="410939" y="584200"/>
                    </a:cubicBezTo>
                    <a:cubicBezTo>
                      <a:pt x="410939" y="584200"/>
                      <a:pt x="410939" y="584200"/>
                      <a:pt x="715390" y="599912"/>
                    </a:cubicBezTo>
                    <a:cubicBezTo>
                      <a:pt x="743263" y="601340"/>
                      <a:pt x="766847" y="617766"/>
                      <a:pt x="780426" y="640619"/>
                    </a:cubicBezTo>
                    <a:cubicBezTo>
                      <a:pt x="781140" y="642048"/>
                      <a:pt x="781855" y="643476"/>
                      <a:pt x="782570" y="644904"/>
                    </a:cubicBezTo>
                    <a:cubicBezTo>
                      <a:pt x="785428" y="650618"/>
                      <a:pt x="787572" y="657045"/>
                      <a:pt x="789002" y="663473"/>
                    </a:cubicBezTo>
                    <a:cubicBezTo>
                      <a:pt x="789716" y="668472"/>
                      <a:pt x="790431" y="673471"/>
                      <a:pt x="790431" y="679184"/>
                    </a:cubicBezTo>
                    <a:cubicBezTo>
                      <a:pt x="790431" y="681327"/>
                      <a:pt x="790431" y="682755"/>
                      <a:pt x="789716" y="684898"/>
                    </a:cubicBezTo>
                    <a:cubicBezTo>
                      <a:pt x="789716" y="684898"/>
                      <a:pt x="789716" y="685612"/>
                      <a:pt x="789716" y="685612"/>
                    </a:cubicBezTo>
                    <a:cubicBezTo>
                      <a:pt x="789716" y="687754"/>
                      <a:pt x="789716" y="689183"/>
                      <a:pt x="789002" y="691325"/>
                    </a:cubicBezTo>
                    <a:cubicBezTo>
                      <a:pt x="786143" y="709893"/>
                      <a:pt x="776852" y="726319"/>
                      <a:pt x="763988" y="738460"/>
                    </a:cubicBezTo>
                    <a:cubicBezTo>
                      <a:pt x="763988" y="738460"/>
                      <a:pt x="763273" y="738460"/>
                      <a:pt x="763273" y="738460"/>
                    </a:cubicBezTo>
                    <a:cubicBezTo>
                      <a:pt x="761844" y="739888"/>
                      <a:pt x="760415" y="740603"/>
                      <a:pt x="758985" y="742031"/>
                    </a:cubicBezTo>
                    <a:cubicBezTo>
                      <a:pt x="757556" y="743459"/>
                      <a:pt x="756127" y="744173"/>
                      <a:pt x="754697" y="744888"/>
                    </a:cubicBezTo>
                    <a:cubicBezTo>
                      <a:pt x="753983" y="745602"/>
                      <a:pt x="753983" y="745602"/>
                      <a:pt x="753983" y="745602"/>
                    </a:cubicBezTo>
                    <a:cubicBezTo>
                      <a:pt x="752553" y="746316"/>
                      <a:pt x="751124" y="747744"/>
                      <a:pt x="749695" y="748458"/>
                    </a:cubicBezTo>
                    <a:cubicBezTo>
                      <a:pt x="748980" y="748458"/>
                      <a:pt x="748265" y="748458"/>
                      <a:pt x="748265" y="749173"/>
                    </a:cubicBezTo>
                    <a:cubicBezTo>
                      <a:pt x="746836" y="749887"/>
                      <a:pt x="745407" y="750601"/>
                      <a:pt x="743263" y="751315"/>
                    </a:cubicBezTo>
                    <a:cubicBezTo>
                      <a:pt x="743263" y="751315"/>
                      <a:pt x="742548" y="751315"/>
                      <a:pt x="742548" y="752029"/>
                    </a:cubicBezTo>
                    <a:cubicBezTo>
                      <a:pt x="741118" y="752029"/>
                      <a:pt x="739689" y="752743"/>
                      <a:pt x="738260" y="753458"/>
                    </a:cubicBezTo>
                    <a:cubicBezTo>
                      <a:pt x="731828" y="755600"/>
                      <a:pt x="725396" y="757028"/>
                      <a:pt x="718964" y="757743"/>
                    </a:cubicBezTo>
                    <a:cubicBezTo>
                      <a:pt x="718964" y="757743"/>
                      <a:pt x="718964" y="757743"/>
                      <a:pt x="624626" y="767027"/>
                    </a:cubicBezTo>
                    <a:cubicBezTo>
                      <a:pt x="662504" y="781310"/>
                      <a:pt x="703241" y="787023"/>
                      <a:pt x="743263" y="784167"/>
                    </a:cubicBezTo>
                    <a:cubicBezTo>
                      <a:pt x="753983" y="783453"/>
                      <a:pt x="764703" y="782024"/>
                      <a:pt x="775423" y="779882"/>
                    </a:cubicBezTo>
                    <a:cubicBezTo>
                      <a:pt x="778996" y="779168"/>
                      <a:pt x="781855" y="778453"/>
                      <a:pt x="785428" y="777739"/>
                    </a:cubicBezTo>
                    <a:cubicBezTo>
                      <a:pt x="786143" y="777739"/>
                      <a:pt x="786143" y="777739"/>
                      <a:pt x="786858" y="777025"/>
                    </a:cubicBezTo>
                    <a:cubicBezTo>
                      <a:pt x="790431" y="776311"/>
                      <a:pt x="793290" y="775597"/>
                      <a:pt x="796863" y="774883"/>
                    </a:cubicBezTo>
                    <a:cubicBezTo>
                      <a:pt x="806869" y="772026"/>
                      <a:pt x="816874" y="768455"/>
                      <a:pt x="826880" y="764170"/>
                    </a:cubicBezTo>
                    <a:cubicBezTo>
                      <a:pt x="857611" y="752029"/>
                      <a:pt x="885483" y="734175"/>
                      <a:pt x="909782" y="711322"/>
                    </a:cubicBezTo>
                    <a:cubicBezTo>
                      <a:pt x="916214" y="705608"/>
                      <a:pt x="921931" y="699181"/>
                      <a:pt x="928363" y="692753"/>
                    </a:cubicBezTo>
                    <a:cubicBezTo>
                      <a:pt x="928363" y="692753"/>
                      <a:pt x="928363" y="692753"/>
                      <a:pt x="975532" y="639191"/>
                    </a:cubicBezTo>
                    <a:cubicBezTo>
                      <a:pt x="976961" y="637763"/>
                      <a:pt x="977676" y="637048"/>
                      <a:pt x="978391" y="635620"/>
                    </a:cubicBezTo>
                    <a:cubicBezTo>
                      <a:pt x="979105" y="635620"/>
                      <a:pt x="979105" y="635620"/>
                      <a:pt x="979105" y="635620"/>
                    </a:cubicBezTo>
                    <a:cubicBezTo>
                      <a:pt x="994114" y="620623"/>
                      <a:pt x="1013410" y="612053"/>
                      <a:pt x="1034135" y="610624"/>
                    </a:cubicBezTo>
                    <a:cubicBezTo>
                      <a:pt x="1034850" y="610624"/>
                      <a:pt x="1034850" y="610624"/>
                      <a:pt x="1034850" y="610624"/>
                    </a:cubicBezTo>
                    <a:cubicBezTo>
                      <a:pt x="1036279" y="610624"/>
                      <a:pt x="1037709" y="610624"/>
                      <a:pt x="1039138" y="610624"/>
                    </a:cubicBezTo>
                    <a:cubicBezTo>
                      <a:pt x="1039138" y="610624"/>
                      <a:pt x="1039853" y="610624"/>
                      <a:pt x="1040567" y="610624"/>
                    </a:cubicBezTo>
                    <a:cubicBezTo>
                      <a:pt x="1054146" y="610624"/>
                      <a:pt x="1067725" y="614909"/>
                      <a:pt x="1079875" y="621337"/>
                    </a:cubicBezTo>
                    <a:cubicBezTo>
                      <a:pt x="1081304" y="622051"/>
                      <a:pt x="1082019" y="622765"/>
                      <a:pt x="1083448" y="623479"/>
                    </a:cubicBezTo>
                    <a:cubicBezTo>
                      <a:pt x="1084877" y="624193"/>
                      <a:pt x="1085592" y="624908"/>
                      <a:pt x="1086307" y="624908"/>
                    </a:cubicBezTo>
                    <a:cubicBezTo>
                      <a:pt x="1087021" y="625622"/>
                      <a:pt x="1087021" y="625622"/>
                      <a:pt x="1087021" y="625622"/>
                    </a:cubicBezTo>
                    <a:cubicBezTo>
                      <a:pt x="1087736" y="626336"/>
                      <a:pt x="1089165" y="627050"/>
                      <a:pt x="1089880" y="627764"/>
                    </a:cubicBezTo>
                    <a:cubicBezTo>
                      <a:pt x="1089880" y="627764"/>
                      <a:pt x="1090595" y="628478"/>
                      <a:pt x="1090595" y="628478"/>
                    </a:cubicBezTo>
                    <a:cubicBezTo>
                      <a:pt x="1091309" y="629193"/>
                      <a:pt x="1092024" y="629193"/>
                      <a:pt x="1092739" y="629907"/>
                    </a:cubicBezTo>
                    <a:cubicBezTo>
                      <a:pt x="1093453" y="630621"/>
                      <a:pt x="1094168" y="631335"/>
                      <a:pt x="1095597" y="632049"/>
                    </a:cubicBezTo>
                    <a:cubicBezTo>
                      <a:pt x="1095597" y="632049"/>
                      <a:pt x="1095597" y="632763"/>
                      <a:pt x="1095597" y="632763"/>
                    </a:cubicBezTo>
                    <a:cubicBezTo>
                      <a:pt x="1129902" y="663473"/>
                      <a:pt x="1133475" y="714893"/>
                      <a:pt x="1103459" y="749887"/>
                    </a:cubicBezTo>
                    <a:cubicBezTo>
                      <a:pt x="1103459" y="749887"/>
                      <a:pt x="1103459" y="749887"/>
                      <a:pt x="1072013" y="787738"/>
                    </a:cubicBezTo>
                    <a:cubicBezTo>
                      <a:pt x="1040567" y="824160"/>
                      <a:pt x="1004834" y="857012"/>
                      <a:pt x="966241" y="884150"/>
                    </a:cubicBezTo>
                    <a:cubicBezTo>
                      <a:pt x="963383" y="886292"/>
                      <a:pt x="959809" y="888435"/>
                      <a:pt x="956950" y="890577"/>
                    </a:cubicBezTo>
                    <a:cubicBezTo>
                      <a:pt x="954092" y="892720"/>
                      <a:pt x="951233" y="894862"/>
                      <a:pt x="948374" y="896291"/>
                    </a:cubicBezTo>
                    <a:cubicBezTo>
                      <a:pt x="904779" y="924857"/>
                      <a:pt x="856896" y="947711"/>
                      <a:pt x="806154" y="963422"/>
                    </a:cubicBezTo>
                    <a:cubicBezTo>
                      <a:pt x="801866" y="964851"/>
                      <a:pt x="797578" y="966279"/>
                      <a:pt x="792575" y="967707"/>
                    </a:cubicBezTo>
                    <a:cubicBezTo>
                      <a:pt x="791146" y="967707"/>
                      <a:pt x="789716" y="968422"/>
                      <a:pt x="788287" y="968422"/>
                    </a:cubicBezTo>
                    <a:cubicBezTo>
                      <a:pt x="785428" y="969136"/>
                      <a:pt x="782570" y="970564"/>
                      <a:pt x="779711" y="971278"/>
                    </a:cubicBezTo>
                    <a:cubicBezTo>
                      <a:pt x="777567" y="971278"/>
                      <a:pt x="775423" y="971992"/>
                      <a:pt x="773994" y="972707"/>
                    </a:cubicBezTo>
                    <a:cubicBezTo>
                      <a:pt x="771135" y="973421"/>
                      <a:pt x="768991" y="973421"/>
                      <a:pt x="766132" y="974135"/>
                    </a:cubicBezTo>
                    <a:cubicBezTo>
                      <a:pt x="763988" y="974849"/>
                      <a:pt x="761844" y="975563"/>
                      <a:pt x="759700" y="976277"/>
                    </a:cubicBezTo>
                    <a:cubicBezTo>
                      <a:pt x="757556" y="976277"/>
                      <a:pt x="756127" y="976992"/>
                      <a:pt x="753983" y="976992"/>
                    </a:cubicBezTo>
                    <a:cubicBezTo>
                      <a:pt x="743977" y="979134"/>
                      <a:pt x="733972" y="981277"/>
                      <a:pt x="724681" y="983419"/>
                    </a:cubicBezTo>
                    <a:cubicBezTo>
                      <a:pt x="723252" y="983419"/>
                      <a:pt x="722537" y="983419"/>
                      <a:pt x="721822" y="983419"/>
                    </a:cubicBezTo>
                    <a:cubicBezTo>
                      <a:pt x="718249" y="984133"/>
                      <a:pt x="714676" y="984847"/>
                      <a:pt x="711102" y="985562"/>
                    </a:cubicBezTo>
                    <a:cubicBezTo>
                      <a:pt x="710387" y="985562"/>
                      <a:pt x="710387" y="985562"/>
                      <a:pt x="709673" y="985562"/>
                    </a:cubicBezTo>
                    <a:cubicBezTo>
                      <a:pt x="689662" y="988418"/>
                      <a:pt x="670366" y="990561"/>
                      <a:pt x="650355" y="991989"/>
                    </a:cubicBezTo>
                    <a:cubicBezTo>
                      <a:pt x="649640" y="991989"/>
                      <a:pt x="648925" y="991989"/>
                      <a:pt x="648211" y="991989"/>
                    </a:cubicBezTo>
                    <a:cubicBezTo>
                      <a:pt x="644637" y="991989"/>
                      <a:pt x="641064" y="991989"/>
                      <a:pt x="637491" y="992703"/>
                    </a:cubicBezTo>
                    <a:cubicBezTo>
                      <a:pt x="636776" y="992703"/>
                      <a:pt x="636061" y="992703"/>
                      <a:pt x="635347" y="992703"/>
                    </a:cubicBezTo>
                    <a:cubicBezTo>
                      <a:pt x="630344" y="992703"/>
                      <a:pt x="626056" y="992703"/>
                      <a:pt x="621053" y="992703"/>
                    </a:cubicBezTo>
                    <a:cubicBezTo>
                      <a:pt x="621053" y="992703"/>
                      <a:pt x="620338" y="992703"/>
                      <a:pt x="620338" y="992703"/>
                    </a:cubicBezTo>
                    <a:cubicBezTo>
                      <a:pt x="617480" y="992703"/>
                      <a:pt x="614621" y="992703"/>
                      <a:pt x="612477" y="992703"/>
                    </a:cubicBezTo>
                    <a:cubicBezTo>
                      <a:pt x="610333" y="992703"/>
                      <a:pt x="608189" y="992703"/>
                      <a:pt x="606045" y="992703"/>
                    </a:cubicBezTo>
                    <a:cubicBezTo>
                      <a:pt x="603901" y="992703"/>
                      <a:pt x="601042" y="992703"/>
                      <a:pt x="598898" y="992703"/>
                    </a:cubicBezTo>
                    <a:cubicBezTo>
                      <a:pt x="596754" y="992703"/>
                      <a:pt x="594610" y="992703"/>
                      <a:pt x="592466" y="992703"/>
                    </a:cubicBezTo>
                    <a:cubicBezTo>
                      <a:pt x="589607" y="992703"/>
                      <a:pt x="587463" y="992703"/>
                      <a:pt x="584605" y="991989"/>
                    </a:cubicBezTo>
                    <a:cubicBezTo>
                      <a:pt x="582461" y="991989"/>
                      <a:pt x="581031" y="991989"/>
                      <a:pt x="578887" y="991989"/>
                    </a:cubicBezTo>
                    <a:cubicBezTo>
                      <a:pt x="575314" y="991989"/>
                      <a:pt x="571026" y="991275"/>
                      <a:pt x="566738" y="991275"/>
                    </a:cubicBezTo>
                    <a:cubicBezTo>
                      <a:pt x="566738" y="991275"/>
                      <a:pt x="566023" y="991275"/>
                      <a:pt x="566023" y="991275"/>
                    </a:cubicBezTo>
                    <a:cubicBezTo>
                      <a:pt x="566023" y="991275"/>
                      <a:pt x="566023" y="991275"/>
                      <a:pt x="485265" y="985562"/>
                    </a:cubicBezTo>
                    <a:cubicBezTo>
                      <a:pt x="485265" y="985562"/>
                      <a:pt x="485265" y="985562"/>
                      <a:pt x="416656" y="980562"/>
                    </a:cubicBezTo>
                    <a:cubicBezTo>
                      <a:pt x="415227" y="980562"/>
                      <a:pt x="413083" y="980562"/>
                      <a:pt x="410939" y="980562"/>
                    </a:cubicBezTo>
                    <a:cubicBezTo>
                      <a:pt x="410224" y="980562"/>
                      <a:pt x="408794" y="980562"/>
                      <a:pt x="407365" y="980562"/>
                    </a:cubicBezTo>
                    <a:cubicBezTo>
                      <a:pt x="402362" y="980562"/>
                      <a:pt x="398074" y="981277"/>
                      <a:pt x="393072" y="981991"/>
                    </a:cubicBezTo>
                    <a:cubicBezTo>
                      <a:pt x="391642" y="982705"/>
                      <a:pt x="390213" y="982705"/>
                      <a:pt x="388784" y="982705"/>
                    </a:cubicBezTo>
                    <a:cubicBezTo>
                      <a:pt x="388784" y="983419"/>
                      <a:pt x="388784" y="983419"/>
                      <a:pt x="388784" y="983419"/>
                    </a:cubicBezTo>
                    <a:cubicBezTo>
                      <a:pt x="387354" y="983419"/>
                      <a:pt x="385925" y="984133"/>
                      <a:pt x="384496" y="984133"/>
                    </a:cubicBezTo>
                    <a:cubicBezTo>
                      <a:pt x="384496" y="984133"/>
                      <a:pt x="384496" y="984133"/>
                      <a:pt x="383781" y="984847"/>
                    </a:cubicBezTo>
                    <a:cubicBezTo>
                      <a:pt x="382352" y="984847"/>
                      <a:pt x="380922" y="985562"/>
                      <a:pt x="379493" y="986276"/>
                    </a:cubicBezTo>
                    <a:cubicBezTo>
                      <a:pt x="379493" y="986276"/>
                      <a:pt x="379493" y="986276"/>
                      <a:pt x="21441" y="1124824"/>
                    </a:cubicBezTo>
                    <a:cubicBezTo>
                      <a:pt x="20011" y="1125538"/>
                      <a:pt x="17867" y="1125538"/>
                      <a:pt x="15723" y="1125538"/>
                    </a:cubicBezTo>
                    <a:cubicBezTo>
                      <a:pt x="12864" y="1125538"/>
                      <a:pt x="10006" y="1124824"/>
                      <a:pt x="7147" y="1122681"/>
                    </a:cubicBezTo>
                    <a:cubicBezTo>
                      <a:pt x="2859" y="1119825"/>
                      <a:pt x="0" y="1114826"/>
                      <a:pt x="0" y="1109826"/>
                    </a:cubicBezTo>
                    <a:cubicBezTo>
                      <a:pt x="0" y="1109826"/>
                      <a:pt x="0" y="1109826"/>
                      <a:pt x="0" y="793451"/>
                    </a:cubicBezTo>
                    <a:cubicBezTo>
                      <a:pt x="0" y="787738"/>
                      <a:pt x="3574" y="782738"/>
                      <a:pt x="7862" y="779882"/>
                    </a:cubicBezTo>
                    <a:cubicBezTo>
                      <a:pt x="7862" y="779882"/>
                      <a:pt x="7862" y="779882"/>
                      <a:pt x="310169" y="608482"/>
                    </a:cubicBezTo>
                    <a:cubicBezTo>
                      <a:pt x="311599" y="607053"/>
                      <a:pt x="313743" y="606339"/>
                      <a:pt x="315887" y="605625"/>
                    </a:cubicBezTo>
                    <a:cubicBezTo>
                      <a:pt x="316601" y="604911"/>
                      <a:pt x="317316" y="604911"/>
                      <a:pt x="318031" y="604197"/>
                    </a:cubicBezTo>
                    <a:cubicBezTo>
                      <a:pt x="318745" y="603483"/>
                      <a:pt x="320175" y="602768"/>
                      <a:pt x="320889" y="602768"/>
                    </a:cubicBezTo>
                    <a:cubicBezTo>
                      <a:pt x="322319" y="602054"/>
                      <a:pt x="323033" y="601340"/>
                      <a:pt x="324463" y="601340"/>
                    </a:cubicBezTo>
                    <a:cubicBezTo>
                      <a:pt x="325177" y="600626"/>
                      <a:pt x="325892" y="600626"/>
                      <a:pt x="326607" y="599912"/>
                    </a:cubicBezTo>
                    <a:cubicBezTo>
                      <a:pt x="328036" y="599198"/>
                      <a:pt x="329466" y="599198"/>
                      <a:pt x="330180" y="598483"/>
                    </a:cubicBezTo>
                    <a:cubicBezTo>
                      <a:pt x="330895" y="598483"/>
                      <a:pt x="331610" y="597769"/>
                      <a:pt x="332324" y="597769"/>
                    </a:cubicBezTo>
                    <a:cubicBezTo>
                      <a:pt x="333754" y="597055"/>
                      <a:pt x="335183" y="596341"/>
                      <a:pt x="336612" y="596341"/>
                    </a:cubicBezTo>
                    <a:cubicBezTo>
                      <a:pt x="336612" y="595627"/>
                      <a:pt x="337327" y="595627"/>
                      <a:pt x="338042" y="595627"/>
                    </a:cubicBezTo>
                    <a:cubicBezTo>
                      <a:pt x="339471" y="594913"/>
                      <a:pt x="340900" y="594198"/>
                      <a:pt x="342330" y="594198"/>
                    </a:cubicBezTo>
                    <a:cubicBezTo>
                      <a:pt x="343044" y="593484"/>
                      <a:pt x="343044" y="593484"/>
                      <a:pt x="343044" y="593484"/>
                    </a:cubicBezTo>
                    <a:cubicBezTo>
                      <a:pt x="345188" y="592770"/>
                      <a:pt x="346618" y="592770"/>
                      <a:pt x="348047" y="592056"/>
                    </a:cubicBezTo>
                    <a:cubicBezTo>
                      <a:pt x="348762" y="592056"/>
                      <a:pt x="348762" y="592056"/>
                      <a:pt x="348762" y="592056"/>
                    </a:cubicBezTo>
                    <a:cubicBezTo>
                      <a:pt x="360197" y="588485"/>
                      <a:pt x="370917" y="586343"/>
                      <a:pt x="382352" y="584914"/>
                    </a:cubicBezTo>
                    <a:cubicBezTo>
                      <a:pt x="383066" y="584914"/>
                      <a:pt x="383781" y="584914"/>
                      <a:pt x="383781" y="584914"/>
                    </a:cubicBezTo>
                    <a:cubicBezTo>
                      <a:pt x="385210" y="584914"/>
                      <a:pt x="386640" y="584914"/>
                      <a:pt x="387354" y="584914"/>
                    </a:cubicBezTo>
                    <a:cubicBezTo>
                      <a:pt x="388784" y="584914"/>
                      <a:pt x="389498" y="584914"/>
                      <a:pt x="390213" y="584200"/>
                    </a:cubicBezTo>
                    <a:close/>
                    <a:moveTo>
                      <a:pt x="654433" y="103187"/>
                    </a:moveTo>
                    <a:cubicBezTo>
                      <a:pt x="686457" y="103187"/>
                      <a:pt x="686457" y="103187"/>
                      <a:pt x="686457" y="103187"/>
                    </a:cubicBezTo>
                    <a:cubicBezTo>
                      <a:pt x="686457" y="126776"/>
                      <a:pt x="686457" y="126776"/>
                      <a:pt x="686457" y="126776"/>
                    </a:cubicBezTo>
                    <a:cubicBezTo>
                      <a:pt x="702825" y="128920"/>
                      <a:pt x="716346" y="132495"/>
                      <a:pt x="724174" y="139643"/>
                    </a:cubicBezTo>
                    <a:cubicBezTo>
                      <a:pt x="714211" y="169665"/>
                      <a:pt x="714211" y="169665"/>
                      <a:pt x="714211" y="169665"/>
                    </a:cubicBezTo>
                    <a:cubicBezTo>
                      <a:pt x="700690" y="161087"/>
                      <a:pt x="687169" y="156083"/>
                      <a:pt x="672936" y="156083"/>
                    </a:cubicBezTo>
                    <a:cubicBezTo>
                      <a:pt x="665108" y="156083"/>
                      <a:pt x="658703" y="158228"/>
                      <a:pt x="653722" y="162517"/>
                    </a:cubicBezTo>
                    <a:cubicBezTo>
                      <a:pt x="648740" y="167520"/>
                      <a:pt x="646605" y="172524"/>
                      <a:pt x="646605" y="179672"/>
                    </a:cubicBezTo>
                    <a:cubicBezTo>
                      <a:pt x="646605" y="191109"/>
                      <a:pt x="659415" y="203261"/>
                      <a:pt x="685034" y="215413"/>
                    </a:cubicBezTo>
                    <a:cubicBezTo>
                      <a:pt x="698555" y="222561"/>
                      <a:pt x="709230" y="228280"/>
                      <a:pt x="715634" y="233998"/>
                    </a:cubicBezTo>
                    <a:cubicBezTo>
                      <a:pt x="722039" y="239717"/>
                      <a:pt x="725597" y="246150"/>
                      <a:pt x="729155" y="253298"/>
                    </a:cubicBezTo>
                    <a:cubicBezTo>
                      <a:pt x="732002" y="261161"/>
                      <a:pt x="733425" y="269024"/>
                      <a:pt x="733425" y="278317"/>
                    </a:cubicBezTo>
                    <a:cubicBezTo>
                      <a:pt x="733425" y="290469"/>
                      <a:pt x="729867" y="301906"/>
                      <a:pt x="721327" y="311198"/>
                    </a:cubicBezTo>
                    <a:cubicBezTo>
                      <a:pt x="712788" y="320491"/>
                      <a:pt x="700690" y="327639"/>
                      <a:pt x="686457" y="331213"/>
                    </a:cubicBezTo>
                    <a:cubicBezTo>
                      <a:pt x="686457" y="361950"/>
                      <a:pt x="686457" y="361950"/>
                      <a:pt x="686457" y="361950"/>
                    </a:cubicBezTo>
                    <a:cubicBezTo>
                      <a:pt x="654433" y="361950"/>
                      <a:pt x="654433" y="361950"/>
                      <a:pt x="654433" y="361950"/>
                    </a:cubicBezTo>
                    <a:cubicBezTo>
                      <a:pt x="654433" y="332643"/>
                      <a:pt x="654433" y="332643"/>
                      <a:pt x="654433" y="332643"/>
                    </a:cubicBezTo>
                    <a:cubicBezTo>
                      <a:pt x="638777" y="332643"/>
                      <a:pt x="623833" y="327639"/>
                      <a:pt x="609600" y="319061"/>
                    </a:cubicBezTo>
                    <a:cubicBezTo>
                      <a:pt x="623833" y="287609"/>
                      <a:pt x="623833" y="287609"/>
                      <a:pt x="623833" y="287609"/>
                    </a:cubicBezTo>
                    <a:cubicBezTo>
                      <a:pt x="638066" y="296902"/>
                      <a:pt x="652299" y="301906"/>
                      <a:pt x="665820" y="301906"/>
                    </a:cubicBezTo>
                    <a:cubicBezTo>
                      <a:pt x="687169" y="301906"/>
                      <a:pt x="697132" y="294758"/>
                      <a:pt x="697132" y="280461"/>
                    </a:cubicBezTo>
                    <a:cubicBezTo>
                      <a:pt x="697132" y="273313"/>
                      <a:pt x="694997" y="266165"/>
                      <a:pt x="689304" y="259732"/>
                    </a:cubicBezTo>
                    <a:cubicBezTo>
                      <a:pt x="683611" y="254013"/>
                      <a:pt x="673648" y="246865"/>
                      <a:pt x="658703" y="239002"/>
                    </a:cubicBezTo>
                    <a:cubicBezTo>
                      <a:pt x="643047" y="231854"/>
                      <a:pt x="633084" y="225420"/>
                      <a:pt x="627391" y="220417"/>
                    </a:cubicBezTo>
                    <a:cubicBezTo>
                      <a:pt x="621698" y="215413"/>
                      <a:pt x="618140" y="209695"/>
                      <a:pt x="613870" y="202546"/>
                    </a:cubicBezTo>
                    <a:cubicBezTo>
                      <a:pt x="611735" y="195398"/>
                      <a:pt x="610312" y="188250"/>
                      <a:pt x="610312" y="179672"/>
                    </a:cubicBezTo>
                    <a:cubicBezTo>
                      <a:pt x="610312" y="167520"/>
                      <a:pt x="613870" y="156083"/>
                      <a:pt x="623121" y="147506"/>
                    </a:cubicBezTo>
                    <a:cubicBezTo>
                      <a:pt x="630949" y="138213"/>
                      <a:pt x="640912" y="131780"/>
                      <a:pt x="654433" y="128920"/>
                    </a:cubicBezTo>
                    <a:cubicBezTo>
                      <a:pt x="654433" y="103187"/>
                      <a:pt x="654433" y="103187"/>
                      <a:pt x="654433" y="103187"/>
                    </a:cubicBezTo>
                    <a:close/>
                    <a:moveTo>
                      <a:pt x="228600" y="31750"/>
                    </a:moveTo>
                    <a:lnTo>
                      <a:pt x="228600" y="431800"/>
                    </a:lnTo>
                    <a:lnTo>
                      <a:pt x="1114425" y="431800"/>
                    </a:lnTo>
                    <a:lnTo>
                      <a:pt x="1114425" y="31750"/>
                    </a:lnTo>
                    <a:close/>
                    <a:moveTo>
                      <a:pt x="209003" y="0"/>
                    </a:moveTo>
                    <a:cubicBezTo>
                      <a:pt x="1134023" y="0"/>
                      <a:pt x="1134023" y="0"/>
                      <a:pt x="1134023" y="0"/>
                    </a:cubicBezTo>
                    <a:cubicBezTo>
                      <a:pt x="1141171" y="0"/>
                      <a:pt x="1146175" y="5000"/>
                      <a:pt x="1146175" y="11428"/>
                    </a:cubicBezTo>
                    <a:cubicBezTo>
                      <a:pt x="1146175" y="451408"/>
                      <a:pt x="1146175" y="451408"/>
                      <a:pt x="1146175" y="451408"/>
                    </a:cubicBezTo>
                    <a:cubicBezTo>
                      <a:pt x="1146175" y="457836"/>
                      <a:pt x="1141171" y="463550"/>
                      <a:pt x="1134023" y="463550"/>
                    </a:cubicBezTo>
                    <a:cubicBezTo>
                      <a:pt x="209003" y="463550"/>
                      <a:pt x="209003" y="463550"/>
                      <a:pt x="209003" y="463550"/>
                    </a:cubicBezTo>
                    <a:cubicBezTo>
                      <a:pt x="202569" y="463550"/>
                      <a:pt x="196850" y="457836"/>
                      <a:pt x="196850" y="451408"/>
                    </a:cubicBezTo>
                    <a:cubicBezTo>
                      <a:pt x="196850" y="11428"/>
                      <a:pt x="196850" y="11428"/>
                      <a:pt x="196850" y="11428"/>
                    </a:cubicBezTo>
                    <a:cubicBezTo>
                      <a:pt x="196850" y="5000"/>
                      <a:pt x="202569" y="0"/>
                      <a:pt x="209003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9" name="ee4pFootnotes">
            <a:extLst>
              <a:ext uri="{FF2B5EF4-FFF2-40B4-BE49-F238E27FC236}">
                <a16:creationId xmlns:a16="http://schemas.microsoft.com/office/drawing/2014/main" id="{0CF856A7-D514-4B8A-A678-F616AE61FD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4113" y="6510858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sym typeface="+mn-lt"/>
              </a:rPr>
              <a:t>1. Workforce boards, regional industry structures (e.g. HC hubs, manufacturing collaborative) 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6F375D8-6F00-4F7B-9D55-ECA08BD0B5C4}"/>
              </a:ext>
            </a:extLst>
          </p:cNvPr>
          <p:cNvSpPr txBox="1"/>
          <p:nvPr/>
        </p:nvSpPr>
        <p:spPr>
          <a:xfrm>
            <a:off x="5665326" y="5189201"/>
            <a:ext cx="5800725" cy="8286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>
                <a:solidFill>
                  <a:srgbClr val="000000"/>
                </a:solidFill>
              </a:rPr>
              <a:t>Manage the administrative </a:t>
            </a:r>
            <a:r>
              <a:rPr lang="en-US">
                <a:solidFill>
                  <a:srgbClr val="00269E"/>
                </a:solidFill>
              </a:rPr>
              <a:t>process and reporting</a:t>
            </a: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2D487F9-2D51-4294-A2DB-ABE0F2060FF2}"/>
              </a:ext>
            </a:extLst>
          </p:cNvPr>
          <p:cNvGrpSpPr>
            <a:grpSpLocks noChangeAspect="1"/>
          </p:cNvGrpSpPr>
          <p:nvPr/>
        </p:nvGrpSpPr>
        <p:grpSpPr>
          <a:xfrm>
            <a:off x="4681875" y="5244764"/>
            <a:ext cx="717550" cy="717550"/>
            <a:chOff x="5273675" y="2606675"/>
            <a:chExt cx="1644650" cy="1644650"/>
          </a:xfrm>
        </p:grpSpPr>
        <p:sp>
          <p:nvSpPr>
            <p:cNvPr id="42" name="AutoShape 3">
              <a:extLst>
                <a:ext uri="{FF2B5EF4-FFF2-40B4-BE49-F238E27FC236}">
                  <a16:creationId xmlns:a16="http://schemas.microsoft.com/office/drawing/2014/main" id="{B85B0D23-8033-458D-895F-EE95EEF5C1F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D3A21D44-3748-4DD9-BE18-5AC78931C992}"/>
                </a:ext>
              </a:extLst>
            </p:cNvPr>
            <p:cNvGrpSpPr/>
            <p:nvPr/>
          </p:nvGrpSpPr>
          <p:grpSpPr>
            <a:xfrm>
              <a:off x="5444599" y="3152775"/>
              <a:ext cx="1302803" cy="552451"/>
              <a:chOff x="5445125" y="3152775"/>
              <a:chExt cx="1302803" cy="552451"/>
            </a:xfrm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6607AA4F-882C-4D2D-A739-5357A89FB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8175" y="3152775"/>
                <a:ext cx="470652" cy="550863"/>
              </a:xfrm>
              <a:custGeom>
                <a:avLst/>
                <a:gdLst>
                  <a:gd name="connsiteX0" fmla="*/ 153002 w 470652"/>
                  <a:gd name="connsiteY0" fmla="*/ 388952 h 550863"/>
                  <a:gd name="connsiteX1" fmla="*/ 141936 w 470652"/>
                  <a:gd name="connsiteY1" fmla="*/ 393758 h 550863"/>
                  <a:gd name="connsiteX2" fmla="*/ 141936 w 470652"/>
                  <a:gd name="connsiteY2" fmla="*/ 415117 h 550863"/>
                  <a:gd name="connsiteX3" fmla="*/ 174776 w 470652"/>
                  <a:gd name="connsiteY3" fmla="*/ 447868 h 550863"/>
                  <a:gd name="connsiteX4" fmla="*/ 141936 w 470652"/>
                  <a:gd name="connsiteY4" fmla="*/ 479194 h 550863"/>
                  <a:gd name="connsiteX5" fmla="*/ 141936 w 470652"/>
                  <a:gd name="connsiteY5" fmla="*/ 499841 h 550863"/>
                  <a:gd name="connsiteX6" fmla="*/ 153359 w 470652"/>
                  <a:gd name="connsiteY6" fmla="*/ 504825 h 550863"/>
                  <a:gd name="connsiteX7" fmla="*/ 164068 w 470652"/>
                  <a:gd name="connsiteY7" fmla="*/ 499841 h 550863"/>
                  <a:gd name="connsiteX8" fmla="*/ 196907 w 470652"/>
                  <a:gd name="connsiteY8" fmla="*/ 469227 h 550863"/>
                  <a:gd name="connsiteX9" fmla="*/ 229033 w 470652"/>
                  <a:gd name="connsiteY9" fmla="*/ 499841 h 550863"/>
                  <a:gd name="connsiteX10" fmla="*/ 239742 w 470652"/>
                  <a:gd name="connsiteY10" fmla="*/ 504825 h 550863"/>
                  <a:gd name="connsiteX11" fmla="*/ 250450 w 470652"/>
                  <a:gd name="connsiteY11" fmla="*/ 499841 h 550863"/>
                  <a:gd name="connsiteX12" fmla="*/ 250450 w 470652"/>
                  <a:gd name="connsiteY12" fmla="*/ 479194 h 550863"/>
                  <a:gd name="connsiteX13" fmla="*/ 218324 w 470652"/>
                  <a:gd name="connsiteY13" fmla="*/ 447868 h 550863"/>
                  <a:gd name="connsiteX14" fmla="*/ 250450 w 470652"/>
                  <a:gd name="connsiteY14" fmla="*/ 415117 h 550863"/>
                  <a:gd name="connsiteX15" fmla="*/ 250450 w 470652"/>
                  <a:gd name="connsiteY15" fmla="*/ 393758 h 550863"/>
                  <a:gd name="connsiteX16" fmla="*/ 229033 w 470652"/>
                  <a:gd name="connsiteY16" fmla="*/ 393758 h 550863"/>
                  <a:gd name="connsiteX17" fmla="*/ 196907 w 470652"/>
                  <a:gd name="connsiteY17" fmla="*/ 425796 h 550863"/>
                  <a:gd name="connsiteX18" fmla="*/ 164068 w 470652"/>
                  <a:gd name="connsiteY18" fmla="*/ 393758 h 550863"/>
                  <a:gd name="connsiteX19" fmla="*/ 153002 w 470652"/>
                  <a:gd name="connsiteY19" fmla="*/ 388952 h 550863"/>
                  <a:gd name="connsiteX20" fmla="*/ 196909 w 470652"/>
                  <a:gd name="connsiteY20" fmla="*/ 342900 h 550863"/>
                  <a:gd name="connsiteX21" fmla="*/ 302913 w 470652"/>
                  <a:gd name="connsiteY21" fmla="*/ 447594 h 550863"/>
                  <a:gd name="connsiteX22" fmla="*/ 196909 w 470652"/>
                  <a:gd name="connsiteY22" fmla="*/ 550863 h 550863"/>
                  <a:gd name="connsiteX23" fmla="*/ 90188 w 470652"/>
                  <a:gd name="connsiteY23" fmla="*/ 447594 h 550863"/>
                  <a:gd name="connsiteX24" fmla="*/ 196909 w 470652"/>
                  <a:gd name="connsiteY24" fmla="*/ 342900 h 550863"/>
                  <a:gd name="connsiteX25" fmla="*/ 17225 w 470652"/>
                  <a:gd name="connsiteY25" fmla="*/ 0 h 550863"/>
                  <a:gd name="connsiteX26" fmla="*/ 361980 w 470652"/>
                  <a:gd name="connsiteY26" fmla="*/ 0 h 550863"/>
                  <a:gd name="connsiteX27" fmla="*/ 377683 w 470652"/>
                  <a:gd name="connsiteY27" fmla="*/ 9278 h 550863"/>
                  <a:gd name="connsiteX28" fmla="*/ 469047 w 470652"/>
                  <a:gd name="connsiteY28" fmla="*/ 194833 h 550863"/>
                  <a:gd name="connsiteX29" fmla="*/ 469047 w 470652"/>
                  <a:gd name="connsiteY29" fmla="*/ 207679 h 550863"/>
                  <a:gd name="connsiteX30" fmla="*/ 377683 w 470652"/>
                  <a:gd name="connsiteY30" fmla="*/ 394661 h 550863"/>
                  <a:gd name="connsiteX31" fmla="*/ 361980 w 470652"/>
                  <a:gd name="connsiteY31" fmla="*/ 403225 h 550863"/>
                  <a:gd name="connsiteX32" fmla="*/ 325577 w 470652"/>
                  <a:gd name="connsiteY32" fmla="*/ 403225 h 550863"/>
                  <a:gd name="connsiteX33" fmla="*/ 197097 w 470652"/>
                  <a:gd name="connsiteY33" fmla="*/ 311161 h 550863"/>
                  <a:gd name="connsiteX34" fmla="*/ 69331 w 470652"/>
                  <a:gd name="connsiteY34" fmla="*/ 403225 h 550863"/>
                  <a:gd name="connsiteX35" fmla="*/ 17225 w 470652"/>
                  <a:gd name="connsiteY35" fmla="*/ 403225 h 550863"/>
                  <a:gd name="connsiteX36" fmla="*/ 1522 w 470652"/>
                  <a:gd name="connsiteY36" fmla="*/ 380388 h 550863"/>
                  <a:gd name="connsiteX37" fmla="*/ 87175 w 470652"/>
                  <a:gd name="connsiteY37" fmla="*/ 207679 h 550863"/>
                  <a:gd name="connsiteX38" fmla="*/ 87175 w 470652"/>
                  <a:gd name="connsiteY38" fmla="*/ 194833 h 550863"/>
                  <a:gd name="connsiteX39" fmla="*/ 1522 w 470652"/>
                  <a:gd name="connsiteY39" fmla="*/ 22838 h 550863"/>
                  <a:gd name="connsiteX40" fmla="*/ 17225 w 470652"/>
                  <a:gd name="connsiteY40" fmla="*/ 0 h 55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70652" h="550863">
                    <a:moveTo>
                      <a:pt x="153002" y="388952"/>
                    </a:moveTo>
                    <a:cubicBezTo>
                      <a:pt x="148897" y="388952"/>
                      <a:pt x="144792" y="390554"/>
                      <a:pt x="141936" y="393758"/>
                    </a:cubicBezTo>
                    <a:cubicBezTo>
                      <a:pt x="136225" y="398742"/>
                      <a:pt x="136225" y="408709"/>
                      <a:pt x="141936" y="415117"/>
                    </a:cubicBezTo>
                    <a:cubicBezTo>
                      <a:pt x="141936" y="415117"/>
                      <a:pt x="141936" y="415117"/>
                      <a:pt x="174776" y="447868"/>
                    </a:cubicBezTo>
                    <a:cubicBezTo>
                      <a:pt x="174776" y="447868"/>
                      <a:pt x="174776" y="447868"/>
                      <a:pt x="141936" y="479194"/>
                    </a:cubicBezTo>
                    <a:cubicBezTo>
                      <a:pt x="136225" y="485602"/>
                      <a:pt x="136225" y="494858"/>
                      <a:pt x="141936" y="499841"/>
                    </a:cubicBezTo>
                    <a:cubicBezTo>
                      <a:pt x="145506" y="503401"/>
                      <a:pt x="148362" y="504825"/>
                      <a:pt x="153359" y="504825"/>
                    </a:cubicBezTo>
                    <a:cubicBezTo>
                      <a:pt x="157642" y="504825"/>
                      <a:pt x="161212" y="503401"/>
                      <a:pt x="164068" y="499841"/>
                    </a:cubicBezTo>
                    <a:cubicBezTo>
                      <a:pt x="164068" y="499841"/>
                      <a:pt x="164068" y="499841"/>
                      <a:pt x="196907" y="469227"/>
                    </a:cubicBezTo>
                    <a:cubicBezTo>
                      <a:pt x="196907" y="469227"/>
                      <a:pt x="196907" y="469227"/>
                      <a:pt x="229033" y="499841"/>
                    </a:cubicBezTo>
                    <a:cubicBezTo>
                      <a:pt x="231889" y="503401"/>
                      <a:pt x="236172" y="504825"/>
                      <a:pt x="239742" y="504825"/>
                    </a:cubicBezTo>
                    <a:cubicBezTo>
                      <a:pt x="244025" y="504825"/>
                      <a:pt x="248308" y="503401"/>
                      <a:pt x="250450" y="499841"/>
                    </a:cubicBezTo>
                    <a:cubicBezTo>
                      <a:pt x="256875" y="494858"/>
                      <a:pt x="256875" y="485602"/>
                      <a:pt x="250450" y="479194"/>
                    </a:cubicBezTo>
                    <a:cubicBezTo>
                      <a:pt x="250450" y="479194"/>
                      <a:pt x="250450" y="479194"/>
                      <a:pt x="218324" y="447868"/>
                    </a:cubicBezTo>
                    <a:cubicBezTo>
                      <a:pt x="218324" y="447868"/>
                      <a:pt x="218324" y="447868"/>
                      <a:pt x="250450" y="415117"/>
                    </a:cubicBezTo>
                    <a:cubicBezTo>
                      <a:pt x="256875" y="408709"/>
                      <a:pt x="256875" y="398742"/>
                      <a:pt x="250450" y="393758"/>
                    </a:cubicBezTo>
                    <a:cubicBezTo>
                      <a:pt x="244739" y="387350"/>
                      <a:pt x="234744" y="387350"/>
                      <a:pt x="229033" y="393758"/>
                    </a:cubicBezTo>
                    <a:cubicBezTo>
                      <a:pt x="229033" y="393758"/>
                      <a:pt x="229033" y="393758"/>
                      <a:pt x="196907" y="425796"/>
                    </a:cubicBezTo>
                    <a:cubicBezTo>
                      <a:pt x="196907" y="425796"/>
                      <a:pt x="196907" y="425796"/>
                      <a:pt x="164068" y="393758"/>
                    </a:cubicBezTo>
                    <a:cubicBezTo>
                      <a:pt x="161212" y="390554"/>
                      <a:pt x="157107" y="388952"/>
                      <a:pt x="153002" y="388952"/>
                    </a:cubicBezTo>
                    <a:close/>
                    <a:moveTo>
                      <a:pt x="196909" y="342900"/>
                    </a:moveTo>
                    <a:cubicBezTo>
                      <a:pt x="254925" y="342900"/>
                      <a:pt x="302913" y="389193"/>
                      <a:pt x="302913" y="447594"/>
                    </a:cubicBezTo>
                    <a:cubicBezTo>
                      <a:pt x="302913" y="503858"/>
                      <a:pt x="254925" y="550863"/>
                      <a:pt x="196909" y="550863"/>
                    </a:cubicBezTo>
                    <a:cubicBezTo>
                      <a:pt x="137460" y="550863"/>
                      <a:pt x="90188" y="503858"/>
                      <a:pt x="90188" y="447594"/>
                    </a:cubicBezTo>
                    <a:cubicBezTo>
                      <a:pt x="90188" y="389193"/>
                      <a:pt x="137460" y="342900"/>
                      <a:pt x="196909" y="342900"/>
                    </a:cubicBezTo>
                    <a:close/>
                    <a:moveTo>
                      <a:pt x="17225" y="0"/>
                    </a:moveTo>
                    <a:cubicBezTo>
                      <a:pt x="17225" y="0"/>
                      <a:pt x="17225" y="0"/>
                      <a:pt x="361980" y="0"/>
                    </a:cubicBezTo>
                    <a:cubicBezTo>
                      <a:pt x="368404" y="0"/>
                      <a:pt x="374828" y="3568"/>
                      <a:pt x="377683" y="9278"/>
                    </a:cubicBezTo>
                    <a:cubicBezTo>
                      <a:pt x="377683" y="9278"/>
                      <a:pt x="377683" y="9278"/>
                      <a:pt x="469047" y="194833"/>
                    </a:cubicBezTo>
                    <a:cubicBezTo>
                      <a:pt x="471188" y="199115"/>
                      <a:pt x="471188" y="203397"/>
                      <a:pt x="469047" y="207679"/>
                    </a:cubicBezTo>
                    <a:cubicBezTo>
                      <a:pt x="469047" y="207679"/>
                      <a:pt x="469047" y="207679"/>
                      <a:pt x="377683" y="394661"/>
                    </a:cubicBezTo>
                    <a:cubicBezTo>
                      <a:pt x="374828" y="398943"/>
                      <a:pt x="368404" y="403225"/>
                      <a:pt x="361980" y="403225"/>
                    </a:cubicBezTo>
                    <a:cubicBezTo>
                      <a:pt x="361980" y="403225"/>
                      <a:pt x="361980" y="403225"/>
                      <a:pt x="325577" y="403225"/>
                    </a:cubicBezTo>
                    <a:cubicBezTo>
                      <a:pt x="307019" y="349700"/>
                      <a:pt x="256341" y="311161"/>
                      <a:pt x="197097" y="311161"/>
                    </a:cubicBezTo>
                    <a:cubicBezTo>
                      <a:pt x="137140" y="311161"/>
                      <a:pt x="87175" y="349700"/>
                      <a:pt x="69331" y="403225"/>
                    </a:cubicBezTo>
                    <a:cubicBezTo>
                      <a:pt x="69331" y="403225"/>
                      <a:pt x="69331" y="403225"/>
                      <a:pt x="17225" y="403225"/>
                    </a:cubicBezTo>
                    <a:cubicBezTo>
                      <a:pt x="4377" y="403225"/>
                      <a:pt x="-3475" y="391093"/>
                      <a:pt x="1522" y="380388"/>
                    </a:cubicBezTo>
                    <a:cubicBezTo>
                      <a:pt x="1522" y="380388"/>
                      <a:pt x="1522" y="380388"/>
                      <a:pt x="87175" y="207679"/>
                    </a:cubicBezTo>
                    <a:cubicBezTo>
                      <a:pt x="89317" y="203397"/>
                      <a:pt x="89317" y="199115"/>
                      <a:pt x="87175" y="194833"/>
                    </a:cubicBezTo>
                    <a:cubicBezTo>
                      <a:pt x="87175" y="194833"/>
                      <a:pt x="87175" y="194833"/>
                      <a:pt x="1522" y="22838"/>
                    </a:cubicBezTo>
                    <a:cubicBezTo>
                      <a:pt x="-3475" y="12133"/>
                      <a:pt x="4377" y="0"/>
                      <a:pt x="1722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5" name="Freeform 7">
                <a:extLst>
                  <a:ext uri="{FF2B5EF4-FFF2-40B4-BE49-F238E27FC236}">
                    <a16:creationId xmlns:a16="http://schemas.microsoft.com/office/drawing/2014/main" id="{15835F92-1A52-44E4-B91E-B8CCBBFD5B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5125" y="3152775"/>
                <a:ext cx="1302803" cy="552451"/>
              </a:xfrm>
              <a:custGeom>
                <a:avLst/>
                <a:gdLst>
                  <a:gd name="connsiteX0" fmla="*/ 1086933 w 1302803"/>
                  <a:gd name="connsiteY0" fmla="*/ 406063 h 552451"/>
                  <a:gd name="connsiteX1" fmla="*/ 1076251 w 1302803"/>
                  <a:gd name="connsiteY1" fmla="*/ 409816 h 552451"/>
                  <a:gd name="connsiteX2" fmla="*/ 1008596 w 1302803"/>
                  <a:gd name="connsiteY2" fmla="*/ 477732 h 552451"/>
                  <a:gd name="connsiteX3" fmla="*/ 977974 w 1302803"/>
                  <a:gd name="connsiteY3" fmla="*/ 446991 h 552451"/>
                  <a:gd name="connsiteX4" fmla="*/ 956609 w 1302803"/>
                  <a:gd name="connsiteY4" fmla="*/ 446991 h 552451"/>
                  <a:gd name="connsiteX5" fmla="*/ 956609 w 1302803"/>
                  <a:gd name="connsiteY5" fmla="*/ 468438 h 552451"/>
                  <a:gd name="connsiteX6" fmla="*/ 995778 w 1302803"/>
                  <a:gd name="connsiteY6" fmla="*/ 507758 h 552451"/>
                  <a:gd name="connsiteX7" fmla="*/ 1000763 w 1302803"/>
                  <a:gd name="connsiteY7" fmla="*/ 510617 h 552451"/>
                  <a:gd name="connsiteX8" fmla="*/ 1009309 w 1302803"/>
                  <a:gd name="connsiteY8" fmla="*/ 512762 h 552451"/>
                  <a:gd name="connsiteX9" fmla="*/ 1019279 w 1302803"/>
                  <a:gd name="connsiteY9" fmla="*/ 509188 h 552451"/>
                  <a:gd name="connsiteX10" fmla="*/ 1097615 w 1302803"/>
                  <a:gd name="connsiteY10" fmla="*/ 431263 h 552451"/>
                  <a:gd name="connsiteX11" fmla="*/ 1097615 w 1302803"/>
                  <a:gd name="connsiteY11" fmla="*/ 409816 h 552451"/>
                  <a:gd name="connsiteX12" fmla="*/ 1086933 w 1302803"/>
                  <a:gd name="connsiteY12" fmla="*/ 406063 h 552451"/>
                  <a:gd name="connsiteX13" fmla="*/ 249702 w 1302803"/>
                  <a:gd name="connsiteY13" fmla="*/ 406063 h 552451"/>
                  <a:gd name="connsiteX14" fmla="*/ 238638 w 1302803"/>
                  <a:gd name="connsiteY14" fmla="*/ 409816 h 552451"/>
                  <a:gd name="connsiteX15" fmla="*/ 171718 w 1302803"/>
                  <a:gd name="connsiteY15" fmla="*/ 477732 h 552451"/>
                  <a:gd name="connsiteX16" fmla="*/ 140776 w 1302803"/>
                  <a:gd name="connsiteY16" fmla="*/ 446991 h 552451"/>
                  <a:gd name="connsiteX17" fmla="*/ 118470 w 1302803"/>
                  <a:gd name="connsiteY17" fmla="*/ 446991 h 552451"/>
                  <a:gd name="connsiteX18" fmla="*/ 118470 w 1302803"/>
                  <a:gd name="connsiteY18" fmla="*/ 468438 h 552451"/>
                  <a:gd name="connsiteX19" fmla="*/ 158046 w 1302803"/>
                  <a:gd name="connsiteY19" fmla="*/ 507758 h 552451"/>
                  <a:gd name="connsiteX20" fmla="*/ 163803 w 1302803"/>
                  <a:gd name="connsiteY20" fmla="*/ 510617 h 552451"/>
                  <a:gd name="connsiteX21" fmla="*/ 171718 w 1302803"/>
                  <a:gd name="connsiteY21" fmla="*/ 512762 h 552451"/>
                  <a:gd name="connsiteX22" fmla="*/ 182512 w 1302803"/>
                  <a:gd name="connsiteY22" fmla="*/ 509188 h 552451"/>
                  <a:gd name="connsiteX23" fmla="*/ 260225 w 1302803"/>
                  <a:gd name="connsiteY23" fmla="*/ 431263 h 552451"/>
                  <a:gd name="connsiteX24" fmla="*/ 260225 w 1302803"/>
                  <a:gd name="connsiteY24" fmla="*/ 409816 h 552451"/>
                  <a:gd name="connsiteX25" fmla="*/ 249702 w 1302803"/>
                  <a:gd name="connsiteY25" fmla="*/ 406063 h 552451"/>
                  <a:gd name="connsiteX26" fmla="*/ 1027112 w 1302803"/>
                  <a:gd name="connsiteY26" fmla="*/ 344487 h 552451"/>
                  <a:gd name="connsiteX27" fmla="*/ 1133475 w 1302803"/>
                  <a:gd name="connsiteY27" fmla="*/ 448469 h 552451"/>
                  <a:gd name="connsiteX28" fmla="*/ 1027112 w 1302803"/>
                  <a:gd name="connsiteY28" fmla="*/ 552451 h 552451"/>
                  <a:gd name="connsiteX29" fmla="*/ 920749 w 1302803"/>
                  <a:gd name="connsiteY29" fmla="*/ 448469 h 552451"/>
                  <a:gd name="connsiteX30" fmla="*/ 1027112 w 1302803"/>
                  <a:gd name="connsiteY30" fmla="*/ 344487 h 552451"/>
                  <a:gd name="connsiteX31" fmla="*/ 192882 w 1302803"/>
                  <a:gd name="connsiteY31" fmla="*/ 344487 h 552451"/>
                  <a:gd name="connsiteX32" fmla="*/ 298451 w 1302803"/>
                  <a:gd name="connsiteY32" fmla="*/ 448469 h 552451"/>
                  <a:gd name="connsiteX33" fmla="*/ 192882 w 1302803"/>
                  <a:gd name="connsiteY33" fmla="*/ 552451 h 552451"/>
                  <a:gd name="connsiteX34" fmla="*/ 87313 w 1302803"/>
                  <a:gd name="connsiteY34" fmla="*/ 448469 h 552451"/>
                  <a:gd name="connsiteX35" fmla="*/ 192882 w 1302803"/>
                  <a:gd name="connsiteY35" fmla="*/ 344487 h 552451"/>
                  <a:gd name="connsiteX36" fmla="*/ 848631 w 1302803"/>
                  <a:gd name="connsiteY36" fmla="*/ 0 h 552451"/>
                  <a:gd name="connsiteX37" fmla="*/ 1193581 w 1302803"/>
                  <a:gd name="connsiteY37" fmla="*/ 0 h 552451"/>
                  <a:gd name="connsiteX38" fmla="*/ 1208548 w 1302803"/>
                  <a:gd name="connsiteY38" fmla="*/ 9278 h 552451"/>
                  <a:gd name="connsiteX39" fmla="*/ 1301200 w 1302803"/>
                  <a:gd name="connsiteY39" fmla="*/ 194119 h 552451"/>
                  <a:gd name="connsiteX40" fmla="*/ 1301200 w 1302803"/>
                  <a:gd name="connsiteY40" fmla="*/ 207679 h 552451"/>
                  <a:gd name="connsiteX41" fmla="*/ 1208548 w 1302803"/>
                  <a:gd name="connsiteY41" fmla="*/ 393947 h 552451"/>
                  <a:gd name="connsiteX42" fmla="*/ 1193581 w 1302803"/>
                  <a:gd name="connsiteY42" fmla="*/ 403225 h 552451"/>
                  <a:gd name="connsiteX43" fmla="*/ 1155095 w 1302803"/>
                  <a:gd name="connsiteY43" fmla="*/ 403225 h 552451"/>
                  <a:gd name="connsiteX44" fmla="*/ 1027521 w 1302803"/>
                  <a:gd name="connsiteY44" fmla="*/ 312588 h 552451"/>
                  <a:gd name="connsiteX45" fmla="*/ 899233 w 1302803"/>
                  <a:gd name="connsiteY45" fmla="*/ 403225 h 552451"/>
                  <a:gd name="connsiteX46" fmla="*/ 848631 w 1302803"/>
                  <a:gd name="connsiteY46" fmla="*/ 403225 h 552451"/>
                  <a:gd name="connsiteX47" fmla="*/ 833664 w 1302803"/>
                  <a:gd name="connsiteY47" fmla="*/ 380388 h 552451"/>
                  <a:gd name="connsiteX48" fmla="*/ 919189 w 1302803"/>
                  <a:gd name="connsiteY48" fmla="*/ 207679 h 552451"/>
                  <a:gd name="connsiteX49" fmla="*/ 919189 w 1302803"/>
                  <a:gd name="connsiteY49" fmla="*/ 194119 h 552451"/>
                  <a:gd name="connsiteX50" fmla="*/ 833664 w 1302803"/>
                  <a:gd name="connsiteY50" fmla="*/ 22837 h 552451"/>
                  <a:gd name="connsiteX51" fmla="*/ 848631 w 1302803"/>
                  <a:gd name="connsiteY51" fmla="*/ 0 h 552451"/>
                  <a:gd name="connsiteX52" fmla="*/ 15719 w 1302803"/>
                  <a:gd name="connsiteY52" fmla="*/ 0 h 552451"/>
                  <a:gd name="connsiteX53" fmla="*/ 357249 w 1302803"/>
                  <a:gd name="connsiteY53" fmla="*/ 0 h 552451"/>
                  <a:gd name="connsiteX54" fmla="*/ 371539 w 1302803"/>
                  <a:gd name="connsiteY54" fmla="*/ 9278 h 552451"/>
                  <a:gd name="connsiteX55" fmla="*/ 462995 w 1302803"/>
                  <a:gd name="connsiteY55" fmla="*/ 194119 h 552451"/>
                  <a:gd name="connsiteX56" fmla="*/ 462995 w 1302803"/>
                  <a:gd name="connsiteY56" fmla="*/ 207679 h 552451"/>
                  <a:gd name="connsiteX57" fmla="*/ 371539 w 1302803"/>
                  <a:gd name="connsiteY57" fmla="*/ 393947 h 552451"/>
                  <a:gd name="connsiteX58" fmla="*/ 357249 w 1302803"/>
                  <a:gd name="connsiteY58" fmla="*/ 403225 h 552451"/>
                  <a:gd name="connsiteX59" fmla="*/ 320095 w 1302803"/>
                  <a:gd name="connsiteY59" fmla="*/ 403225 h 552451"/>
                  <a:gd name="connsiteX60" fmla="*/ 192915 w 1302803"/>
                  <a:gd name="connsiteY60" fmla="*/ 312588 h 552451"/>
                  <a:gd name="connsiteX61" fmla="*/ 65734 w 1302803"/>
                  <a:gd name="connsiteY61" fmla="*/ 403225 h 552451"/>
                  <a:gd name="connsiteX62" fmla="*/ 15719 w 1302803"/>
                  <a:gd name="connsiteY62" fmla="*/ 403225 h 552451"/>
                  <a:gd name="connsiteX63" fmla="*/ 0 w 1302803"/>
                  <a:gd name="connsiteY63" fmla="*/ 386811 h 552451"/>
                  <a:gd name="connsiteX64" fmla="*/ 0 w 1302803"/>
                  <a:gd name="connsiteY64" fmla="*/ 16414 h 552451"/>
                  <a:gd name="connsiteX65" fmla="*/ 15719 w 1302803"/>
                  <a:gd name="connsiteY65" fmla="*/ 0 h 552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302803" h="552451">
                    <a:moveTo>
                      <a:pt x="1086933" y="406063"/>
                    </a:moveTo>
                    <a:cubicBezTo>
                      <a:pt x="1083016" y="406063"/>
                      <a:pt x="1079099" y="407314"/>
                      <a:pt x="1076251" y="409816"/>
                    </a:cubicBezTo>
                    <a:cubicBezTo>
                      <a:pt x="1076251" y="409816"/>
                      <a:pt x="1076251" y="409816"/>
                      <a:pt x="1008596" y="477732"/>
                    </a:cubicBezTo>
                    <a:cubicBezTo>
                      <a:pt x="1008596" y="477732"/>
                      <a:pt x="1008596" y="477732"/>
                      <a:pt x="977974" y="446991"/>
                    </a:cubicBezTo>
                    <a:cubicBezTo>
                      <a:pt x="972277" y="440557"/>
                      <a:pt x="963019" y="440557"/>
                      <a:pt x="956609" y="446991"/>
                    </a:cubicBezTo>
                    <a:cubicBezTo>
                      <a:pt x="950912" y="453425"/>
                      <a:pt x="950912" y="462719"/>
                      <a:pt x="956609" y="468438"/>
                    </a:cubicBezTo>
                    <a:cubicBezTo>
                      <a:pt x="956609" y="468438"/>
                      <a:pt x="956609" y="468438"/>
                      <a:pt x="995778" y="507758"/>
                    </a:cubicBezTo>
                    <a:cubicBezTo>
                      <a:pt x="997202" y="509188"/>
                      <a:pt x="999338" y="509903"/>
                      <a:pt x="1000763" y="510617"/>
                    </a:cubicBezTo>
                    <a:cubicBezTo>
                      <a:pt x="1003611" y="512047"/>
                      <a:pt x="1006460" y="512762"/>
                      <a:pt x="1009309" y="512762"/>
                    </a:cubicBezTo>
                    <a:cubicBezTo>
                      <a:pt x="1013581" y="512762"/>
                      <a:pt x="1017142" y="511332"/>
                      <a:pt x="1019279" y="509188"/>
                    </a:cubicBezTo>
                    <a:cubicBezTo>
                      <a:pt x="1019279" y="509188"/>
                      <a:pt x="1019279" y="509188"/>
                      <a:pt x="1097615" y="431263"/>
                    </a:cubicBezTo>
                    <a:cubicBezTo>
                      <a:pt x="1103312" y="426259"/>
                      <a:pt x="1103312" y="416251"/>
                      <a:pt x="1097615" y="409816"/>
                    </a:cubicBezTo>
                    <a:cubicBezTo>
                      <a:pt x="1094767" y="407314"/>
                      <a:pt x="1090850" y="406063"/>
                      <a:pt x="1086933" y="406063"/>
                    </a:cubicBezTo>
                    <a:close/>
                    <a:moveTo>
                      <a:pt x="249702" y="406063"/>
                    </a:moveTo>
                    <a:cubicBezTo>
                      <a:pt x="245834" y="406063"/>
                      <a:pt x="241876" y="407314"/>
                      <a:pt x="238638" y="409816"/>
                    </a:cubicBezTo>
                    <a:cubicBezTo>
                      <a:pt x="238638" y="409816"/>
                      <a:pt x="238638" y="409816"/>
                      <a:pt x="171718" y="477732"/>
                    </a:cubicBezTo>
                    <a:cubicBezTo>
                      <a:pt x="171718" y="477732"/>
                      <a:pt x="171718" y="477732"/>
                      <a:pt x="140776" y="446991"/>
                    </a:cubicBezTo>
                    <a:cubicBezTo>
                      <a:pt x="134300" y="440557"/>
                      <a:pt x="124226" y="440557"/>
                      <a:pt x="118470" y="446991"/>
                    </a:cubicBezTo>
                    <a:cubicBezTo>
                      <a:pt x="112713" y="453425"/>
                      <a:pt x="112713" y="462719"/>
                      <a:pt x="118470" y="468438"/>
                    </a:cubicBezTo>
                    <a:cubicBezTo>
                      <a:pt x="118470" y="468438"/>
                      <a:pt x="118470" y="468438"/>
                      <a:pt x="158046" y="507758"/>
                    </a:cubicBezTo>
                    <a:cubicBezTo>
                      <a:pt x="160205" y="509188"/>
                      <a:pt x="161644" y="509903"/>
                      <a:pt x="163803" y="510617"/>
                    </a:cubicBezTo>
                    <a:cubicBezTo>
                      <a:pt x="165961" y="512047"/>
                      <a:pt x="168840" y="512762"/>
                      <a:pt x="171718" y="512762"/>
                    </a:cubicBezTo>
                    <a:cubicBezTo>
                      <a:pt x="175316" y="512762"/>
                      <a:pt x="179633" y="511332"/>
                      <a:pt x="182512" y="509188"/>
                    </a:cubicBezTo>
                    <a:cubicBezTo>
                      <a:pt x="182512" y="509188"/>
                      <a:pt x="182512" y="509188"/>
                      <a:pt x="260225" y="431263"/>
                    </a:cubicBezTo>
                    <a:cubicBezTo>
                      <a:pt x="266701" y="426259"/>
                      <a:pt x="266701" y="416251"/>
                      <a:pt x="260225" y="409816"/>
                    </a:cubicBezTo>
                    <a:cubicBezTo>
                      <a:pt x="257347" y="407314"/>
                      <a:pt x="253569" y="406063"/>
                      <a:pt x="249702" y="406063"/>
                    </a:cubicBezTo>
                    <a:close/>
                    <a:moveTo>
                      <a:pt x="1027112" y="344487"/>
                    </a:moveTo>
                    <a:cubicBezTo>
                      <a:pt x="1085855" y="344487"/>
                      <a:pt x="1133475" y="391041"/>
                      <a:pt x="1133475" y="448469"/>
                    </a:cubicBezTo>
                    <a:cubicBezTo>
                      <a:pt x="1133475" y="505897"/>
                      <a:pt x="1085855" y="552451"/>
                      <a:pt x="1027112" y="552451"/>
                    </a:cubicBezTo>
                    <a:cubicBezTo>
                      <a:pt x="968369" y="552451"/>
                      <a:pt x="920749" y="505897"/>
                      <a:pt x="920749" y="448469"/>
                    </a:cubicBezTo>
                    <a:cubicBezTo>
                      <a:pt x="920749" y="391041"/>
                      <a:pt x="968369" y="344487"/>
                      <a:pt x="1027112" y="344487"/>
                    </a:cubicBezTo>
                    <a:close/>
                    <a:moveTo>
                      <a:pt x="192882" y="344487"/>
                    </a:moveTo>
                    <a:cubicBezTo>
                      <a:pt x="251186" y="344487"/>
                      <a:pt x="298451" y="391041"/>
                      <a:pt x="298451" y="448469"/>
                    </a:cubicBezTo>
                    <a:cubicBezTo>
                      <a:pt x="298451" y="505897"/>
                      <a:pt x="251186" y="552451"/>
                      <a:pt x="192882" y="552451"/>
                    </a:cubicBezTo>
                    <a:cubicBezTo>
                      <a:pt x="134578" y="552451"/>
                      <a:pt x="87313" y="505897"/>
                      <a:pt x="87313" y="448469"/>
                    </a:cubicBezTo>
                    <a:cubicBezTo>
                      <a:pt x="87313" y="391041"/>
                      <a:pt x="134578" y="344487"/>
                      <a:pt x="192882" y="344487"/>
                    </a:cubicBezTo>
                    <a:close/>
                    <a:moveTo>
                      <a:pt x="848631" y="0"/>
                    </a:moveTo>
                    <a:cubicBezTo>
                      <a:pt x="848631" y="0"/>
                      <a:pt x="848631" y="0"/>
                      <a:pt x="1193581" y="0"/>
                    </a:cubicBezTo>
                    <a:cubicBezTo>
                      <a:pt x="1200708" y="0"/>
                      <a:pt x="1205697" y="3568"/>
                      <a:pt x="1208548" y="9278"/>
                    </a:cubicBezTo>
                    <a:cubicBezTo>
                      <a:pt x="1208548" y="9278"/>
                      <a:pt x="1208548" y="9278"/>
                      <a:pt x="1301200" y="194119"/>
                    </a:cubicBezTo>
                    <a:cubicBezTo>
                      <a:pt x="1303338" y="198401"/>
                      <a:pt x="1303338" y="203397"/>
                      <a:pt x="1301200" y="207679"/>
                    </a:cubicBezTo>
                    <a:cubicBezTo>
                      <a:pt x="1301200" y="207679"/>
                      <a:pt x="1301200" y="207679"/>
                      <a:pt x="1208548" y="393947"/>
                    </a:cubicBezTo>
                    <a:cubicBezTo>
                      <a:pt x="1205697" y="398943"/>
                      <a:pt x="1200708" y="403225"/>
                      <a:pt x="1193581" y="403225"/>
                    </a:cubicBezTo>
                    <a:cubicBezTo>
                      <a:pt x="1193581" y="403225"/>
                      <a:pt x="1193581" y="403225"/>
                      <a:pt x="1155095" y="403225"/>
                    </a:cubicBezTo>
                    <a:cubicBezTo>
                      <a:pt x="1136565" y="350413"/>
                      <a:pt x="1085963" y="312588"/>
                      <a:pt x="1027521" y="312588"/>
                    </a:cubicBezTo>
                    <a:cubicBezTo>
                      <a:pt x="968366" y="312588"/>
                      <a:pt x="917764" y="350413"/>
                      <a:pt x="899233" y="403225"/>
                    </a:cubicBezTo>
                    <a:cubicBezTo>
                      <a:pt x="899233" y="403225"/>
                      <a:pt x="899233" y="403225"/>
                      <a:pt x="848631" y="403225"/>
                    </a:cubicBezTo>
                    <a:cubicBezTo>
                      <a:pt x="835802" y="403225"/>
                      <a:pt x="828675" y="390379"/>
                      <a:pt x="833664" y="380388"/>
                    </a:cubicBezTo>
                    <a:cubicBezTo>
                      <a:pt x="833664" y="380388"/>
                      <a:pt x="833664" y="380388"/>
                      <a:pt x="919189" y="207679"/>
                    </a:cubicBezTo>
                    <a:cubicBezTo>
                      <a:pt x="921327" y="203397"/>
                      <a:pt x="921327" y="198401"/>
                      <a:pt x="919189" y="194119"/>
                    </a:cubicBezTo>
                    <a:cubicBezTo>
                      <a:pt x="919189" y="194119"/>
                      <a:pt x="919189" y="194119"/>
                      <a:pt x="833664" y="22837"/>
                    </a:cubicBezTo>
                    <a:cubicBezTo>
                      <a:pt x="828675" y="12132"/>
                      <a:pt x="835802" y="0"/>
                      <a:pt x="848631" y="0"/>
                    </a:cubicBezTo>
                    <a:close/>
                    <a:moveTo>
                      <a:pt x="15719" y="0"/>
                    </a:moveTo>
                    <a:cubicBezTo>
                      <a:pt x="15719" y="0"/>
                      <a:pt x="15719" y="0"/>
                      <a:pt x="357249" y="0"/>
                    </a:cubicBezTo>
                    <a:cubicBezTo>
                      <a:pt x="362965" y="0"/>
                      <a:pt x="368681" y="3568"/>
                      <a:pt x="371539" y="9278"/>
                    </a:cubicBezTo>
                    <a:cubicBezTo>
                      <a:pt x="371539" y="9278"/>
                      <a:pt x="371539" y="9278"/>
                      <a:pt x="462995" y="194119"/>
                    </a:cubicBezTo>
                    <a:cubicBezTo>
                      <a:pt x="465138" y="198401"/>
                      <a:pt x="465138" y="203397"/>
                      <a:pt x="462995" y="207679"/>
                    </a:cubicBezTo>
                    <a:cubicBezTo>
                      <a:pt x="462995" y="207679"/>
                      <a:pt x="462995" y="207679"/>
                      <a:pt x="371539" y="393947"/>
                    </a:cubicBezTo>
                    <a:cubicBezTo>
                      <a:pt x="369396" y="398943"/>
                      <a:pt x="362965" y="403225"/>
                      <a:pt x="357249" y="403225"/>
                    </a:cubicBezTo>
                    <a:cubicBezTo>
                      <a:pt x="357249" y="403225"/>
                      <a:pt x="357249" y="403225"/>
                      <a:pt x="320095" y="403225"/>
                    </a:cubicBezTo>
                    <a:cubicBezTo>
                      <a:pt x="301518" y="350413"/>
                      <a:pt x="252218" y="312588"/>
                      <a:pt x="192915" y="312588"/>
                    </a:cubicBezTo>
                    <a:cubicBezTo>
                      <a:pt x="133611" y="312588"/>
                      <a:pt x="84310" y="350413"/>
                      <a:pt x="65734" y="403225"/>
                    </a:cubicBezTo>
                    <a:cubicBezTo>
                      <a:pt x="65734" y="403225"/>
                      <a:pt x="65734" y="403225"/>
                      <a:pt x="15719" y="403225"/>
                    </a:cubicBezTo>
                    <a:cubicBezTo>
                      <a:pt x="7145" y="403225"/>
                      <a:pt x="0" y="395375"/>
                      <a:pt x="0" y="386811"/>
                    </a:cubicBezTo>
                    <a:cubicBezTo>
                      <a:pt x="0" y="386811"/>
                      <a:pt x="0" y="386811"/>
                      <a:pt x="0" y="16414"/>
                    </a:cubicBezTo>
                    <a:cubicBezTo>
                      <a:pt x="0" y="7137"/>
                      <a:pt x="7145" y="0"/>
                      <a:pt x="1571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BD28656C-CADC-4FBA-BF50-063E32964F05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and responsibilities</a:t>
            </a:r>
          </a:p>
        </p:txBody>
      </p: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30ED457C-CDB9-48D1-B2BE-6469A8B04931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85F337F4-94D3-435E-B111-567C20A9FA1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58541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86" imgH="286" progId="TCLayout.ActiveDocument.1">
                  <p:embed/>
                </p:oleObj>
              </mc:Choice>
              <mc:Fallback>
                <p:oleObj name="think-cell Slide" r:id="rId10" imgW="286" imgH="286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553998"/>
          </a:xfrm>
        </p:spPr>
        <p:txBody>
          <a:bodyPr vert="horz"/>
          <a:lstStyle/>
          <a:p>
            <a:r>
              <a:rPr lang="en-US" sz="2000" u="sng">
                <a:solidFill>
                  <a:srgbClr val="00269E"/>
                </a:solidFill>
              </a:rPr>
              <a:t>Employer journey</a:t>
            </a:r>
            <a:r>
              <a:rPr lang="en-US" sz="2000">
                <a:solidFill>
                  <a:srgbClr val="00269E"/>
                </a:solidFill>
              </a:rPr>
              <a:t>:</a:t>
            </a:r>
            <a:r>
              <a:rPr lang="en-US" sz="2000">
                <a:solidFill>
                  <a:srgbClr val="99CCFF"/>
                </a:solidFill>
              </a:rPr>
              <a:t> </a:t>
            </a:r>
            <a:r>
              <a:rPr lang="en-US" sz="2000"/>
              <a:t>Employers are supported by Market Makers across five simple steps to hire newly-trained employees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2D25853B-BE13-49E2-85A7-40350C7E9975}"/>
              </a:ext>
            </a:extLst>
          </p:cNvPr>
          <p:cNvSpPr txBox="1"/>
          <p:nvPr/>
        </p:nvSpPr>
        <p:spPr>
          <a:xfrm>
            <a:off x="2176041" y="1334132"/>
            <a:ext cx="9387308" cy="5596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r>
              <a:rPr lang="en-US" sz="1600" b="1">
                <a:solidFill>
                  <a:srgbClr val="000000"/>
                </a:solidFill>
              </a:rPr>
              <a:t>Market Makers support employers across these steps through regular conversations with employers, as well as coordinating with other workforce roles and training provider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47675" y="1893245"/>
            <a:ext cx="1539178" cy="449803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9522111" y="1796989"/>
            <a:ext cx="2041238" cy="2148952"/>
            <a:chOff x="9522111" y="4242323"/>
            <a:chExt cx="2041238" cy="2148952"/>
          </a:xfrm>
        </p:grpSpPr>
        <p:sp>
          <p:nvSpPr>
            <p:cNvPr id="36" name="Rounded Rectangle 35"/>
            <p:cNvSpPr/>
            <p:nvPr/>
          </p:nvSpPr>
          <p:spPr>
            <a:xfrm>
              <a:off x="9739489" y="5255629"/>
              <a:ext cx="1823859" cy="90098"/>
            </a:xfrm>
            <a:prstGeom prst="roundRect">
              <a:avLst>
                <a:gd name="adj" fmla="val 282842"/>
              </a:avLst>
            </a:prstGeom>
            <a:solidFill>
              <a:schemeClr val="bg1">
                <a:lumMod val="75000"/>
              </a:schemeClr>
            </a:solidFill>
            <a:ln w="9525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7" name="ValueChainStarter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9739489" y="5406835"/>
              <a:ext cx="1823859" cy="276999"/>
            </a:xfrm>
            <a:prstGeom prst="rect">
              <a:avLst/>
            </a:prstGeom>
            <a:noFill/>
            <a:ln w="38100" cap="rnd" algn="ctr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eaLnBrk="0" hangingPunct="0">
                <a:buFont typeface="Trebuchet MS" panose="020B0603020202020204" pitchFamily="34" charset="0"/>
                <a:buChar char="​"/>
              </a:pPr>
              <a:r>
                <a:rPr lang="en-US" b="1">
                  <a:solidFill>
                    <a:srgbClr val="000000"/>
                  </a:solidFill>
                  <a:sym typeface="Trebuchet MS" panose="020B0603020202020204" pitchFamily="34" charset="0"/>
                </a:rPr>
                <a:t>Hire</a:t>
              </a: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9739489" y="5744944"/>
              <a:ext cx="1823859" cy="64633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>
                  <a:solidFill>
                    <a:srgbClr val="000000"/>
                  </a:solidFill>
                </a:rPr>
                <a:t>Employer hires</a:t>
              </a:r>
              <a:br>
                <a:rPr lang="en-US" sz="1400">
                  <a:solidFill>
                    <a:srgbClr val="000000"/>
                  </a:solidFill>
                </a:rPr>
              </a:br>
              <a:r>
                <a:rPr lang="en-US" sz="1400">
                  <a:solidFill>
                    <a:srgbClr val="000000"/>
                  </a:solidFill>
                </a:rPr>
                <a:t>program graduates upon completion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11092066" y="4330064"/>
              <a:ext cx="471283" cy="101566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6600" b="1">
                  <a:solidFill>
                    <a:schemeClr val="bg1">
                      <a:lumMod val="75000"/>
                    </a:schemeClr>
                  </a:solidFill>
                </a:rPr>
                <a:t>5</a:t>
              </a:r>
            </a:p>
          </p:txBody>
        </p:sp>
        <p:grpSp>
          <p:nvGrpSpPr>
            <p:cNvPr id="139" name="Group 138"/>
            <p:cNvGrpSpPr>
              <a:grpSpLocks noChangeAspect="1"/>
            </p:cNvGrpSpPr>
            <p:nvPr/>
          </p:nvGrpSpPr>
          <p:grpSpPr>
            <a:xfrm>
              <a:off x="9522111" y="4242323"/>
              <a:ext cx="1026390" cy="1026390"/>
              <a:chOff x="5273675" y="2606675"/>
              <a:chExt cx="1644650" cy="1644650"/>
            </a:xfrm>
          </p:grpSpPr>
          <p:sp>
            <p:nvSpPr>
              <p:cNvPr id="140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41" name="Group 140"/>
              <p:cNvGrpSpPr/>
              <p:nvPr/>
            </p:nvGrpSpPr>
            <p:grpSpPr>
              <a:xfrm>
                <a:off x="5646738" y="2778124"/>
                <a:ext cx="898525" cy="1304927"/>
                <a:chOff x="5646738" y="2778124"/>
                <a:chExt cx="898525" cy="1304927"/>
              </a:xfrm>
            </p:grpSpPr>
            <p:sp>
              <p:nvSpPr>
                <p:cNvPr id="142" name="Freeform 141"/>
                <p:cNvSpPr>
                  <a:spLocks/>
                </p:cNvSpPr>
                <p:nvPr/>
              </p:nvSpPr>
              <p:spPr bwMode="auto">
                <a:xfrm>
                  <a:off x="5646738" y="2890838"/>
                  <a:ext cx="898525" cy="1192213"/>
                </a:xfrm>
                <a:custGeom>
                  <a:avLst/>
                  <a:gdLst>
                    <a:gd name="connsiteX0" fmla="*/ 319134 w 898525"/>
                    <a:gd name="connsiteY0" fmla="*/ 817629 h 1192213"/>
                    <a:gd name="connsiteX1" fmla="*/ 341244 w 898525"/>
                    <a:gd name="connsiteY1" fmla="*/ 817629 h 1192213"/>
                    <a:gd name="connsiteX2" fmla="*/ 341244 w 898525"/>
                    <a:gd name="connsiteY2" fmla="*/ 839730 h 1192213"/>
                    <a:gd name="connsiteX3" fmla="*/ 310575 w 898525"/>
                    <a:gd name="connsiteY3" fmla="*/ 870387 h 1192213"/>
                    <a:gd name="connsiteX4" fmla="*/ 279193 w 898525"/>
                    <a:gd name="connsiteY4" fmla="*/ 901757 h 1192213"/>
                    <a:gd name="connsiteX5" fmla="*/ 255656 w 898525"/>
                    <a:gd name="connsiteY5" fmla="*/ 925997 h 1192213"/>
                    <a:gd name="connsiteX6" fmla="*/ 244245 w 898525"/>
                    <a:gd name="connsiteY6" fmla="*/ 930275 h 1192213"/>
                    <a:gd name="connsiteX7" fmla="*/ 232833 w 898525"/>
                    <a:gd name="connsiteY7" fmla="*/ 925997 h 1192213"/>
                    <a:gd name="connsiteX8" fmla="*/ 205731 w 898525"/>
                    <a:gd name="connsiteY8" fmla="*/ 898192 h 1192213"/>
                    <a:gd name="connsiteX9" fmla="*/ 205731 w 898525"/>
                    <a:gd name="connsiteY9" fmla="*/ 876091 h 1192213"/>
                    <a:gd name="connsiteX10" fmla="*/ 227841 w 898525"/>
                    <a:gd name="connsiteY10" fmla="*/ 876091 h 1192213"/>
                    <a:gd name="connsiteX11" fmla="*/ 244245 w 898525"/>
                    <a:gd name="connsiteY11" fmla="*/ 892489 h 1192213"/>
                    <a:gd name="connsiteX12" fmla="*/ 277767 w 898525"/>
                    <a:gd name="connsiteY12" fmla="*/ 858980 h 1192213"/>
                    <a:gd name="connsiteX13" fmla="*/ 305582 w 898525"/>
                    <a:gd name="connsiteY13" fmla="*/ 831175 h 1192213"/>
                    <a:gd name="connsiteX14" fmla="*/ 319134 w 898525"/>
                    <a:gd name="connsiteY14" fmla="*/ 817629 h 1192213"/>
                    <a:gd name="connsiteX15" fmla="*/ 542424 w 898525"/>
                    <a:gd name="connsiteY15" fmla="*/ 566737 h 1192213"/>
                    <a:gd name="connsiteX16" fmla="*/ 658896 w 898525"/>
                    <a:gd name="connsiteY16" fmla="*/ 586603 h 1192213"/>
                    <a:gd name="connsiteX17" fmla="*/ 725655 w 898525"/>
                    <a:gd name="connsiteY17" fmla="*/ 684514 h 1192213"/>
                    <a:gd name="connsiteX18" fmla="*/ 719263 w 898525"/>
                    <a:gd name="connsiteY18" fmla="*/ 693737 h 1192213"/>
                    <a:gd name="connsiteX19" fmla="*/ 514726 w 898525"/>
                    <a:gd name="connsiteY19" fmla="*/ 693737 h 1192213"/>
                    <a:gd name="connsiteX20" fmla="*/ 511175 w 898525"/>
                    <a:gd name="connsiteY20" fmla="*/ 689480 h 1192213"/>
                    <a:gd name="connsiteX21" fmla="*/ 539583 w 898525"/>
                    <a:gd name="connsiteY21" fmla="*/ 568866 h 1192213"/>
                    <a:gd name="connsiteX22" fmla="*/ 542424 w 898525"/>
                    <a:gd name="connsiteY22" fmla="*/ 566737 h 1192213"/>
                    <a:gd name="connsiteX23" fmla="*/ 356101 w 898525"/>
                    <a:gd name="connsiteY23" fmla="*/ 566737 h 1192213"/>
                    <a:gd name="connsiteX24" fmla="*/ 358942 w 898525"/>
                    <a:gd name="connsiteY24" fmla="*/ 568866 h 1192213"/>
                    <a:gd name="connsiteX25" fmla="*/ 387350 w 898525"/>
                    <a:gd name="connsiteY25" fmla="*/ 689480 h 1192213"/>
                    <a:gd name="connsiteX26" fmla="*/ 383799 w 898525"/>
                    <a:gd name="connsiteY26" fmla="*/ 693737 h 1192213"/>
                    <a:gd name="connsiteX27" fmla="*/ 179262 w 898525"/>
                    <a:gd name="connsiteY27" fmla="*/ 693737 h 1192213"/>
                    <a:gd name="connsiteX28" fmla="*/ 172870 w 898525"/>
                    <a:gd name="connsiteY28" fmla="*/ 684514 h 1192213"/>
                    <a:gd name="connsiteX29" fmla="*/ 239629 w 898525"/>
                    <a:gd name="connsiteY29" fmla="*/ 586603 h 1192213"/>
                    <a:gd name="connsiteX30" fmla="*/ 356101 w 898525"/>
                    <a:gd name="connsiteY30" fmla="*/ 566737 h 1192213"/>
                    <a:gd name="connsiteX31" fmla="*/ 301625 w 898525"/>
                    <a:gd name="connsiteY31" fmla="*/ 396875 h 1192213"/>
                    <a:gd name="connsiteX32" fmla="*/ 317392 w 898525"/>
                    <a:gd name="connsiteY32" fmla="*/ 403996 h 1192213"/>
                    <a:gd name="connsiteX33" fmla="*/ 331726 w 898525"/>
                    <a:gd name="connsiteY33" fmla="*/ 420374 h 1192213"/>
                    <a:gd name="connsiteX34" fmla="*/ 334592 w 898525"/>
                    <a:gd name="connsiteY34" fmla="*/ 424646 h 1192213"/>
                    <a:gd name="connsiteX35" fmla="*/ 379027 w 898525"/>
                    <a:gd name="connsiteY35" fmla="*/ 517218 h 1192213"/>
                    <a:gd name="connsiteX36" fmla="*/ 449262 w 898525"/>
                    <a:gd name="connsiteY36" fmla="*/ 552111 h 1192213"/>
                    <a:gd name="connsiteX37" fmla="*/ 519498 w 898525"/>
                    <a:gd name="connsiteY37" fmla="*/ 517218 h 1192213"/>
                    <a:gd name="connsiteX38" fmla="*/ 563933 w 898525"/>
                    <a:gd name="connsiteY38" fmla="*/ 424646 h 1192213"/>
                    <a:gd name="connsiteX39" fmla="*/ 566799 w 898525"/>
                    <a:gd name="connsiteY39" fmla="*/ 420374 h 1192213"/>
                    <a:gd name="connsiteX40" fmla="*/ 581133 w 898525"/>
                    <a:gd name="connsiteY40" fmla="*/ 403996 h 1192213"/>
                    <a:gd name="connsiteX41" fmla="*/ 596900 w 898525"/>
                    <a:gd name="connsiteY41" fmla="*/ 396875 h 1192213"/>
                    <a:gd name="connsiteX42" fmla="*/ 596900 w 898525"/>
                    <a:gd name="connsiteY42" fmla="*/ 397587 h 1192213"/>
                    <a:gd name="connsiteX43" fmla="*/ 575400 w 898525"/>
                    <a:gd name="connsiteY43" fmla="*/ 431055 h 1192213"/>
                    <a:gd name="connsiteX44" fmla="*/ 530965 w 898525"/>
                    <a:gd name="connsiteY44" fmla="*/ 524339 h 1192213"/>
                    <a:gd name="connsiteX45" fmla="*/ 530965 w 898525"/>
                    <a:gd name="connsiteY45" fmla="*/ 554959 h 1192213"/>
                    <a:gd name="connsiteX46" fmla="*/ 528815 w 898525"/>
                    <a:gd name="connsiteY46" fmla="*/ 557807 h 1192213"/>
                    <a:gd name="connsiteX47" fmla="*/ 517348 w 898525"/>
                    <a:gd name="connsiteY47" fmla="*/ 569913 h 1192213"/>
                    <a:gd name="connsiteX48" fmla="*/ 517348 w 898525"/>
                    <a:gd name="connsiteY48" fmla="*/ 535733 h 1192213"/>
                    <a:gd name="connsiteX49" fmla="*/ 449262 w 898525"/>
                    <a:gd name="connsiteY49" fmla="*/ 566352 h 1192213"/>
                    <a:gd name="connsiteX50" fmla="*/ 381177 w 898525"/>
                    <a:gd name="connsiteY50" fmla="*/ 535733 h 1192213"/>
                    <a:gd name="connsiteX51" fmla="*/ 381177 w 898525"/>
                    <a:gd name="connsiteY51" fmla="*/ 569913 h 1192213"/>
                    <a:gd name="connsiteX52" fmla="*/ 369710 w 898525"/>
                    <a:gd name="connsiteY52" fmla="*/ 557807 h 1192213"/>
                    <a:gd name="connsiteX53" fmla="*/ 367560 w 898525"/>
                    <a:gd name="connsiteY53" fmla="*/ 554959 h 1192213"/>
                    <a:gd name="connsiteX54" fmla="*/ 367560 w 898525"/>
                    <a:gd name="connsiteY54" fmla="*/ 524339 h 1192213"/>
                    <a:gd name="connsiteX55" fmla="*/ 323125 w 898525"/>
                    <a:gd name="connsiteY55" fmla="*/ 431055 h 1192213"/>
                    <a:gd name="connsiteX56" fmla="*/ 301625 w 898525"/>
                    <a:gd name="connsiteY56" fmla="*/ 398299 h 1192213"/>
                    <a:gd name="connsiteX57" fmla="*/ 301625 w 898525"/>
                    <a:gd name="connsiteY57" fmla="*/ 396875 h 1192213"/>
                    <a:gd name="connsiteX58" fmla="*/ 15713 w 898525"/>
                    <a:gd name="connsiteY58" fmla="*/ 0 h 1192213"/>
                    <a:gd name="connsiteX59" fmla="*/ 272843 w 898525"/>
                    <a:gd name="connsiteY59" fmla="*/ 0 h 1192213"/>
                    <a:gd name="connsiteX60" fmla="*/ 272843 w 898525"/>
                    <a:gd name="connsiteY60" fmla="*/ 31411 h 1192213"/>
                    <a:gd name="connsiteX61" fmla="*/ 31427 w 898525"/>
                    <a:gd name="connsiteY61" fmla="*/ 31411 h 1192213"/>
                    <a:gd name="connsiteX62" fmla="*/ 31427 w 898525"/>
                    <a:gd name="connsiteY62" fmla="*/ 1160802 h 1192213"/>
                    <a:gd name="connsiteX63" fmla="*/ 867098 w 898525"/>
                    <a:gd name="connsiteY63" fmla="*/ 1160802 h 1192213"/>
                    <a:gd name="connsiteX64" fmla="*/ 867098 w 898525"/>
                    <a:gd name="connsiteY64" fmla="*/ 31411 h 1192213"/>
                    <a:gd name="connsiteX65" fmla="*/ 625682 w 898525"/>
                    <a:gd name="connsiteY65" fmla="*/ 31411 h 1192213"/>
                    <a:gd name="connsiteX66" fmla="*/ 625682 w 898525"/>
                    <a:gd name="connsiteY66" fmla="*/ 0 h 1192213"/>
                    <a:gd name="connsiteX67" fmla="*/ 882812 w 898525"/>
                    <a:gd name="connsiteY67" fmla="*/ 0 h 1192213"/>
                    <a:gd name="connsiteX68" fmla="*/ 898525 w 898525"/>
                    <a:gd name="connsiteY68" fmla="*/ 15706 h 1192213"/>
                    <a:gd name="connsiteX69" fmla="*/ 898525 w 898525"/>
                    <a:gd name="connsiteY69" fmla="*/ 1176507 h 1192213"/>
                    <a:gd name="connsiteX70" fmla="*/ 882812 w 898525"/>
                    <a:gd name="connsiteY70" fmla="*/ 1192213 h 1192213"/>
                    <a:gd name="connsiteX71" fmla="*/ 15713 w 898525"/>
                    <a:gd name="connsiteY71" fmla="*/ 1192213 h 1192213"/>
                    <a:gd name="connsiteX72" fmla="*/ 0 w 898525"/>
                    <a:gd name="connsiteY72" fmla="*/ 1176507 h 1192213"/>
                    <a:gd name="connsiteX73" fmla="*/ 0 w 898525"/>
                    <a:gd name="connsiteY73" fmla="*/ 15706 h 1192213"/>
                    <a:gd name="connsiteX74" fmla="*/ 15713 w 898525"/>
                    <a:gd name="connsiteY74" fmla="*/ 0 h 1192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</a:cxnLst>
                  <a:rect l="l" t="t" r="r" b="b"/>
                  <a:pathLst>
                    <a:path w="898525" h="1192213">
                      <a:moveTo>
                        <a:pt x="319134" y="817629"/>
                      </a:moveTo>
                      <a:cubicBezTo>
                        <a:pt x="325553" y="811212"/>
                        <a:pt x="335538" y="811212"/>
                        <a:pt x="341244" y="817629"/>
                      </a:cubicBezTo>
                      <a:cubicBezTo>
                        <a:pt x="347663" y="823332"/>
                        <a:pt x="347663" y="833314"/>
                        <a:pt x="341244" y="839730"/>
                      </a:cubicBezTo>
                      <a:cubicBezTo>
                        <a:pt x="341244" y="839730"/>
                        <a:pt x="341244" y="839730"/>
                        <a:pt x="310575" y="870387"/>
                      </a:cubicBezTo>
                      <a:cubicBezTo>
                        <a:pt x="310575" y="870387"/>
                        <a:pt x="310575" y="870387"/>
                        <a:pt x="279193" y="901757"/>
                      </a:cubicBezTo>
                      <a:cubicBezTo>
                        <a:pt x="279193" y="901757"/>
                        <a:pt x="279193" y="901757"/>
                        <a:pt x="255656" y="925997"/>
                      </a:cubicBezTo>
                      <a:cubicBezTo>
                        <a:pt x="252090" y="928849"/>
                        <a:pt x="248524" y="930275"/>
                        <a:pt x="244245" y="930275"/>
                      </a:cubicBezTo>
                      <a:cubicBezTo>
                        <a:pt x="239965" y="930275"/>
                        <a:pt x="236399" y="928849"/>
                        <a:pt x="232833" y="925997"/>
                      </a:cubicBezTo>
                      <a:cubicBezTo>
                        <a:pt x="232833" y="925997"/>
                        <a:pt x="232833" y="925997"/>
                        <a:pt x="205731" y="898192"/>
                      </a:cubicBezTo>
                      <a:cubicBezTo>
                        <a:pt x="200025" y="892489"/>
                        <a:pt x="200025" y="882507"/>
                        <a:pt x="205731" y="876091"/>
                      </a:cubicBezTo>
                      <a:cubicBezTo>
                        <a:pt x="212150" y="870387"/>
                        <a:pt x="222135" y="870387"/>
                        <a:pt x="227841" y="876091"/>
                      </a:cubicBezTo>
                      <a:cubicBezTo>
                        <a:pt x="227841" y="876091"/>
                        <a:pt x="227841" y="876091"/>
                        <a:pt x="244245" y="892489"/>
                      </a:cubicBezTo>
                      <a:cubicBezTo>
                        <a:pt x="244245" y="892489"/>
                        <a:pt x="244245" y="892489"/>
                        <a:pt x="277767" y="858980"/>
                      </a:cubicBezTo>
                      <a:cubicBezTo>
                        <a:pt x="277767" y="858980"/>
                        <a:pt x="277767" y="858980"/>
                        <a:pt x="305582" y="831175"/>
                      </a:cubicBezTo>
                      <a:cubicBezTo>
                        <a:pt x="305582" y="831175"/>
                        <a:pt x="305582" y="831175"/>
                        <a:pt x="319134" y="817629"/>
                      </a:cubicBezTo>
                      <a:close/>
                      <a:moveTo>
                        <a:pt x="542424" y="566737"/>
                      </a:moveTo>
                      <a:cubicBezTo>
                        <a:pt x="555918" y="566737"/>
                        <a:pt x="621966" y="568866"/>
                        <a:pt x="658896" y="586603"/>
                      </a:cubicBezTo>
                      <a:cubicBezTo>
                        <a:pt x="692276" y="602212"/>
                        <a:pt x="717132" y="661100"/>
                        <a:pt x="725655" y="684514"/>
                      </a:cubicBezTo>
                      <a:cubicBezTo>
                        <a:pt x="727075" y="688771"/>
                        <a:pt x="724234" y="693737"/>
                        <a:pt x="719263" y="693737"/>
                      </a:cubicBezTo>
                      <a:cubicBezTo>
                        <a:pt x="719263" y="693737"/>
                        <a:pt x="719263" y="693737"/>
                        <a:pt x="514726" y="693737"/>
                      </a:cubicBezTo>
                      <a:cubicBezTo>
                        <a:pt x="512596" y="693737"/>
                        <a:pt x="511175" y="691609"/>
                        <a:pt x="511175" y="689480"/>
                      </a:cubicBezTo>
                      <a:cubicBezTo>
                        <a:pt x="511175" y="689480"/>
                        <a:pt x="511175" y="689480"/>
                        <a:pt x="539583" y="568866"/>
                      </a:cubicBezTo>
                      <a:cubicBezTo>
                        <a:pt x="539583" y="567447"/>
                        <a:pt x="541004" y="566737"/>
                        <a:pt x="542424" y="566737"/>
                      </a:cubicBezTo>
                      <a:close/>
                      <a:moveTo>
                        <a:pt x="356101" y="566737"/>
                      </a:moveTo>
                      <a:cubicBezTo>
                        <a:pt x="357521" y="566737"/>
                        <a:pt x="358942" y="567447"/>
                        <a:pt x="358942" y="568866"/>
                      </a:cubicBezTo>
                      <a:cubicBezTo>
                        <a:pt x="387350" y="689480"/>
                        <a:pt x="387350" y="689480"/>
                        <a:pt x="387350" y="689480"/>
                      </a:cubicBezTo>
                      <a:cubicBezTo>
                        <a:pt x="387350" y="691609"/>
                        <a:pt x="385929" y="693737"/>
                        <a:pt x="383799" y="693737"/>
                      </a:cubicBezTo>
                      <a:cubicBezTo>
                        <a:pt x="383799" y="693737"/>
                        <a:pt x="383799" y="693737"/>
                        <a:pt x="179262" y="693737"/>
                      </a:cubicBezTo>
                      <a:cubicBezTo>
                        <a:pt x="174291" y="693737"/>
                        <a:pt x="171450" y="688771"/>
                        <a:pt x="172870" y="684514"/>
                      </a:cubicBezTo>
                      <a:cubicBezTo>
                        <a:pt x="181393" y="661100"/>
                        <a:pt x="206249" y="602212"/>
                        <a:pt x="239629" y="586603"/>
                      </a:cubicBezTo>
                      <a:cubicBezTo>
                        <a:pt x="276559" y="568866"/>
                        <a:pt x="342607" y="566737"/>
                        <a:pt x="356101" y="566737"/>
                      </a:cubicBezTo>
                      <a:close/>
                      <a:moveTo>
                        <a:pt x="301625" y="396875"/>
                      </a:moveTo>
                      <a:cubicBezTo>
                        <a:pt x="301625" y="396875"/>
                        <a:pt x="301625" y="396875"/>
                        <a:pt x="317392" y="403996"/>
                      </a:cubicBezTo>
                      <a:cubicBezTo>
                        <a:pt x="319542" y="410405"/>
                        <a:pt x="323842" y="416813"/>
                        <a:pt x="331726" y="420374"/>
                      </a:cubicBezTo>
                      <a:cubicBezTo>
                        <a:pt x="333159" y="421798"/>
                        <a:pt x="334592" y="422510"/>
                        <a:pt x="334592" y="424646"/>
                      </a:cubicBezTo>
                      <a:cubicBezTo>
                        <a:pt x="347493" y="455978"/>
                        <a:pt x="370427" y="509385"/>
                        <a:pt x="379027" y="517218"/>
                      </a:cubicBezTo>
                      <a:cubicBezTo>
                        <a:pt x="393361" y="529324"/>
                        <a:pt x="429195" y="552111"/>
                        <a:pt x="449262" y="552111"/>
                      </a:cubicBezTo>
                      <a:cubicBezTo>
                        <a:pt x="469329" y="552111"/>
                        <a:pt x="505164" y="529324"/>
                        <a:pt x="519498" y="517218"/>
                      </a:cubicBezTo>
                      <a:cubicBezTo>
                        <a:pt x="528098" y="509385"/>
                        <a:pt x="551032" y="455978"/>
                        <a:pt x="563933" y="424646"/>
                      </a:cubicBezTo>
                      <a:cubicBezTo>
                        <a:pt x="563933" y="422510"/>
                        <a:pt x="565366" y="421798"/>
                        <a:pt x="566799" y="420374"/>
                      </a:cubicBezTo>
                      <a:cubicBezTo>
                        <a:pt x="574683" y="416813"/>
                        <a:pt x="578983" y="410405"/>
                        <a:pt x="581133" y="403996"/>
                      </a:cubicBezTo>
                      <a:cubicBezTo>
                        <a:pt x="581133" y="403996"/>
                        <a:pt x="581133" y="403996"/>
                        <a:pt x="596900" y="396875"/>
                      </a:cubicBezTo>
                      <a:cubicBezTo>
                        <a:pt x="596900" y="396875"/>
                        <a:pt x="596900" y="397587"/>
                        <a:pt x="596900" y="397587"/>
                      </a:cubicBezTo>
                      <a:cubicBezTo>
                        <a:pt x="596184" y="404708"/>
                        <a:pt x="591883" y="421798"/>
                        <a:pt x="575400" y="431055"/>
                      </a:cubicBezTo>
                      <a:cubicBezTo>
                        <a:pt x="568949" y="448857"/>
                        <a:pt x="545299" y="507249"/>
                        <a:pt x="530965" y="524339"/>
                      </a:cubicBezTo>
                      <a:cubicBezTo>
                        <a:pt x="530965" y="524339"/>
                        <a:pt x="530965" y="524339"/>
                        <a:pt x="530965" y="554959"/>
                      </a:cubicBezTo>
                      <a:cubicBezTo>
                        <a:pt x="530965" y="554959"/>
                        <a:pt x="530965" y="554959"/>
                        <a:pt x="528815" y="557807"/>
                      </a:cubicBezTo>
                      <a:cubicBezTo>
                        <a:pt x="528098" y="558519"/>
                        <a:pt x="524515" y="563504"/>
                        <a:pt x="517348" y="569913"/>
                      </a:cubicBezTo>
                      <a:cubicBezTo>
                        <a:pt x="517348" y="569913"/>
                        <a:pt x="517348" y="569913"/>
                        <a:pt x="517348" y="535733"/>
                      </a:cubicBezTo>
                      <a:cubicBezTo>
                        <a:pt x="499430" y="549262"/>
                        <a:pt x="469329" y="566352"/>
                        <a:pt x="449262" y="566352"/>
                      </a:cubicBezTo>
                      <a:cubicBezTo>
                        <a:pt x="429195" y="566352"/>
                        <a:pt x="399094" y="549262"/>
                        <a:pt x="381177" y="535733"/>
                      </a:cubicBezTo>
                      <a:cubicBezTo>
                        <a:pt x="381177" y="535733"/>
                        <a:pt x="381177" y="535733"/>
                        <a:pt x="381177" y="569913"/>
                      </a:cubicBezTo>
                      <a:cubicBezTo>
                        <a:pt x="374010" y="563504"/>
                        <a:pt x="370427" y="558519"/>
                        <a:pt x="369710" y="557807"/>
                      </a:cubicBezTo>
                      <a:cubicBezTo>
                        <a:pt x="369710" y="557807"/>
                        <a:pt x="369710" y="557807"/>
                        <a:pt x="367560" y="554959"/>
                      </a:cubicBezTo>
                      <a:cubicBezTo>
                        <a:pt x="367560" y="554959"/>
                        <a:pt x="367560" y="554959"/>
                        <a:pt x="367560" y="524339"/>
                      </a:cubicBezTo>
                      <a:cubicBezTo>
                        <a:pt x="353226" y="507961"/>
                        <a:pt x="329576" y="448857"/>
                        <a:pt x="323125" y="431055"/>
                      </a:cubicBezTo>
                      <a:cubicBezTo>
                        <a:pt x="307358" y="422510"/>
                        <a:pt x="303058" y="406844"/>
                        <a:pt x="301625" y="398299"/>
                      </a:cubicBezTo>
                      <a:cubicBezTo>
                        <a:pt x="301625" y="398299"/>
                        <a:pt x="301625" y="397587"/>
                        <a:pt x="301625" y="396875"/>
                      </a:cubicBezTo>
                      <a:close/>
                      <a:moveTo>
                        <a:pt x="15713" y="0"/>
                      </a:moveTo>
                      <a:cubicBezTo>
                        <a:pt x="15713" y="0"/>
                        <a:pt x="15713" y="0"/>
                        <a:pt x="272843" y="0"/>
                      </a:cubicBezTo>
                      <a:cubicBezTo>
                        <a:pt x="272843" y="0"/>
                        <a:pt x="272843" y="0"/>
                        <a:pt x="272843" y="31411"/>
                      </a:cubicBezTo>
                      <a:cubicBezTo>
                        <a:pt x="272843" y="31411"/>
                        <a:pt x="272843" y="31411"/>
                        <a:pt x="31427" y="31411"/>
                      </a:cubicBezTo>
                      <a:cubicBezTo>
                        <a:pt x="31427" y="31411"/>
                        <a:pt x="31427" y="31411"/>
                        <a:pt x="31427" y="1160802"/>
                      </a:cubicBezTo>
                      <a:cubicBezTo>
                        <a:pt x="31427" y="1160802"/>
                        <a:pt x="31427" y="1160802"/>
                        <a:pt x="867098" y="1160802"/>
                      </a:cubicBezTo>
                      <a:cubicBezTo>
                        <a:pt x="867098" y="1160802"/>
                        <a:pt x="867098" y="1160802"/>
                        <a:pt x="867098" y="31411"/>
                      </a:cubicBezTo>
                      <a:cubicBezTo>
                        <a:pt x="867098" y="31411"/>
                        <a:pt x="867098" y="31411"/>
                        <a:pt x="625682" y="31411"/>
                      </a:cubicBezTo>
                      <a:cubicBezTo>
                        <a:pt x="625682" y="31411"/>
                        <a:pt x="625682" y="31411"/>
                        <a:pt x="625682" y="0"/>
                      </a:cubicBezTo>
                      <a:cubicBezTo>
                        <a:pt x="625682" y="0"/>
                        <a:pt x="625682" y="0"/>
                        <a:pt x="882812" y="0"/>
                      </a:cubicBezTo>
                      <a:cubicBezTo>
                        <a:pt x="892097" y="0"/>
                        <a:pt x="898525" y="7139"/>
                        <a:pt x="898525" y="15706"/>
                      </a:cubicBezTo>
                      <a:cubicBezTo>
                        <a:pt x="898525" y="15706"/>
                        <a:pt x="898525" y="15706"/>
                        <a:pt x="898525" y="1176507"/>
                      </a:cubicBezTo>
                      <a:cubicBezTo>
                        <a:pt x="898525" y="1185788"/>
                        <a:pt x="892097" y="1192213"/>
                        <a:pt x="882812" y="1192213"/>
                      </a:cubicBezTo>
                      <a:cubicBezTo>
                        <a:pt x="882812" y="1192213"/>
                        <a:pt x="882812" y="1192213"/>
                        <a:pt x="15713" y="1192213"/>
                      </a:cubicBezTo>
                      <a:cubicBezTo>
                        <a:pt x="6428" y="1192213"/>
                        <a:pt x="0" y="1185788"/>
                        <a:pt x="0" y="1176507"/>
                      </a:cubicBezTo>
                      <a:cubicBezTo>
                        <a:pt x="0" y="1176507"/>
                        <a:pt x="0" y="1176507"/>
                        <a:pt x="0" y="15706"/>
                      </a:cubicBezTo>
                      <a:cubicBezTo>
                        <a:pt x="0" y="7139"/>
                        <a:pt x="6428" y="0"/>
                        <a:pt x="15713" y="0"/>
                      </a:cubicBez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42"/>
                <p:cNvSpPr>
                  <a:spLocks/>
                </p:cNvSpPr>
                <p:nvPr/>
              </p:nvSpPr>
              <p:spPr bwMode="auto">
                <a:xfrm>
                  <a:off x="5805488" y="2778124"/>
                  <a:ext cx="581025" cy="1092200"/>
                </a:xfrm>
                <a:custGeom>
                  <a:avLst/>
                  <a:gdLst>
                    <a:gd name="connsiteX0" fmla="*/ 280801 w 581025"/>
                    <a:gd name="connsiteY0" fmla="*/ 1050925 h 1092200"/>
                    <a:gd name="connsiteX1" fmla="*/ 565337 w 581025"/>
                    <a:gd name="connsiteY1" fmla="*/ 1050925 h 1092200"/>
                    <a:gd name="connsiteX2" fmla="*/ 581025 w 581025"/>
                    <a:gd name="connsiteY2" fmla="*/ 1066800 h 1092200"/>
                    <a:gd name="connsiteX3" fmla="*/ 565337 w 581025"/>
                    <a:gd name="connsiteY3" fmla="*/ 1082675 h 1092200"/>
                    <a:gd name="connsiteX4" fmla="*/ 280801 w 581025"/>
                    <a:gd name="connsiteY4" fmla="*/ 1082675 h 1092200"/>
                    <a:gd name="connsiteX5" fmla="*/ 265112 w 581025"/>
                    <a:gd name="connsiteY5" fmla="*/ 1066800 h 1092200"/>
                    <a:gd name="connsiteX6" fmla="*/ 280801 w 581025"/>
                    <a:gd name="connsiteY6" fmla="*/ 1050925 h 1092200"/>
                    <a:gd name="connsiteX7" fmla="*/ 280801 w 581025"/>
                    <a:gd name="connsiteY7" fmla="*/ 950913 h 1092200"/>
                    <a:gd name="connsiteX8" fmla="*/ 565337 w 581025"/>
                    <a:gd name="connsiteY8" fmla="*/ 950913 h 1092200"/>
                    <a:gd name="connsiteX9" fmla="*/ 581025 w 581025"/>
                    <a:gd name="connsiteY9" fmla="*/ 966788 h 1092200"/>
                    <a:gd name="connsiteX10" fmla="*/ 565337 w 581025"/>
                    <a:gd name="connsiteY10" fmla="*/ 982663 h 1092200"/>
                    <a:gd name="connsiteX11" fmla="*/ 280801 w 581025"/>
                    <a:gd name="connsiteY11" fmla="*/ 982663 h 1092200"/>
                    <a:gd name="connsiteX12" fmla="*/ 265112 w 581025"/>
                    <a:gd name="connsiteY12" fmla="*/ 966788 h 1092200"/>
                    <a:gd name="connsiteX13" fmla="*/ 280801 w 581025"/>
                    <a:gd name="connsiteY13" fmla="*/ 950913 h 1092200"/>
                    <a:gd name="connsiteX14" fmla="*/ 15667 w 581025"/>
                    <a:gd name="connsiteY14" fmla="*/ 939800 h 1092200"/>
                    <a:gd name="connsiteX15" fmla="*/ 107534 w 581025"/>
                    <a:gd name="connsiteY15" fmla="*/ 939800 h 1092200"/>
                    <a:gd name="connsiteX16" fmla="*/ 76200 w 581025"/>
                    <a:gd name="connsiteY16" fmla="*/ 971135 h 1092200"/>
                    <a:gd name="connsiteX17" fmla="*/ 31334 w 581025"/>
                    <a:gd name="connsiteY17" fmla="*/ 971135 h 1092200"/>
                    <a:gd name="connsiteX18" fmla="*/ 31334 w 581025"/>
                    <a:gd name="connsiteY18" fmla="*/ 1060866 h 1092200"/>
                    <a:gd name="connsiteX19" fmla="*/ 121065 w 581025"/>
                    <a:gd name="connsiteY19" fmla="*/ 1060866 h 1092200"/>
                    <a:gd name="connsiteX20" fmla="*/ 121065 w 581025"/>
                    <a:gd name="connsiteY20" fmla="*/ 1057305 h 1092200"/>
                    <a:gd name="connsiteX21" fmla="*/ 152400 w 581025"/>
                    <a:gd name="connsiteY21" fmla="*/ 1025970 h 1092200"/>
                    <a:gd name="connsiteX22" fmla="*/ 152400 w 581025"/>
                    <a:gd name="connsiteY22" fmla="*/ 1076533 h 1092200"/>
                    <a:gd name="connsiteX23" fmla="*/ 136732 w 581025"/>
                    <a:gd name="connsiteY23" fmla="*/ 1092200 h 1092200"/>
                    <a:gd name="connsiteX24" fmla="*/ 15667 w 581025"/>
                    <a:gd name="connsiteY24" fmla="*/ 1092200 h 1092200"/>
                    <a:gd name="connsiteX25" fmla="*/ 0 w 581025"/>
                    <a:gd name="connsiteY25" fmla="*/ 1076533 h 1092200"/>
                    <a:gd name="connsiteX26" fmla="*/ 0 w 581025"/>
                    <a:gd name="connsiteY26" fmla="*/ 955467 h 1092200"/>
                    <a:gd name="connsiteX27" fmla="*/ 15667 w 581025"/>
                    <a:gd name="connsiteY27" fmla="*/ 939800 h 1092200"/>
                    <a:gd name="connsiteX28" fmla="*/ 291523 w 581025"/>
                    <a:gd name="connsiteY28" fmla="*/ 696913 h 1092200"/>
                    <a:gd name="connsiteX29" fmla="*/ 321830 w 581025"/>
                    <a:gd name="connsiteY29" fmla="*/ 701209 h 1092200"/>
                    <a:gd name="connsiteX30" fmla="*/ 323995 w 581025"/>
                    <a:gd name="connsiteY30" fmla="*/ 705504 h 1092200"/>
                    <a:gd name="connsiteX31" fmla="*/ 303790 w 581025"/>
                    <a:gd name="connsiteY31" fmla="*/ 737005 h 1092200"/>
                    <a:gd name="connsiteX32" fmla="*/ 303790 w 581025"/>
                    <a:gd name="connsiteY32" fmla="*/ 739153 h 1092200"/>
                    <a:gd name="connsiteX33" fmla="*/ 325438 w 581025"/>
                    <a:gd name="connsiteY33" fmla="*/ 802156 h 1092200"/>
                    <a:gd name="connsiteX34" fmla="*/ 322552 w 581025"/>
                    <a:gd name="connsiteY34" fmla="*/ 806451 h 1092200"/>
                    <a:gd name="connsiteX35" fmla="*/ 258330 w 581025"/>
                    <a:gd name="connsiteY35" fmla="*/ 806451 h 1092200"/>
                    <a:gd name="connsiteX36" fmla="*/ 254722 w 581025"/>
                    <a:gd name="connsiteY36" fmla="*/ 802156 h 1092200"/>
                    <a:gd name="connsiteX37" fmla="*/ 278535 w 581025"/>
                    <a:gd name="connsiteY37" fmla="*/ 739153 h 1092200"/>
                    <a:gd name="connsiteX38" fmla="*/ 277813 w 581025"/>
                    <a:gd name="connsiteY38" fmla="*/ 737005 h 1092200"/>
                    <a:gd name="connsiteX39" fmla="*/ 258330 w 581025"/>
                    <a:gd name="connsiteY39" fmla="*/ 705504 h 1092200"/>
                    <a:gd name="connsiteX40" fmla="*/ 259773 w 581025"/>
                    <a:gd name="connsiteY40" fmla="*/ 701209 h 1092200"/>
                    <a:gd name="connsiteX41" fmla="*/ 291523 w 581025"/>
                    <a:gd name="connsiteY41" fmla="*/ 696913 h 1092200"/>
                    <a:gd name="connsiteX42" fmla="*/ 290512 w 581025"/>
                    <a:gd name="connsiteY42" fmla="*/ 287338 h 1092200"/>
                    <a:gd name="connsiteX43" fmla="*/ 435850 w 581025"/>
                    <a:gd name="connsiteY43" fmla="*/ 436217 h 1092200"/>
                    <a:gd name="connsiteX44" fmla="*/ 430863 w 581025"/>
                    <a:gd name="connsiteY44" fmla="*/ 486793 h 1092200"/>
                    <a:gd name="connsiteX45" fmla="*/ 430863 w 581025"/>
                    <a:gd name="connsiteY45" fmla="*/ 486081 h 1092200"/>
                    <a:gd name="connsiteX46" fmla="*/ 413764 w 581025"/>
                    <a:gd name="connsiteY46" fmla="*/ 509588 h 1092200"/>
                    <a:gd name="connsiteX47" fmla="*/ 403790 w 581025"/>
                    <a:gd name="connsiteY47" fmla="*/ 509588 h 1092200"/>
                    <a:gd name="connsiteX48" fmla="*/ 402365 w 581025"/>
                    <a:gd name="connsiteY48" fmla="*/ 399888 h 1092200"/>
                    <a:gd name="connsiteX49" fmla="*/ 210719 w 581025"/>
                    <a:gd name="connsiteY49" fmla="*/ 407011 h 1092200"/>
                    <a:gd name="connsiteX50" fmla="*/ 175097 w 581025"/>
                    <a:gd name="connsiteY50" fmla="*/ 508163 h 1092200"/>
                    <a:gd name="connsiteX51" fmla="*/ 165123 w 581025"/>
                    <a:gd name="connsiteY51" fmla="*/ 506739 h 1092200"/>
                    <a:gd name="connsiteX52" fmla="*/ 150874 w 581025"/>
                    <a:gd name="connsiteY52" fmla="*/ 488218 h 1092200"/>
                    <a:gd name="connsiteX53" fmla="*/ 145174 w 581025"/>
                    <a:gd name="connsiteY53" fmla="*/ 436217 h 1092200"/>
                    <a:gd name="connsiteX54" fmla="*/ 290512 w 581025"/>
                    <a:gd name="connsiteY54" fmla="*/ 287338 h 1092200"/>
                    <a:gd name="connsiteX55" fmla="*/ 291741 w 581025"/>
                    <a:gd name="connsiteY55" fmla="*/ 30163 h 1092200"/>
                    <a:gd name="connsiteX56" fmla="*/ 270233 w 581025"/>
                    <a:gd name="connsiteY56" fmla="*/ 34440 h 1092200"/>
                    <a:gd name="connsiteX57" fmla="*/ 236537 w 581025"/>
                    <a:gd name="connsiteY57" fmla="*/ 65088 h 1092200"/>
                    <a:gd name="connsiteX58" fmla="*/ 347662 w 581025"/>
                    <a:gd name="connsiteY58" fmla="*/ 65088 h 1092200"/>
                    <a:gd name="connsiteX59" fmla="*/ 313966 w 581025"/>
                    <a:gd name="connsiteY59" fmla="*/ 34440 h 1092200"/>
                    <a:gd name="connsiteX60" fmla="*/ 291741 w 581025"/>
                    <a:gd name="connsiteY60" fmla="*/ 30163 h 1092200"/>
                    <a:gd name="connsiteX61" fmla="*/ 291307 w 581025"/>
                    <a:gd name="connsiteY61" fmla="*/ 0 h 1092200"/>
                    <a:gd name="connsiteX62" fmla="*/ 364293 w 581025"/>
                    <a:gd name="connsiteY62" fmla="*/ 35602 h 1092200"/>
                    <a:gd name="connsiteX63" fmla="*/ 380750 w 581025"/>
                    <a:gd name="connsiteY63" fmla="*/ 66220 h 1092200"/>
                    <a:gd name="connsiteX64" fmla="*/ 430123 w 581025"/>
                    <a:gd name="connsiteY64" fmla="*/ 66220 h 1092200"/>
                    <a:gd name="connsiteX65" fmla="*/ 436563 w 581025"/>
                    <a:gd name="connsiteY65" fmla="*/ 73340 h 1092200"/>
                    <a:gd name="connsiteX66" fmla="*/ 436563 w 581025"/>
                    <a:gd name="connsiteY66" fmla="*/ 113927 h 1092200"/>
                    <a:gd name="connsiteX67" fmla="*/ 436563 w 581025"/>
                    <a:gd name="connsiteY67" fmla="*/ 145256 h 1092200"/>
                    <a:gd name="connsiteX68" fmla="*/ 436563 w 581025"/>
                    <a:gd name="connsiteY68" fmla="*/ 178010 h 1092200"/>
                    <a:gd name="connsiteX69" fmla="*/ 421537 w 581025"/>
                    <a:gd name="connsiteY69" fmla="*/ 193675 h 1092200"/>
                    <a:gd name="connsiteX70" fmla="*/ 161792 w 581025"/>
                    <a:gd name="connsiteY70" fmla="*/ 193675 h 1092200"/>
                    <a:gd name="connsiteX71" fmla="*/ 146050 w 581025"/>
                    <a:gd name="connsiteY71" fmla="*/ 178010 h 1092200"/>
                    <a:gd name="connsiteX72" fmla="*/ 146050 w 581025"/>
                    <a:gd name="connsiteY72" fmla="*/ 145256 h 1092200"/>
                    <a:gd name="connsiteX73" fmla="*/ 146050 w 581025"/>
                    <a:gd name="connsiteY73" fmla="*/ 113927 h 1092200"/>
                    <a:gd name="connsiteX74" fmla="*/ 146050 w 581025"/>
                    <a:gd name="connsiteY74" fmla="*/ 73340 h 1092200"/>
                    <a:gd name="connsiteX75" fmla="*/ 153206 w 581025"/>
                    <a:gd name="connsiteY75" fmla="*/ 66220 h 1092200"/>
                    <a:gd name="connsiteX76" fmla="*/ 202579 w 581025"/>
                    <a:gd name="connsiteY76" fmla="*/ 66220 h 1092200"/>
                    <a:gd name="connsiteX77" fmla="*/ 218321 w 581025"/>
                    <a:gd name="connsiteY77" fmla="*/ 35602 h 1092200"/>
                    <a:gd name="connsiteX78" fmla="*/ 291307 w 581025"/>
                    <a:gd name="connsiteY78" fmla="*/ 0 h 1092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581025" h="1092200">
                      <a:moveTo>
                        <a:pt x="280801" y="1050925"/>
                      </a:moveTo>
                      <a:cubicBezTo>
                        <a:pt x="280801" y="1050925"/>
                        <a:pt x="280801" y="1050925"/>
                        <a:pt x="565337" y="1050925"/>
                      </a:cubicBezTo>
                      <a:cubicBezTo>
                        <a:pt x="573894" y="1050925"/>
                        <a:pt x="581025" y="1057419"/>
                        <a:pt x="581025" y="1066800"/>
                      </a:cubicBezTo>
                      <a:cubicBezTo>
                        <a:pt x="581025" y="1075459"/>
                        <a:pt x="573894" y="1082675"/>
                        <a:pt x="565337" y="1082675"/>
                      </a:cubicBezTo>
                      <a:cubicBezTo>
                        <a:pt x="565337" y="1082675"/>
                        <a:pt x="565337" y="1082675"/>
                        <a:pt x="280801" y="1082675"/>
                      </a:cubicBezTo>
                      <a:cubicBezTo>
                        <a:pt x="272243" y="1082675"/>
                        <a:pt x="265112" y="1075459"/>
                        <a:pt x="265112" y="1066800"/>
                      </a:cubicBezTo>
                      <a:cubicBezTo>
                        <a:pt x="265112" y="1057419"/>
                        <a:pt x="272243" y="1050925"/>
                        <a:pt x="280801" y="1050925"/>
                      </a:cubicBezTo>
                      <a:close/>
                      <a:moveTo>
                        <a:pt x="280801" y="950913"/>
                      </a:moveTo>
                      <a:cubicBezTo>
                        <a:pt x="280801" y="950913"/>
                        <a:pt x="280801" y="950913"/>
                        <a:pt x="565337" y="950913"/>
                      </a:cubicBezTo>
                      <a:cubicBezTo>
                        <a:pt x="573894" y="950913"/>
                        <a:pt x="581025" y="958129"/>
                        <a:pt x="581025" y="966788"/>
                      </a:cubicBezTo>
                      <a:cubicBezTo>
                        <a:pt x="581025" y="975447"/>
                        <a:pt x="573894" y="982663"/>
                        <a:pt x="565337" y="982663"/>
                      </a:cubicBezTo>
                      <a:cubicBezTo>
                        <a:pt x="565337" y="982663"/>
                        <a:pt x="565337" y="982663"/>
                        <a:pt x="280801" y="982663"/>
                      </a:cubicBezTo>
                      <a:cubicBezTo>
                        <a:pt x="272243" y="982663"/>
                        <a:pt x="265112" y="975447"/>
                        <a:pt x="265112" y="966788"/>
                      </a:cubicBezTo>
                      <a:cubicBezTo>
                        <a:pt x="265112" y="958129"/>
                        <a:pt x="272243" y="950913"/>
                        <a:pt x="280801" y="950913"/>
                      </a:cubicBezTo>
                      <a:close/>
                      <a:moveTo>
                        <a:pt x="15667" y="939800"/>
                      </a:moveTo>
                      <a:cubicBezTo>
                        <a:pt x="15667" y="939800"/>
                        <a:pt x="15667" y="939800"/>
                        <a:pt x="107534" y="939800"/>
                      </a:cubicBezTo>
                      <a:cubicBezTo>
                        <a:pt x="107534" y="939800"/>
                        <a:pt x="107534" y="939800"/>
                        <a:pt x="76200" y="971135"/>
                      </a:cubicBezTo>
                      <a:lnTo>
                        <a:pt x="31334" y="971135"/>
                      </a:lnTo>
                      <a:cubicBezTo>
                        <a:pt x="31334" y="971135"/>
                        <a:pt x="31334" y="971135"/>
                        <a:pt x="31334" y="1060866"/>
                      </a:cubicBezTo>
                      <a:cubicBezTo>
                        <a:pt x="31334" y="1060866"/>
                        <a:pt x="31334" y="1060866"/>
                        <a:pt x="121065" y="1060866"/>
                      </a:cubicBezTo>
                      <a:cubicBezTo>
                        <a:pt x="121065" y="1060866"/>
                        <a:pt x="121065" y="1060866"/>
                        <a:pt x="121065" y="1057305"/>
                      </a:cubicBezTo>
                      <a:cubicBezTo>
                        <a:pt x="121065" y="1057305"/>
                        <a:pt x="121065" y="1057305"/>
                        <a:pt x="152400" y="1025970"/>
                      </a:cubicBezTo>
                      <a:cubicBezTo>
                        <a:pt x="152400" y="1025970"/>
                        <a:pt x="152400" y="1025970"/>
                        <a:pt x="152400" y="1076533"/>
                      </a:cubicBezTo>
                      <a:cubicBezTo>
                        <a:pt x="152400" y="1085079"/>
                        <a:pt x="145990" y="1092200"/>
                        <a:pt x="136732" y="1092200"/>
                      </a:cubicBezTo>
                      <a:cubicBezTo>
                        <a:pt x="136732" y="1092200"/>
                        <a:pt x="136732" y="1092200"/>
                        <a:pt x="15667" y="1092200"/>
                      </a:cubicBezTo>
                      <a:cubicBezTo>
                        <a:pt x="7121" y="1092200"/>
                        <a:pt x="0" y="1085079"/>
                        <a:pt x="0" y="1076533"/>
                      </a:cubicBezTo>
                      <a:cubicBezTo>
                        <a:pt x="0" y="1076533"/>
                        <a:pt x="0" y="1076533"/>
                        <a:pt x="0" y="955467"/>
                      </a:cubicBezTo>
                      <a:cubicBezTo>
                        <a:pt x="0" y="946922"/>
                        <a:pt x="7121" y="939800"/>
                        <a:pt x="15667" y="939800"/>
                      </a:cubicBezTo>
                      <a:close/>
                      <a:moveTo>
                        <a:pt x="291523" y="696913"/>
                      </a:moveTo>
                      <a:cubicBezTo>
                        <a:pt x="302347" y="696913"/>
                        <a:pt x="315336" y="699777"/>
                        <a:pt x="321830" y="701209"/>
                      </a:cubicBezTo>
                      <a:cubicBezTo>
                        <a:pt x="323995" y="701925"/>
                        <a:pt x="324717" y="704072"/>
                        <a:pt x="323995" y="705504"/>
                      </a:cubicBezTo>
                      <a:cubicBezTo>
                        <a:pt x="323995" y="705504"/>
                        <a:pt x="323995" y="705504"/>
                        <a:pt x="303790" y="737005"/>
                      </a:cubicBezTo>
                      <a:cubicBezTo>
                        <a:pt x="303790" y="737005"/>
                        <a:pt x="303069" y="738437"/>
                        <a:pt x="303790" y="739153"/>
                      </a:cubicBezTo>
                      <a:cubicBezTo>
                        <a:pt x="303790" y="739153"/>
                        <a:pt x="303790" y="739153"/>
                        <a:pt x="325438" y="802156"/>
                      </a:cubicBezTo>
                      <a:cubicBezTo>
                        <a:pt x="325438" y="804303"/>
                        <a:pt x="324717" y="806451"/>
                        <a:pt x="322552" y="806451"/>
                      </a:cubicBezTo>
                      <a:cubicBezTo>
                        <a:pt x="322552" y="806451"/>
                        <a:pt x="322552" y="806451"/>
                        <a:pt x="258330" y="806451"/>
                      </a:cubicBezTo>
                      <a:cubicBezTo>
                        <a:pt x="256165" y="806451"/>
                        <a:pt x="254000" y="804303"/>
                        <a:pt x="254722" y="802156"/>
                      </a:cubicBezTo>
                      <a:cubicBezTo>
                        <a:pt x="254722" y="802156"/>
                        <a:pt x="254722" y="802156"/>
                        <a:pt x="278535" y="739153"/>
                      </a:cubicBezTo>
                      <a:cubicBezTo>
                        <a:pt x="278535" y="738437"/>
                        <a:pt x="278535" y="737721"/>
                        <a:pt x="277813" y="737005"/>
                      </a:cubicBezTo>
                      <a:cubicBezTo>
                        <a:pt x="277813" y="737005"/>
                        <a:pt x="277813" y="737005"/>
                        <a:pt x="258330" y="705504"/>
                      </a:cubicBezTo>
                      <a:cubicBezTo>
                        <a:pt x="256887" y="704072"/>
                        <a:pt x="258330" y="701925"/>
                        <a:pt x="259773" y="701209"/>
                      </a:cubicBezTo>
                      <a:cubicBezTo>
                        <a:pt x="266989" y="699777"/>
                        <a:pt x="281421" y="696913"/>
                        <a:pt x="291523" y="696913"/>
                      </a:cubicBezTo>
                      <a:close/>
                      <a:moveTo>
                        <a:pt x="290512" y="287338"/>
                      </a:moveTo>
                      <a:cubicBezTo>
                        <a:pt x="373155" y="287338"/>
                        <a:pt x="435850" y="353586"/>
                        <a:pt x="435850" y="436217"/>
                      </a:cubicBezTo>
                      <a:cubicBezTo>
                        <a:pt x="435850" y="454026"/>
                        <a:pt x="436562" y="471122"/>
                        <a:pt x="430863" y="486793"/>
                      </a:cubicBezTo>
                      <a:cubicBezTo>
                        <a:pt x="430863" y="486793"/>
                        <a:pt x="430863" y="486793"/>
                        <a:pt x="430863" y="486081"/>
                      </a:cubicBezTo>
                      <a:cubicBezTo>
                        <a:pt x="430150" y="486793"/>
                        <a:pt x="428013" y="494629"/>
                        <a:pt x="413764" y="509588"/>
                      </a:cubicBezTo>
                      <a:cubicBezTo>
                        <a:pt x="413764" y="509588"/>
                        <a:pt x="413764" y="509588"/>
                        <a:pt x="403790" y="509588"/>
                      </a:cubicBezTo>
                      <a:cubicBezTo>
                        <a:pt x="403790" y="509588"/>
                        <a:pt x="403790" y="503889"/>
                        <a:pt x="402365" y="399888"/>
                      </a:cubicBezTo>
                      <a:cubicBezTo>
                        <a:pt x="385979" y="483232"/>
                        <a:pt x="210719" y="407011"/>
                        <a:pt x="210719" y="407011"/>
                      </a:cubicBezTo>
                      <a:cubicBezTo>
                        <a:pt x="167260" y="419833"/>
                        <a:pt x="175097" y="508163"/>
                        <a:pt x="175097" y="508163"/>
                      </a:cubicBezTo>
                      <a:cubicBezTo>
                        <a:pt x="175097" y="508163"/>
                        <a:pt x="175097" y="508163"/>
                        <a:pt x="165123" y="506739"/>
                      </a:cubicBezTo>
                      <a:cubicBezTo>
                        <a:pt x="165123" y="506739"/>
                        <a:pt x="165123" y="501752"/>
                        <a:pt x="150874" y="488218"/>
                      </a:cubicBezTo>
                      <a:cubicBezTo>
                        <a:pt x="144462" y="471834"/>
                        <a:pt x="145174" y="454738"/>
                        <a:pt x="145174" y="436217"/>
                      </a:cubicBezTo>
                      <a:cubicBezTo>
                        <a:pt x="145174" y="353586"/>
                        <a:pt x="207869" y="287338"/>
                        <a:pt x="290512" y="287338"/>
                      </a:cubicBezTo>
                      <a:close/>
                      <a:moveTo>
                        <a:pt x="291741" y="30163"/>
                      </a:moveTo>
                      <a:cubicBezTo>
                        <a:pt x="284572" y="30163"/>
                        <a:pt x="276686" y="31589"/>
                        <a:pt x="270233" y="34440"/>
                      </a:cubicBezTo>
                      <a:cubicBezTo>
                        <a:pt x="255178" y="39429"/>
                        <a:pt x="242990" y="50833"/>
                        <a:pt x="236537" y="65088"/>
                      </a:cubicBezTo>
                      <a:cubicBezTo>
                        <a:pt x="236537" y="65088"/>
                        <a:pt x="236537" y="65088"/>
                        <a:pt x="347662" y="65088"/>
                      </a:cubicBezTo>
                      <a:cubicBezTo>
                        <a:pt x="340493" y="50833"/>
                        <a:pt x="328305" y="39429"/>
                        <a:pt x="313966" y="34440"/>
                      </a:cubicBezTo>
                      <a:cubicBezTo>
                        <a:pt x="306797" y="31589"/>
                        <a:pt x="299628" y="30163"/>
                        <a:pt x="291741" y="30163"/>
                      </a:cubicBezTo>
                      <a:close/>
                      <a:moveTo>
                        <a:pt x="291307" y="0"/>
                      </a:moveTo>
                      <a:cubicBezTo>
                        <a:pt x="321360" y="0"/>
                        <a:pt x="347120" y="13529"/>
                        <a:pt x="364293" y="35602"/>
                      </a:cubicBezTo>
                      <a:cubicBezTo>
                        <a:pt x="371448" y="44147"/>
                        <a:pt x="377173" y="54827"/>
                        <a:pt x="380750" y="66220"/>
                      </a:cubicBezTo>
                      <a:cubicBezTo>
                        <a:pt x="380750" y="66220"/>
                        <a:pt x="380750" y="66220"/>
                        <a:pt x="430123" y="66220"/>
                      </a:cubicBezTo>
                      <a:cubicBezTo>
                        <a:pt x="433701" y="66220"/>
                        <a:pt x="436563" y="69068"/>
                        <a:pt x="436563" y="73340"/>
                      </a:cubicBezTo>
                      <a:cubicBezTo>
                        <a:pt x="436563" y="73340"/>
                        <a:pt x="436563" y="73340"/>
                        <a:pt x="436563" y="113927"/>
                      </a:cubicBezTo>
                      <a:cubicBezTo>
                        <a:pt x="436563" y="113927"/>
                        <a:pt x="436563" y="113927"/>
                        <a:pt x="436563" y="145256"/>
                      </a:cubicBezTo>
                      <a:cubicBezTo>
                        <a:pt x="436563" y="145256"/>
                        <a:pt x="436563" y="145256"/>
                        <a:pt x="436563" y="178010"/>
                      </a:cubicBezTo>
                      <a:cubicBezTo>
                        <a:pt x="436563" y="186555"/>
                        <a:pt x="430123" y="193675"/>
                        <a:pt x="421537" y="193675"/>
                      </a:cubicBezTo>
                      <a:lnTo>
                        <a:pt x="161792" y="193675"/>
                      </a:lnTo>
                      <a:cubicBezTo>
                        <a:pt x="153206" y="193675"/>
                        <a:pt x="146050" y="186555"/>
                        <a:pt x="146050" y="178010"/>
                      </a:cubicBezTo>
                      <a:cubicBezTo>
                        <a:pt x="146050" y="178010"/>
                        <a:pt x="146050" y="178010"/>
                        <a:pt x="146050" y="145256"/>
                      </a:cubicBezTo>
                      <a:cubicBezTo>
                        <a:pt x="146050" y="145256"/>
                        <a:pt x="146050" y="145256"/>
                        <a:pt x="146050" y="113927"/>
                      </a:cubicBezTo>
                      <a:cubicBezTo>
                        <a:pt x="146050" y="113927"/>
                        <a:pt x="146050" y="113927"/>
                        <a:pt x="146050" y="73340"/>
                      </a:cubicBezTo>
                      <a:cubicBezTo>
                        <a:pt x="146050" y="69068"/>
                        <a:pt x="149628" y="66220"/>
                        <a:pt x="153206" y="66220"/>
                      </a:cubicBezTo>
                      <a:cubicBezTo>
                        <a:pt x="153206" y="66220"/>
                        <a:pt x="153206" y="66220"/>
                        <a:pt x="202579" y="66220"/>
                      </a:cubicBezTo>
                      <a:cubicBezTo>
                        <a:pt x="206156" y="54827"/>
                        <a:pt x="211165" y="44147"/>
                        <a:pt x="218321" y="35602"/>
                      </a:cubicBezTo>
                      <a:cubicBezTo>
                        <a:pt x="235494" y="13529"/>
                        <a:pt x="261969" y="0"/>
                        <a:pt x="291307" y="0"/>
                      </a:cubicBez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7" name="Group 16"/>
          <p:cNvGrpSpPr/>
          <p:nvPr/>
        </p:nvGrpSpPr>
        <p:grpSpPr>
          <a:xfrm>
            <a:off x="5750830" y="3026197"/>
            <a:ext cx="1981921" cy="2148952"/>
            <a:chOff x="5750830" y="4242323"/>
            <a:chExt cx="1981921" cy="2148952"/>
          </a:xfrm>
        </p:grpSpPr>
        <p:sp>
          <p:nvSpPr>
            <p:cNvPr id="37" name="Rounded Rectangle 36"/>
            <p:cNvSpPr/>
            <p:nvPr/>
          </p:nvSpPr>
          <p:spPr>
            <a:xfrm>
              <a:off x="5908892" y="5255629"/>
              <a:ext cx="1823859" cy="90098"/>
            </a:xfrm>
            <a:prstGeom prst="roundRect">
              <a:avLst>
                <a:gd name="adj" fmla="val 282842"/>
              </a:avLst>
            </a:prstGeom>
            <a:solidFill>
              <a:schemeClr val="bg1">
                <a:lumMod val="75000"/>
              </a:schemeClr>
            </a:solidFill>
            <a:ln w="9525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3" name="ValueChainStarter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908892" y="5406836"/>
              <a:ext cx="1823859" cy="276999"/>
            </a:xfrm>
            <a:prstGeom prst="rect">
              <a:avLst/>
            </a:prstGeom>
            <a:noFill/>
            <a:ln w="38100" cap="rnd" algn="ctr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eaLnBrk="0" hangingPunct="0">
                <a:buFont typeface="Trebuchet MS" panose="020B0603020202020204" pitchFamily="34" charset="0"/>
                <a:buChar char="​"/>
              </a:pPr>
              <a:r>
                <a:rPr lang="en-US" b="1">
                  <a:solidFill>
                    <a:srgbClr val="000000"/>
                  </a:solidFill>
                  <a:sym typeface="Trebuchet MS" panose="020B0603020202020204" pitchFamily="34" charset="0"/>
                </a:rPr>
                <a:t>Connect</a:t>
              </a: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5908892" y="5744944"/>
              <a:ext cx="1823859" cy="64633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>
                  <a:solidFill>
                    <a:srgbClr val="000000"/>
                  </a:solidFill>
                </a:rPr>
                <a:t>Employer connects</a:t>
              </a:r>
              <a:br>
                <a:rPr lang="en-US" sz="1400">
                  <a:solidFill>
                    <a:srgbClr val="000000"/>
                  </a:solidFill>
                </a:rPr>
              </a:br>
              <a:r>
                <a:rPr lang="en-US" sz="1400">
                  <a:solidFill>
                    <a:srgbClr val="000000"/>
                  </a:solidFill>
                </a:rPr>
                <a:t>to training provider</a:t>
              </a: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7261468" y="4330063"/>
              <a:ext cx="471283" cy="101566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6600" b="1">
                  <a:solidFill>
                    <a:schemeClr val="bg1">
                      <a:lumMod val="75000"/>
                    </a:schemeClr>
                  </a:solidFill>
                </a:rPr>
                <a:t>3</a:t>
              </a:r>
            </a:p>
          </p:txBody>
        </p:sp>
        <p:grpSp>
          <p:nvGrpSpPr>
            <p:cNvPr id="144" name="bcgIcons_SocialLocalMobile">
              <a:extLst>
                <a:ext uri="{FF2B5EF4-FFF2-40B4-BE49-F238E27FC236}">
                  <a16:creationId xmlns:a16="http://schemas.microsoft.com/office/drawing/2014/main" id="{9C6A3BF8-8BB1-4C26-961E-3A4C99E147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50830" y="4242323"/>
              <a:ext cx="1025440" cy="1026390"/>
              <a:chOff x="1682" y="0"/>
              <a:chExt cx="4316" cy="4320"/>
            </a:xfrm>
          </p:grpSpPr>
          <p:sp>
            <p:nvSpPr>
              <p:cNvPr id="145" name="AutoShape 14">
                <a:extLst>
                  <a:ext uri="{FF2B5EF4-FFF2-40B4-BE49-F238E27FC236}">
                    <a16:creationId xmlns:a16="http://schemas.microsoft.com/office/drawing/2014/main" id="{BDDACC51-4E38-4C73-AFB4-EFF891C07CB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6">
                <a:extLst>
                  <a:ext uri="{FF2B5EF4-FFF2-40B4-BE49-F238E27FC236}">
                    <a16:creationId xmlns:a16="http://schemas.microsoft.com/office/drawing/2014/main" id="{260CCC71-59BA-444A-9169-9A56D7C0F7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" y="626"/>
                <a:ext cx="2900" cy="3068"/>
              </a:xfrm>
              <a:custGeom>
                <a:avLst/>
                <a:gdLst>
                  <a:gd name="T0" fmla="*/ 1197 w 1548"/>
                  <a:gd name="T1" fmla="*/ 934 h 1636"/>
                  <a:gd name="T2" fmla="*/ 903 w 1548"/>
                  <a:gd name="T3" fmla="*/ 1093 h 1636"/>
                  <a:gd name="T4" fmla="*/ 736 w 1548"/>
                  <a:gd name="T5" fmla="*/ 1005 h 1636"/>
                  <a:gd name="T6" fmla="*/ 780 w 1548"/>
                  <a:gd name="T7" fmla="*/ 825 h 1636"/>
                  <a:gd name="T8" fmla="*/ 733 w 1548"/>
                  <a:gd name="T9" fmla="*/ 639 h 1636"/>
                  <a:gd name="T10" fmla="*/ 1056 w 1548"/>
                  <a:gd name="T11" fmla="*/ 451 h 1636"/>
                  <a:gd name="T12" fmla="*/ 1244 w 1548"/>
                  <a:gd name="T13" fmla="*/ 529 h 1636"/>
                  <a:gd name="T14" fmla="*/ 1509 w 1548"/>
                  <a:gd name="T15" fmla="*/ 265 h 1636"/>
                  <a:gd name="T16" fmla="*/ 1244 w 1548"/>
                  <a:gd name="T17" fmla="*/ 0 h 1636"/>
                  <a:gd name="T18" fmla="*/ 979 w 1548"/>
                  <a:gd name="T19" fmla="*/ 265 h 1636"/>
                  <a:gd name="T20" fmla="*/ 1027 w 1548"/>
                  <a:gd name="T21" fmla="*/ 417 h 1636"/>
                  <a:gd name="T22" fmla="*/ 710 w 1548"/>
                  <a:gd name="T23" fmla="*/ 602 h 1636"/>
                  <a:gd name="T24" fmla="*/ 390 w 1548"/>
                  <a:gd name="T25" fmla="*/ 435 h 1636"/>
                  <a:gd name="T26" fmla="*/ 0 w 1548"/>
                  <a:gd name="T27" fmla="*/ 825 h 1636"/>
                  <a:gd name="T28" fmla="*/ 390 w 1548"/>
                  <a:gd name="T29" fmla="*/ 1215 h 1636"/>
                  <a:gd name="T30" fmla="*/ 714 w 1548"/>
                  <a:gd name="T31" fmla="*/ 1043 h 1636"/>
                  <a:gd name="T32" fmla="*/ 881 w 1548"/>
                  <a:gd name="T33" fmla="*/ 1132 h 1636"/>
                  <a:gd name="T34" fmla="*/ 846 w 1548"/>
                  <a:gd name="T35" fmla="*/ 1285 h 1636"/>
                  <a:gd name="T36" fmla="*/ 1197 w 1548"/>
                  <a:gd name="T37" fmla="*/ 1636 h 1636"/>
                  <a:gd name="T38" fmla="*/ 1548 w 1548"/>
                  <a:gd name="T39" fmla="*/ 1285 h 1636"/>
                  <a:gd name="T40" fmla="*/ 1197 w 1548"/>
                  <a:gd name="T41" fmla="*/ 934 h 1636"/>
                  <a:gd name="T42" fmla="*/ 1244 w 1548"/>
                  <a:gd name="T43" fmla="*/ 44 h 1636"/>
                  <a:gd name="T44" fmla="*/ 1465 w 1548"/>
                  <a:gd name="T45" fmla="*/ 265 h 1636"/>
                  <a:gd name="T46" fmla="*/ 1244 w 1548"/>
                  <a:gd name="T47" fmla="*/ 485 h 1636"/>
                  <a:gd name="T48" fmla="*/ 1023 w 1548"/>
                  <a:gd name="T49" fmla="*/ 265 h 1636"/>
                  <a:gd name="T50" fmla="*/ 1244 w 1548"/>
                  <a:gd name="T51" fmla="*/ 44 h 1636"/>
                  <a:gd name="T52" fmla="*/ 390 w 1548"/>
                  <a:gd name="T53" fmla="*/ 1171 h 1636"/>
                  <a:gd name="T54" fmla="*/ 44 w 1548"/>
                  <a:gd name="T55" fmla="*/ 825 h 1636"/>
                  <a:gd name="T56" fmla="*/ 390 w 1548"/>
                  <a:gd name="T57" fmla="*/ 479 h 1636"/>
                  <a:gd name="T58" fmla="*/ 736 w 1548"/>
                  <a:gd name="T59" fmla="*/ 825 h 1636"/>
                  <a:gd name="T60" fmla="*/ 390 w 1548"/>
                  <a:gd name="T61" fmla="*/ 1171 h 1636"/>
                  <a:gd name="T62" fmla="*/ 1197 w 1548"/>
                  <a:gd name="T63" fmla="*/ 1592 h 1636"/>
                  <a:gd name="T64" fmla="*/ 890 w 1548"/>
                  <a:gd name="T65" fmla="*/ 1285 h 1636"/>
                  <a:gd name="T66" fmla="*/ 1197 w 1548"/>
                  <a:gd name="T67" fmla="*/ 978 h 1636"/>
                  <a:gd name="T68" fmla="*/ 1504 w 1548"/>
                  <a:gd name="T69" fmla="*/ 1285 h 1636"/>
                  <a:gd name="T70" fmla="*/ 1197 w 1548"/>
                  <a:gd name="T71" fmla="*/ 1592 h 1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48" h="1636">
                    <a:moveTo>
                      <a:pt x="1197" y="934"/>
                    </a:moveTo>
                    <a:cubicBezTo>
                      <a:pt x="1074" y="934"/>
                      <a:pt x="966" y="998"/>
                      <a:pt x="903" y="1093"/>
                    </a:cubicBezTo>
                    <a:cubicBezTo>
                      <a:pt x="736" y="1005"/>
                      <a:pt x="736" y="1005"/>
                      <a:pt x="736" y="1005"/>
                    </a:cubicBezTo>
                    <a:cubicBezTo>
                      <a:pt x="765" y="951"/>
                      <a:pt x="780" y="890"/>
                      <a:pt x="780" y="825"/>
                    </a:cubicBezTo>
                    <a:cubicBezTo>
                      <a:pt x="780" y="758"/>
                      <a:pt x="763" y="694"/>
                      <a:pt x="733" y="639"/>
                    </a:cubicBezTo>
                    <a:cubicBezTo>
                      <a:pt x="1056" y="451"/>
                      <a:pt x="1056" y="451"/>
                      <a:pt x="1056" y="451"/>
                    </a:cubicBezTo>
                    <a:cubicBezTo>
                      <a:pt x="1104" y="499"/>
                      <a:pt x="1171" y="529"/>
                      <a:pt x="1244" y="529"/>
                    </a:cubicBezTo>
                    <a:cubicBezTo>
                      <a:pt x="1390" y="529"/>
                      <a:pt x="1509" y="411"/>
                      <a:pt x="1509" y="265"/>
                    </a:cubicBezTo>
                    <a:cubicBezTo>
                      <a:pt x="1509" y="119"/>
                      <a:pt x="1390" y="0"/>
                      <a:pt x="1244" y="0"/>
                    </a:cubicBezTo>
                    <a:cubicBezTo>
                      <a:pt x="1098" y="0"/>
                      <a:pt x="979" y="119"/>
                      <a:pt x="979" y="265"/>
                    </a:cubicBezTo>
                    <a:cubicBezTo>
                      <a:pt x="979" y="321"/>
                      <a:pt x="997" y="374"/>
                      <a:pt x="1027" y="417"/>
                    </a:cubicBezTo>
                    <a:cubicBezTo>
                      <a:pt x="710" y="602"/>
                      <a:pt x="710" y="602"/>
                      <a:pt x="710" y="602"/>
                    </a:cubicBezTo>
                    <a:cubicBezTo>
                      <a:pt x="640" y="501"/>
                      <a:pt x="523" y="435"/>
                      <a:pt x="390" y="435"/>
                    </a:cubicBezTo>
                    <a:cubicBezTo>
                      <a:pt x="175" y="435"/>
                      <a:pt x="0" y="610"/>
                      <a:pt x="0" y="825"/>
                    </a:cubicBezTo>
                    <a:cubicBezTo>
                      <a:pt x="0" y="1040"/>
                      <a:pt x="175" y="1215"/>
                      <a:pt x="390" y="1215"/>
                    </a:cubicBezTo>
                    <a:cubicBezTo>
                      <a:pt x="525" y="1215"/>
                      <a:pt x="644" y="1146"/>
                      <a:pt x="714" y="1043"/>
                    </a:cubicBezTo>
                    <a:cubicBezTo>
                      <a:pt x="881" y="1132"/>
                      <a:pt x="881" y="1132"/>
                      <a:pt x="881" y="1132"/>
                    </a:cubicBezTo>
                    <a:cubicBezTo>
                      <a:pt x="859" y="1178"/>
                      <a:pt x="846" y="1230"/>
                      <a:pt x="846" y="1285"/>
                    </a:cubicBezTo>
                    <a:cubicBezTo>
                      <a:pt x="846" y="1479"/>
                      <a:pt x="1003" y="1636"/>
                      <a:pt x="1197" y="1636"/>
                    </a:cubicBezTo>
                    <a:cubicBezTo>
                      <a:pt x="1390" y="1636"/>
                      <a:pt x="1548" y="1479"/>
                      <a:pt x="1548" y="1285"/>
                    </a:cubicBezTo>
                    <a:cubicBezTo>
                      <a:pt x="1548" y="1092"/>
                      <a:pt x="1390" y="934"/>
                      <a:pt x="1197" y="934"/>
                    </a:cubicBezTo>
                    <a:close/>
                    <a:moveTo>
                      <a:pt x="1244" y="44"/>
                    </a:moveTo>
                    <a:cubicBezTo>
                      <a:pt x="1366" y="44"/>
                      <a:pt x="1465" y="143"/>
                      <a:pt x="1465" y="265"/>
                    </a:cubicBezTo>
                    <a:cubicBezTo>
                      <a:pt x="1465" y="386"/>
                      <a:pt x="1366" y="485"/>
                      <a:pt x="1244" y="485"/>
                    </a:cubicBezTo>
                    <a:cubicBezTo>
                      <a:pt x="1122" y="485"/>
                      <a:pt x="1023" y="386"/>
                      <a:pt x="1023" y="265"/>
                    </a:cubicBezTo>
                    <a:cubicBezTo>
                      <a:pt x="1023" y="143"/>
                      <a:pt x="1122" y="44"/>
                      <a:pt x="1244" y="44"/>
                    </a:cubicBezTo>
                    <a:close/>
                    <a:moveTo>
                      <a:pt x="390" y="1171"/>
                    </a:moveTo>
                    <a:cubicBezTo>
                      <a:pt x="199" y="1171"/>
                      <a:pt x="44" y="1016"/>
                      <a:pt x="44" y="825"/>
                    </a:cubicBezTo>
                    <a:cubicBezTo>
                      <a:pt x="44" y="634"/>
                      <a:pt x="199" y="479"/>
                      <a:pt x="390" y="479"/>
                    </a:cubicBezTo>
                    <a:cubicBezTo>
                      <a:pt x="581" y="479"/>
                      <a:pt x="736" y="634"/>
                      <a:pt x="736" y="825"/>
                    </a:cubicBezTo>
                    <a:cubicBezTo>
                      <a:pt x="736" y="1016"/>
                      <a:pt x="581" y="1171"/>
                      <a:pt x="390" y="1171"/>
                    </a:cubicBezTo>
                    <a:close/>
                    <a:moveTo>
                      <a:pt x="1197" y="1592"/>
                    </a:moveTo>
                    <a:cubicBezTo>
                      <a:pt x="1028" y="1592"/>
                      <a:pt x="890" y="1454"/>
                      <a:pt x="890" y="1285"/>
                    </a:cubicBezTo>
                    <a:cubicBezTo>
                      <a:pt x="890" y="1116"/>
                      <a:pt x="1028" y="978"/>
                      <a:pt x="1197" y="978"/>
                    </a:cubicBezTo>
                    <a:cubicBezTo>
                      <a:pt x="1366" y="978"/>
                      <a:pt x="1504" y="1116"/>
                      <a:pt x="1504" y="1285"/>
                    </a:cubicBezTo>
                    <a:cubicBezTo>
                      <a:pt x="1504" y="1454"/>
                      <a:pt x="1366" y="1592"/>
                      <a:pt x="1197" y="1592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7">
                <a:extLst>
                  <a:ext uri="{FF2B5EF4-FFF2-40B4-BE49-F238E27FC236}">
                    <a16:creationId xmlns:a16="http://schemas.microsoft.com/office/drawing/2014/main" id="{FD4F62CA-1AC9-4756-BA29-FDF0D113F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55" y="791"/>
                <a:ext cx="2570" cy="2738"/>
              </a:xfrm>
              <a:custGeom>
                <a:avLst/>
                <a:gdLst>
                  <a:gd name="T0" fmla="*/ 1156 w 1372"/>
                  <a:gd name="T1" fmla="*/ 353 h 1460"/>
                  <a:gd name="T2" fmla="*/ 979 w 1372"/>
                  <a:gd name="T3" fmla="*/ 177 h 1460"/>
                  <a:gd name="T4" fmla="*/ 1156 w 1372"/>
                  <a:gd name="T5" fmla="*/ 0 h 1460"/>
                  <a:gd name="T6" fmla="*/ 1333 w 1372"/>
                  <a:gd name="T7" fmla="*/ 177 h 1460"/>
                  <a:gd name="T8" fmla="*/ 1156 w 1372"/>
                  <a:gd name="T9" fmla="*/ 353 h 1460"/>
                  <a:gd name="T10" fmla="*/ 1372 w 1372"/>
                  <a:gd name="T11" fmla="*/ 1197 h 1460"/>
                  <a:gd name="T12" fmla="*/ 1109 w 1372"/>
                  <a:gd name="T13" fmla="*/ 934 h 1460"/>
                  <a:gd name="T14" fmla="*/ 846 w 1372"/>
                  <a:gd name="T15" fmla="*/ 1197 h 1460"/>
                  <a:gd name="T16" fmla="*/ 1109 w 1372"/>
                  <a:gd name="T17" fmla="*/ 1460 h 1460"/>
                  <a:gd name="T18" fmla="*/ 1372 w 1372"/>
                  <a:gd name="T19" fmla="*/ 1197 h 1460"/>
                  <a:gd name="T20" fmla="*/ 604 w 1372"/>
                  <a:gd name="T21" fmla="*/ 737 h 1460"/>
                  <a:gd name="T22" fmla="*/ 302 w 1372"/>
                  <a:gd name="T23" fmla="*/ 435 h 1460"/>
                  <a:gd name="T24" fmla="*/ 0 w 1372"/>
                  <a:gd name="T25" fmla="*/ 737 h 1460"/>
                  <a:gd name="T26" fmla="*/ 302 w 1372"/>
                  <a:gd name="T27" fmla="*/ 1039 h 1460"/>
                  <a:gd name="T28" fmla="*/ 604 w 1372"/>
                  <a:gd name="T29" fmla="*/ 737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72" h="1460">
                    <a:moveTo>
                      <a:pt x="1156" y="353"/>
                    </a:moveTo>
                    <a:cubicBezTo>
                      <a:pt x="1059" y="353"/>
                      <a:pt x="979" y="274"/>
                      <a:pt x="979" y="177"/>
                    </a:cubicBezTo>
                    <a:cubicBezTo>
                      <a:pt x="979" y="79"/>
                      <a:pt x="1059" y="0"/>
                      <a:pt x="1156" y="0"/>
                    </a:cubicBezTo>
                    <a:cubicBezTo>
                      <a:pt x="1254" y="0"/>
                      <a:pt x="1333" y="79"/>
                      <a:pt x="1333" y="177"/>
                    </a:cubicBezTo>
                    <a:cubicBezTo>
                      <a:pt x="1333" y="274"/>
                      <a:pt x="1254" y="353"/>
                      <a:pt x="1156" y="353"/>
                    </a:cubicBezTo>
                    <a:close/>
                    <a:moveTo>
                      <a:pt x="1372" y="1197"/>
                    </a:moveTo>
                    <a:cubicBezTo>
                      <a:pt x="1372" y="1052"/>
                      <a:pt x="1254" y="934"/>
                      <a:pt x="1109" y="934"/>
                    </a:cubicBezTo>
                    <a:cubicBezTo>
                      <a:pt x="964" y="934"/>
                      <a:pt x="846" y="1052"/>
                      <a:pt x="846" y="1197"/>
                    </a:cubicBezTo>
                    <a:cubicBezTo>
                      <a:pt x="846" y="1342"/>
                      <a:pt x="964" y="1460"/>
                      <a:pt x="1109" y="1460"/>
                    </a:cubicBezTo>
                    <a:cubicBezTo>
                      <a:pt x="1254" y="1460"/>
                      <a:pt x="1372" y="1342"/>
                      <a:pt x="1372" y="1197"/>
                    </a:cubicBezTo>
                    <a:close/>
                    <a:moveTo>
                      <a:pt x="604" y="737"/>
                    </a:moveTo>
                    <a:cubicBezTo>
                      <a:pt x="604" y="570"/>
                      <a:pt x="469" y="435"/>
                      <a:pt x="302" y="435"/>
                    </a:cubicBezTo>
                    <a:cubicBezTo>
                      <a:pt x="136" y="435"/>
                      <a:pt x="0" y="570"/>
                      <a:pt x="0" y="737"/>
                    </a:cubicBezTo>
                    <a:cubicBezTo>
                      <a:pt x="0" y="903"/>
                      <a:pt x="136" y="1039"/>
                      <a:pt x="302" y="1039"/>
                    </a:cubicBezTo>
                    <a:cubicBezTo>
                      <a:pt x="469" y="1039"/>
                      <a:pt x="604" y="903"/>
                      <a:pt x="604" y="737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A0839110-5D91-4CD9-9DBE-CEB5FAD3C8E0}"/>
              </a:ext>
            </a:extLst>
          </p:cNvPr>
          <p:cNvGrpSpPr>
            <a:grpSpLocks noChangeAspect="1"/>
          </p:cNvGrpSpPr>
          <p:nvPr/>
        </p:nvGrpSpPr>
        <p:grpSpPr>
          <a:xfrm>
            <a:off x="677153" y="3153320"/>
            <a:ext cx="1080225" cy="1081226"/>
            <a:chOff x="5273802" y="2606040"/>
            <a:chExt cx="1644396" cy="1645920"/>
          </a:xfrm>
        </p:grpSpPr>
        <p:sp>
          <p:nvSpPr>
            <p:cNvPr id="134" name="AutoShape 13">
              <a:extLst>
                <a:ext uri="{FF2B5EF4-FFF2-40B4-BE49-F238E27FC236}">
                  <a16:creationId xmlns:a16="http://schemas.microsoft.com/office/drawing/2014/main" id="{1258D017-ECCE-481D-9009-1B745A6887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0352111A-17E6-4670-BFC4-96B53561AAC3}"/>
                </a:ext>
              </a:extLst>
            </p:cNvPr>
            <p:cNvGrpSpPr/>
            <p:nvPr/>
          </p:nvGrpSpPr>
          <p:grpSpPr>
            <a:xfrm>
              <a:off x="5452110" y="2803779"/>
              <a:ext cx="1288923" cy="1200912"/>
              <a:chOff x="5452110" y="2803779"/>
              <a:chExt cx="1288923" cy="1200912"/>
            </a:xfrm>
          </p:grpSpPr>
          <p:sp>
            <p:nvSpPr>
              <p:cNvPr id="136" name="Freeform 15">
                <a:extLst>
                  <a:ext uri="{FF2B5EF4-FFF2-40B4-BE49-F238E27FC236}">
                    <a16:creationId xmlns:a16="http://schemas.microsoft.com/office/drawing/2014/main" id="{6FC84B21-CDE0-4F79-89D4-263D416B4A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9196" y="2803779"/>
                <a:ext cx="675132" cy="1200912"/>
              </a:xfrm>
              <a:custGeom>
                <a:avLst/>
                <a:gdLst>
                  <a:gd name="T0" fmla="*/ 928 w 946"/>
                  <a:gd name="T1" fmla="*/ 647 h 1681"/>
                  <a:gd name="T2" fmla="*/ 928 w 946"/>
                  <a:gd name="T3" fmla="*/ 646 h 1681"/>
                  <a:gd name="T4" fmla="*/ 874 w 946"/>
                  <a:gd name="T5" fmla="*/ 722 h 1681"/>
                  <a:gd name="T6" fmla="*/ 840 w 946"/>
                  <a:gd name="T7" fmla="*/ 722 h 1681"/>
                  <a:gd name="T8" fmla="*/ 835 w 946"/>
                  <a:gd name="T9" fmla="*/ 366 h 1681"/>
                  <a:gd name="T10" fmla="*/ 214 w 946"/>
                  <a:gd name="T11" fmla="*/ 388 h 1681"/>
                  <a:gd name="T12" fmla="*/ 98 w 946"/>
                  <a:gd name="T13" fmla="*/ 716 h 1681"/>
                  <a:gd name="T14" fmla="*/ 67 w 946"/>
                  <a:gd name="T15" fmla="*/ 713 h 1681"/>
                  <a:gd name="T16" fmla="*/ 20 w 946"/>
                  <a:gd name="T17" fmla="*/ 653 h 1681"/>
                  <a:gd name="T18" fmla="*/ 20 w 946"/>
                  <a:gd name="T19" fmla="*/ 652 h 1681"/>
                  <a:gd name="T20" fmla="*/ 1 w 946"/>
                  <a:gd name="T21" fmla="*/ 483 h 1681"/>
                  <a:gd name="T22" fmla="*/ 473 w 946"/>
                  <a:gd name="T23" fmla="*/ 0 h 1681"/>
                  <a:gd name="T24" fmla="*/ 945 w 946"/>
                  <a:gd name="T25" fmla="*/ 483 h 1681"/>
                  <a:gd name="T26" fmla="*/ 928 w 946"/>
                  <a:gd name="T27" fmla="*/ 647 h 1681"/>
                  <a:gd name="T28" fmla="*/ 583 w 946"/>
                  <a:gd name="T29" fmla="*/ 1667 h 1681"/>
                  <a:gd name="T30" fmla="*/ 514 w 946"/>
                  <a:gd name="T31" fmla="*/ 1465 h 1681"/>
                  <a:gd name="T32" fmla="*/ 515 w 946"/>
                  <a:gd name="T33" fmla="*/ 1457 h 1681"/>
                  <a:gd name="T34" fmla="*/ 579 w 946"/>
                  <a:gd name="T35" fmla="*/ 1356 h 1681"/>
                  <a:gd name="T36" fmla="*/ 573 w 946"/>
                  <a:gd name="T37" fmla="*/ 1342 h 1681"/>
                  <a:gd name="T38" fmla="*/ 476 w 946"/>
                  <a:gd name="T39" fmla="*/ 1329 h 1681"/>
                  <a:gd name="T40" fmla="*/ 374 w 946"/>
                  <a:gd name="T41" fmla="*/ 1342 h 1681"/>
                  <a:gd name="T42" fmla="*/ 368 w 946"/>
                  <a:gd name="T43" fmla="*/ 1357 h 1681"/>
                  <a:gd name="T44" fmla="*/ 432 w 946"/>
                  <a:gd name="T45" fmla="*/ 1457 h 1681"/>
                  <a:gd name="T46" fmla="*/ 433 w 946"/>
                  <a:gd name="T47" fmla="*/ 1465 h 1681"/>
                  <a:gd name="T48" fmla="*/ 358 w 946"/>
                  <a:gd name="T49" fmla="*/ 1667 h 1681"/>
                  <a:gd name="T50" fmla="*/ 368 w 946"/>
                  <a:gd name="T51" fmla="*/ 1681 h 1681"/>
                  <a:gd name="T52" fmla="*/ 574 w 946"/>
                  <a:gd name="T53" fmla="*/ 1681 h 1681"/>
                  <a:gd name="T54" fmla="*/ 583 w 946"/>
                  <a:gd name="T55" fmla="*/ 1667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681">
                    <a:moveTo>
                      <a:pt x="928" y="647"/>
                    </a:moveTo>
                    <a:cubicBezTo>
                      <a:pt x="928" y="647"/>
                      <a:pt x="928" y="647"/>
                      <a:pt x="928" y="646"/>
                    </a:cubicBezTo>
                    <a:cubicBezTo>
                      <a:pt x="926" y="647"/>
                      <a:pt x="919" y="672"/>
                      <a:pt x="874" y="722"/>
                    </a:cubicBezTo>
                    <a:cubicBezTo>
                      <a:pt x="874" y="722"/>
                      <a:pt x="874" y="722"/>
                      <a:pt x="840" y="722"/>
                    </a:cubicBezTo>
                    <a:cubicBezTo>
                      <a:pt x="840" y="722"/>
                      <a:pt x="840" y="704"/>
                      <a:pt x="835" y="366"/>
                    </a:cubicBezTo>
                    <a:cubicBezTo>
                      <a:pt x="782" y="637"/>
                      <a:pt x="214" y="388"/>
                      <a:pt x="214" y="388"/>
                    </a:cubicBezTo>
                    <a:cubicBezTo>
                      <a:pt x="73" y="431"/>
                      <a:pt x="98" y="716"/>
                      <a:pt x="98" y="716"/>
                    </a:cubicBezTo>
                    <a:cubicBezTo>
                      <a:pt x="98" y="716"/>
                      <a:pt x="98" y="716"/>
                      <a:pt x="67" y="713"/>
                    </a:cubicBezTo>
                    <a:cubicBezTo>
                      <a:pt x="67" y="713"/>
                      <a:pt x="67" y="695"/>
                      <a:pt x="20" y="653"/>
                    </a:cubicBezTo>
                    <a:cubicBezTo>
                      <a:pt x="20" y="653"/>
                      <a:pt x="20" y="652"/>
                      <a:pt x="20" y="652"/>
                    </a:cubicBezTo>
                    <a:cubicBezTo>
                      <a:pt x="0" y="600"/>
                      <a:pt x="1" y="543"/>
                      <a:pt x="1" y="483"/>
                    </a:cubicBezTo>
                    <a:cubicBezTo>
                      <a:pt x="1" y="216"/>
                      <a:pt x="206" y="0"/>
                      <a:pt x="473" y="0"/>
                    </a:cubicBezTo>
                    <a:cubicBezTo>
                      <a:pt x="740" y="0"/>
                      <a:pt x="945" y="216"/>
                      <a:pt x="945" y="483"/>
                    </a:cubicBezTo>
                    <a:cubicBezTo>
                      <a:pt x="945" y="541"/>
                      <a:pt x="946" y="596"/>
                      <a:pt x="928" y="647"/>
                    </a:cubicBezTo>
                    <a:close/>
                    <a:moveTo>
                      <a:pt x="583" y="1667"/>
                    </a:moveTo>
                    <a:cubicBezTo>
                      <a:pt x="514" y="1465"/>
                      <a:pt x="514" y="1465"/>
                      <a:pt x="514" y="1465"/>
                    </a:cubicBezTo>
                    <a:cubicBezTo>
                      <a:pt x="513" y="1462"/>
                      <a:pt x="514" y="1459"/>
                      <a:pt x="515" y="1457"/>
                    </a:cubicBezTo>
                    <a:cubicBezTo>
                      <a:pt x="579" y="1356"/>
                      <a:pt x="579" y="1356"/>
                      <a:pt x="579" y="1356"/>
                    </a:cubicBezTo>
                    <a:cubicBezTo>
                      <a:pt x="582" y="1351"/>
                      <a:pt x="579" y="1344"/>
                      <a:pt x="573" y="1342"/>
                    </a:cubicBezTo>
                    <a:cubicBezTo>
                      <a:pt x="552" y="1337"/>
                      <a:pt x="510" y="1329"/>
                      <a:pt x="476" y="1329"/>
                    </a:cubicBezTo>
                    <a:cubicBezTo>
                      <a:pt x="442" y="1329"/>
                      <a:pt x="396" y="1338"/>
                      <a:pt x="374" y="1342"/>
                    </a:cubicBezTo>
                    <a:cubicBezTo>
                      <a:pt x="368" y="1344"/>
                      <a:pt x="365" y="1351"/>
                      <a:pt x="368" y="1357"/>
                    </a:cubicBezTo>
                    <a:cubicBezTo>
                      <a:pt x="432" y="1457"/>
                      <a:pt x="432" y="1457"/>
                      <a:pt x="432" y="1457"/>
                    </a:cubicBezTo>
                    <a:cubicBezTo>
                      <a:pt x="433" y="1460"/>
                      <a:pt x="434" y="1463"/>
                      <a:pt x="433" y="1465"/>
                    </a:cubicBezTo>
                    <a:cubicBezTo>
                      <a:pt x="358" y="1667"/>
                      <a:pt x="358" y="1667"/>
                      <a:pt x="358" y="1667"/>
                    </a:cubicBezTo>
                    <a:cubicBezTo>
                      <a:pt x="356" y="1674"/>
                      <a:pt x="361" y="1681"/>
                      <a:pt x="368" y="1681"/>
                    </a:cubicBezTo>
                    <a:cubicBezTo>
                      <a:pt x="574" y="1681"/>
                      <a:pt x="574" y="1681"/>
                      <a:pt x="574" y="1681"/>
                    </a:cubicBezTo>
                    <a:cubicBezTo>
                      <a:pt x="581" y="1681"/>
                      <a:pt x="585" y="1674"/>
                      <a:pt x="583" y="166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6">
                <a:extLst>
                  <a:ext uri="{FF2B5EF4-FFF2-40B4-BE49-F238E27FC236}">
                    <a16:creationId xmlns:a16="http://schemas.microsoft.com/office/drawing/2014/main" id="{5B11D4E3-FDB0-4CD0-AA89-CA8768CE35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2110" y="3318129"/>
                <a:ext cx="1288923" cy="686562"/>
              </a:xfrm>
              <a:custGeom>
                <a:avLst/>
                <a:gdLst>
                  <a:gd name="T0" fmla="*/ 26 w 1806"/>
                  <a:gd name="T1" fmla="*/ 961 h 961"/>
                  <a:gd name="T2" fmla="*/ 5 w 1806"/>
                  <a:gd name="T3" fmla="*/ 931 h 961"/>
                  <a:gd name="T4" fmla="*/ 223 w 1806"/>
                  <a:gd name="T5" fmla="*/ 614 h 961"/>
                  <a:gd name="T6" fmla="*/ 602 w 1806"/>
                  <a:gd name="T7" fmla="*/ 548 h 961"/>
                  <a:gd name="T8" fmla="*/ 612 w 1806"/>
                  <a:gd name="T9" fmla="*/ 555 h 961"/>
                  <a:gd name="T10" fmla="*/ 703 w 1806"/>
                  <a:gd name="T11" fmla="*/ 948 h 961"/>
                  <a:gd name="T12" fmla="*/ 693 w 1806"/>
                  <a:gd name="T13" fmla="*/ 961 h 961"/>
                  <a:gd name="T14" fmla="*/ 26 w 1806"/>
                  <a:gd name="T15" fmla="*/ 961 h 961"/>
                  <a:gd name="T16" fmla="*/ 1780 w 1806"/>
                  <a:gd name="T17" fmla="*/ 961 h 961"/>
                  <a:gd name="T18" fmla="*/ 1801 w 1806"/>
                  <a:gd name="T19" fmla="*/ 931 h 961"/>
                  <a:gd name="T20" fmla="*/ 1583 w 1806"/>
                  <a:gd name="T21" fmla="*/ 614 h 961"/>
                  <a:gd name="T22" fmla="*/ 1204 w 1806"/>
                  <a:gd name="T23" fmla="*/ 548 h 961"/>
                  <a:gd name="T24" fmla="*/ 1194 w 1806"/>
                  <a:gd name="T25" fmla="*/ 555 h 961"/>
                  <a:gd name="T26" fmla="*/ 1103 w 1806"/>
                  <a:gd name="T27" fmla="*/ 948 h 961"/>
                  <a:gd name="T28" fmla="*/ 1113 w 1806"/>
                  <a:gd name="T29" fmla="*/ 961 h 961"/>
                  <a:gd name="T30" fmla="*/ 1780 w 1806"/>
                  <a:gd name="T31" fmla="*/ 961 h 961"/>
                  <a:gd name="T32" fmla="*/ 1329 w 1806"/>
                  <a:gd name="T33" fmla="*/ 24 h 961"/>
                  <a:gd name="T34" fmla="*/ 1283 w 1806"/>
                  <a:gd name="T35" fmla="*/ 77 h 961"/>
                  <a:gd name="T36" fmla="*/ 1273 w 1806"/>
                  <a:gd name="T37" fmla="*/ 89 h 961"/>
                  <a:gd name="T38" fmla="*/ 1129 w 1806"/>
                  <a:gd name="T39" fmla="*/ 391 h 961"/>
                  <a:gd name="T40" fmla="*/ 903 w 1806"/>
                  <a:gd name="T41" fmla="*/ 504 h 961"/>
                  <a:gd name="T42" fmla="*/ 677 w 1806"/>
                  <a:gd name="T43" fmla="*/ 391 h 961"/>
                  <a:gd name="T44" fmla="*/ 533 w 1806"/>
                  <a:gd name="T45" fmla="*/ 89 h 961"/>
                  <a:gd name="T46" fmla="*/ 523 w 1806"/>
                  <a:gd name="T47" fmla="*/ 77 h 961"/>
                  <a:gd name="T48" fmla="*/ 477 w 1806"/>
                  <a:gd name="T49" fmla="*/ 24 h 961"/>
                  <a:gd name="T50" fmla="*/ 426 w 1806"/>
                  <a:gd name="T51" fmla="*/ 0 h 961"/>
                  <a:gd name="T52" fmla="*/ 426 w 1806"/>
                  <a:gd name="T53" fmla="*/ 5 h 961"/>
                  <a:gd name="T54" fmla="*/ 495 w 1806"/>
                  <a:gd name="T55" fmla="*/ 112 h 961"/>
                  <a:gd name="T56" fmla="*/ 639 w 1806"/>
                  <a:gd name="T57" fmla="*/ 414 h 961"/>
                  <a:gd name="T58" fmla="*/ 639 w 1806"/>
                  <a:gd name="T59" fmla="*/ 512 h 961"/>
                  <a:gd name="T60" fmla="*/ 646 w 1806"/>
                  <a:gd name="T61" fmla="*/ 522 h 961"/>
                  <a:gd name="T62" fmla="*/ 683 w 1806"/>
                  <a:gd name="T63" fmla="*/ 560 h 961"/>
                  <a:gd name="T64" fmla="*/ 683 w 1806"/>
                  <a:gd name="T65" fmla="*/ 451 h 961"/>
                  <a:gd name="T66" fmla="*/ 903 w 1806"/>
                  <a:gd name="T67" fmla="*/ 548 h 961"/>
                  <a:gd name="T68" fmla="*/ 1123 w 1806"/>
                  <a:gd name="T69" fmla="*/ 451 h 961"/>
                  <a:gd name="T70" fmla="*/ 1123 w 1806"/>
                  <a:gd name="T71" fmla="*/ 560 h 961"/>
                  <a:gd name="T72" fmla="*/ 1160 w 1806"/>
                  <a:gd name="T73" fmla="*/ 522 h 961"/>
                  <a:gd name="T74" fmla="*/ 1167 w 1806"/>
                  <a:gd name="T75" fmla="*/ 512 h 961"/>
                  <a:gd name="T76" fmla="*/ 1167 w 1806"/>
                  <a:gd name="T77" fmla="*/ 414 h 961"/>
                  <a:gd name="T78" fmla="*/ 1311 w 1806"/>
                  <a:gd name="T79" fmla="*/ 112 h 961"/>
                  <a:gd name="T80" fmla="*/ 1380 w 1806"/>
                  <a:gd name="T81" fmla="*/ 3 h 961"/>
                  <a:gd name="T82" fmla="*/ 1380 w 1806"/>
                  <a:gd name="T83" fmla="*/ 0 h 961"/>
                  <a:gd name="T84" fmla="*/ 1329 w 1806"/>
                  <a:gd name="T85" fmla="*/ 24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06" h="961">
                    <a:moveTo>
                      <a:pt x="26" y="961"/>
                    </a:moveTo>
                    <a:cubicBezTo>
                      <a:pt x="10" y="961"/>
                      <a:pt x="0" y="945"/>
                      <a:pt x="5" y="931"/>
                    </a:cubicBezTo>
                    <a:cubicBezTo>
                      <a:pt x="33" y="857"/>
                      <a:pt x="113" y="664"/>
                      <a:pt x="223" y="614"/>
                    </a:cubicBezTo>
                    <a:cubicBezTo>
                      <a:pt x="344" y="557"/>
                      <a:pt x="558" y="549"/>
                      <a:pt x="602" y="548"/>
                    </a:cubicBezTo>
                    <a:cubicBezTo>
                      <a:pt x="607" y="548"/>
                      <a:pt x="611" y="551"/>
                      <a:pt x="612" y="555"/>
                    </a:cubicBezTo>
                    <a:cubicBezTo>
                      <a:pt x="703" y="948"/>
                      <a:pt x="703" y="948"/>
                      <a:pt x="703" y="948"/>
                    </a:cubicBezTo>
                    <a:cubicBezTo>
                      <a:pt x="704" y="955"/>
                      <a:pt x="700" y="961"/>
                      <a:pt x="693" y="961"/>
                    </a:cubicBezTo>
                    <a:lnTo>
                      <a:pt x="26" y="961"/>
                    </a:lnTo>
                    <a:close/>
                    <a:moveTo>
                      <a:pt x="1780" y="961"/>
                    </a:moveTo>
                    <a:cubicBezTo>
                      <a:pt x="1796" y="961"/>
                      <a:pt x="1806" y="945"/>
                      <a:pt x="1801" y="931"/>
                    </a:cubicBezTo>
                    <a:cubicBezTo>
                      <a:pt x="1773" y="857"/>
                      <a:pt x="1693" y="664"/>
                      <a:pt x="1583" y="614"/>
                    </a:cubicBezTo>
                    <a:cubicBezTo>
                      <a:pt x="1462" y="557"/>
                      <a:pt x="1248" y="549"/>
                      <a:pt x="1204" y="548"/>
                    </a:cubicBezTo>
                    <a:cubicBezTo>
                      <a:pt x="1199" y="548"/>
                      <a:pt x="1195" y="551"/>
                      <a:pt x="1194" y="555"/>
                    </a:cubicBezTo>
                    <a:cubicBezTo>
                      <a:pt x="1103" y="948"/>
                      <a:pt x="1103" y="948"/>
                      <a:pt x="1103" y="948"/>
                    </a:cubicBezTo>
                    <a:cubicBezTo>
                      <a:pt x="1102" y="955"/>
                      <a:pt x="1106" y="961"/>
                      <a:pt x="1113" y="961"/>
                    </a:cubicBezTo>
                    <a:lnTo>
                      <a:pt x="1780" y="961"/>
                    </a:lnTo>
                    <a:close/>
                    <a:moveTo>
                      <a:pt x="1329" y="24"/>
                    </a:moveTo>
                    <a:cubicBezTo>
                      <a:pt x="1322" y="43"/>
                      <a:pt x="1308" y="65"/>
                      <a:pt x="1283" y="77"/>
                    </a:cubicBezTo>
                    <a:cubicBezTo>
                      <a:pt x="1278" y="80"/>
                      <a:pt x="1274" y="84"/>
                      <a:pt x="1273" y="89"/>
                    </a:cubicBezTo>
                    <a:cubicBezTo>
                      <a:pt x="1232" y="192"/>
                      <a:pt x="1157" y="365"/>
                      <a:pt x="1129" y="391"/>
                    </a:cubicBezTo>
                    <a:cubicBezTo>
                      <a:pt x="1084" y="430"/>
                      <a:pt x="968" y="504"/>
                      <a:pt x="903" y="504"/>
                    </a:cubicBezTo>
                    <a:cubicBezTo>
                      <a:pt x="838" y="504"/>
                      <a:pt x="722" y="430"/>
                      <a:pt x="677" y="391"/>
                    </a:cubicBezTo>
                    <a:cubicBezTo>
                      <a:pt x="649" y="365"/>
                      <a:pt x="574" y="192"/>
                      <a:pt x="533" y="89"/>
                    </a:cubicBezTo>
                    <a:cubicBezTo>
                      <a:pt x="532" y="84"/>
                      <a:pt x="528" y="80"/>
                      <a:pt x="523" y="77"/>
                    </a:cubicBezTo>
                    <a:cubicBezTo>
                      <a:pt x="498" y="65"/>
                      <a:pt x="484" y="43"/>
                      <a:pt x="477" y="24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2"/>
                      <a:pt x="426" y="4"/>
                      <a:pt x="426" y="5"/>
                    </a:cubicBezTo>
                    <a:cubicBezTo>
                      <a:pt x="431" y="33"/>
                      <a:pt x="446" y="83"/>
                      <a:pt x="495" y="112"/>
                    </a:cubicBezTo>
                    <a:cubicBezTo>
                      <a:pt x="517" y="168"/>
                      <a:pt x="594" y="359"/>
                      <a:pt x="639" y="414"/>
                    </a:cubicBezTo>
                    <a:cubicBezTo>
                      <a:pt x="639" y="512"/>
                      <a:pt x="639" y="512"/>
                      <a:pt x="639" y="512"/>
                    </a:cubicBezTo>
                    <a:cubicBezTo>
                      <a:pt x="646" y="522"/>
                      <a:pt x="646" y="522"/>
                      <a:pt x="646" y="522"/>
                    </a:cubicBezTo>
                    <a:cubicBezTo>
                      <a:pt x="648" y="524"/>
                      <a:pt x="660" y="540"/>
                      <a:pt x="683" y="560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742" y="494"/>
                      <a:pt x="838" y="548"/>
                      <a:pt x="903" y="548"/>
                    </a:cubicBezTo>
                    <a:cubicBezTo>
                      <a:pt x="968" y="548"/>
                      <a:pt x="1064" y="494"/>
                      <a:pt x="1123" y="451"/>
                    </a:cubicBezTo>
                    <a:cubicBezTo>
                      <a:pt x="1123" y="560"/>
                      <a:pt x="1123" y="560"/>
                      <a:pt x="1123" y="560"/>
                    </a:cubicBezTo>
                    <a:cubicBezTo>
                      <a:pt x="1146" y="540"/>
                      <a:pt x="1158" y="524"/>
                      <a:pt x="1160" y="522"/>
                    </a:cubicBezTo>
                    <a:cubicBezTo>
                      <a:pt x="1167" y="512"/>
                      <a:pt x="1167" y="512"/>
                      <a:pt x="1167" y="512"/>
                    </a:cubicBezTo>
                    <a:cubicBezTo>
                      <a:pt x="1167" y="414"/>
                      <a:pt x="1167" y="414"/>
                      <a:pt x="1167" y="414"/>
                    </a:cubicBezTo>
                    <a:cubicBezTo>
                      <a:pt x="1212" y="358"/>
                      <a:pt x="1289" y="168"/>
                      <a:pt x="1311" y="112"/>
                    </a:cubicBezTo>
                    <a:cubicBezTo>
                      <a:pt x="1363" y="82"/>
                      <a:pt x="1377" y="26"/>
                      <a:pt x="1380" y="3"/>
                    </a:cubicBezTo>
                    <a:cubicBezTo>
                      <a:pt x="1380" y="2"/>
                      <a:pt x="1380" y="1"/>
                      <a:pt x="1380" y="0"/>
                    </a:cubicBezTo>
                    <a:lnTo>
                      <a:pt x="1329" y="2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8" name="TextBox 137"/>
          <p:cNvSpPr txBox="1"/>
          <p:nvPr/>
        </p:nvSpPr>
        <p:spPr>
          <a:xfrm>
            <a:off x="377044" y="4287588"/>
            <a:ext cx="1680441" cy="5539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Employer’s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actions</a:t>
            </a:r>
          </a:p>
        </p:txBody>
      </p:sp>
      <p:cxnSp>
        <p:nvCxnSpPr>
          <p:cNvPr id="159" name="Straight Connector 158"/>
          <p:cNvCxnSpPr/>
          <p:nvPr/>
        </p:nvCxnSpPr>
        <p:spPr>
          <a:xfrm>
            <a:off x="597730" y="4191000"/>
            <a:ext cx="1239070" cy="0"/>
          </a:xfrm>
          <a:prstGeom prst="line">
            <a:avLst/>
          </a:prstGeom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1911511" y="4255407"/>
            <a:ext cx="1990642" cy="2135868"/>
            <a:chOff x="1911511" y="4255407"/>
            <a:chExt cx="1990642" cy="2135868"/>
          </a:xfrm>
        </p:grpSpPr>
        <p:sp>
          <p:nvSpPr>
            <p:cNvPr id="46" name="ValueChainStarter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78294" y="5406836"/>
              <a:ext cx="1823859" cy="276999"/>
            </a:xfrm>
            <a:prstGeom prst="rect">
              <a:avLst/>
            </a:prstGeom>
            <a:noFill/>
            <a:ln w="38100" cap="rnd" algn="ctr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eaLnBrk="0" hangingPunct="0">
                <a:buFont typeface="Trebuchet MS" panose="020B0603020202020204" pitchFamily="34" charset="0"/>
                <a:buChar char="​"/>
              </a:pPr>
              <a:r>
                <a:rPr lang="en-US" b="1">
                  <a:solidFill>
                    <a:srgbClr val="000000"/>
                  </a:solidFill>
                  <a:sym typeface="Trebuchet MS" panose="020B0603020202020204" pitchFamily="34" charset="0"/>
                </a:rPr>
                <a:t>Learn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078294" y="5744944"/>
              <a:ext cx="1823859" cy="64633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spc="-30">
                  <a:solidFill>
                    <a:srgbClr val="000000"/>
                  </a:solidFill>
                </a:rPr>
                <a:t>Employer learns</a:t>
              </a:r>
              <a:br>
                <a:rPr lang="en-US" sz="1400" spc="-30">
                  <a:solidFill>
                    <a:srgbClr val="000000"/>
                  </a:solidFill>
                </a:rPr>
              </a:br>
              <a:r>
                <a:rPr lang="en-US" sz="1400" spc="-30">
                  <a:solidFill>
                    <a:srgbClr val="000000"/>
                  </a:solidFill>
                </a:rPr>
                <a:t>about training programs and ARPA grants</a:t>
              </a:r>
            </a:p>
          </p:txBody>
        </p:sp>
        <p:sp>
          <p:nvSpPr>
            <p:cNvPr id="96" name="Rounded Rectangle 95"/>
            <p:cNvSpPr/>
            <p:nvPr/>
          </p:nvSpPr>
          <p:spPr>
            <a:xfrm>
              <a:off x="2078294" y="5255629"/>
              <a:ext cx="1823859" cy="90098"/>
            </a:xfrm>
            <a:prstGeom prst="roundRect">
              <a:avLst>
                <a:gd name="adj" fmla="val 282842"/>
              </a:avLst>
            </a:prstGeom>
            <a:solidFill>
              <a:schemeClr val="bg1">
                <a:lumMod val="75000"/>
              </a:schemeClr>
            </a:solidFill>
            <a:ln w="9525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3430870" y="4330064"/>
              <a:ext cx="471283" cy="101566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6600" b="1">
                  <a:solidFill>
                    <a:schemeClr val="bg1">
                      <a:lumMod val="75000"/>
                    </a:schemeClr>
                  </a:solidFill>
                </a:rPr>
                <a:t>1</a:t>
              </a:r>
            </a:p>
          </p:txBody>
        </p:sp>
        <p:grpSp>
          <p:nvGrpSpPr>
            <p:cNvPr id="161" name="Group 160"/>
            <p:cNvGrpSpPr>
              <a:grpSpLocks noChangeAspect="1"/>
            </p:cNvGrpSpPr>
            <p:nvPr/>
          </p:nvGrpSpPr>
          <p:grpSpPr>
            <a:xfrm>
              <a:off x="1911511" y="4255407"/>
              <a:ext cx="999296" cy="1000222"/>
              <a:chOff x="5273801" y="2606040"/>
              <a:chExt cx="1644396" cy="1645920"/>
            </a:xfrm>
          </p:grpSpPr>
          <p:sp>
            <p:nvSpPr>
              <p:cNvPr id="162" name="AutoShape 3">
                <a:extLst>
                  <a:ext uri="{FF2B5EF4-FFF2-40B4-BE49-F238E27FC236}">
                    <a16:creationId xmlns:a16="http://schemas.microsoft.com/office/drawing/2014/main" id="{7C618BBD-B202-4FF5-BD79-3554976B22E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63" name="Group 162"/>
              <p:cNvGrpSpPr/>
              <p:nvPr/>
            </p:nvGrpSpPr>
            <p:grpSpPr>
              <a:xfrm>
                <a:off x="5561456" y="2817495"/>
                <a:ext cx="1079754" cy="1218819"/>
                <a:chOff x="5561456" y="2817495"/>
                <a:chExt cx="1079754" cy="1218819"/>
              </a:xfrm>
            </p:grpSpPr>
            <p:sp>
              <p:nvSpPr>
                <p:cNvPr id="164" name="Freeform 5">
                  <a:extLst>
                    <a:ext uri="{FF2B5EF4-FFF2-40B4-BE49-F238E27FC236}">
                      <a16:creationId xmlns:a16="http://schemas.microsoft.com/office/drawing/2014/main" id="{3F1C0634-7D6C-4D57-AA84-4F9D8CCD32A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61456" y="2817495"/>
                  <a:ext cx="1079754" cy="1218819"/>
                </a:xfrm>
                <a:custGeom>
                  <a:avLst/>
                  <a:gdLst>
                    <a:gd name="T0" fmla="*/ 1461 w 1513"/>
                    <a:gd name="T1" fmla="*/ 803 h 1706"/>
                    <a:gd name="T2" fmla="*/ 1505 w 1513"/>
                    <a:gd name="T3" fmla="*/ 618 h 1706"/>
                    <a:gd name="T4" fmla="*/ 1415 w 1513"/>
                    <a:gd name="T5" fmla="*/ 363 h 1706"/>
                    <a:gd name="T6" fmla="*/ 1256 w 1513"/>
                    <a:gd name="T7" fmla="*/ 250 h 1706"/>
                    <a:gd name="T8" fmla="*/ 969 w 1513"/>
                    <a:gd name="T9" fmla="*/ 0 h 1706"/>
                    <a:gd name="T10" fmla="*/ 757 w 1513"/>
                    <a:gd name="T11" fmla="*/ 96 h 1706"/>
                    <a:gd name="T12" fmla="*/ 544 w 1513"/>
                    <a:gd name="T13" fmla="*/ 0 h 1706"/>
                    <a:gd name="T14" fmla="*/ 258 w 1513"/>
                    <a:gd name="T15" fmla="*/ 250 h 1706"/>
                    <a:gd name="T16" fmla="*/ 98 w 1513"/>
                    <a:gd name="T17" fmla="*/ 363 h 1706"/>
                    <a:gd name="T18" fmla="*/ 8 w 1513"/>
                    <a:gd name="T19" fmla="*/ 618 h 1706"/>
                    <a:gd name="T20" fmla="*/ 53 w 1513"/>
                    <a:gd name="T21" fmla="*/ 803 h 1706"/>
                    <a:gd name="T22" fmla="*/ 0 w 1513"/>
                    <a:gd name="T23" fmla="*/ 1014 h 1706"/>
                    <a:gd name="T24" fmla="*/ 83 w 1513"/>
                    <a:gd name="T25" fmla="*/ 1273 h 1706"/>
                    <a:gd name="T26" fmla="*/ 245 w 1513"/>
                    <a:gd name="T27" fmla="*/ 1408 h 1706"/>
                    <a:gd name="T28" fmla="*/ 363 w 1513"/>
                    <a:gd name="T29" fmla="*/ 1592 h 1706"/>
                    <a:gd name="T30" fmla="*/ 608 w 1513"/>
                    <a:gd name="T31" fmla="*/ 1706 h 1706"/>
                    <a:gd name="T32" fmla="*/ 759 w 1513"/>
                    <a:gd name="T33" fmla="*/ 1614 h 1706"/>
                    <a:gd name="T34" fmla="*/ 909 w 1513"/>
                    <a:gd name="T35" fmla="*/ 1706 h 1706"/>
                    <a:gd name="T36" fmla="*/ 1134 w 1513"/>
                    <a:gd name="T37" fmla="*/ 1609 h 1706"/>
                    <a:gd name="T38" fmla="*/ 1268 w 1513"/>
                    <a:gd name="T39" fmla="*/ 1408 h 1706"/>
                    <a:gd name="T40" fmla="*/ 1430 w 1513"/>
                    <a:gd name="T41" fmla="*/ 1273 h 1706"/>
                    <a:gd name="T42" fmla="*/ 1513 w 1513"/>
                    <a:gd name="T43" fmla="*/ 1014 h 1706"/>
                    <a:gd name="T44" fmla="*/ 1461 w 1513"/>
                    <a:gd name="T45" fmla="*/ 803 h 1706"/>
                    <a:gd name="T46" fmla="*/ 608 w 1513"/>
                    <a:gd name="T47" fmla="*/ 1662 h 1706"/>
                    <a:gd name="T48" fmla="*/ 393 w 1513"/>
                    <a:gd name="T49" fmla="*/ 1560 h 1706"/>
                    <a:gd name="T50" fmla="*/ 285 w 1513"/>
                    <a:gd name="T51" fmla="*/ 1387 h 1706"/>
                    <a:gd name="T52" fmla="*/ 272 w 1513"/>
                    <a:gd name="T53" fmla="*/ 1372 h 1706"/>
                    <a:gd name="T54" fmla="*/ 119 w 1513"/>
                    <a:gd name="T55" fmla="*/ 1247 h 1706"/>
                    <a:gd name="T56" fmla="*/ 44 w 1513"/>
                    <a:gd name="T57" fmla="*/ 1014 h 1706"/>
                    <a:gd name="T58" fmla="*/ 97 w 1513"/>
                    <a:gd name="T59" fmla="*/ 814 h 1706"/>
                    <a:gd name="T60" fmla="*/ 97 w 1513"/>
                    <a:gd name="T61" fmla="*/ 793 h 1706"/>
                    <a:gd name="T62" fmla="*/ 52 w 1513"/>
                    <a:gd name="T63" fmla="*/ 618 h 1706"/>
                    <a:gd name="T64" fmla="*/ 132 w 1513"/>
                    <a:gd name="T65" fmla="*/ 391 h 1706"/>
                    <a:gd name="T66" fmla="*/ 284 w 1513"/>
                    <a:gd name="T67" fmla="*/ 288 h 1706"/>
                    <a:gd name="T68" fmla="*/ 299 w 1513"/>
                    <a:gd name="T69" fmla="*/ 270 h 1706"/>
                    <a:gd name="T70" fmla="*/ 544 w 1513"/>
                    <a:gd name="T71" fmla="*/ 44 h 1706"/>
                    <a:gd name="T72" fmla="*/ 725 w 1513"/>
                    <a:gd name="T73" fmla="*/ 126 h 1706"/>
                    <a:gd name="T74" fmla="*/ 735 w 1513"/>
                    <a:gd name="T75" fmla="*/ 138 h 1706"/>
                    <a:gd name="T76" fmla="*/ 735 w 1513"/>
                    <a:gd name="T77" fmla="*/ 1539 h 1706"/>
                    <a:gd name="T78" fmla="*/ 608 w 1513"/>
                    <a:gd name="T79" fmla="*/ 1662 h 1706"/>
                    <a:gd name="T80" fmla="*/ 1394 w 1513"/>
                    <a:gd name="T81" fmla="*/ 1247 h 1706"/>
                    <a:gd name="T82" fmla="*/ 1241 w 1513"/>
                    <a:gd name="T83" fmla="*/ 1372 h 1706"/>
                    <a:gd name="T84" fmla="*/ 1228 w 1513"/>
                    <a:gd name="T85" fmla="*/ 1387 h 1706"/>
                    <a:gd name="T86" fmla="*/ 1105 w 1513"/>
                    <a:gd name="T87" fmla="*/ 1576 h 1706"/>
                    <a:gd name="T88" fmla="*/ 909 w 1513"/>
                    <a:gd name="T89" fmla="*/ 1662 h 1706"/>
                    <a:gd name="T90" fmla="*/ 779 w 1513"/>
                    <a:gd name="T91" fmla="*/ 1537 h 1706"/>
                    <a:gd name="T92" fmla="*/ 779 w 1513"/>
                    <a:gd name="T93" fmla="*/ 138 h 1706"/>
                    <a:gd name="T94" fmla="*/ 788 w 1513"/>
                    <a:gd name="T95" fmla="*/ 126 h 1706"/>
                    <a:gd name="T96" fmla="*/ 969 w 1513"/>
                    <a:gd name="T97" fmla="*/ 44 h 1706"/>
                    <a:gd name="T98" fmla="*/ 1214 w 1513"/>
                    <a:gd name="T99" fmla="*/ 270 h 1706"/>
                    <a:gd name="T100" fmla="*/ 1229 w 1513"/>
                    <a:gd name="T101" fmla="*/ 288 h 1706"/>
                    <a:gd name="T102" fmla="*/ 1381 w 1513"/>
                    <a:gd name="T103" fmla="*/ 391 h 1706"/>
                    <a:gd name="T104" fmla="*/ 1461 w 1513"/>
                    <a:gd name="T105" fmla="*/ 618 h 1706"/>
                    <a:gd name="T106" fmla="*/ 1416 w 1513"/>
                    <a:gd name="T107" fmla="*/ 793 h 1706"/>
                    <a:gd name="T108" fmla="*/ 1417 w 1513"/>
                    <a:gd name="T109" fmla="*/ 814 h 1706"/>
                    <a:gd name="T110" fmla="*/ 1469 w 1513"/>
                    <a:gd name="T111" fmla="*/ 1014 h 1706"/>
                    <a:gd name="T112" fmla="*/ 1394 w 1513"/>
                    <a:gd name="T113" fmla="*/ 1247 h 17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513" h="1706">
                      <a:moveTo>
                        <a:pt x="1461" y="803"/>
                      </a:moveTo>
                      <a:cubicBezTo>
                        <a:pt x="1490" y="747"/>
                        <a:pt x="1505" y="683"/>
                        <a:pt x="1505" y="618"/>
                      </a:cubicBezTo>
                      <a:cubicBezTo>
                        <a:pt x="1505" y="524"/>
                        <a:pt x="1473" y="434"/>
                        <a:pt x="1415" y="363"/>
                      </a:cubicBezTo>
                      <a:cubicBezTo>
                        <a:pt x="1372" y="311"/>
                        <a:pt x="1317" y="272"/>
                        <a:pt x="1256" y="250"/>
                      </a:cubicBezTo>
                      <a:cubicBezTo>
                        <a:pt x="1231" y="107"/>
                        <a:pt x="1110" y="0"/>
                        <a:pt x="969" y="0"/>
                      </a:cubicBezTo>
                      <a:cubicBezTo>
                        <a:pt x="889" y="0"/>
                        <a:pt x="812" y="35"/>
                        <a:pt x="757" y="96"/>
                      </a:cubicBezTo>
                      <a:cubicBezTo>
                        <a:pt x="702" y="35"/>
                        <a:pt x="624" y="0"/>
                        <a:pt x="544" y="0"/>
                      </a:cubicBezTo>
                      <a:cubicBezTo>
                        <a:pt x="404" y="0"/>
                        <a:pt x="283" y="107"/>
                        <a:pt x="258" y="250"/>
                      </a:cubicBezTo>
                      <a:cubicBezTo>
                        <a:pt x="196" y="272"/>
                        <a:pt x="141" y="311"/>
                        <a:pt x="98" y="363"/>
                      </a:cubicBezTo>
                      <a:cubicBezTo>
                        <a:pt x="40" y="434"/>
                        <a:pt x="8" y="524"/>
                        <a:pt x="8" y="618"/>
                      </a:cubicBezTo>
                      <a:cubicBezTo>
                        <a:pt x="8" y="683"/>
                        <a:pt x="23" y="747"/>
                        <a:pt x="53" y="803"/>
                      </a:cubicBezTo>
                      <a:cubicBezTo>
                        <a:pt x="18" y="867"/>
                        <a:pt x="0" y="939"/>
                        <a:pt x="0" y="1014"/>
                      </a:cubicBezTo>
                      <a:cubicBezTo>
                        <a:pt x="0" y="1108"/>
                        <a:pt x="29" y="1198"/>
                        <a:pt x="83" y="1273"/>
                      </a:cubicBezTo>
                      <a:cubicBezTo>
                        <a:pt x="125" y="1332"/>
                        <a:pt x="181" y="1378"/>
                        <a:pt x="245" y="1408"/>
                      </a:cubicBezTo>
                      <a:cubicBezTo>
                        <a:pt x="263" y="1472"/>
                        <a:pt x="305" y="1537"/>
                        <a:pt x="363" y="1592"/>
                      </a:cubicBezTo>
                      <a:cubicBezTo>
                        <a:pt x="439" y="1664"/>
                        <a:pt x="528" y="1706"/>
                        <a:pt x="608" y="1706"/>
                      </a:cubicBezTo>
                      <a:cubicBezTo>
                        <a:pt x="675" y="1706"/>
                        <a:pt x="730" y="1670"/>
                        <a:pt x="759" y="1614"/>
                      </a:cubicBezTo>
                      <a:cubicBezTo>
                        <a:pt x="788" y="1666"/>
                        <a:pt x="841" y="1706"/>
                        <a:pt x="909" y="1706"/>
                      </a:cubicBezTo>
                      <a:cubicBezTo>
                        <a:pt x="981" y="1706"/>
                        <a:pt x="1063" y="1671"/>
                        <a:pt x="1134" y="1609"/>
                      </a:cubicBezTo>
                      <a:cubicBezTo>
                        <a:pt x="1199" y="1552"/>
                        <a:pt x="1248" y="1480"/>
                        <a:pt x="1268" y="1408"/>
                      </a:cubicBezTo>
                      <a:cubicBezTo>
                        <a:pt x="1332" y="1378"/>
                        <a:pt x="1388" y="1332"/>
                        <a:pt x="1430" y="1273"/>
                      </a:cubicBezTo>
                      <a:cubicBezTo>
                        <a:pt x="1484" y="1198"/>
                        <a:pt x="1513" y="1108"/>
                        <a:pt x="1513" y="1014"/>
                      </a:cubicBezTo>
                      <a:cubicBezTo>
                        <a:pt x="1513" y="940"/>
                        <a:pt x="1495" y="867"/>
                        <a:pt x="1461" y="803"/>
                      </a:cubicBezTo>
                      <a:close/>
                      <a:moveTo>
                        <a:pt x="608" y="1662"/>
                      </a:moveTo>
                      <a:cubicBezTo>
                        <a:pt x="540" y="1662"/>
                        <a:pt x="461" y="1625"/>
                        <a:pt x="393" y="1560"/>
                      </a:cubicBezTo>
                      <a:cubicBezTo>
                        <a:pt x="338" y="1508"/>
                        <a:pt x="300" y="1447"/>
                        <a:pt x="285" y="1387"/>
                      </a:cubicBezTo>
                      <a:cubicBezTo>
                        <a:pt x="283" y="1380"/>
                        <a:pt x="279" y="1375"/>
                        <a:pt x="272" y="1372"/>
                      </a:cubicBezTo>
                      <a:cubicBezTo>
                        <a:pt x="211" y="1346"/>
                        <a:pt x="158" y="1303"/>
                        <a:pt x="119" y="1247"/>
                      </a:cubicBezTo>
                      <a:cubicBezTo>
                        <a:pt x="70" y="1180"/>
                        <a:pt x="44" y="1099"/>
                        <a:pt x="44" y="1014"/>
                      </a:cubicBezTo>
                      <a:cubicBezTo>
                        <a:pt x="44" y="943"/>
                        <a:pt x="63" y="874"/>
                        <a:pt x="97" y="814"/>
                      </a:cubicBezTo>
                      <a:cubicBezTo>
                        <a:pt x="100" y="807"/>
                        <a:pt x="101" y="799"/>
                        <a:pt x="97" y="793"/>
                      </a:cubicBezTo>
                      <a:cubicBezTo>
                        <a:pt x="67" y="740"/>
                        <a:pt x="52" y="680"/>
                        <a:pt x="52" y="618"/>
                      </a:cubicBezTo>
                      <a:cubicBezTo>
                        <a:pt x="52" y="535"/>
                        <a:pt x="81" y="454"/>
                        <a:pt x="132" y="391"/>
                      </a:cubicBezTo>
                      <a:cubicBezTo>
                        <a:pt x="173" y="342"/>
                        <a:pt x="225" y="306"/>
                        <a:pt x="284" y="288"/>
                      </a:cubicBezTo>
                      <a:cubicBezTo>
                        <a:pt x="292" y="285"/>
                        <a:pt x="298" y="278"/>
                        <a:pt x="299" y="270"/>
                      </a:cubicBezTo>
                      <a:cubicBezTo>
                        <a:pt x="316" y="141"/>
                        <a:pt x="421" y="44"/>
                        <a:pt x="544" y="44"/>
                      </a:cubicBezTo>
                      <a:cubicBezTo>
                        <a:pt x="612" y="44"/>
                        <a:pt x="678" y="74"/>
                        <a:pt x="725" y="126"/>
                      </a:cubicBezTo>
                      <a:cubicBezTo>
                        <a:pt x="735" y="138"/>
                        <a:pt x="735" y="138"/>
                        <a:pt x="735" y="138"/>
                      </a:cubicBezTo>
                      <a:cubicBezTo>
                        <a:pt x="735" y="1539"/>
                        <a:pt x="735" y="1539"/>
                        <a:pt x="735" y="1539"/>
                      </a:cubicBezTo>
                      <a:cubicBezTo>
                        <a:pt x="728" y="1613"/>
                        <a:pt x="678" y="1662"/>
                        <a:pt x="608" y="1662"/>
                      </a:cubicBezTo>
                      <a:close/>
                      <a:moveTo>
                        <a:pt x="1394" y="1247"/>
                      </a:moveTo>
                      <a:cubicBezTo>
                        <a:pt x="1355" y="1303"/>
                        <a:pt x="1302" y="1346"/>
                        <a:pt x="1241" y="1372"/>
                      </a:cubicBezTo>
                      <a:cubicBezTo>
                        <a:pt x="1235" y="1375"/>
                        <a:pt x="1230" y="1380"/>
                        <a:pt x="1228" y="1387"/>
                      </a:cubicBezTo>
                      <a:cubicBezTo>
                        <a:pt x="1212" y="1453"/>
                        <a:pt x="1167" y="1522"/>
                        <a:pt x="1105" y="1576"/>
                      </a:cubicBezTo>
                      <a:cubicBezTo>
                        <a:pt x="1042" y="1631"/>
                        <a:pt x="971" y="1662"/>
                        <a:pt x="909" y="1662"/>
                      </a:cubicBezTo>
                      <a:cubicBezTo>
                        <a:pt x="837" y="1662"/>
                        <a:pt x="785" y="1597"/>
                        <a:pt x="779" y="1537"/>
                      </a:cubicBezTo>
                      <a:cubicBezTo>
                        <a:pt x="779" y="138"/>
                        <a:pt x="779" y="138"/>
                        <a:pt x="779" y="138"/>
                      </a:cubicBezTo>
                      <a:cubicBezTo>
                        <a:pt x="788" y="126"/>
                        <a:pt x="788" y="126"/>
                        <a:pt x="788" y="126"/>
                      </a:cubicBezTo>
                      <a:cubicBezTo>
                        <a:pt x="835" y="74"/>
                        <a:pt x="901" y="44"/>
                        <a:pt x="969" y="44"/>
                      </a:cubicBezTo>
                      <a:cubicBezTo>
                        <a:pt x="1092" y="44"/>
                        <a:pt x="1197" y="141"/>
                        <a:pt x="1214" y="270"/>
                      </a:cubicBezTo>
                      <a:cubicBezTo>
                        <a:pt x="1215" y="278"/>
                        <a:pt x="1221" y="285"/>
                        <a:pt x="1229" y="288"/>
                      </a:cubicBezTo>
                      <a:cubicBezTo>
                        <a:pt x="1288" y="306"/>
                        <a:pt x="1340" y="342"/>
                        <a:pt x="1381" y="391"/>
                      </a:cubicBezTo>
                      <a:cubicBezTo>
                        <a:pt x="1433" y="454"/>
                        <a:pt x="1461" y="535"/>
                        <a:pt x="1461" y="618"/>
                      </a:cubicBezTo>
                      <a:cubicBezTo>
                        <a:pt x="1461" y="680"/>
                        <a:pt x="1446" y="740"/>
                        <a:pt x="1416" y="793"/>
                      </a:cubicBezTo>
                      <a:cubicBezTo>
                        <a:pt x="1413" y="799"/>
                        <a:pt x="1413" y="807"/>
                        <a:pt x="1417" y="814"/>
                      </a:cubicBezTo>
                      <a:cubicBezTo>
                        <a:pt x="1451" y="874"/>
                        <a:pt x="1469" y="943"/>
                        <a:pt x="1469" y="1014"/>
                      </a:cubicBezTo>
                      <a:cubicBezTo>
                        <a:pt x="1469" y="1099"/>
                        <a:pt x="1443" y="1180"/>
                        <a:pt x="1394" y="1247"/>
                      </a:cubicBez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5" name="Freeform 6">
                  <a:extLst>
                    <a:ext uri="{FF2B5EF4-FFF2-40B4-BE49-F238E27FC236}">
                      <a16:creationId xmlns:a16="http://schemas.microsoft.com/office/drawing/2014/main" id="{0F0D1950-DF8E-430C-8D59-3AF469098B5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25083" y="2878836"/>
                  <a:ext cx="954786" cy="1095756"/>
                </a:xfrm>
                <a:custGeom>
                  <a:avLst/>
                  <a:gdLst>
                    <a:gd name="T0" fmla="*/ 820 w 1338"/>
                    <a:gd name="T1" fmla="*/ 1534 h 1534"/>
                    <a:gd name="T2" fmla="*/ 731 w 1338"/>
                    <a:gd name="T3" fmla="*/ 666 h 1534"/>
                    <a:gd name="T4" fmla="*/ 1026 w 1338"/>
                    <a:gd name="T5" fmla="*/ 472 h 1534"/>
                    <a:gd name="T6" fmla="*/ 1040 w 1338"/>
                    <a:gd name="T7" fmla="*/ 431 h 1534"/>
                    <a:gd name="T8" fmla="*/ 731 w 1338"/>
                    <a:gd name="T9" fmla="*/ 537 h 1534"/>
                    <a:gd name="T10" fmla="*/ 880 w 1338"/>
                    <a:gd name="T11" fmla="*/ 0 h 1534"/>
                    <a:gd name="T12" fmla="*/ 1043 w 1338"/>
                    <a:gd name="T13" fmla="*/ 195 h 1534"/>
                    <a:gd name="T14" fmla="*/ 871 w 1338"/>
                    <a:gd name="T15" fmla="*/ 268 h 1534"/>
                    <a:gd name="T16" fmla="*/ 1043 w 1338"/>
                    <a:gd name="T17" fmla="*/ 239 h 1534"/>
                    <a:gd name="T18" fmla="*/ 1330 w 1338"/>
                    <a:gd name="T19" fmla="*/ 532 h 1534"/>
                    <a:gd name="T20" fmla="*/ 1057 w 1338"/>
                    <a:gd name="T21" fmla="*/ 816 h 1534"/>
                    <a:gd name="T22" fmla="*/ 1039 w 1338"/>
                    <a:gd name="T23" fmla="*/ 707 h 1534"/>
                    <a:gd name="T24" fmla="*/ 861 w 1338"/>
                    <a:gd name="T25" fmla="*/ 938 h 1534"/>
                    <a:gd name="T26" fmla="*/ 864 w 1338"/>
                    <a:gd name="T27" fmla="*/ 981 h 1534"/>
                    <a:gd name="T28" fmla="*/ 1040 w 1338"/>
                    <a:gd name="T29" fmla="*/ 860 h 1534"/>
                    <a:gd name="T30" fmla="*/ 1291 w 1338"/>
                    <a:gd name="T31" fmla="*/ 749 h 1534"/>
                    <a:gd name="T32" fmla="*/ 1337 w 1338"/>
                    <a:gd name="T33" fmla="*/ 928 h 1534"/>
                    <a:gd name="T34" fmla="*/ 960 w 1338"/>
                    <a:gd name="T35" fmla="*/ 1302 h 1534"/>
                    <a:gd name="T36" fmla="*/ 1094 w 1338"/>
                    <a:gd name="T37" fmla="*/ 1308 h 1534"/>
                    <a:gd name="T38" fmla="*/ 378 w 1338"/>
                    <a:gd name="T39" fmla="*/ 1082 h 1534"/>
                    <a:gd name="T40" fmla="*/ 279 w 1338"/>
                    <a:gd name="T41" fmla="*/ 1041 h 1534"/>
                    <a:gd name="T42" fmla="*/ 541 w 1338"/>
                    <a:gd name="T43" fmla="*/ 968 h 1534"/>
                    <a:gd name="T44" fmla="*/ 604 w 1338"/>
                    <a:gd name="T45" fmla="*/ 797 h 1534"/>
                    <a:gd name="T46" fmla="*/ 455 w 1338"/>
                    <a:gd name="T47" fmla="*/ 0 h 1534"/>
                    <a:gd name="T48" fmla="*/ 297 w 1338"/>
                    <a:gd name="T49" fmla="*/ 195 h 1534"/>
                    <a:gd name="T50" fmla="*/ 469 w 1338"/>
                    <a:gd name="T51" fmla="*/ 268 h 1534"/>
                    <a:gd name="T52" fmla="*/ 297 w 1338"/>
                    <a:gd name="T53" fmla="*/ 239 h 1534"/>
                    <a:gd name="T54" fmla="*/ 5 w 1338"/>
                    <a:gd name="T55" fmla="*/ 538 h 1534"/>
                    <a:gd name="T56" fmla="*/ 214 w 1338"/>
                    <a:gd name="T57" fmla="*/ 557 h 1534"/>
                    <a:gd name="T58" fmla="*/ 281 w 1338"/>
                    <a:gd name="T59" fmla="*/ 442 h 1534"/>
                    <a:gd name="T60" fmla="*/ 261 w 1338"/>
                    <a:gd name="T61" fmla="*/ 611 h 1534"/>
                    <a:gd name="T62" fmla="*/ 347 w 1338"/>
                    <a:gd name="T63" fmla="*/ 758 h 1534"/>
                    <a:gd name="T64" fmla="*/ 317 w 1338"/>
                    <a:gd name="T65" fmla="*/ 764 h 1534"/>
                    <a:gd name="T66" fmla="*/ 215 w 1338"/>
                    <a:gd name="T67" fmla="*/ 604 h 1534"/>
                    <a:gd name="T68" fmla="*/ 355 w 1338"/>
                    <a:gd name="T69" fmla="*/ 1280 h 1534"/>
                    <a:gd name="T70" fmla="*/ 355 w 1338"/>
                    <a:gd name="T71" fmla="*/ 1324 h 1534"/>
                    <a:gd name="T72" fmla="*/ 519 w 1338"/>
                    <a:gd name="T73" fmla="*/ 1534 h 1534"/>
                    <a:gd name="T74" fmla="*/ 604 w 1338"/>
                    <a:gd name="T75" fmla="*/ 959 h 1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338" h="1534">
                      <a:moveTo>
                        <a:pt x="1094" y="1308"/>
                      </a:moveTo>
                      <a:cubicBezTo>
                        <a:pt x="1057" y="1421"/>
                        <a:pt x="925" y="1534"/>
                        <a:pt x="820" y="1534"/>
                      </a:cubicBezTo>
                      <a:cubicBezTo>
                        <a:pt x="765" y="1534"/>
                        <a:pt x="731" y="1476"/>
                        <a:pt x="731" y="1438"/>
                      </a:cubicBezTo>
                      <a:cubicBezTo>
                        <a:pt x="731" y="666"/>
                        <a:pt x="731" y="666"/>
                        <a:pt x="731" y="666"/>
                      </a:cubicBezTo>
                      <a:cubicBezTo>
                        <a:pt x="735" y="616"/>
                        <a:pt x="756" y="568"/>
                        <a:pt x="791" y="531"/>
                      </a:cubicBezTo>
                      <a:cubicBezTo>
                        <a:pt x="851" y="468"/>
                        <a:pt x="943" y="445"/>
                        <a:pt x="1026" y="472"/>
                      </a:cubicBezTo>
                      <a:cubicBezTo>
                        <a:pt x="1037" y="476"/>
                        <a:pt x="1050" y="470"/>
                        <a:pt x="1054" y="458"/>
                      </a:cubicBezTo>
                      <a:cubicBezTo>
                        <a:pt x="1058" y="447"/>
                        <a:pt x="1051" y="435"/>
                        <a:pt x="1040" y="431"/>
                      </a:cubicBezTo>
                      <a:cubicBezTo>
                        <a:pt x="941" y="398"/>
                        <a:pt x="831" y="425"/>
                        <a:pt x="760" y="501"/>
                      </a:cubicBezTo>
                      <a:cubicBezTo>
                        <a:pt x="749" y="512"/>
                        <a:pt x="739" y="524"/>
                        <a:pt x="731" y="537"/>
                      </a:cubicBezTo>
                      <a:cubicBezTo>
                        <a:pt x="731" y="68"/>
                        <a:pt x="731" y="68"/>
                        <a:pt x="731" y="68"/>
                      </a:cubicBezTo>
                      <a:cubicBezTo>
                        <a:pt x="768" y="26"/>
                        <a:pt x="821" y="0"/>
                        <a:pt x="880" y="0"/>
                      </a:cubicBezTo>
                      <a:cubicBezTo>
                        <a:pt x="987" y="0"/>
                        <a:pt x="1074" y="87"/>
                        <a:pt x="1084" y="198"/>
                      </a:cubicBezTo>
                      <a:cubicBezTo>
                        <a:pt x="1071" y="196"/>
                        <a:pt x="1057" y="195"/>
                        <a:pt x="1043" y="195"/>
                      </a:cubicBezTo>
                      <a:cubicBezTo>
                        <a:pt x="985" y="195"/>
                        <a:pt x="929" y="210"/>
                        <a:pt x="879" y="238"/>
                      </a:cubicBezTo>
                      <a:cubicBezTo>
                        <a:pt x="868" y="244"/>
                        <a:pt x="865" y="258"/>
                        <a:pt x="871" y="268"/>
                      </a:cubicBezTo>
                      <a:cubicBezTo>
                        <a:pt x="877" y="279"/>
                        <a:pt x="890" y="282"/>
                        <a:pt x="901" y="276"/>
                      </a:cubicBezTo>
                      <a:cubicBezTo>
                        <a:pt x="944" y="252"/>
                        <a:pt x="993" y="239"/>
                        <a:pt x="1043" y="239"/>
                      </a:cubicBezTo>
                      <a:cubicBezTo>
                        <a:pt x="1156" y="239"/>
                        <a:pt x="1255" y="305"/>
                        <a:pt x="1302" y="400"/>
                      </a:cubicBezTo>
                      <a:cubicBezTo>
                        <a:pt x="1320" y="440"/>
                        <a:pt x="1330" y="485"/>
                        <a:pt x="1330" y="532"/>
                      </a:cubicBezTo>
                      <a:cubicBezTo>
                        <a:pt x="1330" y="551"/>
                        <a:pt x="1329" y="569"/>
                        <a:pt x="1325" y="587"/>
                      </a:cubicBezTo>
                      <a:cubicBezTo>
                        <a:pt x="1299" y="713"/>
                        <a:pt x="1190" y="810"/>
                        <a:pt x="1057" y="816"/>
                      </a:cubicBezTo>
                      <a:cubicBezTo>
                        <a:pt x="1065" y="787"/>
                        <a:pt x="1067" y="757"/>
                        <a:pt x="1063" y="726"/>
                      </a:cubicBezTo>
                      <a:cubicBezTo>
                        <a:pt x="1062" y="714"/>
                        <a:pt x="1051" y="705"/>
                        <a:pt x="1039" y="707"/>
                      </a:cubicBezTo>
                      <a:cubicBezTo>
                        <a:pt x="1027" y="708"/>
                        <a:pt x="1018" y="719"/>
                        <a:pt x="1020" y="731"/>
                      </a:cubicBezTo>
                      <a:cubicBezTo>
                        <a:pt x="1033" y="832"/>
                        <a:pt x="962" y="925"/>
                        <a:pt x="861" y="938"/>
                      </a:cubicBezTo>
                      <a:cubicBezTo>
                        <a:pt x="849" y="939"/>
                        <a:pt x="840" y="950"/>
                        <a:pt x="842" y="962"/>
                      </a:cubicBezTo>
                      <a:cubicBezTo>
                        <a:pt x="843" y="973"/>
                        <a:pt x="853" y="981"/>
                        <a:pt x="864" y="981"/>
                      </a:cubicBezTo>
                      <a:cubicBezTo>
                        <a:pt x="865" y="981"/>
                        <a:pt x="866" y="981"/>
                        <a:pt x="867" y="981"/>
                      </a:cubicBezTo>
                      <a:cubicBezTo>
                        <a:pt x="943" y="971"/>
                        <a:pt x="1006" y="924"/>
                        <a:pt x="1040" y="860"/>
                      </a:cubicBezTo>
                      <a:cubicBezTo>
                        <a:pt x="1041" y="860"/>
                        <a:pt x="1042" y="860"/>
                        <a:pt x="1043" y="860"/>
                      </a:cubicBezTo>
                      <a:cubicBezTo>
                        <a:pt x="1141" y="860"/>
                        <a:pt x="1230" y="817"/>
                        <a:pt x="1291" y="749"/>
                      </a:cubicBezTo>
                      <a:cubicBezTo>
                        <a:pt x="1320" y="800"/>
                        <a:pt x="1337" y="859"/>
                        <a:pt x="1338" y="923"/>
                      </a:cubicBezTo>
                      <a:cubicBezTo>
                        <a:pt x="1337" y="924"/>
                        <a:pt x="1337" y="926"/>
                        <a:pt x="1337" y="928"/>
                      </a:cubicBezTo>
                      <a:cubicBezTo>
                        <a:pt x="1337" y="1122"/>
                        <a:pt x="1178" y="1280"/>
                        <a:pt x="982" y="1280"/>
                      </a:cubicBezTo>
                      <a:cubicBezTo>
                        <a:pt x="970" y="1280"/>
                        <a:pt x="960" y="1290"/>
                        <a:pt x="960" y="1302"/>
                      </a:cubicBezTo>
                      <a:cubicBezTo>
                        <a:pt x="960" y="1314"/>
                        <a:pt x="970" y="1324"/>
                        <a:pt x="982" y="1324"/>
                      </a:cubicBezTo>
                      <a:cubicBezTo>
                        <a:pt x="1021" y="1324"/>
                        <a:pt x="1058" y="1319"/>
                        <a:pt x="1094" y="1308"/>
                      </a:cubicBezTo>
                      <a:close/>
                      <a:moveTo>
                        <a:pt x="573" y="998"/>
                      </a:moveTo>
                      <a:cubicBezTo>
                        <a:pt x="522" y="1053"/>
                        <a:pt x="450" y="1082"/>
                        <a:pt x="378" y="1082"/>
                      </a:cubicBezTo>
                      <a:cubicBezTo>
                        <a:pt x="349" y="1082"/>
                        <a:pt x="321" y="1078"/>
                        <a:pt x="293" y="1068"/>
                      </a:cubicBezTo>
                      <a:cubicBezTo>
                        <a:pt x="282" y="1065"/>
                        <a:pt x="275" y="1052"/>
                        <a:pt x="279" y="1041"/>
                      </a:cubicBezTo>
                      <a:cubicBezTo>
                        <a:pt x="283" y="1029"/>
                        <a:pt x="295" y="1023"/>
                        <a:pt x="307" y="1027"/>
                      </a:cubicBezTo>
                      <a:cubicBezTo>
                        <a:pt x="390" y="1054"/>
                        <a:pt x="482" y="1031"/>
                        <a:pt x="541" y="968"/>
                      </a:cubicBezTo>
                      <a:cubicBezTo>
                        <a:pt x="583" y="924"/>
                        <a:pt x="605" y="866"/>
                        <a:pt x="603" y="806"/>
                      </a:cubicBezTo>
                      <a:cubicBezTo>
                        <a:pt x="603" y="803"/>
                        <a:pt x="603" y="799"/>
                        <a:pt x="604" y="797"/>
                      </a:cubicBezTo>
                      <a:cubicBezTo>
                        <a:pt x="604" y="68"/>
                        <a:pt x="604" y="68"/>
                        <a:pt x="604" y="68"/>
                      </a:cubicBezTo>
                      <a:cubicBezTo>
                        <a:pt x="567" y="26"/>
                        <a:pt x="514" y="0"/>
                        <a:pt x="455" y="0"/>
                      </a:cubicBezTo>
                      <a:cubicBezTo>
                        <a:pt x="348" y="0"/>
                        <a:pt x="261" y="87"/>
                        <a:pt x="251" y="198"/>
                      </a:cubicBezTo>
                      <a:cubicBezTo>
                        <a:pt x="266" y="196"/>
                        <a:pt x="281" y="195"/>
                        <a:pt x="297" y="195"/>
                      </a:cubicBezTo>
                      <a:cubicBezTo>
                        <a:pt x="354" y="195"/>
                        <a:pt x="411" y="210"/>
                        <a:pt x="461" y="238"/>
                      </a:cubicBezTo>
                      <a:cubicBezTo>
                        <a:pt x="471" y="244"/>
                        <a:pt x="475" y="258"/>
                        <a:pt x="469" y="268"/>
                      </a:cubicBezTo>
                      <a:cubicBezTo>
                        <a:pt x="463" y="279"/>
                        <a:pt x="449" y="282"/>
                        <a:pt x="439" y="276"/>
                      </a:cubicBezTo>
                      <a:cubicBezTo>
                        <a:pt x="396" y="252"/>
                        <a:pt x="346" y="239"/>
                        <a:pt x="297" y="239"/>
                      </a:cubicBezTo>
                      <a:cubicBezTo>
                        <a:pt x="137" y="239"/>
                        <a:pt x="8" y="368"/>
                        <a:pt x="8" y="528"/>
                      </a:cubicBezTo>
                      <a:cubicBezTo>
                        <a:pt x="8" y="532"/>
                        <a:pt x="7" y="535"/>
                        <a:pt x="5" y="538"/>
                      </a:cubicBezTo>
                      <a:cubicBezTo>
                        <a:pt x="6" y="590"/>
                        <a:pt x="19" y="639"/>
                        <a:pt x="42" y="682"/>
                      </a:cubicBezTo>
                      <a:cubicBezTo>
                        <a:pt x="86" y="626"/>
                        <a:pt x="145" y="583"/>
                        <a:pt x="214" y="557"/>
                      </a:cubicBezTo>
                      <a:cubicBezTo>
                        <a:pt x="216" y="519"/>
                        <a:pt x="229" y="482"/>
                        <a:pt x="250" y="449"/>
                      </a:cubicBezTo>
                      <a:cubicBezTo>
                        <a:pt x="257" y="439"/>
                        <a:pt x="270" y="436"/>
                        <a:pt x="281" y="442"/>
                      </a:cubicBezTo>
                      <a:cubicBezTo>
                        <a:pt x="291" y="449"/>
                        <a:pt x="294" y="463"/>
                        <a:pt x="287" y="473"/>
                      </a:cubicBezTo>
                      <a:cubicBezTo>
                        <a:pt x="260" y="514"/>
                        <a:pt x="251" y="563"/>
                        <a:pt x="261" y="611"/>
                      </a:cubicBezTo>
                      <a:cubicBezTo>
                        <a:pt x="271" y="659"/>
                        <a:pt x="300" y="701"/>
                        <a:pt x="341" y="727"/>
                      </a:cubicBezTo>
                      <a:cubicBezTo>
                        <a:pt x="351" y="734"/>
                        <a:pt x="354" y="748"/>
                        <a:pt x="347" y="758"/>
                      </a:cubicBezTo>
                      <a:cubicBezTo>
                        <a:pt x="343" y="764"/>
                        <a:pt x="336" y="768"/>
                        <a:pt x="329" y="768"/>
                      </a:cubicBezTo>
                      <a:cubicBezTo>
                        <a:pt x="325" y="768"/>
                        <a:pt x="320" y="767"/>
                        <a:pt x="317" y="764"/>
                      </a:cubicBezTo>
                      <a:cubicBezTo>
                        <a:pt x="266" y="731"/>
                        <a:pt x="231" y="680"/>
                        <a:pt x="218" y="620"/>
                      </a:cubicBezTo>
                      <a:cubicBezTo>
                        <a:pt x="217" y="615"/>
                        <a:pt x="216" y="609"/>
                        <a:pt x="215" y="604"/>
                      </a:cubicBezTo>
                      <a:cubicBezTo>
                        <a:pt x="85" y="659"/>
                        <a:pt x="0" y="786"/>
                        <a:pt x="0" y="928"/>
                      </a:cubicBezTo>
                      <a:cubicBezTo>
                        <a:pt x="0" y="1122"/>
                        <a:pt x="159" y="1280"/>
                        <a:pt x="355" y="1280"/>
                      </a:cubicBezTo>
                      <a:cubicBezTo>
                        <a:pt x="367" y="1280"/>
                        <a:pt x="377" y="1290"/>
                        <a:pt x="377" y="1302"/>
                      </a:cubicBezTo>
                      <a:cubicBezTo>
                        <a:pt x="377" y="1314"/>
                        <a:pt x="367" y="1324"/>
                        <a:pt x="355" y="1324"/>
                      </a:cubicBezTo>
                      <a:cubicBezTo>
                        <a:pt x="316" y="1324"/>
                        <a:pt x="278" y="1319"/>
                        <a:pt x="242" y="1308"/>
                      </a:cubicBezTo>
                      <a:cubicBezTo>
                        <a:pt x="279" y="1421"/>
                        <a:pt x="414" y="1534"/>
                        <a:pt x="519" y="1534"/>
                      </a:cubicBezTo>
                      <a:cubicBezTo>
                        <a:pt x="574" y="1534"/>
                        <a:pt x="604" y="1489"/>
                        <a:pt x="604" y="1438"/>
                      </a:cubicBezTo>
                      <a:cubicBezTo>
                        <a:pt x="604" y="959"/>
                        <a:pt x="604" y="959"/>
                        <a:pt x="604" y="959"/>
                      </a:cubicBezTo>
                      <a:cubicBezTo>
                        <a:pt x="595" y="973"/>
                        <a:pt x="585" y="986"/>
                        <a:pt x="573" y="998"/>
                      </a:cubicBez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cxnSp>
        <p:nvCxnSpPr>
          <p:cNvPr id="5" name="Straight Connector 4"/>
          <p:cNvCxnSpPr>
            <a:cxnSpLocks/>
          </p:cNvCxnSpPr>
          <p:nvPr/>
        </p:nvCxnSpPr>
        <p:spPr>
          <a:xfrm>
            <a:off x="2184400" y="1893825"/>
            <a:ext cx="937894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/>
          <p:cNvGrpSpPr/>
          <p:nvPr/>
        </p:nvGrpSpPr>
        <p:grpSpPr>
          <a:xfrm>
            <a:off x="7675528" y="2411593"/>
            <a:ext cx="1972522" cy="2148952"/>
            <a:chOff x="7675528" y="3945941"/>
            <a:chExt cx="1972522" cy="2148952"/>
          </a:xfrm>
        </p:grpSpPr>
        <p:sp>
          <p:nvSpPr>
            <p:cNvPr id="39" name="Rounded Rectangle 38"/>
            <p:cNvSpPr/>
            <p:nvPr/>
          </p:nvSpPr>
          <p:spPr>
            <a:xfrm>
              <a:off x="7824191" y="4959247"/>
              <a:ext cx="1823859" cy="90098"/>
            </a:xfrm>
            <a:prstGeom prst="roundRect">
              <a:avLst>
                <a:gd name="adj" fmla="val 282842"/>
              </a:avLst>
            </a:prstGeom>
            <a:solidFill>
              <a:schemeClr val="bg1">
                <a:lumMod val="75000"/>
              </a:schemeClr>
            </a:solidFill>
            <a:ln w="9525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5" name="ValueChainStarter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7824191" y="5110454"/>
              <a:ext cx="1823859" cy="276999"/>
            </a:xfrm>
            <a:prstGeom prst="rect">
              <a:avLst/>
            </a:prstGeom>
            <a:noFill/>
            <a:ln w="38100" cap="rnd" algn="ctr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eaLnBrk="0" hangingPunct="0">
                <a:buFont typeface="Trebuchet MS" panose="020B0603020202020204" pitchFamily="34" charset="0"/>
                <a:buChar char="​"/>
              </a:pPr>
              <a:r>
                <a:rPr lang="en-US" b="1">
                  <a:solidFill>
                    <a:srgbClr val="000000"/>
                  </a:solidFill>
                  <a:sym typeface="Trebuchet MS" panose="020B0603020202020204" pitchFamily="34" charset="0"/>
                </a:rPr>
                <a:t>Agree</a:t>
              </a:r>
            </a:p>
          </p:txBody>
        </p:sp>
        <p:sp>
          <p:nvSpPr>
            <p:cNvPr id="106" name="TextBox 105"/>
            <p:cNvSpPr txBox="1"/>
            <p:nvPr/>
          </p:nvSpPr>
          <p:spPr>
            <a:xfrm>
              <a:off x="7824191" y="5448562"/>
              <a:ext cx="1823859" cy="64633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>
                  <a:solidFill>
                    <a:srgbClr val="000000"/>
                  </a:solidFill>
                </a:rPr>
                <a:t>Employer agrees to program curriculum</a:t>
              </a:r>
              <a:br>
                <a:rPr lang="en-US" sz="1400">
                  <a:solidFill>
                    <a:srgbClr val="000000"/>
                  </a:solidFill>
                </a:rPr>
              </a:br>
              <a:r>
                <a:rPr lang="en-US" sz="1400">
                  <a:solidFill>
                    <a:srgbClr val="000000"/>
                  </a:solidFill>
                </a:rPr>
                <a:t>and hiring expectation</a:t>
              </a: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9176766" y="4033682"/>
              <a:ext cx="471283" cy="101566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6600" b="1">
                  <a:solidFill>
                    <a:schemeClr val="bg1">
                      <a:lumMod val="75000"/>
                    </a:schemeClr>
                  </a:solidFill>
                </a:rPr>
                <a:t>4</a:t>
              </a:r>
            </a:p>
          </p:txBody>
        </p:sp>
        <p:grpSp>
          <p:nvGrpSpPr>
            <p:cNvPr id="153" name="bcgIcons_ThumbsUp">
              <a:extLst>
                <a:ext uri="{FF2B5EF4-FFF2-40B4-BE49-F238E27FC236}">
                  <a16:creationId xmlns:a16="http://schemas.microsoft.com/office/drawing/2014/main" id="{C683F435-8684-42DF-9D7A-77B11EA29B5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75528" y="3945941"/>
              <a:ext cx="1025440" cy="1026390"/>
              <a:chOff x="1682" y="0"/>
              <a:chExt cx="4316" cy="4320"/>
            </a:xfrm>
          </p:grpSpPr>
          <p:sp>
            <p:nvSpPr>
              <p:cNvPr id="154" name="AutoShape 3">
                <a:extLst>
                  <a:ext uri="{FF2B5EF4-FFF2-40B4-BE49-F238E27FC236}">
                    <a16:creationId xmlns:a16="http://schemas.microsoft.com/office/drawing/2014/main" id="{3791D042-F92F-4CC2-8DD6-DDE02CC55D4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5">
                <a:extLst>
                  <a:ext uri="{FF2B5EF4-FFF2-40B4-BE49-F238E27FC236}">
                    <a16:creationId xmlns:a16="http://schemas.microsoft.com/office/drawing/2014/main" id="{A1D8D785-64BE-4F3D-B7FB-AA35AB4AB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8" y="698"/>
                <a:ext cx="2034" cy="2919"/>
              </a:xfrm>
              <a:custGeom>
                <a:avLst/>
                <a:gdLst>
                  <a:gd name="T0" fmla="*/ 1086 w 1086"/>
                  <a:gd name="T1" fmla="*/ 681 h 1557"/>
                  <a:gd name="T2" fmla="*/ 530 w 1086"/>
                  <a:gd name="T3" fmla="*/ 537 h 1557"/>
                  <a:gd name="T4" fmla="*/ 593 w 1086"/>
                  <a:gd name="T5" fmla="*/ 253 h 1557"/>
                  <a:gd name="T6" fmla="*/ 391 w 1086"/>
                  <a:gd name="T7" fmla="*/ 4 h 1557"/>
                  <a:gd name="T8" fmla="*/ 279 w 1086"/>
                  <a:gd name="T9" fmla="*/ 114 h 1557"/>
                  <a:gd name="T10" fmla="*/ 279 w 1086"/>
                  <a:gd name="T11" fmla="*/ 221 h 1557"/>
                  <a:gd name="T12" fmla="*/ 0 w 1086"/>
                  <a:gd name="T13" fmla="*/ 523 h 1557"/>
                  <a:gd name="T14" fmla="*/ 203 w 1086"/>
                  <a:gd name="T15" fmla="*/ 459 h 1557"/>
                  <a:gd name="T16" fmla="*/ 323 w 1086"/>
                  <a:gd name="T17" fmla="*/ 114 h 1557"/>
                  <a:gd name="T18" fmla="*/ 386 w 1086"/>
                  <a:gd name="T19" fmla="*/ 48 h 1557"/>
                  <a:gd name="T20" fmla="*/ 549 w 1086"/>
                  <a:gd name="T21" fmla="*/ 257 h 1557"/>
                  <a:gd name="T22" fmla="*/ 476 w 1086"/>
                  <a:gd name="T23" fmla="*/ 570 h 1557"/>
                  <a:gd name="T24" fmla="*/ 942 w 1086"/>
                  <a:gd name="T25" fmla="*/ 581 h 1557"/>
                  <a:gd name="T26" fmla="*/ 942 w 1086"/>
                  <a:gd name="T27" fmla="*/ 781 h 1557"/>
                  <a:gd name="T28" fmla="*/ 917 w 1086"/>
                  <a:gd name="T29" fmla="*/ 780 h 1557"/>
                  <a:gd name="T30" fmla="*/ 757 w 1086"/>
                  <a:gd name="T31" fmla="*/ 802 h 1557"/>
                  <a:gd name="T32" fmla="*/ 807 w 1086"/>
                  <a:gd name="T33" fmla="*/ 824 h 1557"/>
                  <a:gd name="T34" fmla="*/ 924 w 1086"/>
                  <a:gd name="T35" fmla="*/ 825 h 1557"/>
                  <a:gd name="T36" fmla="*/ 917 w 1086"/>
                  <a:gd name="T37" fmla="*/ 1024 h 1557"/>
                  <a:gd name="T38" fmla="*/ 874 w 1086"/>
                  <a:gd name="T39" fmla="*/ 1025 h 1557"/>
                  <a:gd name="T40" fmla="*/ 757 w 1086"/>
                  <a:gd name="T41" fmla="*/ 1024 h 1557"/>
                  <a:gd name="T42" fmla="*/ 757 w 1086"/>
                  <a:gd name="T43" fmla="*/ 1068 h 1557"/>
                  <a:gd name="T44" fmla="*/ 961 w 1086"/>
                  <a:gd name="T45" fmla="*/ 1168 h 1557"/>
                  <a:gd name="T46" fmla="*/ 793 w 1086"/>
                  <a:gd name="T47" fmla="*/ 1269 h 1557"/>
                  <a:gd name="T48" fmla="*/ 724 w 1086"/>
                  <a:gd name="T49" fmla="*/ 1269 h 1557"/>
                  <a:gd name="T50" fmla="*/ 724 w 1086"/>
                  <a:gd name="T51" fmla="*/ 1313 h 1557"/>
                  <a:gd name="T52" fmla="*/ 793 w 1086"/>
                  <a:gd name="T53" fmla="*/ 1313 h 1557"/>
                  <a:gd name="T54" fmla="*/ 793 w 1086"/>
                  <a:gd name="T55" fmla="*/ 1513 h 1557"/>
                  <a:gd name="T56" fmla="*/ 26 w 1086"/>
                  <a:gd name="T57" fmla="*/ 1394 h 1557"/>
                  <a:gd name="T58" fmla="*/ 344 w 1086"/>
                  <a:gd name="T59" fmla="*/ 1557 h 1557"/>
                  <a:gd name="T60" fmla="*/ 937 w 1086"/>
                  <a:gd name="T61" fmla="*/ 1413 h 1557"/>
                  <a:gd name="T62" fmla="*/ 1005 w 1086"/>
                  <a:gd name="T63" fmla="*/ 1168 h 1557"/>
                  <a:gd name="T64" fmla="*/ 1061 w 1086"/>
                  <a:gd name="T65" fmla="*/ 924 h 1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86" h="1557">
                    <a:moveTo>
                      <a:pt x="1004" y="810"/>
                    </a:moveTo>
                    <a:cubicBezTo>
                      <a:pt x="1052" y="787"/>
                      <a:pt x="1086" y="738"/>
                      <a:pt x="1086" y="681"/>
                    </a:cubicBezTo>
                    <a:cubicBezTo>
                      <a:pt x="1086" y="601"/>
                      <a:pt x="1021" y="537"/>
                      <a:pt x="942" y="537"/>
                    </a:cubicBezTo>
                    <a:cubicBezTo>
                      <a:pt x="530" y="537"/>
                      <a:pt x="530" y="537"/>
                      <a:pt x="530" y="537"/>
                    </a:cubicBezTo>
                    <a:cubicBezTo>
                      <a:pt x="553" y="485"/>
                      <a:pt x="593" y="378"/>
                      <a:pt x="593" y="255"/>
                    </a:cubicBezTo>
                    <a:cubicBezTo>
                      <a:pt x="593" y="255"/>
                      <a:pt x="593" y="254"/>
                      <a:pt x="593" y="253"/>
                    </a:cubicBezTo>
                    <a:cubicBezTo>
                      <a:pt x="592" y="251"/>
                      <a:pt x="586" y="193"/>
                      <a:pt x="559" y="134"/>
                    </a:cubicBezTo>
                    <a:cubicBezTo>
                      <a:pt x="522" y="52"/>
                      <a:pt x="464" y="7"/>
                      <a:pt x="391" y="4"/>
                    </a:cubicBezTo>
                    <a:cubicBezTo>
                      <a:pt x="383" y="3"/>
                      <a:pt x="344" y="0"/>
                      <a:pt x="313" y="26"/>
                    </a:cubicBezTo>
                    <a:cubicBezTo>
                      <a:pt x="291" y="46"/>
                      <a:pt x="279" y="75"/>
                      <a:pt x="279" y="114"/>
                    </a:cubicBezTo>
                    <a:cubicBezTo>
                      <a:pt x="279" y="221"/>
                      <a:pt x="279" y="221"/>
                      <a:pt x="279" y="221"/>
                    </a:cubicBezTo>
                    <a:cubicBezTo>
                      <a:pt x="279" y="221"/>
                      <a:pt x="279" y="221"/>
                      <a:pt x="279" y="221"/>
                    </a:cubicBezTo>
                    <a:cubicBezTo>
                      <a:pt x="279" y="223"/>
                      <a:pt x="283" y="364"/>
                      <a:pt x="181" y="420"/>
                    </a:cubicBezTo>
                    <a:cubicBezTo>
                      <a:pt x="132" y="448"/>
                      <a:pt x="63" y="487"/>
                      <a:pt x="0" y="523"/>
                    </a:cubicBezTo>
                    <a:cubicBezTo>
                      <a:pt x="12" y="531"/>
                      <a:pt x="21" y="544"/>
                      <a:pt x="25" y="559"/>
                    </a:cubicBezTo>
                    <a:cubicBezTo>
                      <a:pt x="86" y="524"/>
                      <a:pt x="154" y="486"/>
                      <a:pt x="203" y="459"/>
                    </a:cubicBezTo>
                    <a:cubicBezTo>
                      <a:pt x="326" y="390"/>
                      <a:pt x="324" y="232"/>
                      <a:pt x="323" y="220"/>
                    </a:cubicBezTo>
                    <a:cubicBezTo>
                      <a:pt x="323" y="114"/>
                      <a:pt x="323" y="114"/>
                      <a:pt x="323" y="114"/>
                    </a:cubicBezTo>
                    <a:cubicBezTo>
                      <a:pt x="323" y="89"/>
                      <a:pt x="330" y="70"/>
                      <a:pt x="342" y="60"/>
                    </a:cubicBezTo>
                    <a:cubicBezTo>
                      <a:pt x="359" y="44"/>
                      <a:pt x="386" y="48"/>
                      <a:pt x="386" y="48"/>
                    </a:cubicBezTo>
                    <a:cubicBezTo>
                      <a:pt x="387" y="48"/>
                      <a:pt x="388" y="48"/>
                      <a:pt x="389" y="48"/>
                    </a:cubicBezTo>
                    <a:cubicBezTo>
                      <a:pt x="520" y="52"/>
                      <a:pt x="547" y="241"/>
                      <a:pt x="549" y="257"/>
                    </a:cubicBezTo>
                    <a:cubicBezTo>
                      <a:pt x="548" y="413"/>
                      <a:pt x="476" y="547"/>
                      <a:pt x="476" y="548"/>
                    </a:cubicBezTo>
                    <a:cubicBezTo>
                      <a:pt x="472" y="555"/>
                      <a:pt x="472" y="563"/>
                      <a:pt x="476" y="570"/>
                    </a:cubicBezTo>
                    <a:cubicBezTo>
                      <a:pt x="480" y="577"/>
                      <a:pt x="487" y="581"/>
                      <a:pt x="495" y="581"/>
                    </a:cubicBezTo>
                    <a:cubicBezTo>
                      <a:pt x="942" y="581"/>
                      <a:pt x="942" y="581"/>
                      <a:pt x="942" y="581"/>
                    </a:cubicBezTo>
                    <a:cubicBezTo>
                      <a:pt x="997" y="581"/>
                      <a:pt x="1042" y="626"/>
                      <a:pt x="1042" y="681"/>
                    </a:cubicBezTo>
                    <a:cubicBezTo>
                      <a:pt x="1042" y="736"/>
                      <a:pt x="997" y="781"/>
                      <a:pt x="942" y="781"/>
                    </a:cubicBezTo>
                    <a:cubicBezTo>
                      <a:pt x="926" y="781"/>
                      <a:pt x="926" y="781"/>
                      <a:pt x="926" y="781"/>
                    </a:cubicBezTo>
                    <a:cubicBezTo>
                      <a:pt x="923" y="781"/>
                      <a:pt x="920" y="780"/>
                      <a:pt x="917" y="780"/>
                    </a:cubicBezTo>
                    <a:cubicBezTo>
                      <a:pt x="779" y="780"/>
                      <a:pt x="779" y="780"/>
                      <a:pt x="779" y="780"/>
                    </a:cubicBezTo>
                    <a:cubicBezTo>
                      <a:pt x="767" y="780"/>
                      <a:pt x="757" y="790"/>
                      <a:pt x="757" y="802"/>
                    </a:cubicBezTo>
                    <a:cubicBezTo>
                      <a:pt x="757" y="815"/>
                      <a:pt x="767" y="824"/>
                      <a:pt x="779" y="824"/>
                    </a:cubicBezTo>
                    <a:cubicBezTo>
                      <a:pt x="807" y="824"/>
                      <a:pt x="807" y="824"/>
                      <a:pt x="807" y="824"/>
                    </a:cubicBezTo>
                    <a:cubicBezTo>
                      <a:pt x="809" y="825"/>
                      <a:pt x="810" y="825"/>
                      <a:pt x="811" y="825"/>
                    </a:cubicBezTo>
                    <a:cubicBezTo>
                      <a:pt x="924" y="825"/>
                      <a:pt x="924" y="825"/>
                      <a:pt x="924" y="825"/>
                    </a:cubicBezTo>
                    <a:cubicBezTo>
                      <a:pt x="976" y="829"/>
                      <a:pt x="1017" y="872"/>
                      <a:pt x="1017" y="924"/>
                    </a:cubicBezTo>
                    <a:cubicBezTo>
                      <a:pt x="1017" y="980"/>
                      <a:pt x="972" y="1024"/>
                      <a:pt x="917" y="1024"/>
                    </a:cubicBezTo>
                    <a:cubicBezTo>
                      <a:pt x="879" y="1024"/>
                      <a:pt x="879" y="1024"/>
                      <a:pt x="879" y="1024"/>
                    </a:cubicBezTo>
                    <a:cubicBezTo>
                      <a:pt x="877" y="1024"/>
                      <a:pt x="875" y="1025"/>
                      <a:pt x="874" y="1025"/>
                    </a:cubicBezTo>
                    <a:cubicBezTo>
                      <a:pt x="869" y="1025"/>
                      <a:pt x="865" y="1024"/>
                      <a:pt x="861" y="1024"/>
                    </a:cubicBezTo>
                    <a:cubicBezTo>
                      <a:pt x="757" y="1024"/>
                      <a:pt x="757" y="1024"/>
                      <a:pt x="757" y="1024"/>
                    </a:cubicBezTo>
                    <a:cubicBezTo>
                      <a:pt x="745" y="1024"/>
                      <a:pt x="735" y="1034"/>
                      <a:pt x="735" y="1046"/>
                    </a:cubicBezTo>
                    <a:cubicBezTo>
                      <a:pt x="735" y="1059"/>
                      <a:pt x="745" y="1068"/>
                      <a:pt x="757" y="1068"/>
                    </a:cubicBezTo>
                    <a:cubicBezTo>
                      <a:pt x="861" y="1068"/>
                      <a:pt x="861" y="1068"/>
                      <a:pt x="861" y="1068"/>
                    </a:cubicBezTo>
                    <a:cubicBezTo>
                      <a:pt x="916" y="1068"/>
                      <a:pt x="961" y="1113"/>
                      <a:pt x="961" y="1168"/>
                    </a:cubicBezTo>
                    <a:cubicBezTo>
                      <a:pt x="961" y="1224"/>
                      <a:pt x="916" y="1269"/>
                      <a:pt x="861" y="1269"/>
                    </a:cubicBezTo>
                    <a:cubicBezTo>
                      <a:pt x="793" y="1269"/>
                      <a:pt x="793" y="1269"/>
                      <a:pt x="793" y="1269"/>
                    </a:cubicBezTo>
                    <a:cubicBezTo>
                      <a:pt x="757" y="1269"/>
                      <a:pt x="757" y="1269"/>
                      <a:pt x="757" y="1269"/>
                    </a:cubicBezTo>
                    <a:cubicBezTo>
                      <a:pt x="724" y="1269"/>
                      <a:pt x="724" y="1269"/>
                      <a:pt x="724" y="1269"/>
                    </a:cubicBezTo>
                    <a:cubicBezTo>
                      <a:pt x="712" y="1269"/>
                      <a:pt x="702" y="1278"/>
                      <a:pt x="702" y="1291"/>
                    </a:cubicBezTo>
                    <a:cubicBezTo>
                      <a:pt x="702" y="1303"/>
                      <a:pt x="712" y="1313"/>
                      <a:pt x="724" y="1313"/>
                    </a:cubicBezTo>
                    <a:cubicBezTo>
                      <a:pt x="757" y="1313"/>
                      <a:pt x="757" y="1313"/>
                      <a:pt x="757" y="1313"/>
                    </a:cubicBezTo>
                    <a:cubicBezTo>
                      <a:pt x="793" y="1313"/>
                      <a:pt x="793" y="1313"/>
                      <a:pt x="793" y="1313"/>
                    </a:cubicBezTo>
                    <a:cubicBezTo>
                      <a:pt x="848" y="1313"/>
                      <a:pt x="893" y="1357"/>
                      <a:pt x="893" y="1413"/>
                    </a:cubicBezTo>
                    <a:cubicBezTo>
                      <a:pt x="893" y="1468"/>
                      <a:pt x="848" y="1513"/>
                      <a:pt x="793" y="1513"/>
                    </a:cubicBezTo>
                    <a:cubicBezTo>
                      <a:pt x="344" y="1513"/>
                      <a:pt x="344" y="1513"/>
                      <a:pt x="344" y="1513"/>
                    </a:cubicBezTo>
                    <a:cubicBezTo>
                      <a:pt x="301" y="1513"/>
                      <a:pt x="175" y="1513"/>
                      <a:pt x="26" y="1394"/>
                    </a:cubicBezTo>
                    <a:cubicBezTo>
                      <a:pt x="26" y="1449"/>
                      <a:pt x="26" y="1449"/>
                      <a:pt x="26" y="1449"/>
                    </a:cubicBezTo>
                    <a:cubicBezTo>
                      <a:pt x="126" y="1521"/>
                      <a:pt x="230" y="1557"/>
                      <a:pt x="344" y="1557"/>
                    </a:cubicBezTo>
                    <a:cubicBezTo>
                      <a:pt x="793" y="1557"/>
                      <a:pt x="793" y="1557"/>
                      <a:pt x="793" y="1557"/>
                    </a:cubicBezTo>
                    <a:cubicBezTo>
                      <a:pt x="872" y="1557"/>
                      <a:pt x="937" y="1492"/>
                      <a:pt x="937" y="1413"/>
                    </a:cubicBezTo>
                    <a:cubicBezTo>
                      <a:pt x="937" y="1372"/>
                      <a:pt x="920" y="1335"/>
                      <a:pt x="892" y="1309"/>
                    </a:cubicBezTo>
                    <a:cubicBezTo>
                      <a:pt x="957" y="1294"/>
                      <a:pt x="1005" y="1237"/>
                      <a:pt x="1005" y="1168"/>
                    </a:cubicBezTo>
                    <a:cubicBezTo>
                      <a:pt x="1005" y="1127"/>
                      <a:pt x="987" y="1089"/>
                      <a:pt x="958" y="1062"/>
                    </a:cubicBezTo>
                    <a:cubicBezTo>
                      <a:pt x="1017" y="1045"/>
                      <a:pt x="1061" y="989"/>
                      <a:pt x="1061" y="924"/>
                    </a:cubicBezTo>
                    <a:cubicBezTo>
                      <a:pt x="1061" y="878"/>
                      <a:pt x="1039" y="837"/>
                      <a:pt x="1004" y="81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6">
                <a:extLst>
                  <a:ext uri="{FF2B5EF4-FFF2-40B4-BE49-F238E27FC236}">
                    <a16:creationId xmlns:a16="http://schemas.microsoft.com/office/drawing/2014/main" id="{708D731E-486F-4551-ADA2-5356DB56F2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68" y="1740"/>
                <a:ext cx="846" cy="1723"/>
              </a:xfrm>
              <a:custGeom>
                <a:avLst/>
                <a:gdLst>
                  <a:gd name="T0" fmla="*/ 193 w 452"/>
                  <a:gd name="T1" fmla="*/ 773 h 919"/>
                  <a:gd name="T2" fmla="*/ 146 w 452"/>
                  <a:gd name="T3" fmla="*/ 820 h 919"/>
                  <a:gd name="T4" fmla="*/ 99 w 452"/>
                  <a:gd name="T5" fmla="*/ 773 h 919"/>
                  <a:gd name="T6" fmla="*/ 146 w 452"/>
                  <a:gd name="T7" fmla="*/ 726 h 919"/>
                  <a:gd name="T8" fmla="*/ 193 w 452"/>
                  <a:gd name="T9" fmla="*/ 773 h 919"/>
                  <a:gd name="T10" fmla="*/ 452 w 452"/>
                  <a:gd name="T11" fmla="*/ 22 h 919"/>
                  <a:gd name="T12" fmla="*/ 452 w 452"/>
                  <a:gd name="T13" fmla="*/ 897 h 919"/>
                  <a:gd name="T14" fmla="*/ 430 w 452"/>
                  <a:gd name="T15" fmla="*/ 919 h 919"/>
                  <a:gd name="T16" fmla="*/ 22 w 452"/>
                  <a:gd name="T17" fmla="*/ 919 h 919"/>
                  <a:gd name="T18" fmla="*/ 0 w 452"/>
                  <a:gd name="T19" fmla="*/ 897 h 919"/>
                  <a:gd name="T20" fmla="*/ 0 w 452"/>
                  <a:gd name="T21" fmla="*/ 22 h 919"/>
                  <a:gd name="T22" fmla="*/ 22 w 452"/>
                  <a:gd name="T23" fmla="*/ 0 h 919"/>
                  <a:gd name="T24" fmla="*/ 430 w 452"/>
                  <a:gd name="T25" fmla="*/ 0 h 919"/>
                  <a:gd name="T26" fmla="*/ 452 w 452"/>
                  <a:gd name="T27" fmla="*/ 22 h 919"/>
                  <a:gd name="T28" fmla="*/ 237 w 452"/>
                  <a:gd name="T29" fmla="*/ 773 h 919"/>
                  <a:gd name="T30" fmla="*/ 146 w 452"/>
                  <a:gd name="T31" fmla="*/ 682 h 919"/>
                  <a:gd name="T32" fmla="*/ 55 w 452"/>
                  <a:gd name="T33" fmla="*/ 773 h 919"/>
                  <a:gd name="T34" fmla="*/ 146 w 452"/>
                  <a:gd name="T35" fmla="*/ 864 h 919"/>
                  <a:gd name="T36" fmla="*/ 237 w 452"/>
                  <a:gd name="T37" fmla="*/ 773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2" h="919">
                    <a:moveTo>
                      <a:pt x="193" y="773"/>
                    </a:moveTo>
                    <a:cubicBezTo>
                      <a:pt x="193" y="799"/>
                      <a:pt x="172" y="820"/>
                      <a:pt x="146" y="820"/>
                    </a:cubicBezTo>
                    <a:cubicBezTo>
                      <a:pt x="120" y="820"/>
                      <a:pt x="99" y="799"/>
                      <a:pt x="99" y="773"/>
                    </a:cubicBezTo>
                    <a:cubicBezTo>
                      <a:pt x="99" y="747"/>
                      <a:pt x="120" y="726"/>
                      <a:pt x="146" y="726"/>
                    </a:cubicBezTo>
                    <a:cubicBezTo>
                      <a:pt x="172" y="726"/>
                      <a:pt x="193" y="747"/>
                      <a:pt x="193" y="773"/>
                    </a:cubicBezTo>
                    <a:close/>
                    <a:moveTo>
                      <a:pt x="452" y="22"/>
                    </a:moveTo>
                    <a:cubicBezTo>
                      <a:pt x="452" y="897"/>
                      <a:pt x="452" y="897"/>
                      <a:pt x="452" y="897"/>
                    </a:cubicBezTo>
                    <a:cubicBezTo>
                      <a:pt x="452" y="909"/>
                      <a:pt x="442" y="919"/>
                      <a:pt x="430" y="919"/>
                    </a:cubicBezTo>
                    <a:cubicBezTo>
                      <a:pt x="22" y="919"/>
                      <a:pt x="22" y="919"/>
                      <a:pt x="22" y="919"/>
                    </a:cubicBezTo>
                    <a:cubicBezTo>
                      <a:pt x="10" y="919"/>
                      <a:pt x="0" y="909"/>
                      <a:pt x="0" y="897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430" y="0"/>
                      <a:pt x="430" y="0"/>
                      <a:pt x="430" y="0"/>
                    </a:cubicBezTo>
                    <a:cubicBezTo>
                      <a:pt x="442" y="0"/>
                      <a:pt x="452" y="10"/>
                      <a:pt x="452" y="22"/>
                    </a:cubicBezTo>
                    <a:close/>
                    <a:moveTo>
                      <a:pt x="237" y="773"/>
                    </a:moveTo>
                    <a:cubicBezTo>
                      <a:pt x="237" y="722"/>
                      <a:pt x="196" y="682"/>
                      <a:pt x="146" y="682"/>
                    </a:cubicBezTo>
                    <a:cubicBezTo>
                      <a:pt x="96" y="682"/>
                      <a:pt x="55" y="722"/>
                      <a:pt x="55" y="773"/>
                    </a:cubicBezTo>
                    <a:cubicBezTo>
                      <a:pt x="55" y="823"/>
                      <a:pt x="96" y="864"/>
                      <a:pt x="146" y="864"/>
                    </a:cubicBezTo>
                    <a:cubicBezTo>
                      <a:pt x="196" y="864"/>
                      <a:pt x="237" y="823"/>
                      <a:pt x="237" y="773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3838890" y="3640801"/>
            <a:ext cx="1978562" cy="2148953"/>
            <a:chOff x="3838890" y="3641430"/>
            <a:chExt cx="1978562" cy="2148953"/>
          </a:xfrm>
        </p:grpSpPr>
        <p:sp>
          <p:nvSpPr>
            <p:cNvPr id="38" name="Rounded Rectangle 37"/>
            <p:cNvSpPr/>
            <p:nvPr/>
          </p:nvSpPr>
          <p:spPr>
            <a:xfrm>
              <a:off x="3993593" y="4654736"/>
              <a:ext cx="1823859" cy="90098"/>
            </a:xfrm>
            <a:prstGeom prst="roundRect">
              <a:avLst>
                <a:gd name="adj" fmla="val 282842"/>
              </a:avLst>
            </a:prstGeom>
            <a:solidFill>
              <a:schemeClr val="bg1">
                <a:lumMod val="75000"/>
              </a:schemeClr>
            </a:solidFill>
            <a:ln w="9525" cap="rnd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9" name="ValueChainStarter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993593" y="4805944"/>
              <a:ext cx="1823859" cy="276999"/>
            </a:xfrm>
            <a:prstGeom prst="rect">
              <a:avLst/>
            </a:prstGeom>
            <a:noFill/>
            <a:ln w="38100" cap="rnd" algn="ctr">
              <a:noFill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</a:extLst>
          </p:spPr>
          <p:txBody>
            <a:bodyPr lIns="0" tIns="0" rIns="0" bIns="0" anchor="ctr" anchorCtr="0">
              <a:spAutoFit/>
            </a:bodyPr>
            <a:lstStyle/>
            <a:p>
              <a:pPr eaLnBrk="0" hangingPunct="0">
                <a:buFont typeface="Trebuchet MS" panose="020B0603020202020204" pitchFamily="34" charset="0"/>
                <a:buChar char="​"/>
              </a:pPr>
              <a:r>
                <a:rPr lang="en-US" b="1">
                  <a:solidFill>
                    <a:srgbClr val="000000"/>
                  </a:solidFill>
                  <a:sym typeface="Trebuchet MS" panose="020B0603020202020204" pitchFamily="34" charset="0"/>
                </a:rPr>
                <a:t>Share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3993593" y="5144052"/>
              <a:ext cx="1823859" cy="64633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>
                  <a:solidFill>
                    <a:srgbClr val="000000"/>
                  </a:solidFill>
                </a:rPr>
                <a:t>Employer shares </a:t>
              </a:r>
              <a:br>
                <a:rPr lang="en-US" sz="1400">
                  <a:solidFill>
                    <a:srgbClr val="000000"/>
                  </a:solidFill>
                </a:rPr>
              </a:br>
              <a:r>
                <a:rPr lang="en-US" sz="1400">
                  <a:solidFill>
                    <a:srgbClr val="000000"/>
                  </a:solidFill>
                </a:rPr>
                <a:t>hiring needs with Market Maker</a:t>
              </a: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5346169" y="3729171"/>
              <a:ext cx="471283" cy="1015663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US" sz="6600" b="1">
                  <a:solidFill>
                    <a:schemeClr val="bg1">
                      <a:lumMod val="75000"/>
                    </a:schemeClr>
                  </a:solidFill>
                </a:rPr>
                <a:t>2</a:t>
              </a:r>
            </a:p>
          </p:txBody>
        </p:sp>
        <p:grpSp>
          <p:nvGrpSpPr>
            <p:cNvPr id="148" name="Group 147"/>
            <p:cNvGrpSpPr>
              <a:grpSpLocks noChangeAspect="1"/>
            </p:cNvGrpSpPr>
            <p:nvPr/>
          </p:nvGrpSpPr>
          <p:grpSpPr>
            <a:xfrm>
              <a:off x="3838890" y="3641430"/>
              <a:ext cx="1027381" cy="1026390"/>
              <a:chOff x="6464300" y="2606675"/>
              <a:chExt cx="1646238" cy="1644650"/>
            </a:xfrm>
          </p:grpSpPr>
          <p:sp>
            <p:nvSpPr>
              <p:cNvPr id="14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50" name="Group 149"/>
              <p:cNvGrpSpPr/>
              <p:nvPr/>
            </p:nvGrpSpPr>
            <p:grpSpPr>
              <a:xfrm>
                <a:off x="6729413" y="2881313"/>
                <a:ext cx="1123838" cy="1125538"/>
                <a:chOff x="6729413" y="2881313"/>
                <a:chExt cx="1123838" cy="1125538"/>
              </a:xfrm>
            </p:grpSpPr>
            <p:sp>
              <p:nvSpPr>
                <p:cNvPr id="151" name="Freeform 150"/>
                <p:cNvSpPr>
                  <a:spLocks/>
                </p:cNvSpPr>
                <p:nvPr/>
              </p:nvSpPr>
              <p:spPr bwMode="auto">
                <a:xfrm>
                  <a:off x="7124700" y="2881313"/>
                  <a:ext cx="635000" cy="739775"/>
                </a:xfrm>
                <a:custGeom>
                  <a:avLst/>
                  <a:gdLst>
                    <a:gd name="T0" fmla="*/ 866 w 888"/>
                    <a:gd name="T1" fmla="*/ 0 h 1037"/>
                    <a:gd name="T2" fmla="*/ 22 w 888"/>
                    <a:gd name="T3" fmla="*/ 0 h 1037"/>
                    <a:gd name="T4" fmla="*/ 0 w 888"/>
                    <a:gd name="T5" fmla="*/ 22 h 1037"/>
                    <a:gd name="T6" fmla="*/ 0 w 888"/>
                    <a:gd name="T7" fmla="*/ 775 h 1037"/>
                    <a:gd name="T8" fmla="*/ 9 w 888"/>
                    <a:gd name="T9" fmla="*/ 775 h 1037"/>
                    <a:gd name="T10" fmla="*/ 25 w 888"/>
                    <a:gd name="T11" fmla="*/ 775 h 1037"/>
                    <a:gd name="T12" fmla="*/ 450 w 888"/>
                    <a:gd name="T13" fmla="*/ 797 h 1037"/>
                    <a:gd name="T14" fmla="*/ 597 w 888"/>
                    <a:gd name="T15" fmla="*/ 952 h 1037"/>
                    <a:gd name="T16" fmla="*/ 571 w 888"/>
                    <a:gd name="T17" fmla="*/ 1037 h 1037"/>
                    <a:gd name="T18" fmla="*/ 713 w 888"/>
                    <a:gd name="T19" fmla="*/ 942 h 1037"/>
                    <a:gd name="T20" fmla="*/ 779 w 888"/>
                    <a:gd name="T21" fmla="*/ 867 h 1037"/>
                    <a:gd name="T22" fmla="*/ 888 w 888"/>
                    <a:gd name="T23" fmla="*/ 813 h 1037"/>
                    <a:gd name="T24" fmla="*/ 888 w 888"/>
                    <a:gd name="T25" fmla="*/ 22 h 1037"/>
                    <a:gd name="T26" fmla="*/ 866 w 888"/>
                    <a:gd name="T27" fmla="*/ 0 h 10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88" h="1037">
                      <a:moveTo>
                        <a:pt x="866" y="0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775"/>
                        <a:pt x="0" y="775"/>
                        <a:pt x="0" y="775"/>
                      </a:cubicBezTo>
                      <a:cubicBezTo>
                        <a:pt x="3" y="775"/>
                        <a:pt x="6" y="775"/>
                        <a:pt x="9" y="775"/>
                      </a:cubicBezTo>
                      <a:cubicBezTo>
                        <a:pt x="14" y="775"/>
                        <a:pt x="20" y="775"/>
                        <a:pt x="25" y="775"/>
                      </a:cubicBezTo>
                      <a:cubicBezTo>
                        <a:pt x="450" y="797"/>
                        <a:pt x="450" y="797"/>
                        <a:pt x="450" y="797"/>
                      </a:cubicBezTo>
                      <a:cubicBezTo>
                        <a:pt x="532" y="802"/>
                        <a:pt x="597" y="869"/>
                        <a:pt x="597" y="952"/>
                      </a:cubicBezTo>
                      <a:cubicBezTo>
                        <a:pt x="597" y="983"/>
                        <a:pt x="587" y="1012"/>
                        <a:pt x="571" y="1037"/>
                      </a:cubicBezTo>
                      <a:cubicBezTo>
                        <a:pt x="626" y="1018"/>
                        <a:pt x="674" y="985"/>
                        <a:pt x="713" y="942"/>
                      </a:cubicBezTo>
                      <a:cubicBezTo>
                        <a:pt x="779" y="867"/>
                        <a:pt x="779" y="867"/>
                        <a:pt x="779" y="867"/>
                      </a:cubicBezTo>
                      <a:cubicBezTo>
                        <a:pt x="807" y="835"/>
                        <a:pt x="846" y="816"/>
                        <a:pt x="888" y="813"/>
                      </a:cubicBezTo>
                      <a:cubicBezTo>
                        <a:pt x="888" y="22"/>
                        <a:pt x="888" y="22"/>
                        <a:pt x="888" y="22"/>
                      </a:cubicBezTo>
                      <a:cubicBezTo>
                        <a:pt x="888" y="10"/>
                        <a:pt x="878" y="0"/>
                        <a:pt x="866" y="0"/>
                      </a:cubicBez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151"/>
                <p:cNvSpPr>
                  <a:spLocks/>
                </p:cNvSpPr>
                <p:nvPr/>
              </p:nvSpPr>
              <p:spPr bwMode="auto">
                <a:xfrm>
                  <a:off x="6729413" y="3465513"/>
                  <a:ext cx="1123838" cy="541338"/>
                </a:xfrm>
                <a:custGeom>
                  <a:avLst/>
                  <a:gdLst>
                    <a:gd name="connsiteX0" fmla="*/ 409739 w 1123838"/>
                    <a:gd name="connsiteY0" fmla="*/ 31591 h 541338"/>
                    <a:gd name="connsiteX1" fmla="*/ 326138 w 1123838"/>
                    <a:gd name="connsiteY1" fmla="*/ 51601 h 541338"/>
                    <a:gd name="connsiteX2" fmla="*/ 31750 w 1123838"/>
                    <a:gd name="connsiteY2" fmla="*/ 218820 h 541338"/>
                    <a:gd name="connsiteX3" fmla="*/ 31750 w 1123838"/>
                    <a:gd name="connsiteY3" fmla="*/ 503237 h 541338"/>
                    <a:gd name="connsiteX4" fmla="*/ 368296 w 1123838"/>
                    <a:gd name="connsiteY4" fmla="*/ 373177 h 541338"/>
                    <a:gd name="connsiteX5" fmla="*/ 419028 w 1123838"/>
                    <a:gd name="connsiteY5" fmla="*/ 365316 h 541338"/>
                    <a:gd name="connsiteX6" fmla="*/ 568366 w 1123838"/>
                    <a:gd name="connsiteY6" fmla="*/ 376036 h 541338"/>
                    <a:gd name="connsiteX7" fmla="*/ 797017 w 1123838"/>
                    <a:gd name="connsiteY7" fmla="*/ 349595 h 541338"/>
                    <a:gd name="connsiteX8" fmla="*/ 1047818 w 1123838"/>
                    <a:gd name="connsiteY8" fmla="*/ 183090 h 541338"/>
                    <a:gd name="connsiteX9" fmla="*/ 1079972 w 1123838"/>
                    <a:gd name="connsiteY9" fmla="*/ 145930 h 541338"/>
                    <a:gd name="connsiteX10" fmla="*/ 1074971 w 1123838"/>
                    <a:gd name="connsiteY10" fmla="*/ 71610 h 541338"/>
                    <a:gd name="connsiteX11" fmla="*/ 1036386 w 1123838"/>
                    <a:gd name="connsiteY11" fmla="*/ 58032 h 541338"/>
                    <a:gd name="connsiteX12" fmla="*/ 999230 w 1123838"/>
                    <a:gd name="connsiteY12" fmla="*/ 75897 h 541338"/>
                    <a:gd name="connsiteX13" fmla="*/ 951356 w 1123838"/>
                    <a:gd name="connsiteY13" fmla="*/ 129494 h 541338"/>
                    <a:gd name="connsiteX14" fmla="*/ 805591 w 1123838"/>
                    <a:gd name="connsiteY14" fmla="*/ 220964 h 541338"/>
                    <a:gd name="connsiteX15" fmla="*/ 608380 w 1123838"/>
                    <a:gd name="connsiteY15" fmla="*/ 210245 h 541338"/>
                    <a:gd name="connsiteX16" fmla="*/ 553360 w 1123838"/>
                    <a:gd name="connsiteY16" fmla="*/ 188092 h 541338"/>
                    <a:gd name="connsiteX17" fmla="*/ 544071 w 1123838"/>
                    <a:gd name="connsiteY17" fmla="*/ 171656 h 541338"/>
                    <a:gd name="connsiteX18" fmla="*/ 557648 w 1123838"/>
                    <a:gd name="connsiteY18" fmla="*/ 158078 h 541338"/>
                    <a:gd name="connsiteX19" fmla="*/ 715560 w 1123838"/>
                    <a:gd name="connsiteY19" fmla="*/ 142357 h 541338"/>
                    <a:gd name="connsiteX20" fmla="*/ 759146 w 1123838"/>
                    <a:gd name="connsiteY20" fmla="*/ 95192 h 541338"/>
                    <a:gd name="connsiteX21" fmla="*/ 713416 w 1123838"/>
                    <a:gd name="connsiteY21" fmla="*/ 47313 h 541338"/>
                    <a:gd name="connsiteX22" fmla="*/ 409739 w 1123838"/>
                    <a:gd name="connsiteY22" fmla="*/ 31591 h 541338"/>
                    <a:gd name="connsiteX23" fmla="*/ 390213 w 1123838"/>
                    <a:gd name="connsiteY23" fmla="*/ 0 h 541338"/>
                    <a:gd name="connsiteX24" fmla="*/ 393786 w 1123838"/>
                    <a:gd name="connsiteY24" fmla="*/ 0 h 541338"/>
                    <a:gd name="connsiteX25" fmla="*/ 396645 w 1123838"/>
                    <a:gd name="connsiteY25" fmla="*/ 0 h 541338"/>
                    <a:gd name="connsiteX26" fmla="*/ 399504 w 1123838"/>
                    <a:gd name="connsiteY26" fmla="*/ 0 h 541338"/>
                    <a:gd name="connsiteX27" fmla="*/ 403077 w 1123838"/>
                    <a:gd name="connsiteY27" fmla="*/ 0 h 541338"/>
                    <a:gd name="connsiteX28" fmla="*/ 410939 w 1123838"/>
                    <a:gd name="connsiteY28" fmla="*/ 0 h 541338"/>
                    <a:gd name="connsiteX29" fmla="*/ 715390 w 1123838"/>
                    <a:gd name="connsiteY29" fmla="*/ 15712 h 541338"/>
                    <a:gd name="connsiteX30" fmla="*/ 780426 w 1123838"/>
                    <a:gd name="connsiteY30" fmla="*/ 56419 h 541338"/>
                    <a:gd name="connsiteX31" fmla="*/ 782570 w 1123838"/>
                    <a:gd name="connsiteY31" fmla="*/ 60704 h 541338"/>
                    <a:gd name="connsiteX32" fmla="*/ 789002 w 1123838"/>
                    <a:gd name="connsiteY32" fmla="*/ 79273 h 541338"/>
                    <a:gd name="connsiteX33" fmla="*/ 790431 w 1123838"/>
                    <a:gd name="connsiteY33" fmla="*/ 94984 h 541338"/>
                    <a:gd name="connsiteX34" fmla="*/ 789716 w 1123838"/>
                    <a:gd name="connsiteY34" fmla="*/ 100698 h 541338"/>
                    <a:gd name="connsiteX35" fmla="*/ 789716 w 1123838"/>
                    <a:gd name="connsiteY35" fmla="*/ 101412 h 541338"/>
                    <a:gd name="connsiteX36" fmla="*/ 789002 w 1123838"/>
                    <a:gd name="connsiteY36" fmla="*/ 107125 h 541338"/>
                    <a:gd name="connsiteX37" fmla="*/ 763988 w 1123838"/>
                    <a:gd name="connsiteY37" fmla="*/ 154260 h 541338"/>
                    <a:gd name="connsiteX38" fmla="*/ 763273 w 1123838"/>
                    <a:gd name="connsiteY38" fmla="*/ 154260 h 541338"/>
                    <a:gd name="connsiteX39" fmla="*/ 758985 w 1123838"/>
                    <a:gd name="connsiteY39" fmla="*/ 157831 h 541338"/>
                    <a:gd name="connsiteX40" fmla="*/ 754697 w 1123838"/>
                    <a:gd name="connsiteY40" fmla="*/ 160688 h 541338"/>
                    <a:gd name="connsiteX41" fmla="*/ 753983 w 1123838"/>
                    <a:gd name="connsiteY41" fmla="*/ 161402 h 541338"/>
                    <a:gd name="connsiteX42" fmla="*/ 749695 w 1123838"/>
                    <a:gd name="connsiteY42" fmla="*/ 164258 h 541338"/>
                    <a:gd name="connsiteX43" fmla="*/ 748265 w 1123838"/>
                    <a:gd name="connsiteY43" fmla="*/ 164973 h 541338"/>
                    <a:gd name="connsiteX44" fmla="*/ 743263 w 1123838"/>
                    <a:gd name="connsiteY44" fmla="*/ 167115 h 541338"/>
                    <a:gd name="connsiteX45" fmla="*/ 742548 w 1123838"/>
                    <a:gd name="connsiteY45" fmla="*/ 167829 h 541338"/>
                    <a:gd name="connsiteX46" fmla="*/ 738260 w 1123838"/>
                    <a:gd name="connsiteY46" fmla="*/ 169258 h 541338"/>
                    <a:gd name="connsiteX47" fmla="*/ 718964 w 1123838"/>
                    <a:gd name="connsiteY47" fmla="*/ 173543 h 541338"/>
                    <a:gd name="connsiteX48" fmla="*/ 624626 w 1123838"/>
                    <a:gd name="connsiteY48" fmla="*/ 182827 h 541338"/>
                    <a:gd name="connsiteX49" fmla="*/ 743263 w 1123838"/>
                    <a:gd name="connsiteY49" fmla="*/ 199967 h 541338"/>
                    <a:gd name="connsiteX50" fmla="*/ 775423 w 1123838"/>
                    <a:gd name="connsiteY50" fmla="*/ 195682 h 541338"/>
                    <a:gd name="connsiteX51" fmla="*/ 785428 w 1123838"/>
                    <a:gd name="connsiteY51" fmla="*/ 193539 h 541338"/>
                    <a:gd name="connsiteX52" fmla="*/ 786858 w 1123838"/>
                    <a:gd name="connsiteY52" fmla="*/ 192825 h 541338"/>
                    <a:gd name="connsiteX53" fmla="*/ 796863 w 1123838"/>
                    <a:gd name="connsiteY53" fmla="*/ 190683 h 541338"/>
                    <a:gd name="connsiteX54" fmla="*/ 826880 w 1123838"/>
                    <a:gd name="connsiteY54" fmla="*/ 179970 h 541338"/>
                    <a:gd name="connsiteX55" fmla="*/ 909782 w 1123838"/>
                    <a:gd name="connsiteY55" fmla="*/ 127122 h 541338"/>
                    <a:gd name="connsiteX56" fmla="*/ 928363 w 1123838"/>
                    <a:gd name="connsiteY56" fmla="*/ 108553 h 541338"/>
                    <a:gd name="connsiteX57" fmla="*/ 975532 w 1123838"/>
                    <a:gd name="connsiteY57" fmla="*/ 54991 h 541338"/>
                    <a:gd name="connsiteX58" fmla="*/ 978391 w 1123838"/>
                    <a:gd name="connsiteY58" fmla="*/ 51420 h 541338"/>
                    <a:gd name="connsiteX59" fmla="*/ 979105 w 1123838"/>
                    <a:gd name="connsiteY59" fmla="*/ 51420 h 541338"/>
                    <a:gd name="connsiteX60" fmla="*/ 1034135 w 1123838"/>
                    <a:gd name="connsiteY60" fmla="*/ 26424 h 541338"/>
                    <a:gd name="connsiteX61" fmla="*/ 1034850 w 1123838"/>
                    <a:gd name="connsiteY61" fmla="*/ 26424 h 541338"/>
                    <a:gd name="connsiteX62" fmla="*/ 1039138 w 1123838"/>
                    <a:gd name="connsiteY62" fmla="*/ 26424 h 541338"/>
                    <a:gd name="connsiteX63" fmla="*/ 1040567 w 1123838"/>
                    <a:gd name="connsiteY63" fmla="*/ 26424 h 541338"/>
                    <a:gd name="connsiteX64" fmla="*/ 1079875 w 1123838"/>
                    <a:gd name="connsiteY64" fmla="*/ 37137 h 541338"/>
                    <a:gd name="connsiteX65" fmla="*/ 1083448 w 1123838"/>
                    <a:gd name="connsiteY65" fmla="*/ 39279 h 541338"/>
                    <a:gd name="connsiteX66" fmla="*/ 1086307 w 1123838"/>
                    <a:gd name="connsiteY66" fmla="*/ 40708 h 541338"/>
                    <a:gd name="connsiteX67" fmla="*/ 1087021 w 1123838"/>
                    <a:gd name="connsiteY67" fmla="*/ 41422 h 541338"/>
                    <a:gd name="connsiteX68" fmla="*/ 1089880 w 1123838"/>
                    <a:gd name="connsiteY68" fmla="*/ 43564 h 541338"/>
                    <a:gd name="connsiteX69" fmla="*/ 1090595 w 1123838"/>
                    <a:gd name="connsiteY69" fmla="*/ 44278 h 541338"/>
                    <a:gd name="connsiteX70" fmla="*/ 1092739 w 1123838"/>
                    <a:gd name="connsiteY70" fmla="*/ 45707 h 541338"/>
                    <a:gd name="connsiteX71" fmla="*/ 1095597 w 1123838"/>
                    <a:gd name="connsiteY71" fmla="*/ 47849 h 541338"/>
                    <a:gd name="connsiteX72" fmla="*/ 1095597 w 1123838"/>
                    <a:gd name="connsiteY72" fmla="*/ 48563 h 541338"/>
                    <a:gd name="connsiteX73" fmla="*/ 1103459 w 1123838"/>
                    <a:gd name="connsiteY73" fmla="*/ 165687 h 541338"/>
                    <a:gd name="connsiteX74" fmla="*/ 1072013 w 1123838"/>
                    <a:gd name="connsiteY74" fmla="*/ 203538 h 541338"/>
                    <a:gd name="connsiteX75" fmla="*/ 966241 w 1123838"/>
                    <a:gd name="connsiteY75" fmla="*/ 299950 h 541338"/>
                    <a:gd name="connsiteX76" fmla="*/ 956950 w 1123838"/>
                    <a:gd name="connsiteY76" fmla="*/ 306377 h 541338"/>
                    <a:gd name="connsiteX77" fmla="*/ 948374 w 1123838"/>
                    <a:gd name="connsiteY77" fmla="*/ 312091 h 541338"/>
                    <a:gd name="connsiteX78" fmla="*/ 806154 w 1123838"/>
                    <a:gd name="connsiteY78" fmla="*/ 379222 h 541338"/>
                    <a:gd name="connsiteX79" fmla="*/ 792575 w 1123838"/>
                    <a:gd name="connsiteY79" fmla="*/ 383507 h 541338"/>
                    <a:gd name="connsiteX80" fmla="*/ 788287 w 1123838"/>
                    <a:gd name="connsiteY80" fmla="*/ 384222 h 541338"/>
                    <a:gd name="connsiteX81" fmla="*/ 779711 w 1123838"/>
                    <a:gd name="connsiteY81" fmla="*/ 387078 h 541338"/>
                    <a:gd name="connsiteX82" fmla="*/ 773994 w 1123838"/>
                    <a:gd name="connsiteY82" fmla="*/ 388507 h 541338"/>
                    <a:gd name="connsiteX83" fmla="*/ 766132 w 1123838"/>
                    <a:gd name="connsiteY83" fmla="*/ 389935 h 541338"/>
                    <a:gd name="connsiteX84" fmla="*/ 759700 w 1123838"/>
                    <a:gd name="connsiteY84" fmla="*/ 392077 h 541338"/>
                    <a:gd name="connsiteX85" fmla="*/ 753983 w 1123838"/>
                    <a:gd name="connsiteY85" fmla="*/ 392792 h 541338"/>
                    <a:gd name="connsiteX86" fmla="*/ 724681 w 1123838"/>
                    <a:gd name="connsiteY86" fmla="*/ 399219 h 541338"/>
                    <a:gd name="connsiteX87" fmla="*/ 721822 w 1123838"/>
                    <a:gd name="connsiteY87" fmla="*/ 399219 h 541338"/>
                    <a:gd name="connsiteX88" fmla="*/ 711102 w 1123838"/>
                    <a:gd name="connsiteY88" fmla="*/ 401362 h 541338"/>
                    <a:gd name="connsiteX89" fmla="*/ 709673 w 1123838"/>
                    <a:gd name="connsiteY89" fmla="*/ 401362 h 541338"/>
                    <a:gd name="connsiteX90" fmla="*/ 650355 w 1123838"/>
                    <a:gd name="connsiteY90" fmla="*/ 407789 h 541338"/>
                    <a:gd name="connsiteX91" fmla="*/ 648211 w 1123838"/>
                    <a:gd name="connsiteY91" fmla="*/ 407789 h 541338"/>
                    <a:gd name="connsiteX92" fmla="*/ 637491 w 1123838"/>
                    <a:gd name="connsiteY92" fmla="*/ 408503 h 541338"/>
                    <a:gd name="connsiteX93" fmla="*/ 635347 w 1123838"/>
                    <a:gd name="connsiteY93" fmla="*/ 408503 h 541338"/>
                    <a:gd name="connsiteX94" fmla="*/ 621053 w 1123838"/>
                    <a:gd name="connsiteY94" fmla="*/ 408503 h 541338"/>
                    <a:gd name="connsiteX95" fmla="*/ 620338 w 1123838"/>
                    <a:gd name="connsiteY95" fmla="*/ 408503 h 541338"/>
                    <a:gd name="connsiteX96" fmla="*/ 612477 w 1123838"/>
                    <a:gd name="connsiteY96" fmla="*/ 408503 h 541338"/>
                    <a:gd name="connsiteX97" fmla="*/ 606045 w 1123838"/>
                    <a:gd name="connsiteY97" fmla="*/ 408503 h 541338"/>
                    <a:gd name="connsiteX98" fmla="*/ 598898 w 1123838"/>
                    <a:gd name="connsiteY98" fmla="*/ 408503 h 541338"/>
                    <a:gd name="connsiteX99" fmla="*/ 592466 w 1123838"/>
                    <a:gd name="connsiteY99" fmla="*/ 408503 h 541338"/>
                    <a:gd name="connsiteX100" fmla="*/ 584605 w 1123838"/>
                    <a:gd name="connsiteY100" fmla="*/ 407789 h 541338"/>
                    <a:gd name="connsiteX101" fmla="*/ 578887 w 1123838"/>
                    <a:gd name="connsiteY101" fmla="*/ 407789 h 541338"/>
                    <a:gd name="connsiteX102" fmla="*/ 566738 w 1123838"/>
                    <a:gd name="connsiteY102" fmla="*/ 407075 h 541338"/>
                    <a:gd name="connsiteX103" fmla="*/ 566023 w 1123838"/>
                    <a:gd name="connsiteY103" fmla="*/ 407075 h 541338"/>
                    <a:gd name="connsiteX104" fmla="*/ 485265 w 1123838"/>
                    <a:gd name="connsiteY104" fmla="*/ 401362 h 541338"/>
                    <a:gd name="connsiteX105" fmla="*/ 416656 w 1123838"/>
                    <a:gd name="connsiteY105" fmla="*/ 396362 h 541338"/>
                    <a:gd name="connsiteX106" fmla="*/ 410939 w 1123838"/>
                    <a:gd name="connsiteY106" fmla="*/ 396362 h 541338"/>
                    <a:gd name="connsiteX107" fmla="*/ 407365 w 1123838"/>
                    <a:gd name="connsiteY107" fmla="*/ 396362 h 541338"/>
                    <a:gd name="connsiteX108" fmla="*/ 393072 w 1123838"/>
                    <a:gd name="connsiteY108" fmla="*/ 397791 h 541338"/>
                    <a:gd name="connsiteX109" fmla="*/ 388784 w 1123838"/>
                    <a:gd name="connsiteY109" fmla="*/ 398505 h 541338"/>
                    <a:gd name="connsiteX110" fmla="*/ 388784 w 1123838"/>
                    <a:gd name="connsiteY110" fmla="*/ 399219 h 541338"/>
                    <a:gd name="connsiteX111" fmla="*/ 384496 w 1123838"/>
                    <a:gd name="connsiteY111" fmla="*/ 399933 h 541338"/>
                    <a:gd name="connsiteX112" fmla="*/ 383781 w 1123838"/>
                    <a:gd name="connsiteY112" fmla="*/ 400647 h 541338"/>
                    <a:gd name="connsiteX113" fmla="*/ 379493 w 1123838"/>
                    <a:gd name="connsiteY113" fmla="*/ 402076 h 541338"/>
                    <a:gd name="connsiteX114" fmla="*/ 21441 w 1123838"/>
                    <a:gd name="connsiteY114" fmla="*/ 540624 h 541338"/>
                    <a:gd name="connsiteX115" fmla="*/ 15723 w 1123838"/>
                    <a:gd name="connsiteY115" fmla="*/ 541338 h 541338"/>
                    <a:gd name="connsiteX116" fmla="*/ 7147 w 1123838"/>
                    <a:gd name="connsiteY116" fmla="*/ 538481 h 541338"/>
                    <a:gd name="connsiteX117" fmla="*/ 0 w 1123838"/>
                    <a:gd name="connsiteY117" fmla="*/ 525626 h 541338"/>
                    <a:gd name="connsiteX118" fmla="*/ 0 w 1123838"/>
                    <a:gd name="connsiteY118" fmla="*/ 209251 h 541338"/>
                    <a:gd name="connsiteX119" fmla="*/ 7862 w 1123838"/>
                    <a:gd name="connsiteY119" fmla="*/ 195682 h 541338"/>
                    <a:gd name="connsiteX120" fmla="*/ 310169 w 1123838"/>
                    <a:gd name="connsiteY120" fmla="*/ 24282 h 541338"/>
                    <a:gd name="connsiteX121" fmla="*/ 315887 w 1123838"/>
                    <a:gd name="connsiteY121" fmla="*/ 21425 h 541338"/>
                    <a:gd name="connsiteX122" fmla="*/ 318031 w 1123838"/>
                    <a:gd name="connsiteY122" fmla="*/ 19997 h 541338"/>
                    <a:gd name="connsiteX123" fmla="*/ 320889 w 1123838"/>
                    <a:gd name="connsiteY123" fmla="*/ 18568 h 541338"/>
                    <a:gd name="connsiteX124" fmla="*/ 324463 w 1123838"/>
                    <a:gd name="connsiteY124" fmla="*/ 17140 h 541338"/>
                    <a:gd name="connsiteX125" fmla="*/ 326607 w 1123838"/>
                    <a:gd name="connsiteY125" fmla="*/ 15712 h 541338"/>
                    <a:gd name="connsiteX126" fmla="*/ 330180 w 1123838"/>
                    <a:gd name="connsiteY126" fmla="*/ 14283 h 541338"/>
                    <a:gd name="connsiteX127" fmla="*/ 332324 w 1123838"/>
                    <a:gd name="connsiteY127" fmla="*/ 13569 h 541338"/>
                    <a:gd name="connsiteX128" fmla="*/ 336612 w 1123838"/>
                    <a:gd name="connsiteY128" fmla="*/ 12141 h 541338"/>
                    <a:gd name="connsiteX129" fmla="*/ 338042 w 1123838"/>
                    <a:gd name="connsiteY129" fmla="*/ 11427 h 541338"/>
                    <a:gd name="connsiteX130" fmla="*/ 342330 w 1123838"/>
                    <a:gd name="connsiteY130" fmla="*/ 9998 h 541338"/>
                    <a:gd name="connsiteX131" fmla="*/ 343044 w 1123838"/>
                    <a:gd name="connsiteY131" fmla="*/ 9284 h 541338"/>
                    <a:gd name="connsiteX132" fmla="*/ 348047 w 1123838"/>
                    <a:gd name="connsiteY132" fmla="*/ 7856 h 541338"/>
                    <a:gd name="connsiteX133" fmla="*/ 348762 w 1123838"/>
                    <a:gd name="connsiteY133" fmla="*/ 7856 h 541338"/>
                    <a:gd name="connsiteX134" fmla="*/ 382352 w 1123838"/>
                    <a:gd name="connsiteY134" fmla="*/ 714 h 541338"/>
                    <a:gd name="connsiteX135" fmla="*/ 383781 w 1123838"/>
                    <a:gd name="connsiteY135" fmla="*/ 714 h 541338"/>
                    <a:gd name="connsiteX136" fmla="*/ 387354 w 1123838"/>
                    <a:gd name="connsiteY136" fmla="*/ 714 h 541338"/>
                    <a:gd name="connsiteX137" fmla="*/ 390213 w 1123838"/>
                    <a:gd name="connsiteY137" fmla="*/ 0 h 541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</a:cxnLst>
                  <a:rect l="l" t="t" r="r" b="b"/>
                  <a:pathLst>
                    <a:path w="1123838" h="541338">
                      <a:moveTo>
                        <a:pt x="409739" y="31591"/>
                      </a:moveTo>
                      <a:cubicBezTo>
                        <a:pt x="380443" y="30162"/>
                        <a:pt x="351147" y="37308"/>
                        <a:pt x="326138" y="51601"/>
                      </a:cubicBezTo>
                      <a:cubicBezTo>
                        <a:pt x="326138" y="51601"/>
                        <a:pt x="326138" y="51601"/>
                        <a:pt x="31750" y="218820"/>
                      </a:cubicBezTo>
                      <a:cubicBezTo>
                        <a:pt x="31750" y="218820"/>
                        <a:pt x="31750" y="218820"/>
                        <a:pt x="31750" y="503237"/>
                      </a:cubicBezTo>
                      <a:cubicBezTo>
                        <a:pt x="31750" y="503237"/>
                        <a:pt x="31750" y="503237"/>
                        <a:pt x="368296" y="373177"/>
                      </a:cubicBezTo>
                      <a:cubicBezTo>
                        <a:pt x="384730" y="366746"/>
                        <a:pt x="401879" y="363887"/>
                        <a:pt x="419028" y="365316"/>
                      </a:cubicBezTo>
                      <a:cubicBezTo>
                        <a:pt x="419028" y="365316"/>
                        <a:pt x="419028" y="365316"/>
                        <a:pt x="568366" y="376036"/>
                      </a:cubicBezTo>
                      <a:cubicBezTo>
                        <a:pt x="645535" y="381753"/>
                        <a:pt x="722705" y="372463"/>
                        <a:pt x="797017" y="349595"/>
                      </a:cubicBezTo>
                      <a:cubicBezTo>
                        <a:pt x="894908" y="318867"/>
                        <a:pt x="981367" y="261697"/>
                        <a:pt x="1047818" y="183090"/>
                      </a:cubicBezTo>
                      <a:cubicBezTo>
                        <a:pt x="1047818" y="183090"/>
                        <a:pt x="1047818" y="183090"/>
                        <a:pt x="1079972" y="145930"/>
                      </a:cubicBezTo>
                      <a:cubicBezTo>
                        <a:pt x="1098550" y="123777"/>
                        <a:pt x="1096407" y="90904"/>
                        <a:pt x="1074971" y="71610"/>
                      </a:cubicBezTo>
                      <a:cubicBezTo>
                        <a:pt x="1064253" y="62320"/>
                        <a:pt x="1050676" y="57317"/>
                        <a:pt x="1036386" y="58032"/>
                      </a:cubicBezTo>
                      <a:cubicBezTo>
                        <a:pt x="1022095" y="58747"/>
                        <a:pt x="1008519" y="65178"/>
                        <a:pt x="999230" y="75897"/>
                      </a:cubicBezTo>
                      <a:cubicBezTo>
                        <a:pt x="999230" y="75897"/>
                        <a:pt x="999230" y="75897"/>
                        <a:pt x="951356" y="129494"/>
                      </a:cubicBezTo>
                      <a:cubicBezTo>
                        <a:pt x="912771" y="173800"/>
                        <a:pt x="862039" y="205243"/>
                        <a:pt x="805591" y="220964"/>
                      </a:cubicBezTo>
                      <a:cubicBezTo>
                        <a:pt x="740568" y="239544"/>
                        <a:pt x="670544" y="235257"/>
                        <a:pt x="608380" y="210245"/>
                      </a:cubicBezTo>
                      <a:cubicBezTo>
                        <a:pt x="608380" y="210245"/>
                        <a:pt x="608380" y="210245"/>
                        <a:pt x="553360" y="188092"/>
                      </a:cubicBezTo>
                      <a:cubicBezTo>
                        <a:pt x="546930" y="185234"/>
                        <a:pt x="542642" y="178802"/>
                        <a:pt x="544071" y="171656"/>
                      </a:cubicBezTo>
                      <a:cubicBezTo>
                        <a:pt x="544786" y="164510"/>
                        <a:pt x="550502" y="158793"/>
                        <a:pt x="557648" y="158078"/>
                      </a:cubicBezTo>
                      <a:cubicBezTo>
                        <a:pt x="557648" y="158078"/>
                        <a:pt x="557648" y="158078"/>
                        <a:pt x="715560" y="142357"/>
                      </a:cubicBezTo>
                      <a:cubicBezTo>
                        <a:pt x="740568" y="140213"/>
                        <a:pt x="759146" y="119489"/>
                        <a:pt x="759146" y="95192"/>
                      </a:cubicBezTo>
                      <a:cubicBezTo>
                        <a:pt x="759146" y="69466"/>
                        <a:pt x="739139" y="48742"/>
                        <a:pt x="713416" y="47313"/>
                      </a:cubicBezTo>
                      <a:cubicBezTo>
                        <a:pt x="713416" y="47313"/>
                        <a:pt x="713416" y="47313"/>
                        <a:pt x="409739" y="31591"/>
                      </a:cubicBezTo>
                      <a:close/>
                      <a:moveTo>
                        <a:pt x="390213" y="0"/>
                      </a:moveTo>
                      <a:cubicBezTo>
                        <a:pt x="391642" y="0"/>
                        <a:pt x="392357" y="0"/>
                        <a:pt x="393786" y="0"/>
                      </a:cubicBezTo>
                      <a:cubicBezTo>
                        <a:pt x="394501" y="0"/>
                        <a:pt x="395930" y="0"/>
                        <a:pt x="396645" y="0"/>
                      </a:cubicBezTo>
                      <a:cubicBezTo>
                        <a:pt x="398074" y="0"/>
                        <a:pt x="398789" y="0"/>
                        <a:pt x="399504" y="0"/>
                      </a:cubicBezTo>
                      <a:cubicBezTo>
                        <a:pt x="400933" y="0"/>
                        <a:pt x="401648" y="0"/>
                        <a:pt x="403077" y="0"/>
                      </a:cubicBezTo>
                      <a:cubicBezTo>
                        <a:pt x="405221" y="0"/>
                        <a:pt x="408080" y="0"/>
                        <a:pt x="410939" y="0"/>
                      </a:cubicBezTo>
                      <a:cubicBezTo>
                        <a:pt x="410939" y="0"/>
                        <a:pt x="410939" y="0"/>
                        <a:pt x="715390" y="15712"/>
                      </a:cubicBezTo>
                      <a:cubicBezTo>
                        <a:pt x="743263" y="17140"/>
                        <a:pt x="766847" y="33566"/>
                        <a:pt x="780426" y="56419"/>
                      </a:cubicBezTo>
                      <a:cubicBezTo>
                        <a:pt x="781140" y="57848"/>
                        <a:pt x="781855" y="59276"/>
                        <a:pt x="782570" y="60704"/>
                      </a:cubicBezTo>
                      <a:cubicBezTo>
                        <a:pt x="785428" y="66418"/>
                        <a:pt x="787572" y="72845"/>
                        <a:pt x="789002" y="79273"/>
                      </a:cubicBezTo>
                      <a:cubicBezTo>
                        <a:pt x="789716" y="84272"/>
                        <a:pt x="790431" y="89271"/>
                        <a:pt x="790431" y="94984"/>
                      </a:cubicBezTo>
                      <a:cubicBezTo>
                        <a:pt x="790431" y="97127"/>
                        <a:pt x="790431" y="98555"/>
                        <a:pt x="789716" y="100698"/>
                      </a:cubicBezTo>
                      <a:cubicBezTo>
                        <a:pt x="789716" y="100698"/>
                        <a:pt x="789716" y="101412"/>
                        <a:pt x="789716" y="101412"/>
                      </a:cubicBezTo>
                      <a:cubicBezTo>
                        <a:pt x="789716" y="103554"/>
                        <a:pt x="789716" y="104983"/>
                        <a:pt x="789002" y="107125"/>
                      </a:cubicBezTo>
                      <a:cubicBezTo>
                        <a:pt x="786143" y="125693"/>
                        <a:pt x="776852" y="142119"/>
                        <a:pt x="763988" y="154260"/>
                      </a:cubicBezTo>
                      <a:cubicBezTo>
                        <a:pt x="763988" y="154260"/>
                        <a:pt x="763273" y="154260"/>
                        <a:pt x="763273" y="154260"/>
                      </a:cubicBezTo>
                      <a:cubicBezTo>
                        <a:pt x="761844" y="155688"/>
                        <a:pt x="760415" y="156403"/>
                        <a:pt x="758985" y="157831"/>
                      </a:cubicBezTo>
                      <a:cubicBezTo>
                        <a:pt x="757556" y="159259"/>
                        <a:pt x="756127" y="159973"/>
                        <a:pt x="754697" y="160688"/>
                      </a:cubicBezTo>
                      <a:cubicBezTo>
                        <a:pt x="753983" y="161402"/>
                        <a:pt x="753983" y="161402"/>
                        <a:pt x="753983" y="161402"/>
                      </a:cubicBezTo>
                      <a:cubicBezTo>
                        <a:pt x="752553" y="162116"/>
                        <a:pt x="751124" y="163544"/>
                        <a:pt x="749695" y="164258"/>
                      </a:cubicBezTo>
                      <a:cubicBezTo>
                        <a:pt x="748980" y="164258"/>
                        <a:pt x="748265" y="164258"/>
                        <a:pt x="748265" y="164973"/>
                      </a:cubicBezTo>
                      <a:cubicBezTo>
                        <a:pt x="746836" y="165687"/>
                        <a:pt x="745407" y="166401"/>
                        <a:pt x="743263" y="167115"/>
                      </a:cubicBezTo>
                      <a:cubicBezTo>
                        <a:pt x="743263" y="167115"/>
                        <a:pt x="742548" y="167115"/>
                        <a:pt x="742548" y="167829"/>
                      </a:cubicBezTo>
                      <a:cubicBezTo>
                        <a:pt x="741118" y="167829"/>
                        <a:pt x="739689" y="168543"/>
                        <a:pt x="738260" y="169258"/>
                      </a:cubicBezTo>
                      <a:cubicBezTo>
                        <a:pt x="731828" y="171400"/>
                        <a:pt x="725396" y="172828"/>
                        <a:pt x="718964" y="173543"/>
                      </a:cubicBezTo>
                      <a:cubicBezTo>
                        <a:pt x="718964" y="173543"/>
                        <a:pt x="718964" y="173543"/>
                        <a:pt x="624626" y="182827"/>
                      </a:cubicBezTo>
                      <a:cubicBezTo>
                        <a:pt x="662504" y="197110"/>
                        <a:pt x="703241" y="202823"/>
                        <a:pt x="743263" y="199967"/>
                      </a:cubicBezTo>
                      <a:cubicBezTo>
                        <a:pt x="753983" y="199253"/>
                        <a:pt x="764703" y="197824"/>
                        <a:pt x="775423" y="195682"/>
                      </a:cubicBezTo>
                      <a:cubicBezTo>
                        <a:pt x="778996" y="194968"/>
                        <a:pt x="781855" y="194253"/>
                        <a:pt x="785428" y="193539"/>
                      </a:cubicBezTo>
                      <a:cubicBezTo>
                        <a:pt x="786143" y="193539"/>
                        <a:pt x="786143" y="193539"/>
                        <a:pt x="786858" y="192825"/>
                      </a:cubicBezTo>
                      <a:cubicBezTo>
                        <a:pt x="790431" y="192111"/>
                        <a:pt x="793290" y="191397"/>
                        <a:pt x="796863" y="190683"/>
                      </a:cubicBezTo>
                      <a:cubicBezTo>
                        <a:pt x="806869" y="187826"/>
                        <a:pt x="816874" y="184255"/>
                        <a:pt x="826880" y="179970"/>
                      </a:cubicBezTo>
                      <a:cubicBezTo>
                        <a:pt x="857611" y="167829"/>
                        <a:pt x="885483" y="149975"/>
                        <a:pt x="909782" y="127122"/>
                      </a:cubicBezTo>
                      <a:cubicBezTo>
                        <a:pt x="916214" y="121408"/>
                        <a:pt x="921931" y="114981"/>
                        <a:pt x="928363" y="108553"/>
                      </a:cubicBezTo>
                      <a:cubicBezTo>
                        <a:pt x="928363" y="108553"/>
                        <a:pt x="928363" y="108553"/>
                        <a:pt x="975532" y="54991"/>
                      </a:cubicBezTo>
                      <a:cubicBezTo>
                        <a:pt x="976961" y="53563"/>
                        <a:pt x="977676" y="52848"/>
                        <a:pt x="978391" y="51420"/>
                      </a:cubicBezTo>
                      <a:cubicBezTo>
                        <a:pt x="979105" y="51420"/>
                        <a:pt x="979105" y="51420"/>
                        <a:pt x="979105" y="51420"/>
                      </a:cubicBezTo>
                      <a:cubicBezTo>
                        <a:pt x="994114" y="36423"/>
                        <a:pt x="1013410" y="27853"/>
                        <a:pt x="1034135" y="26424"/>
                      </a:cubicBezTo>
                      <a:cubicBezTo>
                        <a:pt x="1034850" y="26424"/>
                        <a:pt x="1034850" y="26424"/>
                        <a:pt x="1034850" y="26424"/>
                      </a:cubicBezTo>
                      <a:cubicBezTo>
                        <a:pt x="1036279" y="26424"/>
                        <a:pt x="1037709" y="26424"/>
                        <a:pt x="1039138" y="26424"/>
                      </a:cubicBezTo>
                      <a:cubicBezTo>
                        <a:pt x="1039138" y="26424"/>
                        <a:pt x="1039853" y="26424"/>
                        <a:pt x="1040567" y="26424"/>
                      </a:cubicBezTo>
                      <a:cubicBezTo>
                        <a:pt x="1054146" y="26424"/>
                        <a:pt x="1067725" y="30709"/>
                        <a:pt x="1079875" y="37137"/>
                      </a:cubicBezTo>
                      <a:cubicBezTo>
                        <a:pt x="1081304" y="37851"/>
                        <a:pt x="1082019" y="38565"/>
                        <a:pt x="1083448" y="39279"/>
                      </a:cubicBezTo>
                      <a:cubicBezTo>
                        <a:pt x="1084877" y="39993"/>
                        <a:pt x="1085592" y="40708"/>
                        <a:pt x="1086307" y="40708"/>
                      </a:cubicBezTo>
                      <a:cubicBezTo>
                        <a:pt x="1087021" y="41422"/>
                        <a:pt x="1087021" y="41422"/>
                        <a:pt x="1087021" y="41422"/>
                      </a:cubicBezTo>
                      <a:cubicBezTo>
                        <a:pt x="1087736" y="42136"/>
                        <a:pt x="1089165" y="42850"/>
                        <a:pt x="1089880" y="43564"/>
                      </a:cubicBezTo>
                      <a:cubicBezTo>
                        <a:pt x="1089880" y="43564"/>
                        <a:pt x="1090595" y="44278"/>
                        <a:pt x="1090595" y="44278"/>
                      </a:cubicBezTo>
                      <a:cubicBezTo>
                        <a:pt x="1091309" y="44993"/>
                        <a:pt x="1092024" y="44993"/>
                        <a:pt x="1092739" y="45707"/>
                      </a:cubicBezTo>
                      <a:cubicBezTo>
                        <a:pt x="1093453" y="46421"/>
                        <a:pt x="1094168" y="47135"/>
                        <a:pt x="1095597" y="47849"/>
                      </a:cubicBezTo>
                      <a:cubicBezTo>
                        <a:pt x="1095597" y="47849"/>
                        <a:pt x="1095597" y="48563"/>
                        <a:pt x="1095597" y="48563"/>
                      </a:cubicBezTo>
                      <a:cubicBezTo>
                        <a:pt x="1129902" y="79273"/>
                        <a:pt x="1133475" y="130693"/>
                        <a:pt x="1103459" y="165687"/>
                      </a:cubicBezTo>
                      <a:cubicBezTo>
                        <a:pt x="1103459" y="165687"/>
                        <a:pt x="1103459" y="165687"/>
                        <a:pt x="1072013" y="203538"/>
                      </a:cubicBezTo>
                      <a:cubicBezTo>
                        <a:pt x="1040567" y="239960"/>
                        <a:pt x="1004834" y="272812"/>
                        <a:pt x="966241" y="299950"/>
                      </a:cubicBezTo>
                      <a:cubicBezTo>
                        <a:pt x="963383" y="302092"/>
                        <a:pt x="959809" y="304235"/>
                        <a:pt x="956950" y="306377"/>
                      </a:cubicBezTo>
                      <a:cubicBezTo>
                        <a:pt x="954092" y="308520"/>
                        <a:pt x="951233" y="310662"/>
                        <a:pt x="948374" y="312091"/>
                      </a:cubicBezTo>
                      <a:cubicBezTo>
                        <a:pt x="904779" y="340657"/>
                        <a:pt x="856896" y="363511"/>
                        <a:pt x="806154" y="379222"/>
                      </a:cubicBezTo>
                      <a:cubicBezTo>
                        <a:pt x="801866" y="380651"/>
                        <a:pt x="797578" y="382079"/>
                        <a:pt x="792575" y="383507"/>
                      </a:cubicBezTo>
                      <a:cubicBezTo>
                        <a:pt x="791146" y="383507"/>
                        <a:pt x="789716" y="384222"/>
                        <a:pt x="788287" y="384222"/>
                      </a:cubicBezTo>
                      <a:cubicBezTo>
                        <a:pt x="785428" y="384936"/>
                        <a:pt x="782570" y="386364"/>
                        <a:pt x="779711" y="387078"/>
                      </a:cubicBezTo>
                      <a:cubicBezTo>
                        <a:pt x="777567" y="387078"/>
                        <a:pt x="775423" y="387792"/>
                        <a:pt x="773994" y="388507"/>
                      </a:cubicBezTo>
                      <a:cubicBezTo>
                        <a:pt x="771135" y="389221"/>
                        <a:pt x="768991" y="389221"/>
                        <a:pt x="766132" y="389935"/>
                      </a:cubicBezTo>
                      <a:cubicBezTo>
                        <a:pt x="763988" y="390649"/>
                        <a:pt x="761844" y="391363"/>
                        <a:pt x="759700" y="392077"/>
                      </a:cubicBezTo>
                      <a:cubicBezTo>
                        <a:pt x="757556" y="392077"/>
                        <a:pt x="756127" y="392792"/>
                        <a:pt x="753983" y="392792"/>
                      </a:cubicBezTo>
                      <a:cubicBezTo>
                        <a:pt x="743977" y="394934"/>
                        <a:pt x="733972" y="397077"/>
                        <a:pt x="724681" y="399219"/>
                      </a:cubicBezTo>
                      <a:cubicBezTo>
                        <a:pt x="723252" y="399219"/>
                        <a:pt x="722537" y="399219"/>
                        <a:pt x="721822" y="399219"/>
                      </a:cubicBezTo>
                      <a:cubicBezTo>
                        <a:pt x="718249" y="399933"/>
                        <a:pt x="714676" y="400647"/>
                        <a:pt x="711102" y="401362"/>
                      </a:cubicBezTo>
                      <a:cubicBezTo>
                        <a:pt x="710387" y="401362"/>
                        <a:pt x="710387" y="401362"/>
                        <a:pt x="709673" y="401362"/>
                      </a:cubicBezTo>
                      <a:cubicBezTo>
                        <a:pt x="689662" y="404218"/>
                        <a:pt x="670366" y="406361"/>
                        <a:pt x="650355" y="407789"/>
                      </a:cubicBezTo>
                      <a:cubicBezTo>
                        <a:pt x="649640" y="407789"/>
                        <a:pt x="648925" y="407789"/>
                        <a:pt x="648211" y="407789"/>
                      </a:cubicBezTo>
                      <a:cubicBezTo>
                        <a:pt x="644637" y="407789"/>
                        <a:pt x="641064" y="407789"/>
                        <a:pt x="637491" y="408503"/>
                      </a:cubicBezTo>
                      <a:cubicBezTo>
                        <a:pt x="636776" y="408503"/>
                        <a:pt x="636061" y="408503"/>
                        <a:pt x="635347" y="408503"/>
                      </a:cubicBezTo>
                      <a:cubicBezTo>
                        <a:pt x="630344" y="408503"/>
                        <a:pt x="626056" y="408503"/>
                        <a:pt x="621053" y="408503"/>
                      </a:cubicBezTo>
                      <a:cubicBezTo>
                        <a:pt x="621053" y="408503"/>
                        <a:pt x="620338" y="408503"/>
                        <a:pt x="620338" y="408503"/>
                      </a:cubicBezTo>
                      <a:cubicBezTo>
                        <a:pt x="617480" y="408503"/>
                        <a:pt x="614621" y="408503"/>
                        <a:pt x="612477" y="408503"/>
                      </a:cubicBezTo>
                      <a:cubicBezTo>
                        <a:pt x="610333" y="408503"/>
                        <a:pt x="608189" y="408503"/>
                        <a:pt x="606045" y="408503"/>
                      </a:cubicBezTo>
                      <a:cubicBezTo>
                        <a:pt x="603901" y="408503"/>
                        <a:pt x="601042" y="408503"/>
                        <a:pt x="598898" y="408503"/>
                      </a:cubicBezTo>
                      <a:cubicBezTo>
                        <a:pt x="596754" y="408503"/>
                        <a:pt x="594610" y="408503"/>
                        <a:pt x="592466" y="408503"/>
                      </a:cubicBezTo>
                      <a:cubicBezTo>
                        <a:pt x="589607" y="408503"/>
                        <a:pt x="587463" y="408503"/>
                        <a:pt x="584605" y="407789"/>
                      </a:cubicBezTo>
                      <a:cubicBezTo>
                        <a:pt x="582461" y="407789"/>
                        <a:pt x="581031" y="407789"/>
                        <a:pt x="578887" y="407789"/>
                      </a:cubicBezTo>
                      <a:cubicBezTo>
                        <a:pt x="575314" y="407789"/>
                        <a:pt x="571026" y="407075"/>
                        <a:pt x="566738" y="407075"/>
                      </a:cubicBezTo>
                      <a:cubicBezTo>
                        <a:pt x="566738" y="407075"/>
                        <a:pt x="566023" y="407075"/>
                        <a:pt x="566023" y="407075"/>
                      </a:cubicBezTo>
                      <a:cubicBezTo>
                        <a:pt x="566023" y="407075"/>
                        <a:pt x="566023" y="407075"/>
                        <a:pt x="485265" y="401362"/>
                      </a:cubicBezTo>
                      <a:cubicBezTo>
                        <a:pt x="485265" y="401362"/>
                        <a:pt x="485265" y="401362"/>
                        <a:pt x="416656" y="396362"/>
                      </a:cubicBezTo>
                      <a:cubicBezTo>
                        <a:pt x="415227" y="396362"/>
                        <a:pt x="413083" y="396362"/>
                        <a:pt x="410939" y="396362"/>
                      </a:cubicBezTo>
                      <a:cubicBezTo>
                        <a:pt x="410224" y="396362"/>
                        <a:pt x="408794" y="396362"/>
                        <a:pt x="407365" y="396362"/>
                      </a:cubicBezTo>
                      <a:cubicBezTo>
                        <a:pt x="402362" y="396362"/>
                        <a:pt x="398074" y="397077"/>
                        <a:pt x="393072" y="397791"/>
                      </a:cubicBezTo>
                      <a:cubicBezTo>
                        <a:pt x="391642" y="398505"/>
                        <a:pt x="390213" y="398505"/>
                        <a:pt x="388784" y="398505"/>
                      </a:cubicBezTo>
                      <a:cubicBezTo>
                        <a:pt x="388784" y="399219"/>
                        <a:pt x="388784" y="399219"/>
                        <a:pt x="388784" y="399219"/>
                      </a:cubicBezTo>
                      <a:cubicBezTo>
                        <a:pt x="387354" y="399219"/>
                        <a:pt x="385925" y="399933"/>
                        <a:pt x="384496" y="399933"/>
                      </a:cubicBezTo>
                      <a:cubicBezTo>
                        <a:pt x="384496" y="399933"/>
                        <a:pt x="384496" y="399933"/>
                        <a:pt x="383781" y="400647"/>
                      </a:cubicBezTo>
                      <a:cubicBezTo>
                        <a:pt x="382352" y="400647"/>
                        <a:pt x="380922" y="401362"/>
                        <a:pt x="379493" y="402076"/>
                      </a:cubicBezTo>
                      <a:cubicBezTo>
                        <a:pt x="379493" y="402076"/>
                        <a:pt x="379493" y="402076"/>
                        <a:pt x="21441" y="540624"/>
                      </a:cubicBezTo>
                      <a:cubicBezTo>
                        <a:pt x="20011" y="541338"/>
                        <a:pt x="17867" y="541338"/>
                        <a:pt x="15723" y="541338"/>
                      </a:cubicBezTo>
                      <a:cubicBezTo>
                        <a:pt x="12864" y="541338"/>
                        <a:pt x="10006" y="540624"/>
                        <a:pt x="7147" y="538481"/>
                      </a:cubicBezTo>
                      <a:cubicBezTo>
                        <a:pt x="2859" y="535625"/>
                        <a:pt x="0" y="530626"/>
                        <a:pt x="0" y="525626"/>
                      </a:cubicBezTo>
                      <a:cubicBezTo>
                        <a:pt x="0" y="525626"/>
                        <a:pt x="0" y="525626"/>
                        <a:pt x="0" y="209251"/>
                      </a:cubicBezTo>
                      <a:cubicBezTo>
                        <a:pt x="0" y="203538"/>
                        <a:pt x="3574" y="198538"/>
                        <a:pt x="7862" y="195682"/>
                      </a:cubicBezTo>
                      <a:cubicBezTo>
                        <a:pt x="7862" y="195682"/>
                        <a:pt x="7862" y="195682"/>
                        <a:pt x="310169" y="24282"/>
                      </a:cubicBezTo>
                      <a:cubicBezTo>
                        <a:pt x="311599" y="22853"/>
                        <a:pt x="313743" y="22139"/>
                        <a:pt x="315887" y="21425"/>
                      </a:cubicBezTo>
                      <a:cubicBezTo>
                        <a:pt x="316601" y="20711"/>
                        <a:pt x="317316" y="20711"/>
                        <a:pt x="318031" y="19997"/>
                      </a:cubicBezTo>
                      <a:cubicBezTo>
                        <a:pt x="318745" y="19283"/>
                        <a:pt x="320175" y="18568"/>
                        <a:pt x="320889" y="18568"/>
                      </a:cubicBezTo>
                      <a:cubicBezTo>
                        <a:pt x="322319" y="17854"/>
                        <a:pt x="323033" y="17140"/>
                        <a:pt x="324463" y="17140"/>
                      </a:cubicBezTo>
                      <a:cubicBezTo>
                        <a:pt x="325177" y="16426"/>
                        <a:pt x="325892" y="16426"/>
                        <a:pt x="326607" y="15712"/>
                      </a:cubicBezTo>
                      <a:cubicBezTo>
                        <a:pt x="328036" y="14998"/>
                        <a:pt x="329466" y="14998"/>
                        <a:pt x="330180" y="14283"/>
                      </a:cubicBezTo>
                      <a:cubicBezTo>
                        <a:pt x="330895" y="14283"/>
                        <a:pt x="331610" y="13569"/>
                        <a:pt x="332324" y="13569"/>
                      </a:cubicBezTo>
                      <a:cubicBezTo>
                        <a:pt x="333754" y="12855"/>
                        <a:pt x="335183" y="12141"/>
                        <a:pt x="336612" y="12141"/>
                      </a:cubicBezTo>
                      <a:cubicBezTo>
                        <a:pt x="336612" y="11427"/>
                        <a:pt x="337327" y="11427"/>
                        <a:pt x="338042" y="11427"/>
                      </a:cubicBezTo>
                      <a:cubicBezTo>
                        <a:pt x="339471" y="10713"/>
                        <a:pt x="340900" y="9998"/>
                        <a:pt x="342330" y="9998"/>
                      </a:cubicBezTo>
                      <a:cubicBezTo>
                        <a:pt x="343044" y="9284"/>
                        <a:pt x="343044" y="9284"/>
                        <a:pt x="343044" y="9284"/>
                      </a:cubicBezTo>
                      <a:cubicBezTo>
                        <a:pt x="345188" y="8570"/>
                        <a:pt x="346618" y="8570"/>
                        <a:pt x="348047" y="7856"/>
                      </a:cubicBezTo>
                      <a:cubicBezTo>
                        <a:pt x="348762" y="7856"/>
                        <a:pt x="348762" y="7856"/>
                        <a:pt x="348762" y="7856"/>
                      </a:cubicBezTo>
                      <a:cubicBezTo>
                        <a:pt x="360197" y="4285"/>
                        <a:pt x="370917" y="2143"/>
                        <a:pt x="382352" y="714"/>
                      </a:cubicBezTo>
                      <a:cubicBezTo>
                        <a:pt x="383066" y="714"/>
                        <a:pt x="383781" y="714"/>
                        <a:pt x="383781" y="714"/>
                      </a:cubicBezTo>
                      <a:cubicBezTo>
                        <a:pt x="385210" y="714"/>
                        <a:pt x="386640" y="714"/>
                        <a:pt x="387354" y="714"/>
                      </a:cubicBezTo>
                      <a:cubicBezTo>
                        <a:pt x="388784" y="714"/>
                        <a:pt x="389498" y="714"/>
                        <a:pt x="390213" y="0"/>
                      </a:cubicBez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66" name="Textfeld 1">
            <a:extLst>
              <a:ext uri="{FF2B5EF4-FFF2-40B4-BE49-F238E27FC236}">
                <a16:creationId xmlns:a16="http://schemas.microsoft.com/office/drawing/2014/main" id="{46C2B911-1F90-4086-A11C-18591671422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0800" y="0"/>
            <a:ext cx="9321800" cy="26776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Feel free to use this for employer engagement</a:t>
            </a:r>
          </a:p>
        </p:txBody>
      </p:sp>
    </p:spTree>
    <p:extLst>
      <p:ext uri="{BB962C8B-B14F-4D97-AF65-F5344CB8AC3E}">
        <p14:creationId xmlns:p14="http://schemas.microsoft.com/office/powerpoint/2010/main" val="2789540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D09C13EE-9422-45ED-AB08-6BED285BDA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9581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63" progId="TCLayout.ActiveDocument.1">
                  <p:embed/>
                </p:oleObj>
              </mc:Choice>
              <mc:Fallback>
                <p:oleObj name="think-cell Slide" r:id="rId4" imgW="353" imgH="363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D09C13EE-9422-45ED-AB08-6BED285BD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>
            <a:extLst>
              <a:ext uri="{FF2B5EF4-FFF2-40B4-BE49-F238E27FC236}">
                <a16:creationId xmlns:a16="http://schemas.microsoft.com/office/drawing/2014/main" id="{777F7298-D1E5-48C6-98AF-43EF27FBED27}"/>
              </a:ext>
            </a:extLst>
          </p:cNvPr>
          <p:cNvSpPr/>
          <p:nvPr/>
        </p:nvSpPr>
        <p:spPr>
          <a:xfrm>
            <a:off x="4726744" y="3536934"/>
            <a:ext cx="6666485" cy="1756426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DBBB813-B1FE-4EE3-AF87-3835AAF818DC}"/>
              </a:ext>
            </a:extLst>
          </p:cNvPr>
          <p:cNvSpPr/>
          <p:nvPr/>
        </p:nvSpPr>
        <p:spPr>
          <a:xfrm>
            <a:off x="4726744" y="2939135"/>
            <a:ext cx="6666485" cy="525426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CB370B-E7E4-4514-9341-590ECADCC0A3}"/>
              </a:ext>
            </a:extLst>
          </p:cNvPr>
          <p:cNvSpPr/>
          <p:nvPr/>
        </p:nvSpPr>
        <p:spPr>
          <a:xfrm>
            <a:off x="4726744" y="1684933"/>
            <a:ext cx="6666485" cy="1197163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1A73544-0414-431B-BD38-FEFF45C128CD}"/>
              </a:ext>
            </a:extLst>
          </p:cNvPr>
          <p:cNvSpPr txBox="1"/>
          <p:nvPr/>
        </p:nvSpPr>
        <p:spPr>
          <a:xfrm>
            <a:off x="4726744" y="5372268"/>
            <a:ext cx="6666485" cy="461665"/>
          </a:xfrm>
          <a:custGeom>
            <a:avLst/>
            <a:gdLst>
              <a:gd name="connsiteX0" fmla="*/ 202666 w 6666485"/>
              <a:gd name="connsiteY0" fmla="*/ 0 h 461665"/>
              <a:gd name="connsiteX1" fmla="*/ 6666485 w 6666485"/>
              <a:gd name="connsiteY1" fmla="*/ 0 h 461665"/>
              <a:gd name="connsiteX2" fmla="*/ 6666485 w 6666485"/>
              <a:gd name="connsiteY2" fmla="*/ 461665 h 461665"/>
              <a:gd name="connsiteX3" fmla="*/ 0 w 6666485"/>
              <a:gd name="connsiteY3" fmla="*/ 461665 h 461665"/>
              <a:gd name="connsiteX4" fmla="*/ 0 w 6666485"/>
              <a:gd name="connsiteY4" fmla="*/ 202664 h 461665"/>
              <a:gd name="connsiteX5" fmla="*/ 34601 w 6666485"/>
              <a:gd name="connsiteY5" fmla="*/ 225993 h 461665"/>
              <a:gd name="connsiteX6" fmla="*/ 91441 w 6666485"/>
              <a:gd name="connsiteY6" fmla="*/ 237468 h 461665"/>
              <a:gd name="connsiteX7" fmla="*/ 237469 w 6666485"/>
              <a:gd name="connsiteY7" fmla="*/ 91440 h 461665"/>
              <a:gd name="connsiteX8" fmla="*/ 225994 w 6666485"/>
              <a:gd name="connsiteY8" fmla="*/ 34600 h 461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6485" h="461665">
                <a:moveTo>
                  <a:pt x="202666" y="0"/>
                </a:moveTo>
                <a:lnTo>
                  <a:pt x="6666485" y="0"/>
                </a:lnTo>
                <a:lnTo>
                  <a:pt x="6666485" y="461665"/>
                </a:lnTo>
                <a:lnTo>
                  <a:pt x="0" y="461665"/>
                </a:lnTo>
                <a:lnTo>
                  <a:pt x="0" y="202664"/>
                </a:lnTo>
                <a:lnTo>
                  <a:pt x="34601" y="225993"/>
                </a:lnTo>
                <a:cubicBezTo>
                  <a:pt x="52071" y="233382"/>
                  <a:pt x="71279" y="237468"/>
                  <a:pt x="91441" y="237468"/>
                </a:cubicBezTo>
                <a:cubicBezTo>
                  <a:pt x="172090" y="237468"/>
                  <a:pt x="237469" y="172089"/>
                  <a:pt x="237469" y="91440"/>
                </a:cubicBezTo>
                <a:cubicBezTo>
                  <a:pt x="237469" y="71278"/>
                  <a:pt x="233383" y="52070"/>
                  <a:pt x="225994" y="34600"/>
                </a:cubicBezTo>
                <a:close/>
              </a:path>
            </a:pathLst>
          </a:custGeom>
          <a:solidFill>
            <a:schemeClr val="tx2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A629AAB-098B-4285-9F34-4D8A98EF9DFD}"/>
              </a:ext>
            </a:extLst>
          </p:cNvPr>
          <p:cNvSpPr txBox="1"/>
          <p:nvPr/>
        </p:nvSpPr>
        <p:spPr>
          <a:xfrm>
            <a:off x="4726744" y="5891882"/>
            <a:ext cx="6666485" cy="461665"/>
          </a:xfrm>
          <a:custGeom>
            <a:avLst/>
            <a:gdLst>
              <a:gd name="connsiteX0" fmla="*/ 202666 w 6666485"/>
              <a:gd name="connsiteY0" fmla="*/ 0 h 461665"/>
              <a:gd name="connsiteX1" fmla="*/ 6666485 w 6666485"/>
              <a:gd name="connsiteY1" fmla="*/ 0 h 461665"/>
              <a:gd name="connsiteX2" fmla="*/ 6666485 w 6666485"/>
              <a:gd name="connsiteY2" fmla="*/ 461665 h 461665"/>
              <a:gd name="connsiteX3" fmla="*/ 0 w 6666485"/>
              <a:gd name="connsiteY3" fmla="*/ 461665 h 461665"/>
              <a:gd name="connsiteX4" fmla="*/ 0 w 6666485"/>
              <a:gd name="connsiteY4" fmla="*/ 202664 h 461665"/>
              <a:gd name="connsiteX5" fmla="*/ 34601 w 6666485"/>
              <a:gd name="connsiteY5" fmla="*/ 225993 h 461665"/>
              <a:gd name="connsiteX6" fmla="*/ 91441 w 6666485"/>
              <a:gd name="connsiteY6" fmla="*/ 237468 h 461665"/>
              <a:gd name="connsiteX7" fmla="*/ 237469 w 6666485"/>
              <a:gd name="connsiteY7" fmla="*/ 91440 h 461665"/>
              <a:gd name="connsiteX8" fmla="*/ 225994 w 6666485"/>
              <a:gd name="connsiteY8" fmla="*/ 34600 h 461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6485" h="461665">
                <a:moveTo>
                  <a:pt x="202666" y="0"/>
                </a:moveTo>
                <a:lnTo>
                  <a:pt x="6666485" y="0"/>
                </a:lnTo>
                <a:lnTo>
                  <a:pt x="6666485" y="461665"/>
                </a:lnTo>
                <a:lnTo>
                  <a:pt x="0" y="461665"/>
                </a:lnTo>
                <a:lnTo>
                  <a:pt x="0" y="202664"/>
                </a:lnTo>
                <a:lnTo>
                  <a:pt x="34601" y="225993"/>
                </a:lnTo>
                <a:cubicBezTo>
                  <a:pt x="52071" y="233382"/>
                  <a:pt x="71279" y="237468"/>
                  <a:pt x="91441" y="237468"/>
                </a:cubicBezTo>
                <a:cubicBezTo>
                  <a:pt x="172090" y="237468"/>
                  <a:pt x="237469" y="172089"/>
                  <a:pt x="237469" y="91440"/>
                </a:cubicBezTo>
                <a:cubicBezTo>
                  <a:pt x="237469" y="71278"/>
                  <a:pt x="233383" y="52070"/>
                  <a:pt x="225994" y="34600"/>
                </a:cubicBezTo>
                <a:close/>
              </a:path>
            </a:pathLst>
          </a:custGeom>
          <a:solidFill>
            <a:schemeClr val="tx2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B7439-6F53-4B8E-9AA8-46587FA52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94713"/>
            <a:ext cx="10117513" cy="553998"/>
          </a:xfrm>
        </p:spPr>
        <p:txBody>
          <a:bodyPr vert="horz"/>
          <a:lstStyle/>
          <a:p>
            <a:r>
              <a:rPr lang="en-US" sz="2000"/>
              <a:t>Market Makers help employers by assessing their training needs, creating a support plan, and helping employers take action on the pla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0320FC1-302F-4D3F-9AEB-EB5BE18AC259}"/>
              </a:ext>
            </a:extLst>
          </p:cNvPr>
          <p:cNvSpPr txBox="1"/>
          <p:nvPr/>
        </p:nvSpPr>
        <p:spPr>
          <a:xfrm>
            <a:off x="5936564" y="1684933"/>
            <a:ext cx="5808396" cy="1197163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spAutoFit/>
          </a:bodyPr>
          <a:lstStyle/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AB Carpentry was looking to hire 6 carpenter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When a local Business Service Representative learned about this need, they told AB Carpentry that Market Makers could potentially help them fill those spots via training pipeline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The local Business Service Representative introduced AB Carpentry to their local Market Maker to discuss how to fill those spot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A4DAB3-2CED-42B8-B363-E8B405E27027}"/>
              </a:ext>
            </a:extLst>
          </p:cNvPr>
          <p:cNvSpPr txBox="1"/>
          <p:nvPr/>
        </p:nvSpPr>
        <p:spPr>
          <a:xfrm>
            <a:off x="5936564" y="2939135"/>
            <a:ext cx="5808396" cy="52542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In the initial conversation the Market Maker assessed the hiring requirements for the 6 carpenters AB Carpentry was looking to fil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16E610B-CF9D-477A-BCA3-8066339E0DE2}"/>
              </a:ext>
            </a:extLst>
          </p:cNvPr>
          <p:cNvSpPr txBox="1"/>
          <p:nvPr/>
        </p:nvSpPr>
        <p:spPr>
          <a:xfrm>
            <a:off x="5936564" y="3536933"/>
            <a:ext cx="5808396" cy="175642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sp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The Market Maker came back shortly to AB Carpentry with a plan for addressing their hiring needs:</a:t>
            </a:r>
          </a:p>
          <a:p>
            <a:pPr marL="388800" lvl="2" indent="-129600">
              <a:buClr>
                <a:srgbClr val="00269E"/>
              </a:buClr>
              <a:buFont typeface="Trebuchet MS" panose="020B0603020202020204" pitchFamily="34" charset="0"/>
              <a:buChar char="–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1 carpenter could be hired by connecting to Greater Lawrence Technical, a training provider with upcoming carpentry graduates</a:t>
            </a:r>
          </a:p>
          <a:p>
            <a:pPr marL="388800" lvl="2" indent="-129600">
              <a:buClr>
                <a:srgbClr val="00269E"/>
              </a:buClr>
              <a:buFont typeface="Trebuchet MS" panose="020B0603020202020204" pitchFamily="34" charset="0"/>
              <a:buChar char="–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2 carpenters could be hired 3 months later if a Greater Lawrence Technical launched a new carpentry program with AB Carpentry agreeing to partner on a training grant</a:t>
            </a:r>
          </a:p>
          <a:p>
            <a:pPr marL="388800" lvl="2" indent="-129600">
              <a:buClr>
                <a:srgbClr val="00269E"/>
              </a:buClr>
              <a:buFont typeface="Trebuchet MS" panose="020B0603020202020204" pitchFamily="34" charset="0"/>
              <a:buChar char="–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MassHire would run email campaigns to support hiring remaining 3 carpenter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AB Carpentry agreed to the plan and the Market Maker made the introduction to Greater Lawrence Technical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724D79-D172-40CA-B19D-324BDAF59215}"/>
              </a:ext>
            </a:extLst>
          </p:cNvPr>
          <p:cNvSpPr txBox="1"/>
          <p:nvPr/>
        </p:nvSpPr>
        <p:spPr>
          <a:xfrm>
            <a:off x="461963" y="1236960"/>
            <a:ext cx="5886922" cy="430887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lang="de-DE" sz="1400" b="1">
                <a:solidFill>
                  <a:schemeClr val="tx2"/>
                </a:solidFill>
              </a:rPr>
              <a:t>In as few as 4 conversations, Market Makers can help employers start connecting to training programs to to build pipelines of skilled talen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AEFB852-46DE-46CD-A867-AD25AADEF462}"/>
              </a:ext>
            </a:extLst>
          </p:cNvPr>
          <p:cNvGrpSpPr/>
          <p:nvPr/>
        </p:nvGrpSpPr>
        <p:grpSpPr>
          <a:xfrm>
            <a:off x="461963" y="2285869"/>
            <a:ext cx="4025515" cy="3859981"/>
            <a:chOff x="461963" y="2285870"/>
            <a:chExt cx="4802299" cy="3095828"/>
          </a:xfrm>
        </p:grpSpPr>
        <p:sp>
          <p:nvSpPr>
            <p:cNvPr id="4" name="Freeform 1">
              <a:extLst>
                <a:ext uri="{FF2B5EF4-FFF2-40B4-BE49-F238E27FC236}">
                  <a16:creationId xmlns:a16="http://schemas.microsoft.com/office/drawing/2014/main" id="{11B4C21E-9073-4EA8-8E33-4BF70901256E}"/>
                </a:ext>
              </a:extLst>
            </p:cNvPr>
            <p:cNvSpPr/>
            <p:nvPr/>
          </p:nvSpPr>
          <p:spPr>
            <a:xfrm>
              <a:off x="461963" y="2285870"/>
              <a:ext cx="4802299" cy="3095828"/>
            </a:xfrm>
            <a:custGeom>
              <a:avLst/>
              <a:gdLst>
                <a:gd name="connsiteX0" fmla="*/ 6629690 w 6629690"/>
                <a:gd name="connsiteY0" fmla="*/ 0 h 4273867"/>
                <a:gd name="connsiteX1" fmla="*/ 6622070 w 6629690"/>
                <a:gd name="connsiteY1" fmla="*/ 90487 h 4273867"/>
                <a:gd name="connsiteX2" fmla="*/ 2659670 w 6629690"/>
                <a:gd name="connsiteY2" fmla="*/ 334327 h 4273867"/>
                <a:gd name="connsiteX3" fmla="*/ 2741585 w 6629690"/>
                <a:gd name="connsiteY3" fmla="*/ 406716 h 4273867"/>
                <a:gd name="connsiteX4" fmla="*/ 3756950 w 6629690"/>
                <a:gd name="connsiteY4" fmla="*/ 441007 h 4273867"/>
                <a:gd name="connsiteX5" fmla="*/ 4122710 w 6629690"/>
                <a:gd name="connsiteY5" fmla="*/ 722947 h 4273867"/>
                <a:gd name="connsiteX6" fmla="*/ 2347250 w 6629690"/>
                <a:gd name="connsiteY6" fmla="*/ 1073467 h 4273867"/>
                <a:gd name="connsiteX7" fmla="*/ 2293910 w 6629690"/>
                <a:gd name="connsiteY7" fmla="*/ 1286827 h 4273867"/>
                <a:gd name="connsiteX8" fmla="*/ 4930430 w 6629690"/>
                <a:gd name="connsiteY8" fmla="*/ 1500187 h 4273867"/>
                <a:gd name="connsiteX9" fmla="*/ 6072477 w 6629690"/>
                <a:gd name="connsiteY9" fmla="*/ 2417444 h 4273867"/>
                <a:gd name="connsiteX10" fmla="*/ 290 w 6629690"/>
                <a:gd name="connsiteY10" fmla="*/ 4273867 h 4273867"/>
                <a:gd name="connsiteX11" fmla="*/ 0 w 6629690"/>
                <a:gd name="connsiteY11" fmla="*/ 4258128 h 4273867"/>
                <a:gd name="connsiteX12" fmla="*/ 509412 w 6629690"/>
                <a:gd name="connsiteY12" fmla="*/ 2963948 h 4273867"/>
                <a:gd name="connsiteX13" fmla="*/ 850225 w 6629690"/>
                <a:gd name="connsiteY13" fmla="*/ 2923297 h 4273867"/>
                <a:gd name="connsiteX14" fmla="*/ 3665510 w 6629690"/>
                <a:gd name="connsiteY14" fmla="*/ 2445067 h 4273867"/>
                <a:gd name="connsiteX15" fmla="*/ 3825530 w 6629690"/>
                <a:gd name="connsiteY15" fmla="*/ 1911667 h 4273867"/>
                <a:gd name="connsiteX16" fmla="*/ 1085188 w 6629690"/>
                <a:gd name="connsiteY16" fmla="*/ 1662112 h 4273867"/>
                <a:gd name="connsiteX17" fmla="*/ 896592 w 6629690"/>
                <a:gd name="connsiteY17" fmla="*/ 1055369 h 4273867"/>
                <a:gd name="connsiteX18" fmla="*/ 2773970 w 6629690"/>
                <a:gd name="connsiteY18" fmla="*/ 669607 h 4273867"/>
                <a:gd name="connsiteX19" fmla="*/ 2747300 w 6629690"/>
                <a:gd name="connsiteY19" fmla="*/ 592454 h 4273867"/>
                <a:gd name="connsiteX20" fmla="*/ 1892907 w 6629690"/>
                <a:gd name="connsiteY20" fmla="*/ 524826 h 4273867"/>
                <a:gd name="connsiteX21" fmla="*/ 1850997 w 6629690"/>
                <a:gd name="connsiteY21" fmla="*/ 259080 h 4273867"/>
                <a:gd name="connsiteX22" fmla="*/ 6629690 w 6629690"/>
                <a:gd name="connsiteY22" fmla="*/ 0 h 427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629690" h="4273867">
                  <a:moveTo>
                    <a:pt x="6629690" y="0"/>
                  </a:moveTo>
                  <a:lnTo>
                    <a:pt x="6622070" y="90487"/>
                  </a:lnTo>
                  <a:cubicBezTo>
                    <a:pt x="5277457" y="71754"/>
                    <a:pt x="3980470" y="219710"/>
                    <a:pt x="2659670" y="334327"/>
                  </a:cubicBezTo>
                  <a:cubicBezTo>
                    <a:pt x="2228188" y="390206"/>
                    <a:pt x="2587279" y="407985"/>
                    <a:pt x="2741585" y="406716"/>
                  </a:cubicBezTo>
                  <a:cubicBezTo>
                    <a:pt x="3080040" y="418146"/>
                    <a:pt x="3408970" y="401002"/>
                    <a:pt x="3756950" y="441007"/>
                  </a:cubicBezTo>
                  <a:cubicBezTo>
                    <a:pt x="4226533" y="515937"/>
                    <a:pt x="4257965" y="671829"/>
                    <a:pt x="4122710" y="722947"/>
                  </a:cubicBezTo>
                  <a:cubicBezTo>
                    <a:pt x="3535652" y="915987"/>
                    <a:pt x="2939070" y="956627"/>
                    <a:pt x="2347250" y="1073467"/>
                  </a:cubicBezTo>
                  <a:cubicBezTo>
                    <a:pt x="1948470" y="1187449"/>
                    <a:pt x="2173577" y="1272857"/>
                    <a:pt x="2293910" y="1286827"/>
                  </a:cubicBezTo>
                  <a:cubicBezTo>
                    <a:pt x="3096550" y="1391284"/>
                    <a:pt x="4156365" y="1390967"/>
                    <a:pt x="4930430" y="1500187"/>
                  </a:cubicBezTo>
                  <a:cubicBezTo>
                    <a:pt x="6142963" y="1721801"/>
                    <a:pt x="6088670" y="2229166"/>
                    <a:pt x="6072477" y="2417444"/>
                  </a:cubicBezTo>
                  <a:cubicBezTo>
                    <a:pt x="5767677" y="3483927"/>
                    <a:pt x="1752889" y="3978909"/>
                    <a:pt x="290" y="4273867"/>
                  </a:cubicBezTo>
                  <a:lnTo>
                    <a:pt x="0" y="4258128"/>
                  </a:lnTo>
                  <a:lnTo>
                    <a:pt x="509412" y="2963948"/>
                  </a:lnTo>
                  <a:lnTo>
                    <a:pt x="850225" y="2923297"/>
                  </a:lnTo>
                  <a:cubicBezTo>
                    <a:pt x="1739763" y="2818804"/>
                    <a:pt x="2679196" y="2709624"/>
                    <a:pt x="3665510" y="2445067"/>
                  </a:cubicBezTo>
                  <a:cubicBezTo>
                    <a:pt x="4478469" y="2236311"/>
                    <a:pt x="4143665" y="1960879"/>
                    <a:pt x="3825530" y="1911667"/>
                  </a:cubicBezTo>
                  <a:cubicBezTo>
                    <a:pt x="2912083" y="1828482"/>
                    <a:pt x="1741461" y="1792923"/>
                    <a:pt x="1085188" y="1662112"/>
                  </a:cubicBezTo>
                  <a:cubicBezTo>
                    <a:pt x="453997" y="1467802"/>
                    <a:pt x="627670" y="1187766"/>
                    <a:pt x="896592" y="1055369"/>
                  </a:cubicBezTo>
                  <a:cubicBezTo>
                    <a:pt x="1574772" y="814069"/>
                    <a:pt x="2210089" y="734694"/>
                    <a:pt x="2773970" y="669607"/>
                  </a:cubicBezTo>
                  <a:cubicBezTo>
                    <a:pt x="3366743" y="610552"/>
                    <a:pt x="2887952" y="594359"/>
                    <a:pt x="2747300" y="592454"/>
                  </a:cubicBezTo>
                  <a:lnTo>
                    <a:pt x="1892907" y="524826"/>
                  </a:lnTo>
                  <a:cubicBezTo>
                    <a:pt x="1442375" y="452119"/>
                    <a:pt x="1653829" y="298450"/>
                    <a:pt x="1850997" y="259080"/>
                  </a:cubicBezTo>
                  <a:cubicBezTo>
                    <a:pt x="3477233" y="23495"/>
                    <a:pt x="5036792" y="68898"/>
                    <a:pt x="6629690" y="0"/>
                  </a:cubicBezTo>
                  <a:close/>
                </a:path>
              </a:pathLst>
            </a:custGeom>
            <a:solidFill>
              <a:srgbClr val="C8C8C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A53E57D3-40B1-4EA4-90F2-DFE529CD7390}"/>
                </a:ext>
              </a:extLst>
            </p:cNvPr>
            <p:cNvSpPr/>
            <p:nvPr/>
          </p:nvSpPr>
          <p:spPr>
            <a:xfrm>
              <a:off x="627210" y="2319214"/>
              <a:ext cx="4626013" cy="2605715"/>
            </a:xfrm>
            <a:custGeom>
              <a:avLst/>
              <a:gdLst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386323"/>
                <a:gd name="connsiteY0" fmla="*/ 3597253 h 3597253"/>
                <a:gd name="connsiteX1" fmla="*/ 4678173 w 6386323"/>
                <a:gd name="connsiteY1" fmla="*/ 2571750 h 3597253"/>
                <a:gd name="connsiteX2" fmla="*/ 4646423 w 6386323"/>
                <a:gd name="connsiteY2" fmla="*/ 1727200 h 3597253"/>
                <a:gd name="connsiteX3" fmla="*/ 1433323 w 6386323"/>
                <a:gd name="connsiteY3" fmla="*/ 1276350 h 3597253"/>
                <a:gd name="connsiteX4" fmla="*/ 1465073 w 6386323"/>
                <a:gd name="connsiteY4" fmla="*/ 984250 h 3597253"/>
                <a:gd name="connsiteX5" fmla="*/ 3160523 w 6386323"/>
                <a:gd name="connsiteY5" fmla="*/ 660400 h 3597253"/>
                <a:gd name="connsiteX6" fmla="*/ 3109723 w 6386323"/>
                <a:gd name="connsiteY6" fmla="*/ 476250 h 3597253"/>
                <a:gd name="connsiteX7" fmla="*/ 2011173 w 6386323"/>
                <a:gd name="connsiteY7" fmla="*/ 400050 h 3597253"/>
                <a:gd name="connsiteX8" fmla="*/ 2042923 w 6386323"/>
                <a:gd name="connsiteY8" fmla="*/ 228600 h 3597253"/>
                <a:gd name="connsiteX9" fmla="*/ 6386323 w 6386323"/>
                <a:gd name="connsiteY9" fmla="*/ 0 h 35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86323" h="3597253">
                  <a:moveTo>
                    <a:pt x="0" y="3597253"/>
                  </a:moveTo>
                  <a:cubicBezTo>
                    <a:pt x="2901950" y="3260703"/>
                    <a:pt x="3998723" y="2933700"/>
                    <a:pt x="4678173" y="2571750"/>
                  </a:cubicBezTo>
                  <a:cubicBezTo>
                    <a:pt x="5393606" y="2116667"/>
                    <a:pt x="5016840" y="1801283"/>
                    <a:pt x="4646423" y="1727200"/>
                  </a:cubicBezTo>
                  <a:cubicBezTo>
                    <a:pt x="3581740" y="1545167"/>
                    <a:pt x="2167806" y="1439333"/>
                    <a:pt x="1433323" y="1276350"/>
                  </a:cubicBezTo>
                  <a:cubicBezTo>
                    <a:pt x="1069256" y="1185333"/>
                    <a:pt x="1213190" y="1087967"/>
                    <a:pt x="1465073" y="984250"/>
                  </a:cubicBezTo>
                  <a:cubicBezTo>
                    <a:pt x="2091606" y="808567"/>
                    <a:pt x="2610190" y="791633"/>
                    <a:pt x="3160523" y="660400"/>
                  </a:cubicBezTo>
                  <a:cubicBezTo>
                    <a:pt x="3560573" y="565150"/>
                    <a:pt x="3268473" y="457200"/>
                    <a:pt x="3109723" y="476250"/>
                  </a:cubicBezTo>
                  <a:lnTo>
                    <a:pt x="2011173" y="400050"/>
                  </a:lnTo>
                  <a:cubicBezTo>
                    <a:pt x="1678856" y="342900"/>
                    <a:pt x="1841840" y="260350"/>
                    <a:pt x="2042923" y="228600"/>
                  </a:cubicBezTo>
                  <a:cubicBezTo>
                    <a:pt x="3744723" y="50800"/>
                    <a:pt x="5205223" y="12700"/>
                    <a:pt x="6386323" y="0"/>
                  </a:cubicBezTo>
                </a:path>
              </a:pathLst>
            </a:custGeom>
            <a:noFill/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1FFE3FF-A47C-43E5-8791-9EBFC437015E}"/>
              </a:ext>
            </a:extLst>
          </p:cNvPr>
          <p:cNvSpPr txBox="1"/>
          <p:nvPr/>
        </p:nvSpPr>
        <p:spPr>
          <a:xfrm>
            <a:off x="5016081" y="2191226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Lear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372BA6B-55C1-44EF-A329-010A220D3CC8}"/>
              </a:ext>
            </a:extLst>
          </p:cNvPr>
          <p:cNvSpPr txBox="1"/>
          <p:nvPr/>
        </p:nvSpPr>
        <p:spPr>
          <a:xfrm>
            <a:off x="5016081" y="3047961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Shar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D1C0359-D769-46A2-A4B4-0220D68CE34C}"/>
              </a:ext>
            </a:extLst>
          </p:cNvPr>
          <p:cNvSpPr txBox="1"/>
          <p:nvPr/>
        </p:nvSpPr>
        <p:spPr>
          <a:xfrm>
            <a:off x="5016081" y="4162198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Connec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8593C5D-09D4-41AC-B9A9-2C8968F52577}"/>
              </a:ext>
            </a:extLst>
          </p:cNvPr>
          <p:cNvSpPr txBox="1"/>
          <p:nvPr/>
        </p:nvSpPr>
        <p:spPr>
          <a:xfrm>
            <a:off x="5016081" y="5968826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Hi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D72687-3004-4EBF-AEEC-9F1B60AB8914}"/>
              </a:ext>
            </a:extLst>
          </p:cNvPr>
          <p:cNvSpPr txBox="1"/>
          <p:nvPr/>
        </p:nvSpPr>
        <p:spPr>
          <a:xfrm>
            <a:off x="5016081" y="5449212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Agre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DC60300-822C-4D50-9A74-139AAC51EE1F}"/>
              </a:ext>
            </a:extLst>
          </p:cNvPr>
          <p:cNvSpPr txBox="1"/>
          <p:nvPr/>
        </p:nvSpPr>
        <p:spPr>
          <a:xfrm>
            <a:off x="5936564" y="5372268"/>
            <a:ext cx="5808396" cy="461665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AB Carpentry and Greater Lawrence Technical aligned on the curriculum and AB Carpentry committed to hiring 1 or more of the carpenters trained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B7AA588-C7F3-4FA0-8346-59168C93DFDF}"/>
              </a:ext>
            </a:extLst>
          </p:cNvPr>
          <p:cNvSpPr txBox="1"/>
          <p:nvPr/>
        </p:nvSpPr>
        <p:spPr>
          <a:xfrm>
            <a:off x="5936564" y="5891882"/>
            <a:ext cx="5808396" cy="461665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AB Carpentry hired 2 carpenter 3 months later and has continued to go back to Greater Lawrence Technical as a source of talent</a:t>
            </a:r>
          </a:p>
        </p:txBody>
      </p:sp>
      <p:sp>
        <p:nvSpPr>
          <p:cNvPr id="53" name="Oval 20">
            <a:extLst>
              <a:ext uri="{FF2B5EF4-FFF2-40B4-BE49-F238E27FC236}">
                <a16:creationId xmlns:a16="http://schemas.microsoft.com/office/drawing/2014/main" id="{9F0FB0A8-70E9-4EE8-915C-44AC836100F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6744" y="5891882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8" name="Oval 20">
            <a:extLst>
              <a:ext uri="{FF2B5EF4-FFF2-40B4-BE49-F238E27FC236}">
                <a16:creationId xmlns:a16="http://schemas.microsoft.com/office/drawing/2014/main" id="{72039661-2E6E-459B-A587-83DDDBB71D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6744" y="5372268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3D43A0B-2BB3-44C6-BE46-2FC104F65D35}"/>
              </a:ext>
            </a:extLst>
          </p:cNvPr>
          <p:cNvGrpSpPr/>
          <p:nvPr/>
        </p:nvGrpSpPr>
        <p:grpSpPr>
          <a:xfrm>
            <a:off x="2895017" y="4204475"/>
            <a:ext cx="510407" cy="687960"/>
            <a:chOff x="1246021" y="4842902"/>
            <a:chExt cx="510407" cy="687960"/>
          </a:xfrm>
        </p:grpSpPr>
        <p:sp>
          <p:nvSpPr>
            <p:cNvPr id="78" name="Freeform 4">
              <a:extLst>
                <a:ext uri="{FF2B5EF4-FFF2-40B4-BE49-F238E27FC236}">
                  <a16:creationId xmlns:a16="http://schemas.microsoft.com/office/drawing/2014/main" id="{A1B439EA-A69F-424A-A9A5-7EBE6F5205D6}"/>
                </a:ext>
              </a:extLst>
            </p:cNvPr>
            <p:cNvSpPr/>
            <p:nvPr/>
          </p:nvSpPr>
          <p:spPr>
            <a:xfrm flipV="1">
              <a:off x="1246021" y="4842902"/>
              <a:ext cx="510407" cy="687960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0A811886-F1CE-476D-8AC1-1D22DF75D329}"/>
                </a:ext>
              </a:extLst>
            </p:cNvPr>
            <p:cNvSpPr/>
            <p:nvPr/>
          </p:nvSpPr>
          <p:spPr>
            <a:xfrm>
              <a:off x="1305023" y="4891517"/>
              <a:ext cx="392405" cy="39240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4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91304B0-A783-474D-984F-594EC5CB9170}"/>
              </a:ext>
            </a:extLst>
          </p:cNvPr>
          <p:cNvGrpSpPr/>
          <p:nvPr/>
        </p:nvGrpSpPr>
        <p:grpSpPr>
          <a:xfrm>
            <a:off x="2397609" y="2266611"/>
            <a:ext cx="454832" cy="613052"/>
            <a:chOff x="3038710" y="2422863"/>
            <a:chExt cx="454832" cy="613052"/>
          </a:xfrm>
        </p:grpSpPr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22239C25-946D-4A2F-AE21-64B53821E657}"/>
                </a:ext>
              </a:extLst>
            </p:cNvPr>
            <p:cNvSpPr/>
            <p:nvPr/>
          </p:nvSpPr>
          <p:spPr>
            <a:xfrm flipV="1">
              <a:off x="3038710" y="2422863"/>
              <a:ext cx="454832" cy="613052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BF84BBD0-CCC8-40B3-8E98-C02812410C24}"/>
                </a:ext>
              </a:extLst>
            </p:cNvPr>
            <p:cNvSpPr/>
            <p:nvPr/>
          </p:nvSpPr>
          <p:spPr>
            <a:xfrm>
              <a:off x="3091288" y="2466185"/>
              <a:ext cx="349678" cy="349678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2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D49439F-20A5-41DA-98D5-2AC99A4AB402}"/>
              </a:ext>
            </a:extLst>
          </p:cNvPr>
          <p:cNvGrpSpPr/>
          <p:nvPr/>
        </p:nvGrpSpPr>
        <p:grpSpPr>
          <a:xfrm>
            <a:off x="3707525" y="1854658"/>
            <a:ext cx="358017" cy="482558"/>
            <a:chOff x="5578935" y="1958665"/>
            <a:chExt cx="358017" cy="482558"/>
          </a:xfrm>
        </p:grpSpPr>
        <p:sp>
          <p:nvSpPr>
            <p:cNvPr id="84" name="Freeform 18">
              <a:extLst>
                <a:ext uri="{FF2B5EF4-FFF2-40B4-BE49-F238E27FC236}">
                  <a16:creationId xmlns:a16="http://schemas.microsoft.com/office/drawing/2014/main" id="{EA798AB1-CC42-4B92-994F-7FD1A7AF5E11}"/>
                </a:ext>
              </a:extLst>
            </p:cNvPr>
            <p:cNvSpPr/>
            <p:nvPr/>
          </p:nvSpPr>
          <p:spPr>
            <a:xfrm flipV="1">
              <a:off x="5578935" y="1958665"/>
              <a:ext cx="358017" cy="482558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285D7BC1-EDF4-4E59-ABD8-F81C75C7FC98}"/>
                </a:ext>
              </a:extLst>
            </p:cNvPr>
            <p:cNvSpPr/>
            <p:nvPr/>
          </p:nvSpPr>
          <p:spPr>
            <a:xfrm>
              <a:off x="5620321" y="1992767"/>
              <a:ext cx="275245" cy="275245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1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DA6D57E-B0A5-410D-BC54-CFE778058508}"/>
              </a:ext>
            </a:extLst>
          </p:cNvPr>
          <p:cNvGrpSpPr/>
          <p:nvPr/>
        </p:nvGrpSpPr>
        <p:grpSpPr>
          <a:xfrm>
            <a:off x="2567443" y="3091481"/>
            <a:ext cx="510407" cy="687960"/>
            <a:chOff x="5011034" y="3851578"/>
            <a:chExt cx="510407" cy="687960"/>
          </a:xfrm>
        </p:grpSpPr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ED3F5D08-B234-4873-A623-9C707C1FDD56}"/>
                </a:ext>
              </a:extLst>
            </p:cNvPr>
            <p:cNvSpPr/>
            <p:nvPr/>
          </p:nvSpPr>
          <p:spPr>
            <a:xfrm flipV="1">
              <a:off x="5011034" y="3851578"/>
              <a:ext cx="510407" cy="687960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75356A3-750F-4B8B-8AE1-90C7CAC40CC9}"/>
                </a:ext>
              </a:extLst>
            </p:cNvPr>
            <p:cNvSpPr/>
            <p:nvPr/>
          </p:nvSpPr>
          <p:spPr>
            <a:xfrm>
              <a:off x="5070036" y="3900192"/>
              <a:ext cx="392405" cy="39240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3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C06EBDA-952B-411A-8963-EDECB1062246}"/>
              </a:ext>
            </a:extLst>
          </p:cNvPr>
          <p:cNvGrpSpPr/>
          <p:nvPr/>
        </p:nvGrpSpPr>
        <p:grpSpPr>
          <a:xfrm>
            <a:off x="1237342" y="4734036"/>
            <a:ext cx="510407" cy="687960"/>
            <a:chOff x="1246021" y="4842902"/>
            <a:chExt cx="510407" cy="687960"/>
          </a:xfrm>
        </p:grpSpPr>
        <p:sp>
          <p:nvSpPr>
            <p:cNvPr id="90" name="Freeform 4">
              <a:extLst>
                <a:ext uri="{FF2B5EF4-FFF2-40B4-BE49-F238E27FC236}">
                  <a16:creationId xmlns:a16="http://schemas.microsoft.com/office/drawing/2014/main" id="{25CEE508-B795-419B-AABA-C70E3804B474}"/>
                </a:ext>
              </a:extLst>
            </p:cNvPr>
            <p:cNvSpPr/>
            <p:nvPr/>
          </p:nvSpPr>
          <p:spPr>
            <a:xfrm flipV="1">
              <a:off x="1246021" y="4842902"/>
              <a:ext cx="510407" cy="687960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0F9C4E3-5E7B-4BD7-B6EE-87B722DE2BC7}"/>
                </a:ext>
              </a:extLst>
            </p:cNvPr>
            <p:cNvSpPr/>
            <p:nvPr/>
          </p:nvSpPr>
          <p:spPr>
            <a:xfrm>
              <a:off x="1305023" y="4891517"/>
              <a:ext cx="392405" cy="39240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5</a:t>
              </a:r>
            </a:p>
          </p:txBody>
        </p:sp>
      </p:grpSp>
      <p:sp>
        <p:nvSpPr>
          <p:cNvPr id="45" name="Textfeld 1">
            <a:extLst>
              <a:ext uri="{FF2B5EF4-FFF2-40B4-BE49-F238E27FC236}">
                <a16:creationId xmlns:a16="http://schemas.microsoft.com/office/drawing/2014/main" id="{E2364260-F26C-464B-BB28-282DDF06A2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0800" y="0"/>
            <a:ext cx="9321800" cy="26776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llustrative; feel free to use this for employer eng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9352B28-6A8B-467C-86EF-B0D97123AE93}"/>
              </a:ext>
            </a:extLst>
          </p:cNvPr>
          <p:cNvGrpSpPr/>
          <p:nvPr/>
        </p:nvGrpSpPr>
        <p:grpSpPr>
          <a:xfrm>
            <a:off x="4651959" y="1629648"/>
            <a:ext cx="284792" cy="284792"/>
            <a:chOff x="4651959" y="1629648"/>
            <a:chExt cx="284792" cy="284792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3EDBF7E-B154-46AC-9103-2466274ECBA1}"/>
                </a:ext>
              </a:extLst>
            </p:cNvPr>
            <p:cNvSpPr/>
            <p:nvPr/>
          </p:nvSpPr>
          <p:spPr>
            <a:xfrm>
              <a:off x="4651959" y="1629648"/>
              <a:ext cx="284792" cy="284792"/>
            </a:xfrm>
            <a:prstGeom prst="ellipse">
              <a:avLst/>
            </a:prstGeom>
            <a:solidFill>
              <a:schemeClr val="bg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30AC3E8-6C16-4181-8B47-195D8E4EA12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13536" y="168848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3AE9391-3917-4E35-B338-EF59129E1133}"/>
              </a:ext>
            </a:extLst>
          </p:cNvPr>
          <p:cNvGrpSpPr/>
          <p:nvPr/>
        </p:nvGrpSpPr>
        <p:grpSpPr>
          <a:xfrm>
            <a:off x="4651959" y="2894568"/>
            <a:ext cx="284792" cy="284792"/>
            <a:chOff x="4651959" y="1629648"/>
            <a:chExt cx="284792" cy="284792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4CB2AE6-DA8B-4FFF-93A9-7C32AA75D26C}"/>
                </a:ext>
              </a:extLst>
            </p:cNvPr>
            <p:cNvSpPr/>
            <p:nvPr/>
          </p:nvSpPr>
          <p:spPr>
            <a:xfrm>
              <a:off x="4651959" y="1629648"/>
              <a:ext cx="284792" cy="284792"/>
            </a:xfrm>
            <a:prstGeom prst="ellipse">
              <a:avLst/>
            </a:prstGeom>
            <a:solidFill>
              <a:schemeClr val="bg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2" name="Oval 20">
              <a:extLst>
                <a:ext uri="{FF2B5EF4-FFF2-40B4-BE49-F238E27FC236}">
                  <a16:creationId xmlns:a16="http://schemas.microsoft.com/office/drawing/2014/main" id="{F04A5AE3-5655-46AA-909F-94BA3F0BD76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13536" y="168848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04FEF00-4E39-4DF1-9A79-F25863A7EF2F}"/>
              </a:ext>
            </a:extLst>
          </p:cNvPr>
          <p:cNvGrpSpPr/>
          <p:nvPr/>
        </p:nvGrpSpPr>
        <p:grpSpPr>
          <a:xfrm>
            <a:off x="4651959" y="3499088"/>
            <a:ext cx="284792" cy="284792"/>
            <a:chOff x="4651959" y="1629648"/>
            <a:chExt cx="284792" cy="28479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7CFF9940-FA3C-4C93-839F-1109E9E522E2}"/>
                </a:ext>
              </a:extLst>
            </p:cNvPr>
            <p:cNvSpPr/>
            <p:nvPr/>
          </p:nvSpPr>
          <p:spPr>
            <a:xfrm>
              <a:off x="4651959" y="1629648"/>
              <a:ext cx="284792" cy="284792"/>
            </a:xfrm>
            <a:prstGeom prst="ellipse">
              <a:avLst/>
            </a:prstGeom>
            <a:solidFill>
              <a:schemeClr val="bg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7" name="Oval 20">
              <a:extLst>
                <a:ext uri="{FF2B5EF4-FFF2-40B4-BE49-F238E27FC236}">
                  <a16:creationId xmlns:a16="http://schemas.microsoft.com/office/drawing/2014/main" id="{942D385F-2E5D-4B68-B6E1-F1D25D3636E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13536" y="168848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784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D09C13EE-9422-45ED-AB08-6BED285BDA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63" progId="TCLayout.ActiveDocument.1">
                  <p:embed/>
                </p:oleObj>
              </mc:Choice>
              <mc:Fallback>
                <p:oleObj name="think-cell Slide" r:id="rId4" imgW="353" imgH="363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D09C13EE-9422-45ED-AB08-6BED285BDA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3">
            <a:extLst>
              <a:ext uri="{FF2B5EF4-FFF2-40B4-BE49-F238E27FC236}">
                <a16:creationId xmlns:a16="http://schemas.microsoft.com/office/drawing/2014/main" id="{777F7298-D1E5-48C6-98AF-43EF27FBED27}"/>
              </a:ext>
            </a:extLst>
          </p:cNvPr>
          <p:cNvSpPr/>
          <p:nvPr/>
        </p:nvSpPr>
        <p:spPr>
          <a:xfrm>
            <a:off x="4726744" y="3536934"/>
            <a:ext cx="6666485" cy="1756426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DBBB813-B1FE-4EE3-AF87-3835AAF818DC}"/>
              </a:ext>
            </a:extLst>
          </p:cNvPr>
          <p:cNvSpPr/>
          <p:nvPr/>
        </p:nvSpPr>
        <p:spPr>
          <a:xfrm>
            <a:off x="4726744" y="2939135"/>
            <a:ext cx="6666485" cy="525426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CB370B-E7E4-4514-9341-590ECADCC0A3}"/>
              </a:ext>
            </a:extLst>
          </p:cNvPr>
          <p:cNvSpPr/>
          <p:nvPr/>
        </p:nvSpPr>
        <p:spPr>
          <a:xfrm>
            <a:off x="4726744" y="1684933"/>
            <a:ext cx="6666485" cy="1197163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1A73544-0414-431B-BD38-FEFF45C128CD}"/>
              </a:ext>
            </a:extLst>
          </p:cNvPr>
          <p:cNvSpPr txBox="1"/>
          <p:nvPr/>
        </p:nvSpPr>
        <p:spPr>
          <a:xfrm>
            <a:off x="4726744" y="5372268"/>
            <a:ext cx="6666485" cy="461665"/>
          </a:xfrm>
          <a:custGeom>
            <a:avLst/>
            <a:gdLst>
              <a:gd name="connsiteX0" fmla="*/ 202666 w 6666485"/>
              <a:gd name="connsiteY0" fmla="*/ 0 h 461665"/>
              <a:gd name="connsiteX1" fmla="*/ 6666485 w 6666485"/>
              <a:gd name="connsiteY1" fmla="*/ 0 h 461665"/>
              <a:gd name="connsiteX2" fmla="*/ 6666485 w 6666485"/>
              <a:gd name="connsiteY2" fmla="*/ 461665 h 461665"/>
              <a:gd name="connsiteX3" fmla="*/ 0 w 6666485"/>
              <a:gd name="connsiteY3" fmla="*/ 461665 h 461665"/>
              <a:gd name="connsiteX4" fmla="*/ 0 w 6666485"/>
              <a:gd name="connsiteY4" fmla="*/ 202664 h 461665"/>
              <a:gd name="connsiteX5" fmla="*/ 34601 w 6666485"/>
              <a:gd name="connsiteY5" fmla="*/ 225993 h 461665"/>
              <a:gd name="connsiteX6" fmla="*/ 91441 w 6666485"/>
              <a:gd name="connsiteY6" fmla="*/ 237468 h 461665"/>
              <a:gd name="connsiteX7" fmla="*/ 237469 w 6666485"/>
              <a:gd name="connsiteY7" fmla="*/ 91440 h 461665"/>
              <a:gd name="connsiteX8" fmla="*/ 225994 w 6666485"/>
              <a:gd name="connsiteY8" fmla="*/ 34600 h 461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6485" h="461665">
                <a:moveTo>
                  <a:pt x="202666" y="0"/>
                </a:moveTo>
                <a:lnTo>
                  <a:pt x="6666485" y="0"/>
                </a:lnTo>
                <a:lnTo>
                  <a:pt x="6666485" y="461665"/>
                </a:lnTo>
                <a:lnTo>
                  <a:pt x="0" y="461665"/>
                </a:lnTo>
                <a:lnTo>
                  <a:pt x="0" y="202664"/>
                </a:lnTo>
                <a:lnTo>
                  <a:pt x="34601" y="225993"/>
                </a:lnTo>
                <a:cubicBezTo>
                  <a:pt x="52071" y="233382"/>
                  <a:pt x="71279" y="237468"/>
                  <a:pt x="91441" y="237468"/>
                </a:cubicBezTo>
                <a:cubicBezTo>
                  <a:pt x="172090" y="237468"/>
                  <a:pt x="237469" y="172089"/>
                  <a:pt x="237469" y="91440"/>
                </a:cubicBezTo>
                <a:cubicBezTo>
                  <a:pt x="237469" y="71278"/>
                  <a:pt x="233383" y="52070"/>
                  <a:pt x="225994" y="34600"/>
                </a:cubicBezTo>
                <a:close/>
              </a:path>
            </a:pathLst>
          </a:custGeom>
          <a:solidFill>
            <a:schemeClr val="tx2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4A629AAB-098B-4285-9F34-4D8A98EF9DFD}"/>
              </a:ext>
            </a:extLst>
          </p:cNvPr>
          <p:cNvSpPr txBox="1"/>
          <p:nvPr/>
        </p:nvSpPr>
        <p:spPr>
          <a:xfrm>
            <a:off x="4726744" y="5891882"/>
            <a:ext cx="6666485" cy="461665"/>
          </a:xfrm>
          <a:custGeom>
            <a:avLst/>
            <a:gdLst>
              <a:gd name="connsiteX0" fmla="*/ 202666 w 6666485"/>
              <a:gd name="connsiteY0" fmla="*/ 0 h 461665"/>
              <a:gd name="connsiteX1" fmla="*/ 6666485 w 6666485"/>
              <a:gd name="connsiteY1" fmla="*/ 0 h 461665"/>
              <a:gd name="connsiteX2" fmla="*/ 6666485 w 6666485"/>
              <a:gd name="connsiteY2" fmla="*/ 461665 h 461665"/>
              <a:gd name="connsiteX3" fmla="*/ 0 w 6666485"/>
              <a:gd name="connsiteY3" fmla="*/ 461665 h 461665"/>
              <a:gd name="connsiteX4" fmla="*/ 0 w 6666485"/>
              <a:gd name="connsiteY4" fmla="*/ 202664 h 461665"/>
              <a:gd name="connsiteX5" fmla="*/ 34601 w 6666485"/>
              <a:gd name="connsiteY5" fmla="*/ 225993 h 461665"/>
              <a:gd name="connsiteX6" fmla="*/ 91441 w 6666485"/>
              <a:gd name="connsiteY6" fmla="*/ 237468 h 461665"/>
              <a:gd name="connsiteX7" fmla="*/ 237469 w 6666485"/>
              <a:gd name="connsiteY7" fmla="*/ 91440 h 461665"/>
              <a:gd name="connsiteX8" fmla="*/ 225994 w 6666485"/>
              <a:gd name="connsiteY8" fmla="*/ 34600 h 461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6485" h="461665">
                <a:moveTo>
                  <a:pt x="202666" y="0"/>
                </a:moveTo>
                <a:lnTo>
                  <a:pt x="6666485" y="0"/>
                </a:lnTo>
                <a:lnTo>
                  <a:pt x="6666485" y="461665"/>
                </a:lnTo>
                <a:lnTo>
                  <a:pt x="0" y="461665"/>
                </a:lnTo>
                <a:lnTo>
                  <a:pt x="0" y="202664"/>
                </a:lnTo>
                <a:lnTo>
                  <a:pt x="34601" y="225993"/>
                </a:lnTo>
                <a:cubicBezTo>
                  <a:pt x="52071" y="233382"/>
                  <a:pt x="71279" y="237468"/>
                  <a:pt x="91441" y="237468"/>
                </a:cubicBezTo>
                <a:cubicBezTo>
                  <a:pt x="172090" y="237468"/>
                  <a:pt x="237469" y="172089"/>
                  <a:pt x="237469" y="91440"/>
                </a:cubicBezTo>
                <a:cubicBezTo>
                  <a:pt x="237469" y="71278"/>
                  <a:pt x="233383" y="52070"/>
                  <a:pt x="225994" y="34600"/>
                </a:cubicBezTo>
                <a:close/>
              </a:path>
            </a:pathLst>
          </a:custGeom>
          <a:solidFill>
            <a:schemeClr val="tx2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endParaRPr lang="en-US" sz="1200">
              <a:solidFill>
                <a:schemeClr val="tx1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B7439-6F53-4B8E-9AA8-46587FA52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94713"/>
            <a:ext cx="10117513" cy="553998"/>
          </a:xfrm>
        </p:spPr>
        <p:txBody>
          <a:bodyPr vert="horz"/>
          <a:lstStyle/>
          <a:p>
            <a:r>
              <a:rPr lang="en-US" sz="2000"/>
              <a:t>Market Makers help employers by assessing their training needs, creating a support plan, and helping employers take action on the plan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0320FC1-302F-4D3F-9AEB-EB5BE18AC259}"/>
              </a:ext>
            </a:extLst>
          </p:cNvPr>
          <p:cNvSpPr txBox="1"/>
          <p:nvPr/>
        </p:nvSpPr>
        <p:spPr>
          <a:xfrm>
            <a:off x="5936564" y="1684933"/>
            <a:ext cx="5808396" cy="1200329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sp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[Company] was looking to fill [#] [Role] 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When [referral source] learned about this need, they told [Company] that Market Makers could potentially help them fill those spots via training pipeline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[Referral source] introduced [Company A] to their local Market Maker to discuss how to fill those spot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endParaRPr lang="en-US" sz="12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4A4DAB3-2CED-42B8-B363-E8B405E27027}"/>
              </a:ext>
            </a:extLst>
          </p:cNvPr>
          <p:cNvSpPr txBox="1"/>
          <p:nvPr/>
        </p:nvSpPr>
        <p:spPr>
          <a:xfrm>
            <a:off x="5936564" y="2939135"/>
            <a:ext cx="5808396" cy="52542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latin typeface="Trebuchet MS" panose="020B0603020202020204" pitchFamily="34" charset="0"/>
              </a:rPr>
              <a:t>In the initial </a:t>
            </a: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conversation the Market Maker assessed the hiring requirements for the [#] [Role] [Company] was looking to fill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016E610B-CF9D-477A-BCA3-8066339E0DE2}"/>
              </a:ext>
            </a:extLst>
          </p:cNvPr>
          <p:cNvSpPr txBox="1"/>
          <p:nvPr/>
        </p:nvSpPr>
        <p:spPr>
          <a:xfrm>
            <a:off x="5936564" y="3536935"/>
            <a:ext cx="5808396" cy="1754326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spAutoFit/>
          </a:bodyPr>
          <a:lstStyle/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The Market Maker came back shortly to [Company] with a plan for addressing their </a:t>
            </a:r>
            <a:r>
              <a:rPr lang="en-US" sz="1200">
                <a:solidFill>
                  <a:schemeClr val="tx1"/>
                </a:solidFill>
                <a:latin typeface="Trebuchet MS" panose="020B0603020202020204" pitchFamily="34" charset="0"/>
              </a:rPr>
              <a:t>hiring needs</a:t>
            </a:r>
          </a:p>
          <a:p>
            <a:pPr marL="388800" lvl="2" indent="-129600">
              <a:buClr>
                <a:srgbClr val="00269E"/>
              </a:buClr>
              <a:buFont typeface="Trebuchet MS" panose="020B0603020202020204" pitchFamily="34" charset="0"/>
              <a:buChar char="–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[#] [role] could be hired by connecting to [training provider], a training provider with upcoming carpentry graduates</a:t>
            </a:r>
          </a:p>
          <a:p>
            <a:pPr marL="388800" lvl="2" indent="-129600">
              <a:buClr>
                <a:srgbClr val="00269E"/>
              </a:buClr>
              <a:buFont typeface="Trebuchet MS" panose="020B0603020202020204" pitchFamily="34" charset="0"/>
              <a:buChar char="–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[#] [role] could be hired if a [training provider] launched a new [role] program with [Company] agreeing to partner on a training grant</a:t>
            </a:r>
          </a:p>
          <a:p>
            <a:pPr marL="388800" lvl="2" indent="-129600">
              <a:buClr>
                <a:srgbClr val="00269E"/>
              </a:buClr>
              <a:buFont typeface="Trebuchet MS" panose="020B0603020202020204" pitchFamily="34" charset="0"/>
              <a:buChar char="–"/>
            </a:pPr>
            <a:r>
              <a:rPr lang="en-US" sz="1200">
                <a:solidFill>
                  <a:srgbClr val="000000"/>
                </a:solidFill>
                <a:latin typeface="Arial" panose="020B0604020202020204" pitchFamily="34" charset="0"/>
              </a:rPr>
              <a:t>MassHire would run email campaigns to support hiring remaining [#] [role]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latin typeface="Trebuchet MS" panose="020B0603020202020204" pitchFamily="34" charset="0"/>
              </a:rPr>
              <a:t>[Company] agreed to the plan and the Market Maker made the introduction to [Training provider]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D724D79-D172-40CA-B19D-324BDAF59215}"/>
              </a:ext>
            </a:extLst>
          </p:cNvPr>
          <p:cNvSpPr txBox="1"/>
          <p:nvPr/>
        </p:nvSpPr>
        <p:spPr>
          <a:xfrm>
            <a:off x="461963" y="1236960"/>
            <a:ext cx="5886922" cy="430887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lang="de-DE" sz="1400" b="1">
                <a:solidFill>
                  <a:schemeClr val="tx2"/>
                </a:solidFill>
              </a:rPr>
              <a:t>In as few as 4 conversations, Market Makers can help employers start connecting to training programs to to build pipelines of skilled talen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AEFB852-46DE-46CD-A867-AD25AADEF462}"/>
              </a:ext>
            </a:extLst>
          </p:cNvPr>
          <p:cNvGrpSpPr/>
          <p:nvPr/>
        </p:nvGrpSpPr>
        <p:grpSpPr>
          <a:xfrm>
            <a:off x="461963" y="2285869"/>
            <a:ext cx="4025515" cy="3859981"/>
            <a:chOff x="461963" y="2285870"/>
            <a:chExt cx="4802299" cy="3095828"/>
          </a:xfrm>
        </p:grpSpPr>
        <p:sp>
          <p:nvSpPr>
            <p:cNvPr id="4" name="Freeform 1">
              <a:extLst>
                <a:ext uri="{FF2B5EF4-FFF2-40B4-BE49-F238E27FC236}">
                  <a16:creationId xmlns:a16="http://schemas.microsoft.com/office/drawing/2014/main" id="{11B4C21E-9073-4EA8-8E33-4BF70901256E}"/>
                </a:ext>
              </a:extLst>
            </p:cNvPr>
            <p:cNvSpPr/>
            <p:nvPr/>
          </p:nvSpPr>
          <p:spPr>
            <a:xfrm>
              <a:off x="461963" y="2285870"/>
              <a:ext cx="4802299" cy="3095828"/>
            </a:xfrm>
            <a:custGeom>
              <a:avLst/>
              <a:gdLst>
                <a:gd name="connsiteX0" fmla="*/ 6629690 w 6629690"/>
                <a:gd name="connsiteY0" fmla="*/ 0 h 4273867"/>
                <a:gd name="connsiteX1" fmla="*/ 6622070 w 6629690"/>
                <a:gd name="connsiteY1" fmla="*/ 90487 h 4273867"/>
                <a:gd name="connsiteX2" fmla="*/ 2659670 w 6629690"/>
                <a:gd name="connsiteY2" fmla="*/ 334327 h 4273867"/>
                <a:gd name="connsiteX3" fmla="*/ 2741585 w 6629690"/>
                <a:gd name="connsiteY3" fmla="*/ 406716 h 4273867"/>
                <a:gd name="connsiteX4" fmla="*/ 3756950 w 6629690"/>
                <a:gd name="connsiteY4" fmla="*/ 441007 h 4273867"/>
                <a:gd name="connsiteX5" fmla="*/ 4122710 w 6629690"/>
                <a:gd name="connsiteY5" fmla="*/ 722947 h 4273867"/>
                <a:gd name="connsiteX6" fmla="*/ 2347250 w 6629690"/>
                <a:gd name="connsiteY6" fmla="*/ 1073467 h 4273867"/>
                <a:gd name="connsiteX7" fmla="*/ 2293910 w 6629690"/>
                <a:gd name="connsiteY7" fmla="*/ 1286827 h 4273867"/>
                <a:gd name="connsiteX8" fmla="*/ 4930430 w 6629690"/>
                <a:gd name="connsiteY8" fmla="*/ 1500187 h 4273867"/>
                <a:gd name="connsiteX9" fmla="*/ 6072477 w 6629690"/>
                <a:gd name="connsiteY9" fmla="*/ 2417444 h 4273867"/>
                <a:gd name="connsiteX10" fmla="*/ 290 w 6629690"/>
                <a:gd name="connsiteY10" fmla="*/ 4273867 h 4273867"/>
                <a:gd name="connsiteX11" fmla="*/ 0 w 6629690"/>
                <a:gd name="connsiteY11" fmla="*/ 4258128 h 4273867"/>
                <a:gd name="connsiteX12" fmla="*/ 509412 w 6629690"/>
                <a:gd name="connsiteY12" fmla="*/ 2963948 h 4273867"/>
                <a:gd name="connsiteX13" fmla="*/ 850225 w 6629690"/>
                <a:gd name="connsiteY13" fmla="*/ 2923297 h 4273867"/>
                <a:gd name="connsiteX14" fmla="*/ 3665510 w 6629690"/>
                <a:gd name="connsiteY14" fmla="*/ 2445067 h 4273867"/>
                <a:gd name="connsiteX15" fmla="*/ 3825530 w 6629690"/>
                <a:gd name="connsiteY15" fmla="*/ 1911667 h 4273867"/>
                <a:gd name="connsiteX16" fmla="*/ 1085188 w 6629690"/>
                <a:gd name="connsiteY16" fmla="*/ 1662112 h 4273867"/>
                <a:gd name="connsiteX17" fmla="*/ 896592 w 6629690"/>
                <a:gd name="connsiteY17" fmla="*/ 1055369 h 4273867"/>
                <a:gd name="connsiteX18" fmla="*/ 2773970 w 6629690"/>
                <a:gd name="connsiteY18" fmla="*/ 669607 h 4273867"/>
                <a:gd name="connsiteX19" fmla="*/ 2747300 w 6629690"/>
                <a:gd name="connsiteY19" fmla="*/ 592454 h 4273867"/>
                <a:gd name="connsiteX20" fmla="*/ 1892907 w 6629690"/>
                <a:gd name="connsiteY20" fmla="*/ 524826 h 4273867"/>
                <a:gd name="connsiteX21" fmla="*/ 1850997 w 6629690"/>
                <a:gd name="connsiteY21" fmla="*/ 259080 h 4273867"/>
                <a:gd name="connsiteX22" fmla="*/ 6629690 w 6629690"/>
                <a:gd name="connsiteY22" fmla="*/ 0 h 4273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629690" h="4273867">
                  <a:moveTo>
                    <a:pt x="6629690" y="0"/>
                  </a:moveTo>
                  <a:lnTo>
                    <a:pt x="6622070" y="90487"/>
                  </a:lnTo>
                  <a:cubicBezTo>
                    <a:pt x="5277457" y="71754"/>
                    <a:pt x="3980470" y="219710"/>
                    <a:pt x="2659670" y="334327"/>
                  </a:cubicBezTo>
                  <a:cubicBezTo>
                    <a:pt x="2228188" y="390206"/>
                    <a:pt x="2587279" y="407985"/>
                    <a:pt x="2741585" y="406716"/>
                  </a:cubicBezTo>
                  <a:cubicBezTo>
                    <a:pt x="3080040" y="418146"/>
                    <a:pt x="3408970" y="401002"/>
                    <a:pt x="3756950" y="441007"/>
                  </a:cubicBezTo>
                  <a:cubicBezTo>
                    <a:pt x="4226533" y="515937"/>
                    <a:pt x="4257965" y="671829"/>
                    <a:pt x="4122710" y="722947"/>
                  </a:cubicBezTo>
                  <a:cubicBezTo>
                    <a:pt x="3535652" y="915987"/>
                    <a:pt x="2939070" y="956627"/>
                    <a:pt x="2347250" y="1073467"/>
                  </a:cubicBezTo>
                  <a:cubicBezTo>
                    <a:pt x="1948470" y="1187449"/>
                    <a:pt x="2173577" y="1272857"/>
                    <a:pt x="2293910" y="1286827"/>
                  </a:cubicBezTo>
                  <a:cubicBezTo>
                    <a:pt x="3096550" y="1391284"/>
                    <a:pt x="4156365" y="1390967"/>
                    <a:pt x="4930430" y="1500187"/>
                  </a:cubicBezTo>
                  <a:cubicBezTo>
                    <a:pt x="6142963" y="1721801"/>
                    <a:pt x="6088670" y="2229166"/>
                    <a:pt x="6072477" y="2417444"/>
                  </a:cubicBezTo>
                  <a:cubicBezTo>
                    <a:pt x="5767677" y="3483927"/>
                    <a:pt x="1752889" y="3978909"/>
                    <a:pt x="290" y="4273867"/>
                  </a:cubicBezTo>
                  <a:lnTo>
                    <a:pt x="0" y="4258128"/>
                  </a:lnTo>
                  <a:lnTo>
                    <a:pt x="509412" y="2963948"/>
                  </a:lnTo>
                  <a:lnTo>
                    <a:pt x="850225" y="2923297"/>
                  </a:lnTo>
                  <a:cubicBezTo>
                    <a:pt x="1739763" y="2818804"/>
                    <a:pt x="2679196" y="2709624"/>
                    <a:pt x="3665510" y="2445067"/>
                  </a:cubicBezTo>
                  <a:cubicBezTo>
                    <a:pt x="4478469" y="2236311"/>
                    <a:pt x="4143665" y="1960879"/>
                    <a:pt x="3825530" y="1911667"/>
                  </a:cubicBezTo>
                  <a:cubicBezTo>
                    <a:pt x="2912083" y="1828482"/>
                    <a:pt x="1741461" y="1792923"/>
                    <a:pt x="1085188" y="1662112"/>
                  </a:cubicBezTo>
                  <a:cubicBezTo>
                    <a:pt x="453997" y="1467802"/>
                    <a:pt x="627670" y="1187766"/>
                    <a:pt x="896592" y="1055369"/>
                  </a:cubicBezTo>
                  <a:cubicBezTo>
                    <a:pt x="1574772" y="814069"/>
                    <a:pt x="2210089" y="734694"/>
                    <a:pt x="2773970" y="669607"/>
                  </a:cubicBezTo>
                  <a:cubicBezTo>
                    <a:pt x="3366743" y="610552"/>
                    <a:pt x="2887952" y="594359"/>
                    <a:pt x="2747300" y="592454"/>
                  </a:cubicBezTo>
                  <a:lnTo>
                    <a:pt x="1892907" y="524826"/>
                  </a:lnTo>
                  <a:cubicBezTo>
                    <a:pt x="1442375" y="452119"/>
                    <a:pt x="1653829" y="298450"/>
                    <a:pt x="1850997" y="259080"/>
                  </a:cubicBezTo>
                  <a:cubicBezTo>
                    <a:pt x="3477233" y="23495"/>
                    <a:pt x="5036792" y="68898"/>
                    <a:pt x="6629690" y="0"/>
                  </a:cubicBezTo>
                  <a:close/>
                </a:path>
              </a:pathLst>
            </a:custGeom>
            <a:solidFill>
              <a:srgbClr val="C8C8C8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5" name="Freeform 2">
              <a:extLst>
                <a:ext uri="{FF2B5EF4-FFF2-40B4-BE49-F238E27FC236}">
                  <a16:creationId xmlns:a16="http://schemas.microsoft.com/office/drawing/2014/main" id="{A53E57D3-40B1-4EA4-90F2-DFE529CD7390}"/>
                </a:ext>
              </a:extLst>
            </p:cNvPr>
            <p:cNvSpPr/>
            <p:nvPr/>
          </p:nvSpPr>
          <p:spPr>
            <a:xfrm>
              <a:off x="627210" y="2319214"/>
              <a:ext cx="4626013" cy="2605715"/>
            </a:xfrm>
            <a:custGeom>
              <a:avLst/>
              <a:gdLst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14900 w 6629400"/>
                <a:gd name="connsiteY1" fmla="*/ 25590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16300 w 6629400"/>
                <a:gd name="connsiteY5" fmla="*/ 6858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65500 w 6629400"/>
                <a:gd name="connsiteY6" fmla="*/ 46990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629400"/>
                <a:gd name="connsiteY0" fmla="*/ 3625850 h 3625850"/>
                <a:gd name="connsiteX1" fmla="*/ 4921250 w 6629400"/>
                <a:gd name="connsiteY1" fmla="*/ 2571750 h 3625850"/>
                <a:gd name="connsiteX2" fmla="*/ 4889500 w 6629400"/>
                <a:gd name="connsiteY2" fmla="*/ 1727200 h 3625850"/>
                <a:gd name="connsiteX3" fmla="*/ 1676400 w 6629400"/>
                <a:gd name="connsiteY3" fmla="*/ 1276350 h 3625850"/>
                <a:gd name="connsiteX4" fmla="*/ 1708150 w 6629400"/>
                <a:gd name="connsiteY4" fmla="*/ 984250 h 3625850"/>
                <a:gd name="connsiteX5" fmla="*/ 3403600 w 6629400"/>
                <a:gd name="connsiteY5" fmla="*/ 660400 h 3625850"/>
                <a:gd name="connsiteX6" fmla="*/ 3352800 w 6629400"/>
                <a:gd name="connsiteY6" fmla="*/ 476250 h 3625850"/>
                <a:gd name="connsiteX7" fmla="*/ 2254250 w 6629400"/>
                <a:gd name="connsiteY7" fmla="*/ 400050 h 3625850"/>
                <a:gd name="connsiteX8" fmla="*/ 2286000 w 6629400"/>
                <a:gd name="connsiteY8" fmla="*/ 228600 h 3625850"/>
                <a:gd name="connsiteX9" fmla="*/ 6629400 w 6629400"/>
                <a:gd name="connsiteY9" fmla="*/ 0 h 3625850"/>
                <a:gd name="connsiteX0" fmla="*/ 0 w 6386323"/>
                <a:gd name="connsiteY0" fmla="*/ 3597253 h 3597253"/>
                <a:gd name="connsiteX1" fmla="*/ 4678173 w 6386323"/>
                <a:gd name="connsiteY1" fmla="*/ 2571750 h 3597253"/>
                <a:gd name="connsiteX2" fmla="*/ 4646423 w 6386323"/>
                <a:gd name="connsiteY2" fmla="*/ 1727200 h 3597253"/>
                <a:gd name="connsiteX3" fmla="*/ 1433323 w 6386323"/>
                <a:gd name="connsiteY3" fmla="*/ 1276350 h 3597253"/>
                <a:gd name="connsiteX4" fmla="*/ 1465073 w 6386323"/>
                <a:gd name="connsiteY4" fmla="*/ 984250 h 3597253"/>
                <a:gd name="connsiteX5" fmla="*/ 3160523 w 6386323"/>
                <a:gd name="connsiteY5" fmla="*/ 660400 h 3597253"/>
                <a:gd name="connsiteX6" fmla="*/ 3109723 w 6386323"/>
                <a:gd name="connsiteY6" fmla="*/ 476250 h 3597253"/>
                <a:gd name="connsiteX7" fmla="*/ 2011173 w 6386323"/>
                <a:gd name="connsiteY7" fmla="*/ 400050 h 3597253"/>
                <a:gd name="connsiteX8" fmla="*/ 2042923 w 6386323"/>
                <a:gd name="connsiteY8" fmla="*/ 228600 h 3597253"/>
                <a:gd name="connsiteX9" fmla="*/ 6386323 w 6386323"/>
                <a:gd name="connsiteY9" fmla="*/ 0 h 359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86323" h="3597253">
                  <a:moveTo>
                    <a:pt x="0" y="3597253"/>
                  </a:moveTo>
                  <a:cubicBezTo>
                    <a:pt x="2901950" y="3260703"/>
                    <a:pt x="3998723" y="2933700"/>
                    <a:pt x="4678173" y="2571750"/>
                  </a:cubicBezTo>
                  <a:cubicBezTo>
                    <a:pt x="5393606" y="2116667"/>
                    <a:pt x="5016840" y="1801283"/>
                    <a:pt x="4646423" y="1727200"/>
                  </a:cubicBezTo>
                  <a:cubicBezTo>
                    <a:pt x="3581740" y="1545167"/>
                    <a:pt x="2167806" y="1439333"/>
                    <a:pt x="1433323" y="1276350"/>
                  </a:cubicBezTo>
                  <a:cubicBezTo>
                    <a:pt x="1069256" y="1185333"/>
                    <a:pt x="1213190" y="1087967"/>
                    <a:pt x="1465073" y="984250"/>
                  </a:cubicBezTo>
                  <a:cubicBezTo>
                    <a:pt x="2091606" y="808567"/>
                    <a:pt x="2610190" y="791633"/>
                    <a:pt x="3160523" y="660400"/>
                  </a:cubicBezTo>
                  <a:cubicBezTo>
                    <a:pt x="3560573" y="565150"/>
                    <a:pt x="3268473" y="457200"/>
                    <a:pt x="3109723" y="476250"/>
                  </a:cubicBezTo>
                  <a:lnTo>
                    <a:pt x="2011173" y="400050"/>
                  </a:lnTo>
                  <a:cubicBezTo>
                    <a:pt x="1678856" y="342900"/>
                    <a:pt x="1841840" y="260350"/>
                    <a:pt x="2042923" y="228600"/>
                  </a:cubicBezTo>
                  <a:cubicBezTo>
                    <a:pt x="3744723" y="50800"/>
                    <a:pt x="5205223" y="12700"/>
                    <a:pt x="6386323" y="0"/>
                  </a:cubicBezTo>
                </a:path>
              </a:pathLst>
            </a:custGeom>
            <a:noFill/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21FFE3FF-A47C-43E5-8791-9EBFC437015E}"/>
              </a:ext>
            </a:extLst>
          </p:cNvPr>
          <p:cNvSpPr txBox="1"/>
          <p:nvPr/>
        </p:nvSpPr>
        <p:spPr>
          <a:xfrm>
            <a:off x="5016081" y="2191226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Lear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372BA6B-55C1-44EF-A329-010A220D3CC8}"/>
              </a:ext>
            </a:extLst>
          </p:cNvPr>
          <p:cNvSpPr txBox="1"/>
          <p:nvPr/>
        </p:nvSpPr>
        <p:spPr>
          <a:xfrm>
            <a:off x="5016081" y="3047961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Shar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D1C0359-D769-46A2-A4B4-0220D68CE34C}"/>
              </a:ext>
            </a:extLst>
          </p:cNvPr>
          <p:cNvSpPr txBox="1"/>
          <p:nvPr/>
        </p:nvSpPr>
        <p:spPr>
          <a:xfrm>
            <a:off x="5016081" y="4162198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Connec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8593C5D-09D4-41AC-B9A9-2C8968F52577}"/>
              </a:ext>
            </a:extLst>
          </p:cNvPr>
          <p:cNvSpPr txBox="1"/>
          <p:nvPr/>
        </p:nvSpPr>
        <p:spPr>
          <a:xfrm>
            <a:off x="5016081" y="5968826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Hi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BD72687-3004-4EBF-AEEC-9F1B60AB8914}"/>
              </a:ext>
            </a:extLst>
          </p:cNvPr>
          <p:cNvSpPr txBox="1"/>
          <p:nvPr/>
        </p:nvSpPr>
        <p:spPr>
          <a:xfrm>
            <a:off x="5016081" y="5449212"/>
            <a:ext cx="80727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tIns="45720" rIns="45720" bIns="45720">
            <a:noAutofit/>
          </a:bodyPr>
          <a:lstStyle/>
          <a:p>
            <a:r>
              <a:rPr lang="en-US" sz="1400" b="1">
                <a:solidFill>
                  <a:srgbClr val="FFFFFF"/>
                </a:solidFill>
              </a:rPr>
              <a:t>Agre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DC60300-822C-4D50-9A74-139AAC51EE1F}"/>
              </a:ext>
            </a:extLst>
          </p:cNvPr>
          <p:cNvSpPr txBox="1"/>
          <p:nvPr/>
        </p:nvSpPr>
        <p:spPr>
          <a:xfrm>
            <a:off x="5936564" y="5372268"/>
            <a:ext cx="5808396" cy="461665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chemeClr val="tx1"/>
                </a:solidFill>
                <a:latin typeface="Trebuchet MS" panose="020B0603020202020204" pitchFamily="34" charset="0"/>
              </a:rPr>
              <a:t>[Company] and [Training provider] aligned on the curriculum and [Company] committed to hiring [#] of [role]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B7AA588-C7F3-4FA0-8346-59168C93DFDF}"/>
              </a:ext>
            </a:extLst>
          </p:cNvPr>
          <p:cNvSpPr txBox="1"/>
          <p:nvPr/>
        </p:nvSpPr>
        <p:spPr>
          <a:xfrm>
            <a:off x="5936564" y="5891882"/>
            <a:ext cx="5808396" cy="461665"/>
          </a:xfrm>
          <a:prstGeom prst="rect">
            <a:avLst/>
          </a:prstGeom>
          <a:solidFill>
            <a:srgbClr val="FFFFFF"/>
          </a:solidFill>
          <a:ln w="19050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latin typeface="Trebuchet MS" panose="020B0603020202020204" pitchFamily="34" charset="0"/>
              </a:rPr>
              <a:t>[Company] hired [#] of [role] 3 months later and has continued to go back to [Training provider] as a source of talent</a:t>
            </a:r>
          </a:p>
        </p:txBody>
      </p:sp>
      <p:sp>
        <p:nvSpPr>
          <p:cNvPr id="53" name="Oval 20">
            <a:extLst>
              <a:ext uri="{FF2B5EF4-FFF2-40B4-BE49-F238E27FC236}">
                <a16:creationId xmlns:a16="http://schemas.microsoft.com/office/drawing/2014/main" id="{9F0FB0A8-70E9-4EE8-915C-44AC836100F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6744" y="5891882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8" name="Oval 20">
            <a:extLst>
              <a:ext uri="{FF2B5EF4-FFF2-40B4-BE49-F238E27FC236}">
                <a16:creationId xmlns:a16="http://schemas.microsoft.com/office/drawing/2014/main" id="{72039661-2E6E-459B-A587-83DDDBB71D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726744" y="5372268"/>
            <a:ext cx="182880" cy="1828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3D43A0B-2BB3-44C6-BE46-2FC104F65D35}"/>
              </a:ext>
            </a:extLst>
          </p:cNvPr>
          <p:cNvGrpSpPr/>
          <p:nvPr/>
        </p:nvGrpSpPr>
        <p:grpSpPr>
          <a:xfrm>
            <a:off x="2895017" y="4204475"/>
            <a:ext cx="510407" cy="687960"/>
            <a:chOff x="1246021" y="4842902"/>
            <a:chExt cx="510407" cy="687960"/>
          </a:xfrm>
        </p:grpSpPr>
        <p:sp>
          <p:nvSpPr>
            <p:cNvPr id="78" name="Freeform 4">
              <a:extLst>
                <a:ext uri="{FF2B5EF4-FFF2-40B4-BE49-F238E27FC236}">
                  <a16:creationId xmlns:a16="http://schemas.microsoft.com/office/drawing/2014/main" id="{A1B439EA-A69F-424A-A9A5-7EBE6F5205D6}"/>
                </a:ext>
              </a:extLst>
            </p:cNvPr>
            <p:cNvSpPr/>
            <p:nvPr/>
          </p:nvSpPr>
          <p:spPr>
            <a:xfrm flipV="1">
              <a:off x="1246021" y="4842902"/>
              <a:ext cx="510407" cy="687960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0A811886-F1CE-476D-8AC1-1D22DF75D329}"/>
                </a:ext>
              </a:extLst>
            </p:cNvPr>
            <p:cNvSpPr/>
            <p:nvPr/>
          </p:nvSpPr>
          <p:spPr>
            <a:xfrm>
              <a:off x="1305023" y="4891517"/>
              <a:ext cx="392405" cy="39240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4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91304B0-A783-474D-984F-594EC5CB9170}"/>
              </a:ext>
            </a:extLst>
          </p:cNvPr>
          <p:cNvGrpSpPr/>
          <p:nvPr/>
        </p:nvGrpSpPr>
        <p:grpSpPr>
          <a:xfrm>
            <a:off x="2397609" y="2266611"/>
            <a:ext cx="454832" cy="613052"/>
            <a:chOff x="3038710" y="2422863"/>
            <a:chExt cx="454832" cy="613052"/>
          </a:xfrm>
        </p:grpSpPr>
        <p:sp>
          <p:nvSpPr>
            <p:cNvPr id="81" name="Freeform 14">
              <a:extLst>
                <a:ext uri="{FF2B5EF4-FFF2-40B4-BE49-F238E27FC236}">
                  <a16:creationId xmlns:a16="http://schemas.microsoft.com/office/drawing/2014/main" id="{22239C25-946D-4A2F-AE21-64B53821E657}"/>
                </a:ext>
              </a:extLst>
            </p:cNvPr>
            <p:cNvSpPr/>
            <p:nvPr/>
          </p:nvSpPr>
          <p:spPr>
            <a:xfrm flipV="1">
              <a:off x="3038710" y="2422863"/>
              <a:ext cx="454832" cy="613052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BF84BBD0-CCC8-40B3-8E98-C02812410C24}"/>
                </a:ext>
              </a:extLst>
            </p:cNvPr>
            <p:cNvSpPr/>
            <p:nvPr/>
          </p:nvSpPr>
          <p:spPr>
            <a:xfrm>
              <a:off x="3091288" y="2466185"/>
              <a:ext cx="349678" cy="349678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2</a:t>
              </a: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0D49439F-20A5-41DA-98D5-2AC99A4AB402}"/>
              </a:ext>
            </a:extLst>
          </p:cNvPr>
          <p:cNvGrpSpPr/>
          <p:nvPr/>
        </p:nvGrpSpPr>
        <p:grpSpPr>
          <a:xfrm>
            <a:off x="3707525" y="1854658"/>
            <a:ext cx="358017" cy="482558"/>
            <a:chOff x="5578935" y="1958665"/>
            <a:chExt cx="358017" cy="482558"/>
          </a:xfrm>
        </p:grpSpPr>
        <p:sp>
          <p:nvSpPr>
            <p:cNvPr id="84" name="Freeform 18">
              <a:extLst>
                <a:ext uri="{FF2B5EF4-FFF2-40B4-BE49-F238E27FC236}">
                  <a16:creationId xmlns:a16="http://schemas.microsoft.com/office/drawing/2014/main" id="{EA798AB1-CC42-4B92-994F-7FD1A7AF5E11}"/>
                </a:ext>
              </a:extLst>
            </p:cNvPr>
            <p:cNvSpPr/>
            <p:nvPr/>
          </p:nvSpPr>
          <p:spPr>
            <a:xfrm flipV="1">
              <a:off x="5578935" y="1958665"/>
              <a:ext cx="358017" cy="482558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285D7BC1-EDF4-4E59-ABD8-F81C75C7FC98}"/>
                </a:ext>
              </a:extLst>
            </p:cNvPr>
            <p:cNvSpPr/>
            <p:nvPr/>
          </p:nvSpPr>
          <p:spPr>
            <a:xfrm>
              <a:off x="5620321" y="1992767"/>
              <a:ext cx="275245" cy="275245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1</a:t>
              </a: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DA6D57E-B0A5-410D-BC54-CFE778058508}"/>
              </a:ext>
            </a:extLst>
          </p:cNvPr>
          <p:cNvGrpSpPr/>
          <p:nvPr/>
        </p:nvGrpSpPr>
        <p:grpSpPr>
          <a:xfrm>
            <a:off x="2567443" y="3091481"/>
            <a:ext cx="510407" cy="687960"/>
            <a:chOff x="5011034" y="3851578"/>
            <a:chExt cx="510407" cy="687960"/>
          </a:xfrm>
        </p:grpSpPr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ED3F5D08-B234-4873-A623-9C707C1FDD56}"/>
                </a:ext>
              </a:extLst>
            </p:cNvPr>
            <p:cNvSpPr/>
            <p:nvPr/>
          </p:nvSpPr>
          <p:spPr>
            <a:xfrm flipV="1">
              <a:off x="5011034" y="3851578"/>
              <a:ext cx="510407" cy="687960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75356A3-750F-4B8B-8AE1-90C7CAC40CC9}"/>
                </a:ext>
              </a:extLst>
            </p:cNvPr>
            <p:cNvSpPr/>
            <p:nvPr/>
          </p:nvSpPr>
          <p:spPr>
            <a:xfrm>
              <a:off x="5070036" y="3900192"/>
              <a:ext cx="392405" cy="39240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3</a:t>
              </a: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C06EBDA-952B-411A-8963-EDECB1062246}"/>
              </a:ext>
            </a:extLst>
          </p:cNvPr>
          <p:cNvGrpSpPr/>
          <p:nvPr/>
        </p:nvGrpSpPr>
        <p:grpSpPr>
          <a:xfrm>
            <a:off x="1237342" y="4734036"/>
            <a:ext cx="510407" cy="687960"/>
            <a:chOff x="1246021" y="4842902"/>
            <a:chExt cx="510407" cy="687960"/>
          </a:xfrm>
        </p:grpSpPr>
        <p:sp>
          <p:nvSpPr>
            <p:cNvPr id="90" name="Freeform 4">
              <a:extLst>
                <a:ext uri="{FF2B5EF4-FFF2-40B4-BE49-F238E27FC236}">
                  <a16:creationId xmlns:a16="http://schemas.microsoft.com/office/drawing/2014/main" id="{25CEE508-B795-419B-AABA-C70E3804B474}"/>
                </a:ext>
              </a:extLst>
            </p:cNvPr>
            <p:cNvSpPr/>
            <p:nvPr/>
          </p:nvSpPr>
          <p:spPr>
            <a:xfrm flipV="1">
              <a:off x="1246021" y="4842902"/>
              <a:ext cx="510407" cy="687960"/>
            </a:xfrm>
            <a:custGeom>
              <a:avLst/>
              <a:gdLst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63286 w 1638302"/>
                <a:gd name="connsiteY3" fmla="*/ 780880 h 2208212"/>
                <a:gd name="connsiteX4" fmla="*/ 1382840 w 1638302"/>
                <a:gd name="connsiteY4" fmla="*/ 781050 h 2208212"/>
                <a:gd name="connsiteX5" fmla="*/ 800102 w 1638302"/>
                <a:gd name="connsiteY5" fmla="*/ 0 h 2208212"/>
                <a:gd name="connsiteX6" fmla="*/ 612809 w 1638302"/>
                <a:gd name="connsiteY6" fmla="*/ 557687 h 2208212"/>
                <a:gd name="connsiteX7" fmla="*/ 533314 w 1638302"/>
                <a:gd name="connsiteY7" fmla="*/ 624035 h 2208212"/>
                <a:gd name="connsiteX8" fmla="*/ 500300 w 1638302"/>
                <a:gd name="connsiteY8" fmla="*/ 634283 h 2208212"/>
                <a:gd name="connsiteX9" fmla="*/ 0 w 1638302"/>
                <a:gd name="connsiteY9" fmla="*/ 1389061 h 2208212"/>
                <a:gd name="connsiteX10" fmla="*/ 819151 w 1638302"/>
                <a:gd name="connsiteY10" fmla="*/ 2208212 h 2208212"/>
                <a:gd name="connsiteX0" fmla="*/ 819151 w 1638302"/>
                <a:gd name="connsiteY0" fmla="*/ 2208212 h 2208212"/>
                <a:gd name="connsiteX1" fmla="*/ 1638302 w 1638302"/>
                <a:gd name="connsiteY1" fmla="*/ 1389061 h 2208212"/>
                <a:gd name="connsiteX2" fmla="*/ 1398378 w 1638302"/>
                <a:gd name="connsiteY2" fmla="*/ 809834 h 2208212"/>
                <a:gd name="connsiteX3" fmla="*/ 1382840 w 1638302"/>
                <a:gd name="connsiteY3" fmla="*/ 781050 h 2208212"/>
                <a:gd name="connsiteX4" fmla="*/ 800102 w 1638302"/>
                <a:gd name="connsiteY4" fmla="*/ 0 h 2208212"/>
                <a:gd name="connsiteX5" fmla="*/ 612809 w 1638302"/>
                <a:gd name="connsiteY5" fmla="*/ 557687 h 2208212"/>
                <a:gd name="connsiteX6" fmla="*/ 533314 w 1638302"/>
                <a:gd name="connsiteY6" fmla="*/ 624035 h 2208212"/>
                <a:gd name="connsiteX7" fmla="*/ 500300 w 1638302"/>
                <a:gd name="connsiteY7" fmla="*/ 634283 h 2208212"/>
                <a:gd name="connsiteX8" fmla="*/ 0 w 1638302"/>
                <a:gd name="connsiteY8" fmla="*/ 1389061 h 2208212"/>
                <a:gd name="connsiteX9" fmla="*/ 819151 w 1638302"/>
                <a:gd name="connsiteY9" fmla="*/ 2208212 h 2208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38302" h="2208212">
                  <a:moveTo>
                    <a:pt x="819151" y="2208212"/>
                  </a:moveTo>
                  <a:cubicBezTo>
                    <a:pt x="1271556" y="2208212"/>
                    <a:pt x="1638302" y="1841466"/>
                    <a:pt x="1638302" y="1389061"/>
                  </a:cubicBezTo>
                  <a:cubicBezTo>
                    <a:pt x="1638302" y="1162859"/>
                    <a:pt x="1546616" y="958071"/>
                    <a:pt x="1398378" y="809834"/>
                  </a:cubicBezTo>
                  <a:lnTo>
                    <a:pt x="1382840" y="781050"/>
                  </a:lnTo>
                  <a:cubicBezTo>
                    <a:pt x="1233044" y="504825"/>
                    <a:pt x="1054674" y="209550"/>
                    <a:pt x="800102" y="0"/>
                  </a:cubicBezTo>
                  <a:cubicBezTo>
                    <a:pt x="833479" y="242094"/>
                    <a:pt x="757095" y="419075"/>
                    <a:pt x="612809" y="557687"/>
                  </a:cubicBezTo>
                  <a:lnTo>
                    <a:pt x="533314" y="624035"/>
                  </a:lnTo>
                  <a:lnTo>
                    <a:pt x="500300" y="634283"/>
                  </a:lnTo>
                  <a:cubicBezTo>
                    <a:pt x="206295" y="758637"/>
                    <a:pt x="0" y="1049757"/>
                    <a:pt x="0" y="1389061"/>
                  </a:cubicBezTo>
                  <a:cubicBezTo>
                    <a:pt x="0" y="1841466"/>
                    <a:pt x="366746" y="2208212"/>
                    <a:pt x="819151" y="2208212"/>
                  </a:cubicBezTo>
                  <a:close/>
                </a:path>
              </a:pathLst>
            </a:cu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399"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0F9C4E3-5E7B-4BD7-B6EE-87B722DE2BC7}"/>
                </a:ext>
              </a:extLst>
            </p:cNvPr>
            <p:cNvSpPr/>
            <p:nvPr/>
          </p:nvSpPr>
          <p:spPr>
            <a:xfrm>
              <a:off x="1305023" y="4891517"/>
              <a:ext cx="392405" cy="39240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  <a:latin typeface="Trebuchet MS" panose="020B0603020202020204" pitchFamily="34" charset="0"/>
                  <a:sym typeface="Trebuchet MS" panose="020B0603020202020204" pitchFamily="34" charset="0"/>
                </a:rPr>
                <a:t>5</a:t>
              </a:r>
            </a:p>
          </p:txBody>
        </p:sp>
      </p:grpSp>
      <p:sp>
        <p:nvSpPr>
          <p:cNvPr id="45" name="Textfeld 1">
            <a:extLst>
              <a:ext uri="{FF2B5EF4-FFF2-40B4-BE49-F238E27FC236}">
                <a16:creationId xmlns:a16="http://schemas.microsoft.com/office/drawing/2014/main" id="{E2364260-F26C-464B-BB28-282DDF06A2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320800" y="0"/>
            <a:ext cx="9321800" cy="26776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llustrative; feel free to use this for employer engagemen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9352B28-6A8B-467C-86EF-B0D97123AE93}"/>
              </a:ext>
            </a:extLst>
          </p:cNvPr>
          <p:cNvGrpSpPr/>
          <p:nvPr/>
        </p:nvGrpSpPr>
        <p:grpSpPr>
          <a:xfrm>
            <a:off x="4651959" y="1629648"/>
            <a:ext cx="284792" cy="284792"/>
            <a:chOff x="4651959" y="1629648"/>
            <a:chExt cx="284792" cy="284792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3EDBF7E-B154-46AC-9103-2466274ECBA1}"/>
                </a:ext>
              </a:extLst>
            </p:cNvPr>
            <p:cNvSpPr/>
            <p:nvPr/>
          </p:nvSpPr>
          <p:spPr>
            <a:xfrm>
              <a:off x="4651959" y="1629648"/>
              <a:ext cx="284792" cy="284792"/>
            </a:xfrm>
            <a:prstGeom prst="ellipse">
              <a:avLst/>
            </a:prstGeom>
            <a:solidFill>
              <a:schemeClr val="bg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47" name="Oval 20">
              <a:extLst>
                <a:ext uri="{FF2B5EF4-FFF2-40B4-BE49-F238E27FC236}">
                  <a16:creationId xmlns:a16="http://schemas.microsoft.com/office/drawing/2014/main" id="{630AC3E8-6C16-4181-8B47-195D8E4EA12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13536" y="168848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23AE9391-3917-4E35-B338-EF59129E1133}"/>
              </a:ext>
            </a:extLst>
          </p:cNvPr>
          <p:cNvGrpSpPr/>
          <p:nvPr/>
        </p:nvGrpSpPr>
        <p:grpSpPr>
          <a:xfrm>
            <a:off x="4651959" y="2894568"/>
            <a:ext cx="284792" cy="284792"/>
            <a:chOff x="4651959" y="1629648"/>
            <a:chExt cx="284792" cy="284792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4CB2AE6-DA8B-4FFF-93A9-7C32AA75D26C}"/>
                </a:ext>
              </a:extLst>
            </p:cNvPr>
            <p:cNvSpPr/>
            <p:nvPr/>
          </p:nvSpPr>
          <p:spPr>
            <a:xfrm>
              <a:off x="4651959" y="1629648"/>
              <a:ext cx="284792" cy="284792"/>
            </a:xfrm>
            <a:prstGeom prst="ellipse">
              <a:avLst/>
            </a:prstGeom>
            <a:solidFill>
              <a:schemeClr val="bg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2" name="Oval 20">
              <a:extLst>
                <a:ext uri="{FF2B5EF4-FFF2-40B4-BE49-F238E27FC236}">
                  <a16:creationId xmlns:a16="http://schemas.microsoft.com/office/drawing/2014/main" id="{F04A5AE3-5655-46AA-909F-94BA3F0BD76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13536" y="168848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F04FEF00-4E39-4DF1-9A79-F25863A7EF2F}"/>
              </a:ext>
            </a:extLst>
          </p:cNvPr>
          <p:cNvGrpSpPr/>
          <p:nvPr/>
        </p:nvGrpSpPr>
        <p:grpSpPr>
          <a:xfrm>
            <a:off x="4651959" y="3499088"/>
            <a:ext cx="284792" cy="284792"/>
            <a:chOff x="4651959" y="1629648"/>
            <a:chExt cx="284792" cy="284792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7CFF9940-FA3C-4C93-839F-1109E9E522E2}"/>
                </a:ext>
              </a:extLst>
            </p:cNvPr>
            <p:cNvSpPr/>
            <p:nvPr/>
          </p:nvSpPr>
          <p:spPr>
            <a:xfrm>
              <a:off x="4651959" y="1629648"/>
              <a:ext cx="284792" cy="284792"/>
            </a:xfrm>
            <a:prstGeom prst="ellipse">
              <a:avLst/>
            </a:prstGeom>
            <a:solidFill>
              <a:schemeClr val="bg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7" name="Oval 20">
              <a:extLst>
                <a:ext uri="{FF2B5EF4-FFF2-40B4-BE49-F238E27FC236}">
                  <a16:creationId xmlns:a16="http://schemas.microsoft.com/office/drawing/2014/main" id="{942D385F-2E5D-4B68-B6E1-F1D25D3636E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713536" y="1688489"/>
              <a:ext cx="182880" cy="18288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20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404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687BBC-92CE-4E26-B065-5C66BD12C5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687BBC-92CE-4E26-B065-5C66BD12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8B0136-DC50-426E-A787-CC01F962A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3025551"/>
            <a:ext cx="3369086" cy="1495794"/>
          </a:xfrm>
        </p:spPr>
        <p:txBody>
          <a:bodyPr vert="horz"/>
          <a:lstStyle/>
          <a:p>
            <a:r>
              <a:rPr lang="en-US" sz="2400"/>
              <a:t>Market Maker Checklis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5841876-275E-4BB2-92B3-C21C81DF9024}"/>
              </a:ext>
            </a:extLst>
          </p:cNvPr>
          <p:cNvGrpSpPr>
            <a:grpSpLocks noChangeAspect="1"/>
          </p:cNvGrpSpPr>
          <p:nvPr/>
        </p:nvGrpSpPr>
        <p:grpSpPr>
          <a:xfrm>
            <a:off x="157885" y="1412565"/>
            <a:ext cx="1371600" cy="1371600"/>
            <a:chOff x="5273675" y="2606675"/>
            <a:chExt cx="1644650" cy="1644650"/>
          </a:xfrm>
        </p:grpSpPr>
        <p:sp>
          <p:nvSpPr>
            <p:cNvPr id="26" name="AutoShape 3">
              <a:extLst>
                <a:ext uri="{FF2B5EF4-FFF2-40B4-BE49-F238E27FC236}">
                  <a16:creationId xmlns:a16="http://schemas.microsoft.com/office/drawing/2014/main" id="{6A1680FE-8AAC-4AA1-9E45-7F98FBEF2C0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2AF31F7-C30F-4A18-B4E4-0D9A7D676D77}"/>
                </a:ext>
              </a:extLst>
            </p:cNvPr>
            <p:cNvGrpSpPr/>
            <p:nvPr/>
          </p:nvGrpSpPr>
          <p:grpSpPr>
            <a:xfrm>
              <a:off x="5646738" y="2776538"/>
              <a:ext cx="898525" cy="1304925"/>
              <a:chOff x="5646738" y="2776538"/>
              <a:chExt cx="898525" cy="1304925"/>
            </a:xfrm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4A079B9B-64F8-4958-A1E7-115F658DF2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0625"/>
              </a:xfrm>
              <a:custGeom>
                <a:avLst/>
                <a:gdLst>
                  <a:gd name="connsiteX0" fmla="*/ 311196 w 898525"/>
                  <a:gd name="connsiteY0" fmla="*/ 816042 h 1190625"/>
                  <a:gd name="connsiteX1" fmla="*/ 333306 w 898525"/>
                  <a:gd name="connsiteY1" fmla="*/ 816042 h 1190625"/>
                  <a:gd name="connsiteX2" fmla="*/ 333306 w 898525"/>
                  <a:gd name="connsiteY2" fmla="*/ 838143 h 1190625"/>
                  <a:gd name="connsiteX3" fmla="*/ 302637 w 898525"/>
                  <a:gd name="connsiteY3" fmla="*/ 868800 h 1190625"/>
                  <a:gd name="connsiteX4" fmla="*/ 271255 w 898525"/>
                  <a:gd name="connsiteY4" fmla="*/ 900170 h 1190625"/>
                  <a:gd name="connsiteX5" fmla="*/ 247006 w 898525"/>
                  <a:gd name="connsiteY5" fmla="*/ 924410 h 1190625"/>
                  <a:gd name="connsiteX6" fmla="*/ 236307 w 898525"/>
                  <a:gd name="connsiteY6" fmla="*/ 928688 h 1190625"/>
                  <a:gd name="connsiteX7" fmla="*/ 224896 w 898525"/>
                  <a:gd name="connsiteY7" fmla="*/ 924410 h 1190625"/>
                  <a:gd name="connsiteX8" fmla="*/ 197793 w 898525"/>
                  <a:gd name="connsiteY8" fmla="*/ 896605 h 1190625"/>
                  <a:gd name="connsiteX9" fmla="*/ 197793 w 898525"/>
                  <a:gd name="connsiteY9" fmla="*/ 874504 h 1190625"/>
                  <a:gd name="connsiteX10" fmla="*/ 219903 w 898525"/>
                  <a:gd name="connsiteY10" fmla="*/ 874504 h 1190625"/>
                  <a:gd name="connsiteX11" fmla="*/ 236307 w 898525"/>
                  <a:gd name="connsiteY11" fmla="*/ 890902 h 1190625"/>
                  <a:gd name="connsiteX12" fmla="*/ 269829 w 898525"/>
                  <a:gd name="connsiteY12" fmla="*/ 857393 h 1190625"/>
                  <a:gd name="connsiteX13" fmla="*/ 297645 w 898525"/>
                  <a:gd name="connsiteY13" fmla="*/ 829588 h 1190625"/>
                  <a:gd name="connsiteX14" fmla="*/ 311196 w 898525"/>
                  <a:gd name="connsiteY14" fmla="*/ 816042 h 1190625"/>
                  <a:gd name="connsiteX15" fmla="*/ 311196 w 898525"/>
                  <a:gd name="connsiteY15" fmla="*/ 539104 h 1190625"/>
                  <a:gd name="connsiteX16" fmla="*/ 333306 w 898525"/>
                  <a:gd name="connsiteY16" fmla="*/ 539104 h 1190625"/>
                  <a:gd name="connsiteX17" fmla="*/ 333306 w 898525"/>
                  <a:gd name="connsiteY17" fmla="*/ 561918 h 1190625"/>
                  <a:gd name="connsiteX18" fmla="*/ 302637 w 898525"/>
                  <a:gd name="connsiteY18" fmla="*/ 592575 h 1190625"/>
                  <a:gd name="connsiteX19" fmla="*/ 271255 w 898525"/>
                  <a:gd name="connsiteY19" fmla="*/ 623945 h 1190625"/>
                  <a:gd name="connsiteX20" fmla="*/ 247006 w 898525"/>
                  <a:gd name="connsiteY20" fmla="*/ 647472 h 1190625"/>
                  <a:gd name="connsiteX21" fmla="*/ 236307 w 898525"/>
                  <a:gd name="connsiteY21" fmla="*/ 652463 h 1190625"/>
                  <a:gd name="connsiteX22" fmla="*/ 224896 w 898525"/>
                  <a:gd name="connsiteY22" fmla="*/ 647472 h 1190625"/>
                  <a:gd name="connsiteX23" fmla="*/ 197793 w 898525"/>
                  <a:gd name="connsiteY23" fmla="*/ 620380 h 1190625"/>
                  <a:gd name="connsiteX24" fmla="*/ 197793 w 898525"/>
                  <a:gd name="connsiteY24" fmla="*/ 598279 h 1190625"/>
                  <a:gd name="connsiteX25" fmla="*/ 219903 w 898525"/>
                  <a:gd name="connsiteY25" fmla="*/ 598279 h 1190625"/>
                  <a:gd name="connsiteX26" fmla="*/ 236307 w 898525"/>
                  <a:gd name="connsiteY26" fmla="*/ 614677 h 1190625"/>
                  <a:gd name="connsiteX27" fmla="*/ 269829 w 898525"/>
                  <a:gd name="connsiteY27" fmla="*/ 581168 h 1190625"/>
                  <a:gd name="connsiteX28" fmla="*/ 297645 w 898525"/>
                  <a:gd name="connsiteY28" fmla="*/ 553363 h 1190625"/>
                  <a:gd name="connsiteX29" fmla="*/ 311196 w 898525"/>
                  <a:gd name="connsiteY29" fmla="*/ 539104 h 1190625"/>
                  <a:gd name="connsiteX30" fmla="*/ 311196 w 898525"/>
                  <a:gd name="connsiteY30" fmla="*/ 257242 h 1190625"/>
                  <a:gd name="connsiteX31" fmla="*/ 333306 w 898525"/>
                  <a:gd name="connsiteY31" fmla="*/ 257242 h 1190625"/>
                  <a:gd name="connsiteX32" fmla="*/ 333306 w 898525"/>
                  <a:gd name="connsiteY32" fmla="*/ 279343 h 1190625"/>
                  <a:gd name="connsiteX33" fmla="*/ 302637 w 898525"/>
                  <a:gd name="connsiteY33" fmla="*/ 310000 h 1190625"/>
                  <a:gd name="connsiteX34" fmla="*/ 271255 w 898525"/>
                  <a:gd name="connsiteY34" fmla="*/ 341370 h 1190625"/>
                  <a:gd name="connsiteX35" fmla="*/ 247006 w 898525"/>
                  <a:gd name="connsiteY35" fmla="*/ 365610 h 1190625"/>
                  <a:gd name="connsiteX36" fmla="*/ 236307 w 898525"/>
                  <a:gd name="connsiteY36" fmla="*/ 369888 h 1190625"/>
                  <a:gd name="connsiteX37" fmla="*/ 224896 w 898525"/>
                  <a:gd name="connsiteY37" fmla="*/ 365610 h 1190625"/>
                  <a:gd name="connsiteX38" fmla="*/ 197793 w 898525"/>
                  <a:gd name="connsiteY38" fmla="*/ 338518 h 1190625"/>
                  <a:gd name="connsiteX39" fmla="*/ 197793 w 898525"/>
                  <a:gd name="connsiteY39" fmla="*/ 316417 h 1190625"/>
                  <a:gd name="connsiteX40" fmla="*/ 219903 w 898525"/>
                  <a:gd name="connsiteY40" fmla="*/ 316417 h 1190625"/>
                  <a:gd name="connsiteX41" fmla="*/ 236307 w 898525"/>
                  <a:gd name="connsiteY41" fmla="*/ 332102 h 1190625"/>
                  <a:gd name="connsiteX42" fmla="*/ 269829 w 898525"/>
                  <a:gd name="connsiteY42" fmla="*/ 298593 h 1190625"/>
                  <a:gd name="connsiteX43" fmla="*/ 297645 w 898525"/>
                  <a:gd name="connsiteY43" fmla="*/ 271501 h 1190625"/>
                  <a:gd name="connsiteX44" fmla="*/ 311196 w 898525"/>
                  <a:gd name="connsiteY44" fmla="*/ 257242 h 1190625"/>
                  <a:gd name="connsiteX45" fmla="*/ 15714 w 898525"/>
                  <a:gd name="connsiteY45" fmla="*/ 0 h 1190625"/>
                  <a:gd name="connsiteX46" fmla="*/ 272843 w 898525"/>
                  <a:gd name="connsiteY46" fmla="*/ 0 h 1190625"/>
                  <a:gd name="connsiteX47" fmla="*/ 272843 w 898525"/>
                  <a:gd name="connsiteY47" fmla="*/ 31370 h 1190625"/>
                  <a:gd name="connsiteX48" fmla="*/ 31427 w 898525"/>
                  <a:gd name="connsiteY48" fmla="*/ 31370 h 1190625"/>
                  <a:gd name="connsiteX49" fmla="*/ 31427 w 898525"/>
                  <a:gd name="connsiteY49" fmla="*/ 1159255 h 1190625"/>
                  <a:gd name="connsiteX50" fmla="*/ 867098 w 898525"/>
                  <a:gd name="connsiteY50" fmla="*/ 1159255 h 1190625"/>
                  <a:gd name="connsiteX51" fmla="*/ 867098 w 898525"/>
                  <a:gd name="connsiteY51" fmla="*/ 31370 h 1190625"/>
                  <a:gd name="connsiteX52" fmla="*/ 625682 w 898525"/>
                  <a:gd name="connsiteY52" fmla="*/ 31370 h 1190625"/>
                  <a:gd name="connsiteX53" fmla="*/ 625682 w 898525"/>
                  <a:gd name="connsiteY53" fmla="*/ 0 h 1190625"/>
                  <a:gd name="connsiteX54" fmla="*/ 882812 w 898525"/>
                  <a:gd name="connsiteY54" fmla="*/ 0 h 1190625"/>
                  <a:gd name="connsiteX55" fmla="*/ 898525 w 898525"/>
                  <a:gd name="connsiteY55" fmla="*/ 15685 h 1190625"/>
                  <a:gd name="connsiteX56" fmla="*/ 898525 w 898525"/>
                  <a:gd name="connsiteY56" fmla="*/ 1174940 h 1190625"/>
                  <a:gd name="connsiteX57" fmla="*/ 882812 w 898525"/>
                  <a:gd name="connsiteY57" fmla="*/ 1190625 h 1190625"/>
                  <a:gd name="connsiteX58" fmla="*/ 15714 w 898525"/>
                  <a:gd name="connsiteY58" fmla="*/ 1190625 h 1190625"/>
                  <a:gd name="connsiteX59" fmla="*/ 0 w 898525"/>
                  <a:gd name="connsiteY59" fmla="*/ 1174940 h 1190625"/>
                  <a:gd name="connsiteX60" fmla="*/ 0 w 898525"/>
                  <a:gd name="connsiteY60" fmla="*/ 15685 h 1190625"/>
                  <a:gd name="connsiteX61" fmla="*/ 15714 w 898525"/>
                  <a:gd name="connsiteY61" fmla="*/ 0 h 119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898525" h="1190625">
                    <a:moveTo>
                      <a:pt x="311196" y="816042"/>
                    </a:moveTo>
                    <a:cubicBezTo>
                      <a:pt x="317615" y="809625"/>
                      <a:pt x="327600" y="809625"/>
                      <a:pt x="333306" y="816042"/>
                    </a:cubicBezTo>
                    <a:cubicBezTo>
                      <a:pt x="339725" y="821745"/>
                      <a:pt x="339725" y="831727"/>
                      <a:pt x="333306" y="838143"/>
                    </a:cubicBezTo>
                    <a:cubicBezTo>
                      <a:pt x="333306" y="838143"/>
                      <a:pt x="333306" y="838143"/>
                      <a:pt x="302637" y="868800"/>
                    </a:cubicBezTo>
                    <a:cubicBezTo>
                      <a:pt x="302637" y="868800"/>
                      <a:pt x="302637" y="868800"/>
                      <a:pt x="271255" y="900170"/>
                    </a:cubicBezTo>
                    <a:cubicBezTo>
                      <a:pt x="271255" y="900170"/>
                      <a:pt x="271255" y="900170"/>
                      <a:pt x="247006" y="924410"/>
                    </a:cubicBezTo>
                    <a:cubicBezTo>
                      <a:pt x="244153" y="927262"/>
                      <a:pt x="240587" y="928688"/>
                      <a:pt x="236307" y="928688"/>
                    </a:cubicBezTo>
                    <a:cubicBezTo>
                      <a:pt x="232028" y="928688"/>
                      <a:pt x="228462" y="927262"/>
                      <a:pt x="224896" y="924410"/>
                    </a:cubicBezTo>
                    <a:cubicBezTo>
                      <a:pt x="224896" y="924410"/>
                      <a:pt x="224896" y="924410"/>
                      <a:pt x="197793" y="896605"/>
                    </a:cubicBezTo>
                    <a:cubicBezTo>
                      <a:pt x="192087" y="890902"/>
                      <a:pt x="192087" y="880920"/>
                      <a:pt x="197793" y="874504"/>
                    </a:cubicBezTo>
                    <a:cubicBezTo>
                      <a:pt x="204212" y="868800"/>
                      <a:pt x="214197" y="868800"/>
                      <a:pt x="219903" y="874504"/>
                    </a:cubicBezTo>
                    <a:cubicBezTo>
                      <a:pt x="219903" y="874504"/>
                      <a:pt x="219903" y="874504"/>
                      <a:pt x="236307" y="890902"/>
                    </a:cubicBezTo>
                    <a:cubicBezTo>
                      <a:pt x="236307" y="890902"/>
                      <a:pt x="236307" y="890902"/>
                      <a:pt x="269829" y="857393"/>
                    </a:cubicBezTo>
                    <a:cubicBezTo>
                      <a:pt x="269829" y="857393"/>
                      <a:pt x="269829" y="857393"/>
                      <a:pt x="297645" y="829588"/>
                    </a:cubicBezTo>
                    <a:cubicBezTo>
                      <a:pt x="297645" y="829588"/>
                      <a:pt x="297645" y="829588"/>
                      <a:pt x="311196" y="816042"/>
                    </a:cubicBezTo>
                    <a:close/>
                    <a:moveTo>
                      <a:pt x="311196" y="539104"/>
                    </a:moveTo>
                    <a:cubicBezTo>
                      <a:pt x="317615" y="533400"/>
                      <a:pt x="327600" y="533400"/>
                      <a:pt x="333306" y="539104"/>
                    </a:cubicBezTo>
                    <a:cubicBezTo>
                      <a:pt x="339725" y="545520"/>
                      <a:pt x="339725" y="555502"/>
                      <a:pt x="333306" y="561918"/>
                    </a:cubicBezTo>
                    <a:cubicBezTo>
                      <a:pt x="333306" y="561918"/>
                      <a:pt x="333306" y="561918"/>
                      <a:pt x="302637" y="592575"/>
                    </a:cubicBezTo>
                    <a:cubicBezTo>
                      <a:pt x="302637" y="592575"/>
                      <a:pt x="302637" y="592575"/>
                      <a:pt x="271255" y="623945"/>
                    </a:cubicBezTo>
                    <a:cubicBezTo>
                      <a:pt x="271255" y="623945"/>
                      <a:pt x="271255" y="623945"/>
                      <a:pt x="247006" y="647472"/>
                    </a:cubicBezTo>
                    <a:cubicBezTo>
                      <a:pt x="244153" y="651037"/>
                      <a:pt x="240587" y="652463"/>
                      <a:pt x="236307" y="652463"/>
                    </a:cubicBezTo>
                    <a:cubicBezTo>
                      <a:pt x="232028" y="652463"/>
                      <a:pt x="228462" y="651037"/>
                      <a:pt x="224896" y="647472"/>
                    </a:cubicBezTo>
                    <a:cubicBezTo>
                      <a:pt x="224896" y="647472"/>
                      <a:pt x="224896" y="647472"/>
                      <a:pt x="197793" y="620380"/>
                    </a:cubicBezTo>
                    <a:cubicBezTo>
                      <a:pt x="192087" y="614677"/>
                      <a:pt x="192087" y="604695"/>
                      <a:pt x="197793" y="598279"/>
                    </a:cubicBezTo>
                    <a:cubicBezTo>
                      <a:pt x="204212" y="592575"/>
                      <a:pt x="214197" y="592575"/>
                      <a:pt x="219903" y="598279"/>
                    </a:cubicBezTo>
                    <a:cubicBezTo>
                      <a:pt x="219903" y="598279"/>
                      <a:pt x="219903" y="598279"/>
                      <a:pt x="236307" y="614677"/>
                    </a:cubicBezTo>
                    <a:cubicBezTo>
                      <a:pt x="236307" y="614677"/>
                      <a:pt x="236307" y="614677"/>
                      <a:pt x="269829" y="581168"/>
                    </a:cubicBezTo>
                    <a:cubicBezTo>
                      <a:pt x="269829" y="581168"/>
                      <a:pt x="269829" y="581168"/>
                      <a:pt x="297645" y="553363"/>
                    </a:cubicBezTo>
                    <a:cubicBezTo>
                      <a:pt x="297645" y="553363"/>
                      <a:pt x="297645" y="553363"/>
                      <a:pt x="311196" y="539104"/>
                    </a:cubicBezTo>
                    <a:close/>
                    <a:moveTo>
                      <a:pt x="311196" y="257242"/>
                    </a:moveTo>
                    <a:cubicBezTo>
                      <a:pt x="317615" y="250825"/>
                      <a:pt x="327600" y="250825"/>
                      <a:pt x="333306" y="257242"/>
                    </a:cubicBezTo>
                    <a:cubicBezTo>
                      <a:pt x="339725" y="263658"/>
                      <a:pt x="339725" y="272927"/>
                      <a:pt x="333306" y="279343"/>
                    </a:cubicBezTo>
                    <a:cubicBezTo>
                      <a:pt x="333306" y="279343"/>
                      <a:pt x="333306" y="279343"/>
                      <a:pt x="302637" y="310000"/>
                    </a:cubicBezTo>
                    <a:cubicBezTo>
                      <a:pt x="302637" y="310000"/>
                      <a:pt x="302637" y="310000"/>
                      <a:pt x="271255" y="341370"/>
                    </a:cubicBezTo>
                    <a:cubicBezTo>
                      <a:pt x="271255" y="341370"/>
                      <a:pt x="271255" y="341370"/>
                      <a:pt x="247006" y="365610"/>
                    </a:cubicBezTo>
                    <a:cubicBezTo>
                      <a:pt x="244153" y="368462"/>
                      <a:pt x="240587" y="369888"/>
                      <a:pt x="236307" y="369888"/>
                    </a:cubicBezTo>
                    <a:cubicBezTo>
                      <a:pt x="232028" y="369888"/>
                      <a:pt x="228462" y="368462"/>
                      <a:pt x="224896" y="365610"/>
                    </a:cubicBezTo>
                    <a:cubicBezTo>
                      <a:pt x="224896" y="365610"/>
                      <a:pt x="224896" y="365610"/>
                      <a:pt x="197793" y="338518"/>
                    </a:cubicBezTo>
                    <a:cubicBezTo>
                      <a:pt x="192087" y="332102"/>
                      <a:pt x="192087" y="322120"/>
                      <a:pt x="197793" y="316417"/>
                    </a:cubicBezTo>
                    <a:cubicBezTo>
                      <a:pt x="204212" y="310000"/>
                      <a:pt x="214197" y="310000"/>
                      <a:pt x="219903" y="316417"/>
                    </a:cubicBezTo>
                    <a:cubicBezTo>
                      <a:pt x="219903" y="316417"/>
                      <a:pt x="219903" y="316417"/>
                      <a:pt x="236307" y="332102"/>
                    </a:cubicBezTo>
                    <a:cubicBezTo>
                      <a:pt x="236307" y="332102"/>
                      <a:pt x="236307" y="332102"/>
                      <a:pt x="269829" y="298593"/>
                    </a:cubicBezTo>
                    <a:cubicBezTo>
                      <a:pt x="269829" y="298593"/>
                      <a:pt x="269829" y="298593"/>
                      <a:pt x="297645" y="271501"/>
                    </a:cubicBezTo>
                    <a:cubicBezTo>
                      <a:pt x="297645" y="271501"/>
                      <a:pt x="297645" y="271501"/>
                      <a:pt x="311196" y="257242"/>
                    </a:cubicBezTo>
                    <a:close/>
                    <a:moveTo>
                      <a:pt x="15714" y="0"/>
                    </a:moveTo>
                    <a:cubicBezTo>
                      <a:pt x="15714" y="0"/>
                      <a:pt x="15714" y="0"/>
                      <a:pt x="272843" y="0"/>
                    </a:cubicBezTo>
                    <a:cubicBezTo>
                      <a:pt x="272843" y="0"/>
                      <a:pt x="272843" y="0"/>
                      <a:pt x="272843" y="31370"/>
                    </a:cubicBezTo>
                    <a:cubicBezTo>
                      <a:pt x="272843" y="31370"/>
                      <a:pt x="272843" y="31370"/>
                      <a:pt x="31427" y="31370"/>
                    </a:cubicBezTo>
                    <a:cubicBezTo>
                      <a:pt x="31427" y="31370"/>
                      <a:pt x="31427" y="31370"/>
                      <a:pt x="31427" y="1159255"/>
                    </a:cubicBezTo>
                    <a:cubicBezTo>
                      <a:pt x="31427" y="1159255"/>
                      <a:pt x="31427" y="1159255"/>
                      <a:pt x="867098" y="1159255"/>
                    </a:cubicBezTo>
                    <a:cubicBezTo>
                      <a:pt x="867098" y="1159255"/>
                      <a:pt x="867098" y="1159255"/>
                      <a:pt x="867098" y="31370"/>
                    </a:cubicBezTo>
                    <a:cubicBezTo>
                      <a:pt x="867098" y="31370"/>
                      <a:pt x="867098" y="31370"/>
                      <a:pt x="625682" y="31370"/>
                    </a:cubicBezTo>
                    <a:cubicBezTo>
                      <a:pt x="625682" y="31370"/>
                      <a:pt x="625682" y="31370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0"/>
                      <a:pt x="898525" y="15685"/>
                    </a:cubicBezTo>
                    <a:cubicBezTo>
                      <a:pt x="898525" y="15685"/>
                      <a:pt x="898525" y="15685"/>
                      <a:pt x="898525" y="1174940"/>
                    </a:cubicBezTo>
                    <a:cubicBezTo>
                      <a:pt x="898525" y="1184209"/>
                      <a:pt x="892097" y="1190625"/>
                      <a:pt x="882812" y="1190625"/>
                    </a:cubicBezTo>
                    <a:cubicBezTo>
                      <a:pt x="882812" y="1190625"/>
                      <a:pt x="882812" y="1190625"/>
                      <a:pt x="15714" y="1190625"/>
                    </a:cubicBezTo>
                    <a:cubicBezTo>
                      <a:pt x="6428" y="1190625"/>
                      <a:pt x="0" y="1184209"/>
                      <a:pt x="0" y="1174940"/>
                    </a:cubicBezTo>
                    <a:cubicBezTo>
                      <a:pt x="0" y="1174940"/>
                      <a:pt x="0" y="1174940"/>
                      <a:pt x="0" y="15685"/>
                    </a:cubicBezTo>
                    <a:cubicBezTo>
                      <a:pt x="0" y="7130"/>
                      <a:pt x="6428" y="0"/>
                      <a:pt x="157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EC19342B-08E3-469F-959E-F281BA50CE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5963" y="2776538"/>
                <a:ext cx="600075" cy="1093787"/>
              </a:xfrm>
              <a:custGeom>
                <a:avLst/>
                <a:gdLst>
                  <a:gd name="connsiteX0" fmla="*/ 296727 w 600075"/>
                  <a:gd name="connsiteY0" fmla="*/ 1044575 h 1093787"/>
                  <a:gd name="connsiteX1" fmla="*/ 584335 w 600075"/>
                  <a:gd name="connsiteY1" fmla="*/ 1044575 h 1093787"/>
                  <a:gd name="connsiteX2" fmla="*/ 600075 w 600075"/>
                  <a:gd name="connsiteY2" fmla="*/ 1060450 h 1093787"/>
                  <a:gd name="connsiteX3" fmla="*/ 584335 w 600075"/>
                  <a:gd name="connsiteY3" fmla="*/ 1076325 h 1093787"/>
                  <a:gd name="connsiteX4" fmla="*/ 296727 w 600075"/>
                  <a:gd name="connsiteY4" fmla="*/ 1076325 h 1093787"/>
                  <a:gd name="connsiteX5" fmla="*/ 280987 w 600075"/>
                  <a:gd name="connsiteY5" fmla="*/ 1060450 h 1093787"/>
                  <a:gd name="connsiteX6" fmla="*/ 296727 w 600075"/>
                  <a:gd name="connsiteY6" fmla="*/ 1044575 h 1093787"/>
                  <a:gd name="connsiteX7" fmla="*/ 296727 w 600075"/>
                  <a:gd name="connsiteY7" fmla="*/ 958850 h 1093787"/>
                  <a:gd name="connsiteX8" fmla="*/ 584335 w 600075"/>
                  <a:gd name="connsiteY8" fmla="*/ 958850 h 1093787"/>
                  <a:gd name="connsiteX9" fmla="*/ 600075 w 600075"/>
                  <a:gd name="connsiteY9" fmla="*/ 974725 h 1093787"/>
                  <a:gd name="connsiteX10" fmla="*/ 584335 w 600075"/>
                  <a:gd name="connsiteY10" fmla="*/ 990600 h 1093787"/>
                  <a:gd name="connsiteX11" fmla="*/ 296727 w 600075"/>
                  <a:gd name="connsiteY11" fmla="*/ 990600 h 1093787"/>
                  <a:gd name="connsiteX12" fmla="*/ 280987 w 600075"/>
                  <a:gd name="connsiteY12" fmla="*/ 974725 h 1093787"/>
                  <a:gd name="connsiteX13" fmla="*/ 296727 w 600075"/>
                  <a:gd name="connsiteY13" fmla="*/ 958850 h 1093787"/>
                  <a:gd name="connsiteX14" fmla="*/ 15667 w 600075"/>
                  <a:gd name="connsiteY14" fmla="*/ 941387 h 1093787"/>
                  <a:gd name="connsiteX15" fmla="*/ 107534 w 600075"/>
                  <a:gd name="connsiteY15" fmla="*/ 941387 h 1093787"/>
                  <a:gd name="connsiteX16" fmla="*/ 76200 w 600075"/>
                  <a:gd name="connsiteY16" fmla="*/ 972722 h 1093787"/>
                  <a:gd name="connsiteX17" fmla="*/ 31334 w 600075"/>
                  <a:gd name="connsiteY17" fmla="*/ 972722 h 1093787"/>
                  <a:gd name="connsiteX18" fmla="*/ 31334 w 600075"/>
                  <a:gd name="connsiteY18" fmla="*/ 1062453 h 1093787"/>
                  <a:gd name="connsiteX19" fmla="*/ 121065 w 600075"/>
                  <a:gd name="connsiteY19" fmla="*/ 1062453 h 1093787"/>
                  <a:gd name="connsiteX20" fmla="*/ 121065 w 600075"/>
                  <a:gd name="connsiteY20" fmla="*/ 1058892 h 1093787"/>
                  <a:gd name="connsiteX21" fmla="*/ 152400 w 600075"/>
                  <a:gd name="connsiteY21" fmla="*/ 1027557 h 1093787"/>
                  <a:gd name="connsiteX22" fmla="*/ 152400 w 600075"/>
                  <a:gd name="connsiteY22" fmla="*/ 1078120 h 1093787"/>
                  <a:gd name="connsiteX23" fmla="*/ 136732 w 600075"/>
                  <a:gd name="connsiteY23" fmla="*/ 1093787 h 1093787"/>
                  <a:gd name="connsiteX24" fmla="*/ 15667 w 600075"/>
                  <a:gd name="connsiteY24" fmla="*/ 1093787 h 1093787"/>
                  <a:gd name="connsiteX25" fmla="*/ 0 w 600075"/>
                  <a:gd name="connsiteY25" fmla="*/ 1078120 h 1093787"/>
                  <a:gd name="connsiteX26" fmla="*/ 0 w 600075"/>
                  <a:gd name="connsiteY26" fmla="*/ 957054 h 1093787"/>
                  <a:gd name="connsiteX27" fmla="*/ 15667 w 600075"/>
                  <a:gd name="connsiteY27" fmla="*/ 941387 h 1093787"/>
                  <a:gd name="connsiteX28" fmla="*/ 296727 w 600075"/>
                  <a:gd name="connsiteY28" fmla="*/ 766762 h 1093787"/>
                  <a:gd name="connsiteX29" fmla="*/ 584335 w 600075"/>
                  <a:gd name="connsiteY29" fmla="*/ 766762 h 1093787"/>
                  <a:gd name="connsiteX30" fmla="*/ 600075 w 600075"/>
                  <a:gd name="connsiteY30" fmla="*/ 782637 h 1093787"/>
                  <a:gd name="connsiteX31" fmla="*/ 584335 w 600075"/>
                  <a:gd name="connsiteY31" fmla="*/ 798512 h 1093787"/>
                  <a:gd name="connsiteX32" fmla="*/ 296727 w 600075"/>
                  <a:gd name="connsiteY32" fmla="*/ 798512 h 1093787"/>
                  <a:gd name="connsiteX33" fmla="*/ 280987 w 600075"/>
                  <a:gd name="connsiteY33" fmla="*/ 782637 h 1093787"/>
                  <a:gd name="connsiteX34" fmla="*/ 296727 w 600075"/>
                  <a:gd name="connsiteY34" fmla="*/ 766762 h 1093787"/>
                  <a:gd name="connsiteX35" fmla="*/ 296727 w 600075"/>
                  <a:gd name="connsiteY35" fmla="*/ 681037 h 1093787"/>
                  <a:gd name="connsiteX36" fmla="*/ 584335 w 600075"/>
                  <a:gd name="connsiteY36" fmla="*/ 681037 h 1093787"/>
                  <a:gd name="connsiteX37" fmla="*/ 600075 w 600075"/>
                  <a:gd name="connsiteY37" fmla="*/ 696912 h 1093787"/>
                  <a:gd name="connsiteX38" fmla="*/ 584335 w 600075"/>
                  <a:gd name="connsiteY38" fmla="*/ 712787 h 1093787"/>
                  <a:gd name="connsiteX39" fmla="*/ 296727 w 600075"/>
                  <a:gd name="connsiteY39" fmla="*/ 712787 h 1093787"/>
                  <a:gd name="connsiteX40" fmla="*/ 280987 w 600075"/>
                  <a:gd name="connsiteY40" fmla="*/ 696912 h 1093787"/>
                  <a:gd name="connsiteX41" fmla="*/ 296727 w 600075"/>
                  <a:gd name="connsiteY41" fmla="*/ 681037 h 1093787"/>
                  <a:gd name="connsiteX42" fmla="*/ 15667 w 600075"/>
                  <a:gd name="connsiteY42" fmla="*/ 663575 h 1093787"/>
                  <a:gd name="connsiteX43" fmla="*/ 107534 w 600075"/>
                  <a:gd name="connsiteY43" fmla="*/ 663575 h 1093787"/>
                  <a:gd name="connsiteX44" fmla="*/ 76200 w 600075"/>
                  <a:gd name="connsiteY44" fmla="*/ 694910 h 1093787"/>
                  <a:gd name="connsiteX45" fmla="*/ 31334 w 600075"/>
                  <a:gd name="connsiteY45" fmla="*/ 694910 h 1093787"/>
                  <a:gd name="connsiteX46" fmla="*/ 31334 w 600075"/>
                  <a:gd name="connsiteY46" fmla="*/ 784641 h 1093787"/>
                  <a:gd name="connsiteX47" fmla="*/ 121065 w 600075"/>
                  <a:gd name="connsiteY47" fmla="*/ 784641 h 1093787"/>
                  <a:gd name="connsiteX48" fmla="*/ 121065 w 600075"/>
                  <a:gd name="connsiteY48" fmla="*/ 781080 h 1093787"/>
                  <a:gd name="connsiteX49" fmla="*/ 152400 w 600075"/>
                  <a:gd name="connsiteY49" fmla="*/ 749745 h 1093787"/>
                  <a:gd name="connsiteX50" fmla="*/ 152400 w 600075"/>
                  <a:gd name="connsiteY50" fmla="*/ 800308 h 1093787"/>
                  <a:gd name="connsiteX51" fmla="*/ 136732 w 600075"/>
                  <a:gd name="connsiteY51" fmla="*/ 815975 h 1093787"/>
                  <a:gd name="connsiteX52" fmla="*/ 15667 w 600075"/>
                  <a:gd name="connsiteY52" fmla="*/ 815975 h 1093787"/>
                  <a:gd name="connsiteX53" fmla="*/ 0 w 600075"/>
                  <a:gd name="connsiteY53" fmla="*/ 800308 h 1093787"/>
                  <a:gd name="connsiteX54" fmla="*/ 0 w 600075"/>
                  <a:gd name="connsiteY54" fmla="*/ 679242 h 1093787"/>
                  <a:gd name="connsiteX55" fmla="*/ 15667 w 600075"/>
                  <a:gd name="connsiteY55" fmla="*/ 663575 h 1093787"/>
                  <a:gd name="connsiteX56" fmla="*/ 296727 w 600075"/>
                  <a:gd name="connsiteY56" fmla="*/ 485775 h 1093787"/>
                  <a:gd name="connsiteX57" fmla="*/ 584335 w 600075"/>
                  <a:gd name="connsiteY57" fmla="*/ 485775 h 1093787"/>
                  <a:gd name="connsiteX58" fmla="*/ 600075 w 600075"/>
                  <a:gd name="connsiteY58" fmla="*/ 501650 h 1093787"/>
                  <a:gd name="connsiteX59" fmla="*/ 584335 w 600075"/>
                  <a:gd name="connsiteY59" fmla="*/ 517525 h 1093787"/>
                  <a:gd name="connsiteX60" fmla="*/ 296727 w 600075"/>
                  <a:gd name="connsiteY60" fmla="*/ 517525 h 1093787"/>
                  <a:gd name="connsiteX61" fmla="*/ 280987 w 600075"/>
                  <a:gd name="connsiteY61" fmla="*/ 501650 h 1093787"/>
                  <a:gd name="connsiteX62" fmla="*/ 296727 w 600075"/>
                  <a:gd name="connsiteY62" fmla="*/ 485775 h 1093787"/>
                  <a:gd name="connsiteX63" fmla="*/ 296727 w 600075"/>
                  <a:gd name="connsiteY63" fmla="*/ 400050 h 1093787"/>
                  <a:gd name="connsiteX64" fmla="*/ 584335 w 600075"/>
                  <a:gd name="connsiteY64" fmla="*/ 400050 h 1093787"/>
                  <a:gd name="connsiteX65" fmla="*/ 600075 w 600075"/>
                  <a:gd name="connsiteY65" fmla="*/ 415925 h 1093787"/>
                  <a:gd name="connsiteX66" fmla="*/ 584335 w 600075"/>
                  <a:gd name="connsiteY66" fmla="*/ 431800 h 1093787"/>
                  <a:gd name="connsiteX67" fmla="*/ 296727 w 600075"/>
                  <a:gd name="connsiteY67" fmla="*/ 431800 h 1093787"/>
                  <a:gd name="connsiteX68" fmla="*/ 280987 w 600075"/>
                  <a:gd name="connsiteY68" fmla="*/ 415925 h 1093787"/>
                  <a:gd name="connsiteX69" fmla="*/ 296727 w 600075"/>
                  <a:gd name="connsiteY69" fmla="*/ 400050 h 1093787"/>
                  <a:gd name="connsiteX70" fmla="*/ 15667 w 600075"/>
                  <a:gd name="connsiteY70" fmla="*/ 382587 h 1093787"/>
                  <a:gd name="connsiteX71" fmla="*/ 107534 w 600075"/>
                  <a:gd name="connsiteY71" fmla="*/ 382587 h 1093787"/>
                  <a:gd name="connsiteX72" fmla="*/ 76200 w 600075"/>
                  <a:gd name="connsiteY72" fmla="*/ 413776 h 1093787"/>
                  <a:gd name="connsiteX73" fmla="*/ 31334 w 600075"/>
                  <a:gd name="connsiteY73" fmla="*/ 413776 h 1093787"/>
                  <a:gd name="connsiteX74" fmla="*/ 31334 w 600075"/>
                  <a:gd name="connsiteY74" fmla="*/ 503798 h 1093787"/>
                  <a:gd name="connsiteX75" fmla="*/ 121065 w 600075"/>
                  <a:gd name="connsiteY75" fmla="*/ 503798 h 1093787"/>
                  <a:gd name="connsiteX76" fmla="*/ 121065 w 600075"/>
                  <a:gd name="connsiteY76" fmla="*/ 499545 h 1093787"/>
                  <a:gd name="connsiteX77" fmla="*/ 152400 w 600075"/>
                  <a:gd name="connsiteY77" fmla="*/ 468356 h 1093787"/>
                  <a:gd name="connsiteX78" fmla="*/ 152400 w 600075"/>
                  <a:gd name="connsiteY78" fmla="*/ 519393 h 1093787"/>
                  <a:gd name="connsiteX79" fmla="*/ 136732 w 600075"/>
                  <a:gd name="connsiteY79" fmla="*/ 534987 h 1093787"/>
                  <a:gd name="connsiteX80" fmla="*/ 15667 w 600075"/>
                  <a:gd name="connsiteY80" fmla="*/ 534987 h 1093787"/>
                  <a:gd name="connsiteX81" fmla="*/ 0 w 600075"/>
                  <a:gd name="connsiteY81" fmla="*/ 519393 h 1093787"/>
                  <a:gd name="connsiteX82" fmla="*/ 0 w 600075"/>
                  <a:gd name="connsiteY82" fmla="*/ 398182 h 1093787"/>
                  <a:gd name="connsiteX83" fmla="*/ 15667 w 600075"/>
                  <a:gd name="connsiteY83" fmla="*/ 382587 h 1093787"/>
                  <a:gd name="connsiteX84" fmla="*/ 301266 w 600075"/>
                  <a:gd name="connsiteY84" fmla="*/ 31750 h 1093787"/>
                  <a:gd name="connsiteX85" fmla="*/ 279758 w 600075"/>
                  <a:gd name="connsiteY85" fmla="*/ 36027 h 1093787"/>
                  <a:gd name="connsiteX86" fmla="*/ 246062 w 600075"/>
                  <a:gd name="connsiteY86" fmla="*/ 66675 h 1093787"/>
                  <a:gd name="connsiteX87" fmla="*/ 357187 w 600075"/>
                  <a:gd name="connsiteY87" fmla="*/ 66675 h 1093787"/>
                  <a:gd name="connsiteX88" fmla="*/ 323491 w 600075"/>
                  <a:gd name="connsiteY88" fmla="*/ 36027 h 1093787"/>
                  <a:gd name="connsiteX89" fmla="*/ 301266 w 600075"/>
                  <a:gd name="connsiteY89" fmla="*/ 31750 h 1093787"/>
                  <a:gd name="connsiteX90" fmla="*/ 300832 w 600075"/>
                  <a:gd name="connsiteY90" fmla="*/ 0 h 1093787"/>
                  <a:gd name="connsiteX91" fmla="*/ 373818 w 600075"/>
                  <a:gd name="connsiteY91" fmla="*/ 35602 h 1093787"/>
                  <a:gd name="connsiteX92" fmla="*/ 390275 w 600075"/>
                  <a:gd name="connsiteY92" fmla="*/ 66220 h 1093787"/>
                  <a:gd name="connsiteX93" fmla="*/ 439648 w 600075"/>
                  <a:gd name="connsiteY93" fmla="*/ 66220 h 1093787"/>
                  <a:gd name="connsiteX94" fmla="*/ 446088 w 600075"/>
                  <a:gd name="connsiteY94" fmla="*/ 73340 h 1093787"/>
                  <a:gd name="connsiteX95" fmla="*/ 446088 w 600075"/>
                  <a:gd name="connsiteY95" fmla="*/ 113927 h 1093787"/>
                  <a:gd name="connsiteX96" fmla="*/ 446088 w 600075"/>
                  <a:gd name="connsiteY96" fmla="*/ 145256 h 1093787"/>
                  <a:gd name="connsiteX97" fmla="*/ 446088 w 600075"/>
                  <a:gd name="connsiteY97" fmla="*/ 178010 h 1093787"/>
                  <a:gd name="connsiteX98" fmla="*/ 431062 w 600075"/>
                  <a:gd name="connsiteY98" fmla="*/ 193675 h 1093787"/>
                  <a:gd name="connsiteX99" fmla="*/ 171317 w 600075"/>
                  <a:gd name="connsiteY99" fmla="*/ 193675 h 1093787"/>
                  <a:gd name="connsiteX100" fmla="*/ 155575 w 600075"/>
                  <a:gd name="connsiteY100" fmla="*/ 178010 h 1093787"/>
                  <a:gd name="connsiteX101" fmla="*/ 155575 w 600075"/>
                  <a:gd name="connsiteY101" fmla="*/ 145256 h 1093787"/>
                  <a:gd name="connsiteX102" fmla="*/ 155575 w 600075"/>
                  <a:gd name="connsiteY102" fmla="*/ 113927 h 1093787"/>
                  <a:gd name="connsiteX103" fmla="*/ 155575 w 600075"/>
                  <a:gd name="connsiteY103" fmla="*/ 73340 h 1093787"/>
                  <a:gd name="connsiteX104" fmla="*/ 162731 w 600075"/>
                  <a:gd name="connsiteY104" fmla="*/ 66220 h 1093787"/>
                  <a:gd name="connsiteX105" fmla="*/ 212104 w 600075"/>
                  <a:gd name="connsiteY105" fmla="*/ 66220 h 1093787"/>
                  <a:gd name="connsiteX106" fmla="*/ 227846 w 600075"/>
                  <a:gd name="connsiteY106" fmla="*/ 35602 h 1093787"/>
                  <a:gd name="connsiteX107" fmla="*/ 300832 w 600075"/>
                  <a:gd name="connsiteY107" fmla="*/ 0 h 1093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600075" h="1093787">
                    <a:moveTo>
                      <a:pt x="296727" y="1044575"/>
                    </a:moveTo>
                    <a:cubicBezTo>
                      <a:pt x="296727" y="1044575"/>
                      <a:pt x="296727" y="1044575"/>
                      <a:pt x="584335" y="1044575"/>
                    </a:cubicBezTo>
                    <a:cubicBezTo>
                      <a:pt x="592921" y="1044575"/>
                      <a:pt x="600075" y="1051791"/>
                      <a:pt x="600075" y="1060450"/>
                    </a:cubicBezTo>
                    <a:cubicBezTo>
                      <a:pt x="600075" y="1069109"/>
                      <a:pt x="592921" y="1076325"/>
                      <a:pt x="584335" y="1076325"/>
                    </a:cubicBezTo>
                    <a:cubicBezTo>
                      <a:pt x="584335" y="1076325"/>
                      <a:pt x="584335" y="1076325"/>
                      <a:pt x="296727" y="1076325"/>
                    </a:cubicBezTo>
                    <a:cubicBezTo>
                      <a:pt x="288142" y="1076325"/>
                      <a:pt x="280987" y="1069109"/>
                      <a:pt x="280987" y="1060450"/>
                    </a:cubicBezTo>
                    <a:cubicBezTo>
                      <a:pt x="280987" y="1051791"/>
                      <a:pt x="288142" y="1044575"/>
                      <a:pt x="296727" y="1044575"/>
                    </a:cubicBezTo>
                    <a:close/>
                    <a:moveTo>
                      <a:pt x="296727" y="958850"/>
                    </a:moveTo>
                    <a:cubicBezTo>
                      <a:pt x="296727" y="958850"/>
                      <a:pt x="296727" y="958850"/>
                      <a:pt x="584335" y="958850"/>
                    </a:cubicBezTo>
                    <a:cubicBezTo>
                      <a:pt x="592921" y="958850"/>
                      <a:pt x="600075" y="966066"/>
                      <a:pt x="600075" y="974725"/>
                    </a:cubicBezTo>
                    <a:cubicBezTo>
                      <a:pt x="600075" y="983384"/>
                      <a:pt x="592921" y="990600"/>
                      <a:pt x="584335" y="990600"/>
                    </a:cubicBezTo>
                    <a:cubicBezTo>
                      <a:pt x="584335" y="990600"/>
                      <a:pt x="584335" y="990600"/>
                      <a:pt x="296727" y="990600"/>
                    </a:cubicBezTo>
                    <a:cubicBezTo>
                      <a:pt x="288142" y="990600"/>
                      <a:pt x="280987" y="983384"/>
                      <a:pt x="280987" y="974725"/>
                    </a:cubicBezTo>
                    <a:cubicBezTo>
                      <a:pt x="280987" y="966066"/>
                      <a:pt x="288142" y="958850"/>
                      <a:pt x="296727" y="958850"/>
                    </a:cubicBezTo>
                    <a:close/>
                    <a:moveTo>
                      <a:pt x="15667" y="941387"/>
                    </a:moveTo>
                    <a:cubicBezTo>
                      <a:pt x="15667" y="941387"/>
                      <a:pt x="15667" y="941387"/>
                      <a:pt x="107534" y="941387"/>
                    </a:cubicBezTo>
                    <a:cubicBezTo>
                      <a:pt x="107534" y="941387"/>
                      <a:pt x="107534" y="941387"/>
                      <a:pt x="76200" y="972722"/>
                    </a:cubicBezTo>
                    <a:cubicBezTo>
                      <a:pt x="76200" y="972722"/>
                      <a:pt x="76200" y="972722"/>
                      <a:pt x="31334" y="972722"/>
                    </a:cubicBezTo>
                    <a:cubicBezTo>
                      <a:pt x="31334" y="972722"/>
                      <a:pt x="31334" y="972722"/>
                      <a:pt x="31334" y="1062453"/>
                    </a:cubicBezTo>
                    <a:cubicBezTo>
                      <a:pt x="31334" y="1062453"/>
                      <a:pt x="31334" y="1062453"/>
                      <a:pt x="121065" y="1062453"/>
                    </a:cubicBezTo>
                    <a:cubicBezTo>
                      <a:pt x="121065" y="1062453"/>
                      <a:pt x="121065" y="1062453"/>
                      <a:pt x="121065" y="1058892"/>
                    </a:cubicBezTo>
                    <a:cubicBezTo>
                      <a:pt x="121065" y="1058892"/>
                      <a:pt x="121065" y="1058892"/>
                      <a:pt x="152400" y="1027557"/>
                    </a:cubicBezTo>
                    <a:cubicBezTo>
                      <a:pt x="152400" y="1027557"/>
                      <a:pt x="152400" y="1027557"/>
                      <a:pt x="152400" y="1078120"/>
                    </a:cubicBezTo>
                    <a:cubicBezTo>
                      <a:pt x="152400" y="1086666"/>
                      <a:pt x="145990" y="1093787"/>
                      <a:pt x="136732" y="1093787"/>
                    </a:cubicBezTo>
                    <a:lnTo>
                      <a:pt x="15667" y="1093787"/>
                    </a:lnTo>
                    <a:cubicBezTo>
                      <a:pt x="7121" y="1093787"/>
                      <a:pt x="0" y="1086666"/>
                      <a:pt x="0" y="1078120"/>
                    </a:cubicBezTo>
                    <a:cubicBezTo>
                      <a:pt x="0" y="1078120"/>
                      <a:pt x="0" y="1078120"/>
                      <a:pt x="0" y="957054"/>
                    </a:cubicBezTo>
                    <a:cubicBezTo>
                      <a:pt x="0" y="948509"/>
                      <a:pt x="7121" y="941387"/>
                      <a:pt x="15667" y="941387"/>
                    </a:cubicBezTo>
                    <a:close/>
                    <a:moveTo>
                      <a:pt x="296727" y="766762"/>
                    </a:moveTo>
                    <a:cubicBezTo>
                      <a:pt x="296727" y="766762"/>
                      <a:pt x="296727" y="766762"/>
                      <a:pt x="584335" y="766762"/>
                    </a:cubicBezTo>
                    <a:cubicBezTo>
                      <a:pt x="592921" y="766762"/>
                      <a:pt x="600075" y="773978"/>
                      <a:pt x="600075" y="782637"/>
                    </a:cubicBezTo>
                    <a:cubicBezTo>
                      <a:pt x="600075" y="791296"/>
                      <a:pt x="592921" y="798512"/>
                      <a:pt x="584335" y="798512"/>
                    </a:cubicBezTo>
                    <a:cubicBezTo>
                      <a:pt x="584335" y="798512"/>
                      <a:pt x="584335" y="798512"/>
                      <a:pt x="296727" y="798512"/>
                    </a:cubicBezTo>
                    <a:cubicBezTo>
                      <a:pt x="288142" y="798512"/>
                      <a:pt x="280987" y="791296"/>
                      <a:pt x="280987" y="782637"/>
                    </a:cubicBezTo>
                    <a:cubicBezTo>
                      <a:pt x="280987" y="773978"/>
                      <a:pt x="288142" y="766762"/>
                      <a:pt x="296727" y="766762"/>
                    </a:cubicBezTo>
                    <a:close/>
                    <a:moveTo>
                      <a:pt x="296727" y="681037"/>
                    </a:moveTo>
                    <a:cubicBezTo>
                      <a:pt x="296727" y="681037"/>
                      <a:pt x="296727" y="681037"/>
                      <a:pt x="584335" y="681037"/>
                    </a:cubicBezTo>
                    <a:cubicBezTo>
                      <a:pt x="592921" y="681037"/>
                      <a:pt x="600075" y="688253"/>
                      <a:pt x="600075" y="696912"/>
                    </a:cubicBezTo>
                    <a:cubicBezTo>
                      <a:pt x="600075" y="705571"/>
                      <a:pt x="592921" y="712787"/>
                      <a:pt x="584335" y="712787"/>
                    </a:cubicBezTo>
                    <a:cubicBezTo>
                      <a:pt x="584335" y="712787"/>
                      <a:pt x="584335" y="712787"/>
                      <a:pt x="296727" y="712787"/>
                    </a:cubicBezTo>
                    <a:cubicBezTo>
                      <a:pt x="288142" y="712787"/>
                      <a:pt x="280987" y="705571"/>
                      <a:pt x="280987" y="696912"/>
                    </a:cubicBezTo>
                    <a:cubicBezTo>
                      <a:pt x="280987" y="688253"/>
                      <a:pt x="288142" y="681037"/>
                      <a:pt x="296727" y="681037"/>
                    </a:cubicBezTo>
                    <a:close/>
                    <a:moveTo>
                      <a:pt x="15667" y="663575"/>
                    </a:moveTo>
                    <a:cubicBezTo>
                      <a:pt x="15667" y="663575"/>
                      <a:pt x="15667" y="663575"/>
                      <a:pt x="107534" y="663575"/>
                    </a:cubicBezTo>
                    <a:cubicBezTo>
                      <a:pt x="107534" y="663575"/>
                      <a:pt x="107534" y="663575"/>
                      <a:pt x="76200" y="694910"/>
                    </a:cubicBezTo>
                    <a:cubicBezTo>
                      <a:pt x="76200" y="694910"/>
                      <a:pt x="76200" y="694910"/>
                      <a:pt x="31334" y="694910"/>
                    </a:cubicBezTo>
                    <a:cubicBezTo>
                      <a:pt x="31334" y="694910"/>
                      <a:pt x="31334" y="694910"/>
                      <a:pt x="31334" y="784641"/>
                    </a:cubicBezTo>
                    <a:cubicBezTo>
                      <a:pt x="31334" y="784641"/>
                      <a:pt x="31334" y="784641"/>
                      <a:pt x="121065" y="784641"/>
                    </a:cubicBezTo>
                    <a:cubicBezTo>
                      <a:pt x="121065" y="784641"/>
                      <a:pt x="121065" y="784641"/>
                      <a:pt x="121065" y="781080"/>
                    </a:cubicBezTo>
                    <a:cubicBezTo>
                      <a:pt x="121065" y="781080"/>
                      <a:pt x="121065" y="781080"/>
                      <a:pt x="152400" y="749745"/>
                    </a:cubicBezTo>
                    <a:cubicBezTo>
                      <a:pt x="152400" y="749745"/>
                      <a:pt x="152400" y="749745"/>
                      <a:pt x="152400" y="800308"/>
                    </a:cubicBezTo>
                    <a:cubicBezTo>
                      <a:pt x="152400" y="808854"/>
                      <a:pt x="145990" y="815975"/>
                      <a:pt x="136732" y="815975"/>
                    </a:cubicBezTo>
                    <a:cubicBezTo>
                      <a:pt x="136732" y="815975"/>
                      <a:pt x="136732" y="815975"/>
                      <a:pt x="15667" y="815975"/>
                    </a:cubicBezTo>
                    <a:cubicBezTo>
                      <a:pt x="7121" y="815975"/>
                      <a:pt x="0" y="808854"/>
                      <a:pt x="0" y="800308"/>
                    </a:cubicBezTo>
                    <a:lnTo>
                      <a:pt x="0" y="679242"/>
                    </a:lnTo>
                    <a:cubicBezTo>
                      <a:pt x="0" y="670697"/>
                      <a:pt x="7121" y="663575"/>
                      <a:pt x="15667" y="663575"/>
                    </a:cubicBezTo>
                    <a:close/>
                    <a:moveTo>
                      <a:pt x="296727" y="485775"/>
                    </a:moveTo>
                    <a:cubicBezTo>
                      <a:pt x="296727" y="485775"/>
                      <a:pt x="296727" y="485775"/>
                      <a:pt x="584335" y="485775"/>
                    </a:cubicBezTo>
                    <a:cubicBezTo>
                      <a:pt x="592921" y="485775"/>
                      <a:pt x="600075" y="492991"/>
                      <a:pt x="600075" y="501650"/>
                    </a:cubicBezTo>
                    <a:cubicBezTo>
                      <a:pt x="600075" y="511031"/>
                      <a:pt x="592921" y="517525"/>
                      <a:pt x="584335" y="517525"/>
                    </a:cubicBezTo>
                    <a:cubicBezTo>
                      <a:pt x="584335" y="517525"/>
                      <a:pt x="584335" y="517525"/>
                      <a:pt x="296727" y="517525"/>
                    </a:cubicBezTo>
                    <a:cubicBezTo>
                      <a:pt x="288142" y="517525"/>
                      <a:pt x="280987" y="511031"/>
                      <a:pt x="280987" y="501650"/>
                    </a:cubicBezTo>
                    <a:cubicBezTo>
                      <a:pt x="280987" y="492991"/>
                      <a:pt x="288142" y="485775"/>
                      <a:pt x="296727" y="485775"/>
                    </a:cubicBezTo>
                    <a:close/>
                    <a:moveTo>
                      <a:pt x="296727" y="400050"/>
                    </a:moveTo>
                    <a:cubicBezTo>
                      <a:pt x="296727" y="400050"/>
                      <a:pt x="296727" y="400050"/>
                      <a:pt x="584335" y="400050"/>
                    </a:cubicBezTo>
                    <a:cubicBezTo>
                      <a:pt x="592921" y="400050"/>
                      <a:pt x="600075" y="406544"/>
                      <a:pt x="600075" y="415925"/>
                    </a:cubicBezTo>
                    <a:cubicBezTo>
                      <a:pt x="600075" y="424584"/>
                      <a:pt x="592921" y="431800"/>
                      <a:pt x="584335" y="431800"/>
                    </a:cubicBezTo>
                    <a:cubicBezTo>
                      <a:pt x="584335" y="431800"/>
                      <a:pt x="584335" y="431800"/>
                      <a:pt x="296727" y="431800"/>
                    </a:cubicBezTo>
                    <a:cubicBezTo>
                      <a:pt x="288142" y="431800"/>
                      <a:pt x="280987" y="424584"/>
                      <a:pt x="280987" y="415925"/>
                    </a:cubicBezTo>
                    <a:cubicBezTo>
                      <a:pt x="280987" y="406544"/>
                      <a:pt x="288142" y="400050"/>
                      <a:pt x="296727" y="400050"/>
                    </a:cubicBezTo>
                    <a:close/>
                    <a:moveTo>
                      <a:pt x="15667" y="382587"/>
                    </a:moveTo>
                    <a:cubicBezTo>
                      <a:pt x="15667" y="382587"/>
                      <a:pt x="15667" y="382587"/>
                      <a:pt x="107534" y="382587"/>
                    </a:cubicBezTo>
                    <a:cubicBezTo>
                      <a:pt x="107534" y="382587"/>
                      <a:pt x="107534" y="382587"/>
                      <a:pt x="76200" y="413776"/>
                    </a:cubicBezTo>
                    <a:lnTo>
                      <a:pt x="31334" y="413776"/>
                    </a:lnTo>
                    <a:cubicBezTo>
                      <a:pt x="31334" y="413776"/>
                      <a:pt x="31334" y="413776"/>
                      <a:pt x="31334" y="503798"/>
                    </a:cubicBezTo>
                    <a:cubicBezTo>
                      <a:pt x="31334" y="503798"/>
                      <a:pt x="31334" y="503798"/>
                      <a:pt x="121065" y="503798"/>
                    </a:cubicBezTo>
                    <a:cubicBezTo>
                      <a:pt x="121065" y="503798"/>
                      <a:pt x="121065" y="503798"/>
                      <a:pt x="121065" y="499545"/>
                    </a:cubicBezTo>
                    <a:cubicBezTo>
                      <a:pt x="121065" y="499545"/>
                      <a:pt x="121065" y="499545"/>
                      <a:pt x="152400" y="468356"/>
                    </a:cubicBezTo>
                    <a:cubicBezTo>
                      <a:pt x="152400" y="468356"/>
                      <a:pt x="152400" y="468356"/>
                      <a:pt x="152400" y="519393"/>
                    </a:cubicBezTo>
                    <a:cubicBezTo>
                      <a:pt x="152400" y="527899"/>
                      <a:pt x="145990" y="534987"/>
                      <a:pt x="136732" y="534987"/>
                    </a:cubicBezTo>
                    <a:cubicBezTo>
                      <a:pt x="136732" y="534987"/>
                      <a:pt x="136732" y="534987"/>
                      <a:pt x="15667" y="534987"/>
                    </a:cubicBezTo>
                    <a:cubicBezTo>
                      <a:pt x="7121" y="534987"/>
                      <a:pt x="0" y="527899"/>
                      <a:pt x="0" y="519393"/>
                    </a:cubicBezTo>
                    <a:cubicBezTo>
                      <a:pt x="0" y="519393"/>
                      <a:pt x="0" y="519393"/>
                      <a:pt x="0" y="398182"/>
                    </a:cubicBezTo>
                    <a:cubicBezTo>
                      <a:pt x="0" y="389675"/>
                      <a:pt x="7121" y="382587"/>
                      <a:pt x="15667" y="382587"/>
                    </a:cubicBezTo>
                    <a:close/>
                    <a:moveTo>
                      <a:pt x="301266" y="31750"/>
                    </a:moveTo>
                    <a:cubicBezTo>
                      <a:pt x="294097" y="31750"/>
                      <a:pt x="286211" y="33176"/>
                      <a:pt x="279758" y="36027"/>
                    </a:cubicBezTo>
                    <a:cubicBezTo>
                      <a:pt x="264703" y="41016"/>
                      <a:pt x="252515" y="52420"/>
                      <a:pt x="246062" y="66675"/>
                    </a:cubicBezTo>
                    <a:cubicBezTo>
                      <a:pt x="246062" y="66675"/>
                      <a:pt x="246062" y="66675"/>
                      <a:pt x="357187" y="66675"/>
                    </a:cubicBezTo>
                    <a:cubicBezTo>
                      <a:pt x="350018" y="52420"/>
                      <a:pt x="337830" y="41016"/>
                      <a:pt x="323491" y="36027"/>
                    </a:cubicBezTo>
                    <a:cubicBezTo>
                      <a:pt x="316322" y="33176"/>
                      <a:pt x="309153" y="31750"/>
                      <a:pt x="301266" y="31750"/>
                    </a:cubicBezTo>
                    <a:close/>
                    <a:moveTo>
                      <a:pt x="300832" y="0"/>
                    </a:moveTo>
                    <a:cubicBezTo>
                      <a:pt x="330885" y="0"/>
                      <a:pt x="356645" y="13529"/>
                      <a:pt x="373818" y="35602"/>
                    </a:cubicBezTo>
                    <a:cubicBezTo>
                      <a:pt x="380973" y="44147"/>
                      <a:pt x="386698" y="54827"/>
                      <a:pt x="390275" y="66220"/>
                    </a:cubicBezTo>
                    <a:cubicBezTo>
                      <a:pt x="390275" y="66220"/>
                      <a:pt x="390275" y="66220"/>
                      <a:pt x="439648" y="66220"/>
                    </a:cubicBezTo>
                    <a:cubicBezTo>
                      <a:pt x="443226" y="66220"/>
                      <a:pt x="446088" y="69068"/>
                      <a:pt x="446088" y="73340"/>
                    </a:cubicBezTo>
                    <a:cubicBezTo>
                      <a:pt x="446088" y="73340"/>
                      <a:pt x="446088" y="73340"/>
                      <a:pt x="446088" y="113927"/>
                    </a:cubicBezTo>
                    <a:cubicBezTo>
                      <a:pt x="446088" y="113927"/>
                      <a:pt x="446088" y="113927"/>
                      <a:pt x="446088" y="145256"/>
                    </a:cubicBezTo>
                    <a:cubicBezTo>
                      <a:pt x="446088" y="145256"/>
                      <a:pt x="446088" y="145256"/>
                      <a:pt x="446088" y="178010"/>
                    </a:cubicBezTo>
                    <a:cubicBezTo>
                      <a:pt x="446088" y="186555"/>
                      <a:pt x="439648" y="193675"/>
                      <a:pt x="431062" y="193675"/>
                    </a:cubicBezTo>
                    <a:lnTo>
                      <a:pt x="171317" y="193675"/>
                    </a:lnTo>
                    <a:cubicBezTo>
                      <a:pt x="162731" y="193675"/>
                      <a:pt x="155575" y="186555"/>
                      <a:pt x="155575" y="178010"/>
                    </a:cubicBezTo>
                    <a:cubicBezTo>
                      <a:pt x="155575" y="178010"/>
                      <a:pt x="155575" y="178010"/>
                      <a:pt x="155575" y="145256"/>
                    </a:cubicBezTo>
                    <a:cubicBezTo>
                      <a:pt x="155575" y="145256"/>
                      <a:pt x="155575" y="145256"/>
                      <a:pt x="155575" y="113927"/>
                    </a:cubicBezTo>
                    <a:cubicBezTo>
                      <a:pt x="155575" y="113927"/>
                      <a:pt x="155575" y="113927"/>
                      <a:pt x="155575" y="73340"/>
                    </a:cubicBezTo>
                    <a:cubicBezTo>
                      <a:pt x="155575" y="69068"/>
                      <a:pt x="159153" y="66220"/>
                      <a:pt x="162731" y="66220"/>
                    </a:cubicBezTo>
                    <a:cubicBezTo>
                      <a:pt x="162731" y="66220"/>
                      <a:pt x="162731" y="66220"/>
                      <a:pt x="212104" y="66220"/>
                    </a:cubicBezTo>
                    <a:cubicBezTo>
                      <a:pt x="215681" y="54827"/>
                      <a:pt x="220690" y="44147"/>
                      <a:pt x="227846" y="35602"/>
                    </a:cubicBezTo>
                    <a:cubicBezTo>
                      <a:pt x="245019" y="13529"/>
                      <a:pt x="271494" y="0"/>
                      <a:pt x="3008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7" name="Rectangle 16"/>
          <p:cNvSpPr/>
          <p:nvPr/>
        </p:nvSpPr>
        <p:spPr>
          <a:xfrm>
            <a:off x="4472595" y="927426"/>
            <a:ext cx="7090755" cy="8463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100" b="1" dirty="0">
                <a:solidFill>
                  <a:srgbClr val="000000"/>
                </a:solidFill>
              </a:rPr>
              <a:t>Review reference materials provided by BCG/WSC/</a:t>
            </a:r>
            <a:r>
              <a:rPr lang="en-US" sz="1100" b="1" dirty="0" err="1">
                <a:solidFill>
                  <a:srgbClr val="000000"/>
                </a:solidFill>
              </a:rPr>
              <a:t>CommCorp</a:t>
            </a:r>
            <a:r>
              <a:rPr lang="en-US" sz="1100" b="1" dirty="0">
                <a:solidFill>
                  <a:srgbClr val="000000"/>
                </a:solidFill>
              </a:rPr>
              <a:t>, including</a:t>
            </a:r>
          </a:p>
          <a:p>
            <a:pPr marL="393750" lvl="1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chemeClr val="tx1"/>
                </a:solidFill>
              </a:rPr>
              <a:t>One-pagers on </a:t>
            </a:r>
            <a:r>
              <a:rPr lang="en-US" sz="1100" dirty="0" err="1">
                <a:solidFill>
                  <a:schemeClr val="tx1"/>
                </a:solidFill>
              </a:rPr>
              <a:t>ARPA</a:t>
            </a:r>
            <a:r>
              <a:rPr lang="en-US" sz="1100" dirty="0">
                <a:solidFill>
                  <a:schemeClr val="tx1"/>
                </a:solidFill>
              </a:rPr>
              <a:t> grants</a:t>
            </a:r>
          </a:p>
          <a:p>
            <a:pPr marL="393750" lvl="1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chemeClr val="tx1"/>
                </a:solidFill>
              </a:rPr>
              <a:t>One-pager comparing </a:t>
            </a:r>
            <a:r>
              <a:rPr lang="en-US" sz="1100" dirty="0" err="1">
                <a:solidFill>
                  <a:schemeClr val="tx1"/>
                </a:solidFill>
              </a:rPr>
              <a:t>ARPA</a:t>
            </a:r>
            <a:r>
              <a:rPr lang="en-US" sz="1100" dirty="0">
                <a:solidFill>
                  <a:schemeClr val="tx1"/>
                </a:solidFill>
              </a:rPr>
              <a:t> grants</a:t>
            </a:r>
          </a:p>
          <a:p>
            <a:pPr marL="393750" lvl="1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chemeClr val="tx1"/>
                </a:solidFill>
              </a:rPr>
              <a:t>Regional blueprints</a:t>
            </a:r>
          </a:p>
          <a:p>
            <a:pPr marL="393750" lvl="1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chemeClr val="tx1"/>
                </a:solidFill>
              </a:rPr>
              <a:t>Training materials on MOSES</a:t>
            </a:r>
          </a:p>
          <a:p>
            <a:pPr marL="393750" lvl="1" indent="-285750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100" dirty="0">
                <a:solidFill>
                  <a:schemeClr val="tx1"/>
                </a:solidFill>
              </a:rPr>
              <a:t>List of other workforce regional stakeholders in your region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472595" y="3386019"/>
            <a:ext cx="7090755" cy="307984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u="sng" dirty="0">
                <a:solidFill>
                  <a:srgbClr val="000000"/>
                </a:solidFill>
              </a:rPr>
              <a:t>Coordinate</a:t>
            </a:r>
            <a:r>
              <a:rPr lang="en-US" sz="1100" b="1" dirty="0">
                <a:solidFill>
                  <a:srgbClr val="000000"/>
                </a:solidFill>
              </a:rPr>
              <a:t> with </a:t>
            </a:r>
            <a:r>
              <a:rPr lang="en-US" sz="1100" b="1" dirty="0" err="1">
                <a:solidFill>
                  <a:srgbClr val="000000"/>
                </a:solidFill>
              </a:rPr>
              <a:t>MassHire</a:t>
            </a:r>
            <a:r>
              <a:rPr lang="en-US" sz="1100" b="1" dirty="0">
                <a:solidFill>
                  <a:srgbClr val="000000"/>
                </a:solidFill>
              </a:rPr>
              <a:t> Boards/Career Centers/</a:t>
            </a:r>
            <a:r>
              <a:rPr lang="en-US" sz="1100" b="1" dirty="0" err="1">
                <a:solidFill>
                  <a:srgbClr val="000000"/>
                </a:solidFill>
              </a:rPr>
              <a:t>BSRs</a:t>
            </a:r>
            <a:r>
              <a:rPr lang="en-US" sz="1100" b="1" dirty="0">
                <a:solidFill>
                  <a:srgbClr val="000000"/>
                </a:solidFill>
              </a:rPr>
              <a:t> and economic development (</a:t>
            </a:r>
            <a:r>
              <a:rPr lang="en-US" sz="1100" b="1" dirty="0" err="1">
                <a:solidFill>
                  <a:srgbClr val="000000"/>
                </a:solidFill>
              </a:rPr>
              <a:t>MOBD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lang="en-US" sz="1100" b="1" dirty="0" err="1">
                <a:solidFill>
                  <a:srgbClr val="000000"/>
                </a:solidFill>
              </a:rPr>
              <a:t>etc</a:t>
            </a:r>
            <a:r>
              <a:rPr lang="en-US" sz="1100" b="1" dirty="0">
                <a:solidFill>
                  <a:srgbClr val="000000"/>
                </a:solidFill>
              </a:rPr>
              <a:t>) stakeholders to build an outreach plan to engage companies:</a:t>
            </a:r>
          </a:p>
          <a:p>
            <a:pPr marL="361315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b="1" dirty="0">
                <a:solidFill>
                  <a:srgbClr val="000000"/>
                </a:solidFill>
              </a:rPr>
              <a:t>Create “short list” of employers with existing relationships (working with </a:t>
            </a:r>
            <a:r>
              <a:rPr lang="en-US" sz="1100" b="1" dirty="0" err="1">
                <a:solidFill>
                  <a:srgbClr val="000000"/>
                </a:solidFill>
              </a:rPr>
              <a:t>MassHire</a:t>
            </a:r>
            <a:r>
              <a:rPr lang="en-US" sz="1100" b="1" dirty="0">
                <a:solidFill>
                  <a:srgbClr val="000000"/>
                </a:solidFill>
              </a:rPr>
              <a:t>, </a:t>
            </a:r>
            <a:r>
              <a:rPr lang="en-US" sz="1100" b="1" dirty="0" err="1">
                <a:solidFill>
                  <a:srgbClr val="000000"/>
                </a:solidFill>
              </a:rPr>
              <a:t>MOBD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lang="en-US" sz="1100" b="1" dirty="0" err="1">
                <a:solidFill>
                  <a:srgbClr val="000000"/>
                </a:solidFill>
              </a:rPr>
              <a:t>etc</a:t>
            </a:r>
            <a:r>
              <a:rPr lang="en-US" sz="1100" b="1" dirty="0">
                <a:solidFill>
                  <a:srgbClr val="000000"/>
                </a:solidFill>
              </a:rPr>
              <a:t>) </a:t>
            </a:r>
            <a:r>
              <a:rPr lang="en-US" sz="1100" dirty="0">
                <a:solidFill>
                  <a:srgbClr val="000000"/>
                </a:solidFill>
              </a:rPr>
              <a:t>who need to hire people with specific skill (cert/degree </a:t>
            </a:r>
            <a:r>
              <a:rPr lang="en-US" sz="1100" dirty="0" err="1">
                <a:solidFill>
                  <a:srgbClr val="000000"/>
                </a:solidFill>
              </a:rPr>
              <a:t>etc</a:t>
            </a:r>
            <a:r>
              <a:rPr lang="en-US" sz="1100" dirty="0">
                <a:solidFill>
                  <a:srgbClr val="000000"/>
                </a:solidFill>
              </a:rPr>
              <a:t>) that can be solved through training </a:t>
            </a:r>
            <a:endParaRPr lang="en-US" sz="1100" dirty="0">
              <a:solidFill>
                <a:srgbClr val="000000"/>
              </a:solidFill>
              <a:cs typeface="Arial"/>
            </a:endParaRPr>
          </a:p>
          <a:p>
            <a:pPr marL="818515" lvl="2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srgbClr val="000000"/>
                </a:solidFill>
              </a:rPr>
              <a:t>Organize introductions and discuss context and history of employers on the short list</a:t>
            </a:r>
            <a:endParaRPr lang="en-US" sz="1100" dirty="0">
              <a:solidFill>
                <a:srgbClr val="000000"/>
              </a:solidFill>
              <a:cs typeface="Arial"/>
            </a:endParaRPr>
          </a:p>
          <a:p>
            <a:pPr marL="818515" lvl="2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srgbClr val="000000"/>
                </a:solidFill>
              </a:rPr>
              <a:t>Identify skilled training needs from employers </a:t>
            </a:r>
          </a:p>
          <a:p>
            <a:pPr marL="361315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b="1" dirty="0">
                <a:solidFill>
                  <a:srgbClr val="000000"/>
                </a:solidFill>
              </a:rPr>
              <a:t>Develop outreach plans to develop </a:t>
            </a:r>
            <a:r>
              <a:rPr lang="en-US" sz="1100" b="1" u="sng" dirty="0">
                <a:solidFill>
                  <a:srgbClr val="000000"/>
                </a:solidFill>
              </a:rPr>
              <a:t>new</a:t>
            </a:r>
            <a:r>
              <a:rPr lang="en-US" sz="1100" b="1" dirty="0">
                <a:solidFill>
                  <a:srgbClr val="000000"/>
                </a:solidFill>
              </a:rPr>
              <a:t> relationships with employers</a:t>
            </a:r>
          </a:p>
          <a:p>
            <a:pPr marL="818550" lvl="2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srgbClr val="000000"/>
                </a:solidFill>
              </a:rPr>
              <a:t>Utilize </a:t>
            </a:r>
            <a:r>
              <a:rPr lang="en-US" sz="1100" dirty="0" err="1">
                <a:solidFill>
                  <a:srgbClr val="000000"/>
                </a:solidFill>
              </a:rPr>
              <a:t>LaborInsight</a:t>
            </a:r>
            <a:r>
              <a:rPr lang="en-US" sz="1100" dirty="0">
                <a:solidFill>
                  <a:srgbClr val="000000"/>
                </a:solidFill>
              </a:rPr>
              <a:t> tool (Burning Glass for each area) to identify specific companies in the region with job openings that </a:t>
            </a:r>
            <a:r>
              <a:rPr lang="en-US" sz="1100" u="sng" dirty="0">
                <a:solidFill>
                  <a:srgbClr val="000000"/>
                </a:solidFill>
              </a:rPr>
              <a:t>require</a:t>
            </a:r>
            <a:r>
              <a:rPr lang="en-US" sz="1100" dirty="0">
                <a:solidFill>
                  <a:srgbClr val="000000"/>
                </a:solidFill>
              </a:rPr>
              <a:t> skill/certs/degrees and data (i.e., </a:t>
            </a:r>
            <a:r>
              <a:rPr lang="en-US" sz="1100" dirty="0" err="1">
                <a:solidFill>
                  <a:srgbClr val="000000"/>
                </a:solidFill>
              </a:rPr>
              <a:t>LMI</a:t>
            </a:r>
            <a:r>
              <a:rPr lang="en-US" sz="1100" dirty="0">
                <a:solidFill>
                  <a:srgbClr val="000000"/>
                </a:solidFill>
              </a:rPr>
              <a:t>, Burning Glass, </a:t>
            </a:r>
            <a:r>
              <a:rPr lang="en-US" sz="1100" dirty="0" err="1">
                <a:solidFill>
                  <a:srgbClr val="000000"/>
                </a:solidFill>
              </a:rPr>
              <a:t>EconoVue</a:t>
            </a:r>
            <a:r>
              <a:rPr lang="en-US" sz="1100" dirty="0">
                <a:solidFill>
                  <a:srgbClr val="000000"/>
                </a:solidFill>
              </a:rPr>
              <a:t>) and could be a good fit for an ARP funded grant</a:t>
            </a:r>
          </a:p>
          <a:p>
            <a:pPr marL="818550" lvl="2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srgbClr val="000000"/>
                </a:solidFill>
              </a:rPr>
              <a:t>Work together with econ and workforce partners to determine an outreach plan for employers that are not partners today and may have skilled worker needs</a:t>
            </a:r>
          </a:p>
          <a:p>
            <a:pPr marL="361315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b="1" dirty="0">
                <a:solidFill>
                  <a:srgbClr val="000000"/>
                </a:solidFill>
              </a:rPr>
              <a:t>Request introductions to regional training providers</a:t>
            </a:r>
            <a:r>
              <a:rPr lang="en-US" sz="1100" dirty="0">
                <a:solidFill>
                  <a:srgbClr val="000000"/>
                </a:solidFill>
              </a:rPr>
              <a:t>, and then reach out to better understand their training programs</a:t>
            </a:r>
          </a:p>
          <a:p>
            <a:pPr marL="361315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srgbClr val="000000"/>
                </a:solidFill>
                <a:cs typeface="Arial"/>
              </a:rPr>
              <a:t>Utilize data to understand </a:t>
            </a:r>
            <a:r>
              <a:rPr lang="en-US" sz="1100" b="1" dirty="0">
                <a:solidFill>
                  <a:srgbClr val="000000"/>
                </a:solidFill>
                <a:cs typeface="Arial"/>
              </a:rPr>
              <a:t>priority occupation training program timelines and the number of people enrolling and completing </a:t>
            </a:r>
            <a:r>
              <a:rPr lang="en-US" sz="1100" dirty="0">
                <a:solidFill>
                  <a:srgbClr val="000000"/>
                </a:solidFill>
                <a:cs typeface="Arial"/>
              </a:rPr>
              <a:t>these programs, in order to communicate skilled worker pipelines to employers</a:t>
            </a:r>
          </a:p>
          <a:p>
            <a:pPr marL="361315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dirty="0">
                <a:solidFill>
                  <a:srgbClr val="000000"/>
                </a:solidFill>
              </a:rPr>
              <a:t>Confirm invitations to </a:t>
            </a:r>
            <a:r>
              <a:rPr lang="en-US" sz="1100" b="1" dirty="0">
                <a:solidFill>
                  <a:srgbClr val="000000"/>
                </a:solidFill>
              </a:rPr>
              <a:t>regional employer convenings and consortiums to be on agendas to promote new ARP resources and ability to connect companies</a:t>
            </a:r>
            <a:r>
              <a:rPr lang="en-US" sz="1100" dirty="0">
                <a:solidFill>
                  <a:srgbClr val="000000"/>
                </a:solidFill>
              </a:rPr>
              <a:t> to </a:t>
            </a:r>
            <a:r>
              <a:rPr lang="en-US" sz="1100" dirty="0" err="1">
                <a:solidFill>
                  <a:srgbClr val="000000"/>
                </a:solidFill>
              </a:rPr>
              <a:t>MassHire</a:t>
            </a:r>
            <a:r>
              <a:rPr lang="en-US" sz="1100" dirty="0">
                <a:solidFill>
                  <a:srgbClr val="000000"/>
                </a:solidFill>
              </a:rPr>
              <a:t> and training partners</a:t>
            </a:r>
            <a:endParaRPr lang="en-US" sz="11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6FAD00-0007-45D7-AEB9-DF20046CEC54}"/>
              </a:ext>
            </a:extLst>
          </p:cNvPr>
          <p:cNvSpPr/>
          <p:nvPr/>
        </p:nvSpPr>
        <p:spPr>
          <a:xfrm>
            <a:off x="4472595" y="2096454"/>
            <a:ext cx="7090755" cy="1168012"/>
          </a:xfrm>
          <a:prstGeom prst="rect">
            <a:avLst/>
          </a:prstGeom>
          <a:noFill/>
          <a:ln w="1905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rgbClr val="FF0000"/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100" b="1" dirty="0">
                <a:solidFill>
                  <a:srgbClr val="000000"/>
                </a:solidFill>
              </a:rPr>
              <a:t>Initiate connections with regional workforce entities (</a:t>
            </a:r>
            <a:r>
              <a:rPr lang="en-US" sz="1100" b="1" dirty="0" err="1">
                <a:solidFill>
                  <a:srgbClr val="000000"/>
                </a:solidFill>
              </a:rPr>
              <a:t>MOBD</a:t>
            </a:r>
            <a:r>
              <a:rPr lang="en-US" sz="1100" b="1" dirty="0">
                <a:solidFill>
                  <a:srgbClr val="000000"/>
                </a:solidFill>
              </a:rPr>
              <a:t>, </a:t>
            </a:r>
            <a:r>
              <a:rPr lang="en-US" sz="1100" b="1" dirty="0" err="1">
                <a:solidFill>
                  <a:srgbClr val="000000"/>
                </a:solidFill>
              </a:rPr>
              <a:t>MassHire</a:t>
            </a:r>
            <a:r>
              <a:rPr lang="en-US" sz="1100" b="1" dirty="0">
                <a:solidFill>
                  <a:srgbClr val="000000"/>
                </a:solidFill>
              </a:rPr>
              <a:t> </a:t>
            </a:r>
            <a:r>
              <a:rPr lang="en-US" sz="1100" b="1" dirty="0" err="1">
                <a:solidFill>
                  <a:srgbClr val="000000"/>
                </a:solidFill>
              </a:rPr>
              <a:t>BSRs</a:t>
            </a:r>
            <a:r>
              <a:rPr lang="en-US" sz="1100" b="1" dirty="0">
                <a:solidFill>
                  <a:srgbClr val="000000"/>
                </a:solidFill>
              </a:rPr>
              <a:t>, Hubs)</a:t>
            </a:r>
          </a:p>
          <a:p>
            <a:pPr marL="361350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b="1" dirty="0">
                <a:solidFill>
                  <a:srgbClr val="000000"/>
                </a:solidFill>
              </a:rPr>
              <a:t>Map out regional econ/workforce partners </a:t>
            </a:r>
            <a:r>
              <a:rPr lang="en-US" sz="1100" dirty="0">
                <a:solidFill>
                  <a:srgbClr val="000000"/>
                </a:solidFill>
              </a:rPr>
              <a:t>with support from </a:t>
            </a:r>
            <a:r>
              <a:rPr lang="en-US" sz="1100" dirty="0" err="1">
                <a:solidFill>
                  <a:srgbClr val="000000"/>
                </a:solidFill>
              </a:rPr>
              <a:t>MassHire</a:t>
            </a:r>
            <a:r>
              <a:rPr lang="en-US" sz="1100" dirty="0">
                <a:solidFill>
                  <a:srgbClr val="000000"/>
                </a:solidFill>
              </a:rPr>
              <a:t> Board leaders to understand</a:t>
            </a:r>
            <a:br>
              <a:rPr lang="en-US" sz="1100" dirty="0">
                <a:solidFill>
                  <a:srgbClr val="000000"/>
                </a:solidFill>
              </a:rPr>
            </a:br>
            <a:r>
              <a:rPr lang="en-US" sz="1100" dirty="0">
                <a:solidFill>
                  <a:srgbClr val="000000"/>
                </a:solidFill>
              </a:rPr>
              <a:t>their roles and organize outreach</a:t>
            </a:r>
          </a:p>
          <a:p>
            <a:pPr marL="361350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b="1" dirty="0">
                <a:solidFill>
                  <a:srgbClr val="000000"/>
                </a:solidFill>
              </a:rPr>
              <a:t>Conduct introductions with regional econ/workforce partners </a:t>
            </a:r>
            <a:r>
              <a:rPr lang="en-US" sz="1100" dirty="0">
                <a:solidFill>
                  <a:srgbClr val="000000"/>
                </a:solidFill>
              </a:rPr>
              <a:t>to align on goals and ways</a:t>
            </a:r>
            <a:br>
              <a:rPr lang="en-US" sz="1100" dirty="0">
                <a:solidFill>
                  <a:srgbClr val="000000"/>
                </a:solidFill>
              </a:rPr>
            </a:br>
            <a:r>
              <a:rPr lang="en-US" sz="1100" dirty="0">
                <a:solidFill>
                  <a:srgbClr val="000000"/>
                </a:solidFill>
              </a:rPr>
              <a:t>of working</a:t>
            </a:r>
          </a:p>
          <a:p>
            <a:pPr marL="361350" lvl="1" indent="-285750">
              <a:buClr>
                <a:srgbClr val="00269E"/>
              </a:buClr>
              <a:buFont typeface="Wingdings" panose="05000000000000000000" pitchFamily="2" charset="2"/>
              <a:buChar char="q"/>
            </a:pPr>
            <a:r>
              <a:rPr lang="en-US" sz="1100" b="1" dirty="0">
                <a:solidFill>
                  <a:srgbClr val="000000"/>
                </a:solidFill>
              </a:rPr>
              <a:t>Agree on communications guidelines </a:t>
            </a:r>
            <a:r>
              <a:rPr lang="en-US" sz="1100" dirty="0">
                <a:solidFill>
                  <a:srgbClr val="000000"/>
                </a:solidFill>
              </a:rPr>
              <a:t>and establish cadence as neede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32686F7-22E1-4D8F-BF8C-B71E064791E9}"/>
              </a:ext>
            </a:extLst>
          </p:cNvPr>
          <p:cNvSpPr txBox="1"/>
          <p:nvPr/>
        </p:nvSpPr>
        <p:spPr>
          <a:xfrm>
            <a:off x="4472596" y="577000"/>
            <a:ext cx="6375862" cy="3077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anchor="b" anchorCtr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2000">
                <a:solidFill>
                  <a:srgbClr val="00269E"/>
                </a:solidFill>
              </a:rPr>
              <a:t>Checklist of actions for Market Makers</a:t>
            </a:r>
          </a:p>
        </p:txBody>
      </p:sp>
      <p:sp>
        <p:nvSpPr>
          <p:cNvPr id="13" name="Textfeld 1">
            <a:extLst>
              <a:ext uri="{FF2B5EF4-FFF2-40B4-BE49-F238E27FC236}">
                <a16:creationId xmlns:a16="http://schemas.microsoft.com/office/drawing/2014/main" id="{F60B67D9-4F75-4CEF-ADE6-7D9C6D40F9DB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62846" y="226351"/>
            <a:ext cx="6085332" cy="260597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Use this checklist to help with initial steps as a Market Maker</a:t>
            </a:r>
          </a:p>
        </p:txBody>
      </p:sp>
    </p:spTree>
    <p:extLst>
      <p:ext uri="{BB962C8B-B14F-4D97-AF65-F5344CB8AC3E}">
        <p14:creationId xmlns:p14="http://schemas.microsoft.com/office/powerpoint/2010/main" val="323700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3760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644905C-5D8F-4374-A8AA-D455F3C2489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7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644905C-5D8F-4374-A8AA-D455F3C24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E063778-2135-4ECA-86AB-F4CDAFDEA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4" y="542846"/>
            <a:ext cx="10117513" cy="609398"/>
          </a:xfrm>
        </p:spPr>
        <p:txBody>
          <a:bodyPr vert="horz"/>
          <a:lstStyle/>
          <a:p>
            <a:r>
              <a:rPr lang="en-US" sz="2200"/>
              <a:t>14 standardized responsibilities drive progress toward the Market Maker's four goa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299B7E-5A7F-4FCF-AB99-BBF2561102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>
                <a:cs typeface="+mn-cs"/>
              </a:rPr>
              <a:t>Market Maker role and responsibilities</a:t>
            </a:r>
          </a:p>
        </p:txBody>
      </p:sp>
      <p:sp>
        <p:nvSpPr>
          <p:cNvPr id="8" name="ee4pFootnotes">
            <a:extLst>
              <a:ext uri="{FF2B5EF4-FFF2-40B4-BE49-F238E27FC236}">
                <a16:creationId xmlns:a16="http://schemas.microsoft.com/office/drawing/2014/main" id="{E6298612-D043-4A26-BDA2-814CD4D99F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4" y="6275245"/>
            <a:ext cx="8398392" cy="415498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1.Working with </a:t>
            </a:r>
            <a:r>
              <a:rPr lang="en-US" sz="1000" err="1">
                <a:solidFill>
                  <a:schemeClr val="bg1">
                    <a:lumMod val="50000"/>
                  </a:schemeClr>
                </a:solidFill>
              </a:rPr>
              <a:t>MassHire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 Career Center reps. High priority industries/occupations include: manufacturing, construction/trades, healthcare, IT, other sectors identified in regional blueprints ; 2.Including community-based organizations and academic institutions; 3. Including HC hubs, Advanced manufacturing collaborative, etc.  </a:t>
            </a:r>
          </a:p>
        </p:txBody>
      </p:sp>
      <p:sp>
        <p:nvSpPr>
          <p:cNvPr id="10" name="ee4pContent1">
            <a:extLst>
              <a:ext uri="{FF2B5EF4-FFF2-40B4-BE49-F238E27FC236}">
                <a16:creationId xmlns:a16="http://schemas.microsoft.com/office/drawing/2014/main" id="{E4C3DAA5-C674-4DA7-B1C4-AA4F165064A8}"/>
              </a:ext>
            </a:extLst>
          </p:cNvPr>
          <p:cNvSpPr txBox="1"/>
          <p:nvPr/>
        </p:nvSpPr>
        <p:spPr>
          <a:xfrm>
            <a:off x="629248" y="2643989"/>
            <a:ext cx="2635026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200">
                <a:solidFill>
                  <a:schemeClr val="tx2"/>
                </a:solidFill>
                <a:latin typeface="+mn-lt"/>
              </a:rPr>
              <a:t>Identify businesses or connect with referrals </a:t>
            </a:r>
            <a:r>
              <a:rPr lang="en-US" sz="1200">
                <a:latin typeface="+mn-lt"/>
              </a:rPr>
              <a:t>in priority industries/ occupations</a:t>
            </a:r>
            <a:r>
              <a:rPr lang="en-US" sz="1200" baseline="30000">
                <a:latin typeface="+mn-lt"/>
              </a:rPr>
              <a:t>1</a:t>
            </a:r>
            <a:r>
              <a:rPr lang="en-US" sz="1200">
                <a:latin typeface="+mn-lt"/>
              </a:rPr>
              <a:t> seeking trained workers with a skill set</a:t>
            </a:r>
          </a:p>
          <a:p>
            <a:pPr lvl="1">
              <a:spcAft>
                <a:spcPts val="600"/>
              </a:spcAft>
            </a:pPr>
            <a:r>
              <a:rPr lang="en-US" sz="1200">
                <a:solidFill>
                  <a:srgbClr val="00269E"/>
                </a:solidFill>
                <a:latin typeface="+mn-lt"/>
              </a:rPr>
              <a:t>C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onsult</a:t>
            </a:r>
            <a:r>
              <a:rPr lang="en-US" sz="1200">
                <a:latin typeface="+mn-lt"/>
              </a:rPr>
              <a:t> on workforce needs and refer to other supports as needed</a:t>
            </a:r>
          </a:p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Understand businesses'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existing talent pipelines, </a:t>
            </a:r>
            <a:r>
              <a:rPr lang="en-US" sz="1200">
                <a:latin typeface="+mn-lt"/>
              </a:rPr>
              <a:t>need for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new pipelines</a:t>
            </a:r>
          </a:p>
          <a:p>
            <a:pPr lvl="1">
              <a:spcAft>
                <a:spcPts val="600"/>
              </a:spcAft>
            </a:pPr>
            <a:r>
              <a:rPr lang="en-US" sz="1200">
                <a:solidFill>
                  <a:schemeClr val="tx2"/>
                </a:solidFill>
                <a:latin typeface="+mn-lt"/>
              </a:rPr>
              <a:t>Guide</a:t>
            </a:r>
            <a:r>
              <a:rPr lang="en-US" sz="1200">
                <a:latin typeface="+mn-lt"/>
              </a:rPr>
              <a:t> businesses toward existing training prog. or available state funds and training partners</a:t>
            </a:r>
          </a:p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Assist companies to </a:t>
            </a:r>
            <a:r>
              <a:rPr lang="en-US" sz="1200">
                <a:solidFill>
                  <a:srgbClr val="00269E"/>
                </a:solidFill>
                <a:latin typeface="+mn-lt"/>
              </a:rPr>
              <a:t>hire from existing pipeline programs </a:t>
            </a:r>
            <a:r>
              <a:rPr lang="en-US" sz="1200">
                <a:latin typeface="+mn-lt"/>
              </a:rPr>
              <a:t>or apply for grants to </a:t>
            </a:r>
            <a:r>
              <a:rPr lang="en-US" sz="1200">
                <a:solidFill>
                  <a:srgbClr val="00269E"/>
                </a:solidFill>
                <a:latin typeface="+mn-lt"/>
              </a:rPr>
              <a:t>build new pipelines</a:t>
            </a:r>
          </a:p>
        </p:txBody>
      </p:sp>
      <p:sp>
        <p:nvSpPr>
          <p:cNvPr id="11" name="ee4pContent2">
            <a:extLst>
              <a:ext uri="{FF2B5EF4-FFF2-40B4-BE49-F238E27FC236}">
                <a16:creationId xmlns:a16="http://schemas.microsoft.com/office/drawing/2014/main" id="{6C1BF75B-9371-42A1-9B3C-530F05898CF8}"/>
              </a:ext>
            </a:extLst>
          </p:cNvPr>
          <p:cNvSpPr txBox="1"/>
          <p:nvPr/>
        </p:nvSpPr>
        <p:spPr>
          <a:xfrm>
            <a:off x="3541429" y="2643989"/>
            <a:ext cx="2486392" cy="3554819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Build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relationships with training providers</a:t>
            </a:r>
            <a:r>
              <a:rPr lang="en-US" sz="1200" baseline="30000">
                <a:solidFill>
                  <a:schemeClr val="tx2"/>
                </a:solidFill>
                <a:latin typeface="+mn-lt"/>
              </a:rPr>
              <a:t>2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 and industry organizing structures</a:t>
            </a:r>
            <a:r>
              <a:rPr lang="en-US" sz="1200" baseline="30000">
                <a:solidFill>
                  <a:schemeClr val="tx2"/>
                </a:solidFill>
                <a:latin typeface="+mn-lt"/>
              </a:rPr>
              <a:t>3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 </a:t>
            </a:r>
            <a:r>
              <a:rPr lang="en-US" sz="1200">
                <a:latin typeface="+mn-lt"/>
              </a:rPr>
              <a:t>to understand and enhance their current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employer engagement </a:t>
            </a:r>
            <a:r>
              <a:rPr lang="en-US" sz="1200">
                <a:latin typeface="+mn-lt"/>
              </a:rPr>
              <a:t>strategies</a:t>
            </a:r>
          </a:p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Partner with training providers and MassHire to understand </a:t>
            </a:r>
            <a:r>
              <a:rPr lang="en-US" sz="1200">
                <a:solidFill>
                  <a:srgbClr val="00269E"/>
                </a:solidFill>
                <a:latin typeface="+mn-lt"/>
              </a:rPr>
              <a:t>labor market and recruitment</a:t>
            </a:r>
            <a:endParaRPr lang="en-US" sz="1200">
              <a:latin typeface="+mn-lt"/>
            </a:endParaRPr>
          </a:p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Pro-actively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convene key players</a:t>
            </a:r>
            <a:r>
              <a:rPr lang="en-US" sz="1200">
                <a:latin typeface="+mn-lt"/>
              </a:rPr>
              <a:t> (e.g., via webinars, info sessions, events) for educational and networking purposes</a:t>
            </a:r>
          </a:p>
          <a:p>
            <a:pPr lvl="1">
              <a:spcAft>
                <a:spcPts val="600"/>
              </a:spcAft>
            </a:pPr>
            <a:r>
              <a:rPr lang="en-US" sz="1200">
                <a:solidFill>
                  <a:srgbClr val="000000"/>
                </a:solidFill>
                <a:latin typeface="+mn-lt"/>
              </a:rPr>
              <a:t>Build relationships with and </a:t>
            </a:r>
            <a:r>
              <a:rPr lang="en-US" sz="1200">
                <a:solidFill>
                  <a:srgbClr val="00269E"/>
                </a:solidFill>
                <a:latin typeface="+mn-lt"/>
              </a:rPr>
              <a:t>refer employers to internal stakeholders</a:t>
            </a:r>
            <a:r>
              <a:rPr lang="en-US" sz="1200">
                <a:latin typeface="+mn-lt"/>
              </a:rPr>
              <a:t>, in order to focus on skilled talent demand</a:t>
            </a:r>
          </a:p>
        </p:txBody>
      </p:sp>
      <p:sp>
        <p:nvSpPr>
          <p:cNvPr id="12" name="ee4pContent3">
            <a:extLst>
              <a:ext uri="{FF2B5EF4-FFF2-40B4-BE49-F238E27FC236}">
                <a16:creationId xmlns:a16="http://schemas.microsoft.com/office/drawing/2014/main" id="{BCFD100F-23E1-4DC0-A9E4-84AB6E9CA276}"/>
              </a:ext>
            </a:extLst>
          </p:cNvPr>
          <p:cNvSpPr txBox="1"/>
          <p:nvPr/>
        </p:nvSpPr>
        <p:spPr>
          <a:xfrm>
            <a:off x="6453010" y="2643989"/>
            <a:ext cx="2306769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200" dirty="0">
                <a:latin typeface="+mn-lt"/>
              </a:rPr>
              <a:t>Provide </a:t>
            </a:r>
            <a:r>
              <a:rPr lang="en-US" sz="1200" dirty="0">
                <a:solidFill>
                  <a:schemeClr val="tx2"/>
                </a:solidFill>
                <a:latin typeface="+mn-lt"/>
              </a:rPr>
              <a:t>expertise</a:t>
            </a:r>
            <a:r>
              <a:rPr lang="en-US" sz="1200" dirty="0">
                <a:latin typeface="+mn-lt"/>
              </a:rPr>
              <a:t> on state and regional </a:t>
            </a:r>
            <a:r>
              <a:rPr lang="en-US" sz="1200" dirty="0">
                <a:solidFill>
                  <a:schemeClr val="tx2"/>
                </a:solidFill>
                <a:latin typeface="+mn-lt"/>
              </a:rPr>
              <a:t>training funds</a:t>
            </a:r>
          </a:p>
          <a:p>
            <a:pPr lvl="1">
              <a:spcAft>
                <a:spcPts val="600"/>
              </a:spcAft>
            </a:pPr>
            <a:r>
              <a:rPr lang="en-US" sz="1200" dirty="0">
                <a:latin typeface="+mn-lt"/>
              </a:rPr>
              <a:t>Assess regional supply and demand </a:t>
            </a:r>
            <a:r>
              <a:rPr lang="en-US" sz="1200" dirty="0">
                <a:solidFill>
                  <a:schemeClr val="tx2"/>
                </a:solidFill>
                <a:latin typeface="+mn-lt"/>
              </a:rPr>
              <a:t>in training landscape; </a:t>
            </a:r>
            <a:r>
              <a:rPr lang="en-US" sz="1200" dirty="0">
                <a:latin typeface="+mn-lt"/>
              </a:rPr>
              <a:t>identify </a:t>
            </a:r>
            <a:r>
              <a:rPr lang="en-US" sz="1200" dirty="0">
                <a:solidFill>
                  <a:schemeClr val="tx2"/>
                </a:solidFill>
                <a:latin typeface="+mn-lt"/>
              </a:rPr>
              <a:t>regional solutions </a:t>
            </a:r>
            <a:r>
              <a:rPr lang="en-US" sz="1200" dirty="0">
                <a:latin typeface="+mn-lt"/>
              </a:rPr>
              <a:t>to balance supply and develop new pipelines</a:t>
            </a:r>
          </a:p>
          <a:p>
            <a:pPr lvl="1">
              <a:spcAft>
                <a:spcPts val="600"/>
              </a:spcAft>
            </a:pPr>
            <a:r>
              <a:rPr lang="en-US" sz="1200" dirty="0">
                <a:latin typeface="+mn-lt"/>
              </a:rPr>
              <a:t>Receive </a:t>
            </a:r>
            <a:r>
              <a:rPr lang="en-US" sz="1200" dirty="0">
                <a:solidFill>
                  <a:schemeClr val="tx2"/>
                </a:solidFill>
                <a:latin typeface="+mn-lt"/>
              </a:rPr>
              <a:t>employer referrals </a:t>
            </a:r>
            <a:r>
              <a:rPr lang="en-US" sz="1200" dirty="0">
                <a:latin typeface="+mn-lt"/>
              </a:rPr>
              <a:t>from </a:t>
            </a:r>
            <a:r>
              <a:rPr lang="en-US" sz="1200" dirty="0" err="1">
                <a:latin typeface="+mn-lt"/>
              </a:rPr>
              <a:t>CommCorp</a:t>
            </a:r>
            <a:r>
              <a:rPr lang="en-US" sz="1200" dirty="0">
                <a:latin typeface="+mn-lt"/>
              </a:rPr>
              <a:t> and </a:t>
            </a:r>
            <a:r>
              <a:rPr lang="en-US" sz="1200" dirty="0" err="1">
                <a:latin typeface="+mn-lt"/>
              </a:rPr>
              <a:t>MassHire</a:t>
            </a:r>
            <a:r>
              <a:rPr lang="en-US" sz="1200" dirty="0">
                <a:latin typeface="+mn-lt"/>
              </a:rPr>
              <a:t> Career Center</a:t>
            </a:r>
          </a:p>
        </p:txBody>
      </p:sp>
      <p:sp>
        <p:nvSpPr>
          <p:cNvPr id="13" name="ee4pContent4">
            <a:extLst>
              <a:ext uri="{FF2B5EF4-FFF2-40B4-BE49-F238E27FC236}">
                <a16:creationId xmlns:a16="http://schemas.microsoft.com/office/drawing/2014/main" id="{C7DC4C6D-E37A-4C5A-BD99-66C5501F8D3F}"/>
              </a:ext>
            </a:extLst>
          </p:cNvPr>
          <p:cNvSpPr txBox="1"/>
          <p:nvPr/>
        </p:nvSpPr>
        <p:spPr>
          <a:xfrm>
            <a:off x="9383365" y="2643989"/>
            <a:ext cx="2198458" cy="2912400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Monthly calls with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CommCorp</a:t>
            </a:r>
            <a:r>
              <a:rPr lang="en-US" sz="1200">
                <a:latin typeface="+mn-lt"/>
              </a:rPr>
              <a:t> (group </a:t>
            </a:r>
            <a:br>
              <a:rPr lang="en-US" sz="1200">
                <a:latin typeface="+mn-lt"/>
              </a:rPr>
            </a:br>
            <a:r>
              <a:rPr lang="en-US" sz="1200">
                <a:latin typeface="+mn-lt"/>
              </a:rPr>
              <a:t>and 1:1)</a:t>
            </a:r>
          </a:p>
          <a:p>
            <a:pPr lvl="1">
              <a:spcAft>
                <a:spcPts val="600"/>
              </a:spcAft>
            </a:pPr>
            <a:r>
              <a:rPr lang="en-US" sz="1200">
                <a:latin typeface="+mn-lt"/>
              </a:rPr>
              <a:t>At least monthly engagement with </a:t>
            </a:r>
            <a:r>
              <a:rPr lang="en-US" sz="1200">
                <a:solidFill>
                  <a:schemeClr val="tx2"/>
                </a:solidFill>
                <a:latin typeface="+mn-lt"/>
              </a:rPr>
              <a:t>MassHire Career Center service reps </a:t>
            </a:r>
          </a:p>
        </p:txBody>
      </p:sp>
      <p:sp>
        <p:nvSpPr>
          <p:cNvPr id="14" name="ee4pHeader1">
            <a:extLst>
              <a:ext uri="{FF2B5EF4-FFF2-40B4-BE49-F238E27FC236}">
                <a16:creationId xmlns:a16="http://schemas.microsoft.com/office/drawing/2014/main" id="{DC5C1632-7F1F-4795-AF41-B6FDB9D0574D}"/>
              </a:ext>
            </a:extLst>
          </p:cNvPr>
          <p:cNvSpPr txBox="1"/>
          <p:nvPr/>
        </p:nvSpPr>
        <p:spPr>
          <a:xfrm>
            <a:off x="629249" y="1977663"/>
            <a:ext cx="2390692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marL="0" lvl="3"/>
            <a:r>
              <a:rPr lang="en-US" sz="1600">
                <a:solidFill>
                  <a:schemeClr val="tx2"/>
                </a:solidFill>
              </a:rPr>
              <a:t>Determine business need for TRAINED workers</a:t>
            </a:r>
          </a:p>
        </p:txBody>
      </p:sp>
      <p:sp>
        <p:nvSpPr>
          <p:cNvPr id="15" name="ee4pHeader2">
            <a:extLst>
              <a:ext uri="{FF2B5EF4-FFF2-40B4-BE49-F238E27FC236}">
                <a16:creationId xmlns:a16="http://schemas.microsoft.com/office/drawing/2014/main" id="{853ED607-848F-46B3-881B-8C139B5493F8}"/>
              </a:ext>
            </a:extLst>
          </p:cNvPr>
          <p:cNvSpPr txBox="1"/>
          <p:nvPr/>
        </p:nvSpPr>
        <p:spPr>
          <a:xfrm>
            <a:off x="3541430" y="1977662"/>
            <a:ext cx="2198458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marL="0" lvl="3"/>
            <a:r>
              <a:rPr lang="en-US" sz="1600">
                <a:solidFill>
                  <a:schemeClr val="tx2"/>
                </a:solidFill>
              </a:rPr>
              <a:t>Build stronger connections</a:t>
            </a:r>
          </a:p>
        </p:txBody>
      </p:sp>
      <p:sp>
        <p:nvSpPr>
          <p:cNvPr id="16" name="ee4pHeader3">
            <a:extLst>
              <a:ext uri="{FF2B5EF4-FFF2-40B4-BE49-F238E27FC236}">
                <a16:creationId xmlns:a16="http://schemas.microsoft.com/office/drawing/2014/main" id="{8BB37D66-35E9-4996-AC74-7A3F65D77B79}"/>
              </a:ext>
            </a:extLst>
          </p:cNvPr>
          <p:cNvSpPr txBox="1"/>
          <p:nvPr/>
        </p:nvSpPr>
        <p:spPr>
          <a:xfrm>
            <a:off x="6453011" y="1977662"/>
            <a:ext cx="2198458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marL="0" lvl="3"/>
            <a:r>
              <a:rPr lang="en-US" sz="1600">
                <a:solidFill>
                  <a:schemeClr val="tx2"/>
                </a:solidFill>
              </a:rPr>
              <a:t>Increase effective use of state training funds</a:t>
            </a:r>
          </a:p>
        </p:txBody>
      </p:sp>
      <p:sp>
        <p:nvSpPr>
          <p:cNvPr id="17" name="ee4pHeader4">
            <a:extLst>
              <a:ext uri="{FF2B5EF4-FFF2-40B4-BE49-F238E27FC236}">
                <a16:creationId xmlns:a16="http://schemas.microsoft.com/office/drawing/2014/main" id="{7F57326A-B80B-415B-9A5E-262248FE2F7E}"/>
              </a:ext>
            </a:extLst>
          </p:cNvPr>
          <p:cNvSpPr txBox="1"/>
          <p:nvPr/>
        </p:nvSpPr>
        <p:spPr>
          <a:xfrm>
            <a:off x="9364742" y="1977662"/>
            <a:ext cx="2198458" cy="49244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marL="0" lvl="3"/>
            <a:r>
              <a:rPr lang="en-US" sz="1600">
                <a:solidFill>
                  <a:schemeClr val="tx2"/>
                </a:solidFill>
              </a:rPr>
              <a:t>Process and</a:t>
            </a:r>
          </a:p>
          <a:p>
            <a:pPr marL="0" lvl="3"/>
            <a:r>
              <a:rPr lang="en-US" sz="1600">
                <a:solidFill>
                  <a:schemeClr val="tx2"/>
                </a:solidFill>
              </a:rPr>
              <a:t>reporting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4DCCB35-DFE6-4639-9642-43A567C656F4}"/>
              </a:ext>
            </a:extLst>
          </p:cNvPr>
          <p:cNvGrpSpPr>
            <a:grpSpLocks noChangeAspect="1"/>
          </p:cNvGrpSpPr>
          <p:nvPr/>
        </p:nvGrpSpPr>
        <p:grpSpPr>
          <a:xfrm>
            <a:off x="629249" y="1168993"/>
            <a:ext cx="768998" cy="768998"/>
            <a:chOff x="5273675" y="2606675"/>
            <a:chExt cx="1644650" cy="1644650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A1B366F6-F8A2-4CF5-BFA1-D5E1D87687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022273D-0F16-4853-8783-65863A38C925}"/>
                </a:ext>
              </a:extLst>
            </p:cNvPr>
            <p:cNvGrpSpPr/>
            <p:nvPr/>
          </p:nvGrpSpPr>
          <p:grpSpPr>
            <a:xfrm>
              <a:off x="5443538" y="2855913"/>
              <a:ext cx="1303338" cy="1119187"/>
              <a:chOff x="5443538" y="2855913"/>
              <a:chExt cx="1303338" cy="1119187"/>
            </a:xfrm>
          </p:grpSpPr>
          <p:sp>
            <p:nvSpPr>
              <p:cNvPr id="21" name="Freeform 13">
                <a:extLst>
                  <a:ext uri="{FF2B5EF4-FFF2-40B4-BE49-F238E27FC236}">
                    <a16:creationId xmlns:a16="http://schemas.microsoft.com/office/drawing/2014/main" id="{D7DE7130-8958-4E6E-8F6B-8F7CFA062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3127374"/>
                <a:ext cx="1303338" cy="847726"/>
              </a:xfrm>
              <a:custGeom>
                <a:avLst/>
                <a:gdLst>
                  <a:gd name="connsiteX0" fmla="*/ 255392 w 1303338"/>
                  <a:gd name="connsiteY0" fmla="*/ 620713 h 847726"/>
                  <a:gd name="connsiteX1" fmla="*/ 239712 w 1303338"/>
                  <a:gd name="connsiteY1" fmla="*/ 636327 h 847726"/>
                  <a:gd name="connsiteX2" fmla="*/ 239712 w 1303338"/>
                  <a:gd name="connsiteY2" fmla="*/ 725750 h 847726"/>
                  <a:gd name="connsiteX3" fmla="*/ 255392 w 1303338"/>
                  <a:gd name="connsiteY3" fmla="*/ 741363 h 847726"/>
                  <a:gd name="connsiteX4" fmla="*/ 1047945 w 1303338"/>
                  <a:gd name="connsiteY4" fmla="*/ 741363 h 847726"/>
                  <a:gd name="connsiteX5" fmla="*/ 1063625 w 1303338"/>
                  <a:gd name="connsiteY5" fmla="*/ 725750 h 847726"/>
                  <a:gd name="connsiteX6" fmla="*/ 1063625 w 1303338"/>
                  <a:gd name="connsiteY6" fmla="*/ 636327 h 847726"/>
                  <a:gd name="connsiteX7" fmla="*/ 1047945 w 1303338"/>
                  <a:gd name="connsiteY7" fmla="*/ 620713 h 847726"/>
                  <a:gd name="connsiteX8" fmla="*/ 255392 w 1303338"/>
                  <a:gd name="connsiteY8" fmla="*/ 620713 h 847726"/>
                  <a:gd name="connsiteX9" fmla="*/ 0 w 1303338"/>
                  <a:gd name="connsiteY9" fmla="*/ 315913 h 847726"/>
                  <a:gd name="connsiteX10" fmla="*/ 15703 w 1303338"/>
                  <a:gd name="connsiteY10" fmla="*/ 315913 h 847726"/>
                  <a:gd name="connsiteX11" fmla="*/ 31406 w 1303338"/>
                  <a:gd name="connsiteY11" fmla="*/ 315913 h 847726"/>
                  <a:gd name="connsiteX12" fmla="*/ 1271932 w 1303338"/>
                  <a:gd name="connsiteY12" fmla="*/ 315913 h 847726"/>
                  <a:gd name="connsiteX13" fmla="*/ 1287635 w 1303338"/>
                  <a:gd name="connsiteY13" fmla="*/ 315913 h 847726"/>
                  <a:gd name="connsiteX14" fmla="*/ 1303338 w 1303338"/>
                  <a:gd name="connsiteY14" fmla="*/ 315913 h 847726"/>
                  <a:gd name="connsiteX15" fmla="*/ 1303338 w 1303338"/>
                  <a:gd name="connsiteY15" fmla="*/ 816948 h 847726"/>
                  <a:gd name="connsiteX16" fmla="*/ 1271932 w 1303338"/>
                  <a:gd name="connsiteY16" fmla="*/ 847726 h 847726"/>
                  <a:gd name="connsiteX17" fmla="*/ 31406 w 1303338"/>
                  <a:gd name="connsiteY17" fmla="*/ 847726 h 847726"/>
                  <a:gd name="connsiteX18" fmla="*/ 0 w 1303338"/>
                  <a:gd name="connsiteY18" fmla="*/ 816948 h 847726"/>
                  <a:gd name="connsiteX19" fmla="*/ 0 w 1303338"/>
                  <a:gd name="connsiteY19" fmla="*/ 315913 h 847726"/>
                  <a:gd name="connsiteX20" fmla="*/ 31406 w 1303338"/>
                  <a:gd name="connsiteY20" fmla="*/ 0 h 847726"/>
                  <a:gd name="connsiteX21" fmla="*/ 279083 w 1303338"/>
                  <a:gd name="connsiteY21" fmla="*/ 0 h 847726"/>
                  <a:gd name="connsiteX22" fmla="*/ 279083 w 1303338"/>
                  <a:gd name="connsiteY22" fmla="*/ 15764 h 847726"/>
                  <a:gd name="connsiteX23" fmla="*/ 279083 w 1303338"/>
                  <a:gd name="connsiteY23" fmla="*/ 31528 h 847726"/>
                  <a:gd name="connsiteX24" fmla="*/ 279083 w 1303338"/>
                  <a:gd name="connsiteY24" fmla="*/ 137578 h 847726"/>
                  <a:gd name="connsiteX25" fmla="*/ 341894 w 1303338"/>
                  <a:gd name="connsiteY25" fmla="*/ 200635 h 847726"/>
                  <a:gd name="connsiteX26" fmla="*/ 343322 w 1303338"/>
                  <a:gd name="connsiteY26" fmla="*/ 200635 h 847726"/>
                  <a:gd name="connsiteX27" fmla="*/ 404706 w 1303338"/>
                  <a:gd name="connsiteY27" fmla="*/ 136145 h 847726"/>
                  <a:gd name="connsiteX28" fmla="*/ 404706 w 1303338"/>
                  <a:gd name="connsiteY28" fmla="*/ 31528 h 847726"/>
                  <a:gd name="connsiteX29" fmla="*/ 404706 w 1303338"/>
                  <a:gd name="connsiteY29" fmla="*/ 15764 h 847726"/>
                  <a:gd name="connsiteX30" fmla="*/ 404706 w 1303338"/>
                  <a:gd name="connsiteY30" fmla="*/ 0 h 847726"/>
                  <a:gd name="connsiteX31" fmla="*/ 898632 w 1303338"/>
                  <a:gd name="connsiteY31" fmla="*/ 0 h 847726"/>
                  <a:gd name="connsiteX32" fmla="*/ 898632 w 1303338"/>
                  <a:gd name="connsiteY32" fmla="*/ 15764 h 847726"/>
                  <a:gd name="connsiteX33" fmla="*/ 898632 w 1303338"/>
                  <a:gd name="connsiteY33" fmla="*/ 31528 h 847726"/>
                  <a:gd name="connsiteX34" fmla="*/ 898632 w 1303338"/>
                  <a:gd name="connsiteY34" fmla="*/ 136145 h 847726"/>
                  <a:gd name="connsiteX35" fmla="*/ 960016 w 1303338"/>
                  <a:gd name="connsiteY35" fmla="*/ 200635 h 847726"/>
                  <a:gd name="connsiteX36" fmla="*/ 961444 w 1303338"/>
                  <a:gd name="connsiteY36" fmla="*/ 200635 h 847726"/>
                  <a:gd name="connsiteX37" fmla="*/ 1024255 w 1303338"/>
                  <a:gd name="connsiteY37" fmla="*/ 137578 h 847726"/>
                  <a:gd name="connsiteX38" fmla="*/ 1024255 w 1303338"/>
                  <a:gd name="connsiteY38" fmla="*/ 31528 h 847726"/>
                  <a:gd name="connsiteX39" fmla="*/ 1024255 w 1303338"/>
                  <a:gd name="connsiteY39" fmla="*/ 15764 h 847726"/>
                  <a:gd name="connsiteX40" fmla="*/ 1024255 w 1303338"/>
                  <a:gd name="connsiteY40" fmla="*/ 0 h 847726"/>
                  <a:gd name="connsiteX41" fmla="*/ 1271932 w 1303338"/>
                  <a:gd name="connsiteY41" fmla="*/ 0 h 847726"/>
                  <a:gd name="connsiteX42" fmla="*/ 1303338 w 1303338"/>
                  <a:gd name="connsiteY42" fmla="*/ 31528 h 847726"/>
                  <a:gd name="connsiteX43" fmla="*/ 1303338 w 1303338"/>
                  <a:gd name="connsiteY43" fmla="*/ 287338 h 847726"/>
                  <a:gd name="connsiteX44" fmla="*/ 1287635 w 1303338"/>
                  <a:gd name="connsiteY44" fmla="*/ 287338 h 847726"/>
                  <a:gd name="connsiteX45" fmla="*/ 1271932 w 1303338"/>
                  <a:gd name="connsiteY45" fmla="*/ 287338 h 847726"/>
                  <a:gd name="connsiteX46" fmla="*/ 31406 w 1303338"/>
                  <a:gd name="connsiteY46" fmla="*/ 287338 h 847726"/>
                  <a:gd name="connsiteX47" fmla="*/ 15703 w 1303338"/>
                  <a:gd name="connsiteY47" fmla="*/ 287338 h 847726"/>
                  <a:gd name="connsiteX48" fmla="*/ 0 w 1303338"/>
                  <a:gd name="connsiteY48" fmla="*/ 287338 h 847726"/>
                  <a:gd name="connsiteX49" fmla="*/ 0 w 1303338"/>
                  <a:gd name="connsiteY49" fmla="*/ 31528 h 847726"/>
                  <a:gd name="connsiteX50" fmla="*/ 31406 w 1303338"/>
                  <a:gd name="connsiteY50" fmla="*/ 0 h 847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303338" h="847726">
                    <a:moveTo>
                      <a:pt x="255392" y="620713"/>
                    </a:moveTo>
                    <a:cubicBezTo>
                      <a:pt x="246127" y="620713"/>
                      <a:pt x="239712" y="627810"/>
                      <a:pt x="239712" y="636327"/>
                    </a:cubicBezTo>
                    <a:cubicBezTo>
                      <a:pt x="239712" y="636327"/>
                      <a:pt x="239712" y="636327"/>
                      <a:pt x="239712" y="725750"/>
                    </a:cubicBezTo>
                    <a:cubicBezTo>
                      <a:pt x="239712" y="734266"/>
                      <a:pt x="246127" y="741363"/>
                      <a:pt x="255392" y="741363"/>
                    </a:cubicBezTo>
                    <a:cubicBezTo>
                      <a:pt x="255392" y="741363"/>
                      <a:pt x="255392" y="741363"/>
                      <a:pt x="1047945" y="741363"/>
                    </a:cubicBezTo>
                    <a:cubicBezTo>
                      <a:pt x="1057211" y="741363"/>
                      <a:pt x="1063625" y="734266"/>
                      <a:pt x="1063625" y="725750"/>
                    </a:cubicBezTo>
                    <a:cubicBezTo>
                      <a:pt x="1063625" y="725750"/>
                      <a:pt x="1063625" y="725750"/>
                      <a:pt x="1063625" y="636327"/>
                    </a:cubicBezTo>
                    <a:cubicBezTo>
                      <a:pt x="1063625" y="627810"/>
                      <a:pt x="1057211" y="620713"/>
                      <a:pt x="1047945" y="620713"/>
                    </a:cubicBezTo>
                    <a:cubicBezTo>
                      <a:pt x="1047945" y="620713"/>
                      <a:pt x="1047945" y="620713"/>
                      <a:pt x="255392" y="620713"/>
                    </a:cubicBezTo>
                    <a:close/>
                    <a:moveTo>
                      <a:pt x="0" y="315913"/>
                    </a:moveTo>
                    <a:cubicBezTo>
                      <a:pt x="0" y="315913"/>
                      <a:pt x="0" y="315913"/>
                      <a:pt x="15703" y="315913"/>
                    </a:cubicBezTo>
                    <a:cubicBezTo>
                      <a:pt x="15703" y="315913"/>
                      <a:pt x="15703" y="315913"/>
                      <a:pt x="31406" y="315913"/>
                    </a:cubicBezTo>
                    <a:cubicBezTo>
                      <a:pt x="31406" y="315913"/>
                      <a:pt x="31406" y="315913"/>
                      <a:pt x="1271932" y="315913"/>
                    </a:cubicBezTo>
                    <a:cubicBezTo>
                      <a:pt x="1271932" y="315913"/>
                      <a:pt x="1271932" y="315913"/>
                      <a:pt x="1287635" y="315913"/>
                    </a:cubicBezTo>
                    <a:cubicBezTo>
                      <a:pt x="1287635" y="315913"/>
                      <a:pt x="1287635" y="315913"/>
                      <a:pt x="1303338" y="315913"/>
                    </a:cubicBezTo>
                    <a:cubicBezTo>
                      <a:pt x="1303338" y="315913"/>
                      <a:pt x="1303338" y="315913"/>
                      <a:pt x="1303338" y="816948"/>
                    </a:cubicBezTo>
                    <a:cubicBezTo>
                      <a:pt x="1303338" y="834127"/>
                      <a:pt x="1289063" y="847726"/>
                      <a:pt x="1271932" y="847726"/>
                    </a:cubicBezTo>
                    <a:cubicBezTo>
                      <a:pt x="1271932" y="847726"/>
                      <a:pt x="1271932" y="847726"/>
                      <a:pt x="31406" y="847726"/>
                    </a:cubicBezTo>
                    <a:cubicBezTo>
                      <a:pt x="14276" y="847726"/>
                      <a:pt x="0" y="834127"/>
                      <a:pt x="0" y="816948"/>
                    </a:cubicBezTo>
                    <a:cubicBezTo>
                      <a:pt x="0" y="816948"/>
                      <a:pt x="0" y="816948"/>
                      <a:pt x="0" y="315913"/>
                    </a:cubicBezTo>
                    <a:close/>
                    <a:moveTo>
                      <a:pt x="31406" y="0"/>
                    </a:moveTo>
                    <a:cubicBezTo>
                      <a:pt x="31406" y="0"/>
                      <a:pt x="31406" y="0"/>
                      <a:pt x="279083" y="0"/>
                    </a:cubicBezTo>
                    <a:cubicBezTo>
                      <a:pt x="279083" y="0"/>
                      <a:pt x="279083" y="0"/>
                      <a:pt x="279083" y="15764"/>
                    </a:cubicBezTo>
                    <a:cubicBezTo>
                      <a:pt x="279083" y="15764"/>
                      <a:pt x="279083" y="15764"/>
                      <a:pt x="279083" y="31528"/>
                    </a:cubicBezTo>
                    <a:cubicBezTo>
                      <a:pt x="279083" y="31528"/>
                      <a:pt x="279083" y="31528"/>
                      <a:pt x="279083" y="137578"/>
                    </a:cubicBezTo>
                    <a:cubicBezTo>
                      <a:pt x="279083" y="171973"/>
                      <a:pt x="307634" y="200635"/>
                      <a:pt x="341894" y="200635"/>
                    </a:cubicBezTo>
                    <a:cubicBezTo>
                      <a:pt x="342608" y="200635"/>
                      <a:pt x="342608" y="200635"/>
                      <a:pt x="343322" y="200635"/>
                    </a:cubicBezTo>
                    <a:cubicBezTo>
                      <a:pt x="376869" y="199918"/>
                      <a:pt x="404706" y="171256"/>
                      <a:pt x="404706" y="136145"/>
                    </a:cubicBezTo>
                    <a:cubicBezTo>
                      <a:pt x="404706" y="136145"/>
                      <a:pt x="404706" y="136145"/>
                      <a:pt x="404706" y="31528"/>
                    </a:cubicBezTo>
                    <a:cubicBezTo>
                      <a:pt x="404706" y="31528"/>
                      <a:pt x="404706" y="31528"/>
                      <a:pt x="404706" y="15764"/>
                    </a:cubicBezTo>
                    <a:cubicBezTo>
                      <a:pt x="404706" y="15764"/>
                      <a:pt x="404706" y="15764"/>
                      <a:pt x="404706" y="0"/>
                    </a:cubicBezTo>
                    <a:cubicBezTo>
                      <a:pt x="404706" y="0"/>
                      <a:pt x="404706" y="0"/>
                      <a:pt x="898632" y="0"/>
                    </a:cubicBezTo>
                    <a:cubicBezTo>
                      <a:pt x="898632" y="0"/>
                      <a:pt x="898632" y="0"/>
                      <a:pt x="898632" y="15764"/>
                    </a:cubicBezTo>
                    <a:cubicBezTo>
                      <a:pt x="898632" y="15764"/>
                      <a:pt x="898632" y="15764"/>
                      <a:pt x="898632" y="31528"/>
                    </a:cubicBezTo>
                    <a:cubicBezTo>
                      <a:pt x="898632" y="31528"/>
                      <a:pt x="898632" y="31528"/>
                      <a:pt x="898632" y="136145"/>
                    </a:cubicBezTo>
                    <a:cubicBezTo>
                      <a:pt x="898632" y="171256"/>
                      <a:pt x="926469" y="199918"/>
                      <a:pt x="960016" y="200635"/>
                    </a:cubicBezTo>
                    <a:cubicBezTo>
                      <a:pt x="960730" y="200635"/>
                      <a:pt x="960730" y="200635"/>
                      <a:pt x="961444" y="200635"/>
                    </a:cubicBezTo>
                    <a:cubicBezTo>
                      <a:pt x="995705" y="200635"/>
                      <a:pt x="1024255" y="171973"/>
                      <a:pt x="1024255" y="137578"/>
                    </a:cubicBezTo>
                    <a:cubicBezTo>
                      <a:pt x="1024255" y="137578"/>
                      <a:pt x="1024255" y="137578"/>
                      <a:pt x="1024255" y="31528"/>
                    </a:cubicBezTo>
                    <a:cubicBezTo>
                      <a:pt x="1024255" y="31528"/>
                      <a:pt x="1024255" y="31528"/>
                      <a:pt x="1024255" y="15764"/>
                    </a:cubicBezTo>
                    <a:cubicBezTo>
                      <a:pt x="1024255" y="15764"/>
                      <a:pt x="1024255" y="15764"/>
                      <a:pt x="1024255" y="0"/>
                    </a:cubicBezTo>
                    <a:cubicBezTo>
                      <a:pt x="1024255" y="0"/>
                      <a:pt x="1024255" y="0"/>
                      <a:pt x="1271932" y="0"/>
                    </a:cubicBezTo>
                    <a:cubicBezTo>
                      <a:pt x="1289063" y="0"/>
                      <a:pt x="1303338" y="14331"/>
                      <a:pt x="1303338" y="31528"/>
                    </a:cubicBezTo>
                    <a:cubicBezTo>
                      <a:pt x="1303338" y="31528"/>
                      <a:pt x="1303338" y="31528"/>
                      <a:pt x="1303338" y="287338"/>
                    </a:cubicBezTo>
                    <a:cubicBezTo>
                      <a:pt x="1303338" y="287338"/>
                      <a:pt x="1303338" y="287338"/>
                      <a:pt x="1287635" y="287338"/>
                    </a:cubicBezTo>
                    <a:cubicBezTo>
                      <a:pt x="1287635" y="287338"/>
                      <a:pt x="1287635" y="287338"/>
                      <a:pt x="1271932" y="287338"/>
                    </a:cubicBezTo>
                    <a:cubicBezTo>
                      <a:pt x="1271932" y="287338"/>
                      <a:pt x="1271932" y="287338"/>
                      <a:pt x="31406" y="287338"/>
                    </a:cubicBezTo>
                    <a:cubicBezTo>
                      <a:pt x="31406" y="287338"/>
                      <a:pt x="31406" y="287338"/>
                      <a:pt x="15703" y="287338"/>
                    </a:cubicBezTo>
                    <a:cubicBezTo>
                      <a:pt x="15703" y="287338"/>
                      <a:pt x="15703" y="287338"/>
                      <a:pt x="0" y="287338"/>
                    </a:cubicBezTo>
                    <a:cubicBezTo>
                      <a:pt x="0" y="287338"/>
                      <a:pt x="0" y="287338"/>
                      <a:pt x="0" y="31528"/>
                    </a:cubicBezTo>
                    <a:cubicBezTo>
                      <a:pt x="0" y="14331"/>
                      <a:pt x="14276" y="0"/>
                      <a:pt x="3140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2" name="Freeform 8">
                <a:extLst>
                  <a:ext uri="{FF2B5EF4-FFF2-40B4-BE49-F238E27FC236}">
                    <a16:creationId xmlns:a16="http://schemas.microsoft.com/office/drawing/2014/main" id="{7DE5FD54-CD7A-40C7-9E3B-7612C70091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4688" y="2855913"/>
                <a:ext cx="681038" cy="439738"/>
              </a:xfrm>
              <a:custGeom>
                <a:avLst/>
                <a:gdLst>
                  <a:gd name="T0" fmla="*/ 745 w 956"/>
                  <a:gd name="T1" fmla="*/ 0 h 616"/>
                  <a:gd name="T2" fmla="*/ 211 w 956"/>
                  <a:gd name="T3" fmla="*/ 0 h 616"/>
                  <a:gd name="T4" fmla="*/ 0 w 956"/>
                  <a:gd name="T5" fmla="*/ 211 h 616"/>
                  <a:gd name="T6" fmla="*/ 0 w 956"/>
                  <a:gd name="T7" fmla="*/ 381 h 616"/>
                  <a:gd name="T8" fmla="*/ 0 w 956"/>
                  <a:gd name="T9" fmla="*/ 403 h 616"/>
                  <a:gd name="T10" fmla="*/ 0 w 956"/>
                  <a:gd name="T11" fmla="*/ 425 h 616"/>
                  <a:gd name="T12" fmla="*/ 0 w 956"/>
                  <a:gd name="T13" fmla="*/ 572 h 616"/>
                  <a:gd name="T14" fmla="*/ 44 w 956"/>
                  <a:gd name="T15" fmla="*/ 616 h 616"/>
                  <a:gd name="T16" fmla="*/ 45 w 956"/>
                  <a:gd name="T17" fmla="*/ 616 h 616"/>
                  <a:gd name="T18" fmla="*/ 88 w 956"/>
                  <a:gd name="T19" fmla="*/ 570 h 616"/>
                  <a:gd name="T20" fmla="*/ 88 w 956"/>
                  <a:gd name="T21" fmla="*/ 425 h 616"/>
                  <a:gd name="T22" fmla="*/ 88 w 956"/>
                  <a:gd name="T23" fmla="*/ 403 h 616"/>
                  <a:gd name="T24" fmla="*/ 88 w 956"/>
                  <a:gd name="T25" fmla="*/ 381 h 616"/>
                  <a:gd name="T26" fmla="*/ 88 w 956"/>
                  <a:gd name="T27" fmla="*/ 211 h 616"/>
                  <a:gd name="T28" fmla="*/ 211 w 956"/>
                  <a:gd name="T29" fmla="*/ 88 h 616"/>
                  <a:gd name="T30" fmla="*/ 745 w 956"/>
                  <a:gd name="T31" fmla="*/ 88 h 616"/>
                  <a:gd name="T32" fmla="*/ 868 w 956"/>
                  <a:gd name="T33" fmla="*/ 211 h 616"/>
                  <a:gd name="T34" fmla="*/ 868 w 956"/>
                  <a:gd name="T35" fmla="*/ 381 h 616"/>
                  <a:gd name="T36" fmla="*/ 868 w 956"/>
                  <a:gd name="T37" fmla="*/ 403 h 616"/>
                  <a:gd name="T38" fmla="*/ 868 w 956"/>
                  <a:gd name="T39" fmla="*/ 425 h 616"/>
                  <a:gd name="T40" fmla="*/ 868 w 956"/>
                  <a:gd name="T41" fmla="*/ 570 h 616"/>
                  <a:gd name="T42" fmla="*/ 911 w 956"/>
                  <a:gd name="T43" fmla="*/ 616 h 616"/>
                  <a:gd name="T44" fmla="*/ 912 w 956"/>
                  <a:gd name="T45" fmla="*/ 616 h 616"/>
                  <a:gd name="T46" fmla="*/ 956 w 956"/>
                  <a:gd name="T47" fmla="*/ 572 h 616"/>
                  <a:gd name="T48" fmla="*/ 956 w 956"/>
                  <a:gd name="T49" fmla="*/ 425 h 616"/>
                  <a:gd name="T50" fmla="*/ 956 w 956"/>
                  <a:gd name="T51" fmla="*/ 403 h 616"/>
                  <a:gd name="T52" fmla="*/ 956 w 956"/>
                  <a:gd name="T53" fmla="*/ 381 h 616"/>
                  <a:gd name="T54" fmla="*/ 956 w 956"/>
                  <a:gd name="T55" fmla="*/ 211 h 616"/>
                  <a:gd name="T56" fmla="*/ 745 w 956"/>
                  <a:gd name="T57" fmla="*/ 0 h 6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56" h="616">
                    <a:moveTo>
                      <a:pt x="745" y="0"/>
                    </a:moveTo>
                    <a:cubicBezTo>
                      <a:pt x="211" y="0"/>
                      <a:pt x="211" y="0"/>
                      <a:pt x="211" y="0"/>
                    </a:cubicBezTo>
                    <a:cubicBezTo>
                      <a:pt x="95" y="0"/>
                      <a:pt x="0" y="95"/>
                      <a:pt x="0" y="211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0" y="403"/>
                      <a:pt x="0" y="403"/>
                      <a:pt x="0" y="403"/>
                    </a:cubicBezTo>
                    <a:cubicBezTo>
                      <a:pt x="0" y="425"/>
                      <a:pt x="0" y="425"/>
                      <a:pt x="0" y="425"/>
                    </a:cubicBezTo>
                    <a:cubicBezTo>
                      <a:pt x="0" y="572"/>
                      <a:pt x="0" y="572"/>
                      <a:pt x="0" y="572"/>
                    </a:cubicBezTo>
                    <a:cubicBezTo>
                      <a:pt x="0" y="596"/>
                      <a:pt x="20" y="616"/>
                      <a:pt x="44" y="616"/>
                    </a:cubicBezTo>
                    <a:cubicBezTo>
                      <a:pt x="45" y="616"/>
                      <a:pt x="45" y="616"/>
                      <a:pt x="45" y="616"/>
                    </a:cubicBezTo>
                    <a:cubicBezTo>
                      <a:pt x="69" y="615"/>
                      <a:pt x="88" y="594"/>
                      <a:pt x="88" y="570"/>
                    </a:cubicBezTo>
                    <a:cubicBezTo>
                      <a:pt x="88" y="425"/>
                      <a:pt x="88" y="425"/>
                      <a:pt x="88" y="425"/>
                    </a:cubicBezTo>
                    <a:cubicBezTo>
                      <a:pt x="88" y="403"/>
                      <a:pt x="88" y="403"/>
                      <a:pt x="88" y="403"/>
                    </a:cubicBezTo>
                    <a:cubicBezTo>
                      <a:pt x="88" y="381"/>
                      <a:pt x="88" y="381"/>
                      <a:pt x="88" y="381"/>
                    </a:cubicBezTo>
                    <a:cubicBezTo>
                      <a:pt x="88" y="211"/>
                      <a:pt x="88" y="211"/>
                      <a:pt x="88" y="211"/>
                    </a:cubicBezTo>
                    <a:cubicBezTo>
                      <a:pt x="88" y="143"/>
                      <a:pt x="143" y="88"/>
                      <a:pt x="211" y="88"/>
                    </a:cubicBezTo>
                    <a:cubicBezTo>
                      <a:pt x="745" y="88"/>
                      <a:pt x="745" y="88"/>
                      <a:pt x="745" y="88"/>
                    </a:cubicBezTo>
                    <a:cubicBezTo>
                      <a:pt x="813" y="88"/>
                      <a:pt x="868" y="143"/>
                      <a:pt x="868" y="211"/>
                    </a:cubicBezTo>
                    <a:cubicBezTo>
                      <a:pt x="868" y="381"/>
                      <a:pt x="868" y="381"/>
                      <a:pt x="868" y="381"/>
                    </a:cubicBezTo>
                    <a:cubicBezTo>
                      <a:pt x="868" y="403"/>
                      <a:pt x="868" y="403"/>
                      <a:pt x="868" y="403"/>
                    </a:cubicBezTo>
                    <a:cubicBezTo>
                      <a:pt x="868" y="425"/>
                      <a:pt x="868" y="425"/>
                      <a:pt x="868" y="425"/>
                    </a:cubicBezTo>
                    <a:cubicBezTo>
                      <a:pt x="868" y="570"/>
                      <a:pt x="868" y="570"/>
                      <a:pt x="868" y="570"/>
                    </a:cubicBezTo>
                    <a:cubicBezTo>
                      <a:pt x="868" y="594"/>
                      <a:pt x="887" y="615"/>
                      <a:pt x="911" y="616"/>
                    </a:cubicBezTo>
                    <a:cubicBezTo>
                      <a:pt x="912" y="616"/>
                      <a:pt x="912" y="616"/>
                      <a:pt x="912" y="616"/>
                    </a:cubicBezTo>
                    <a:cubicBezTo>
                      <a:pt x="936" y="616"/>
                      <a:pt x="956" y="596"/>
                      <a:pt x="956" y="572"/>
                    </a:cubicBezTo>
                    <a:cubicBezTo>
                      <a:pt x="956" y="425"/>
                      <a:pt x="956" y="425"/>
                      <a:pt x="956" y="425"/>
                    </a:cubicBezTo>
                    <a:cubicBezTo>
                      <a:pt x="956" y="403"/>
                      <a:pt x="956" y="403"/>
                      <a:pt x="956" y="403"/>
                    </a:cubicBezTo>
                    <a:cubicBezTo>
                      <a:pt x="956" y="381"/>
                      <a:pt x="956" y="381"/>
                      <a:pt x="956" y="381"/>
                    </a:cubicBezTo>
                    <a:cubicBezTo>
                      <a:pt x="956" y="211"/>
                      <a:pt x="956" y="211"/>
                      <a:pt x="956" y="211"/>
                    </a:cubicBezTo>
                    <a:cubicBezTo>
                      <a:pt x="956" y="95"/>
                      <a:pt x="861" y="0"/>
                      <a:pt x="745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D2F216C-B16C-48B3-A5C2-9F62190032BC}"/>
              </a:ext>
            </a:extLst>
          </p:cNvPr>
          <p:cNvGrpSpPr>
            <a:grpSpLocks noChangeAspect="1"/>
          </p:cNvGrpSpPr>
          <p:nvPr/>
        </p:nvGrpSpPr>
        <p:grpSpPr>
          <a:xfrm>
            <a:off x="3439889" y="1168993"/>
            <a:ext cx="768998" cy="768998"/>
            <a:chOff x="5273675" y="2606675"/>
            <a:chExt cx="1644650" cy="1644650"/>
          </a:xfrm>
        </p:grpSpPr>
        <p:sp>
          <p:nvSpPr>
            <p:cNvPr id="24" name="AutoShape 16">
              <a:extLst>
                <a:ext uri="{FF2B5EF4-FFF2-40B4-BE49-F238E27FC236}">
                  <a16:creationId xmlns:a16="http://schemas.microsoft.com/office/drawing/2014/main" id="{C5A84AD6-219A-4A54-8431-4F9188E5EF8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FE4E5DA-DF52-4741-8AE4-6E25CC24449C}"/>
                </a:ext>
              </a:extLst>
            </p:cNvPr>
            <p:cNvGrpSpPr/>
            <p:nvPr/>
          </p:nvGrpSpPr>
          <p:grpSpPr>
            <a:xfrm>
              <a:off x="5544501" y="2878138"/>
              <a:ext cx="1102998" cy="1101725"/>
              <a:chOff x="5544501" y="2878138"/>
              <a:chExt cx="1102998" cy="1101725"/>
            </a:xfrm>
          </p:grpSpPr>
          <p:sp>
            <p:nvSpPr>
              <p:cNvPr id="26" name="Freeform 39">
                <a:extLst>
                  <a:ext uri="{FF2B5EF4-FFF2-40B4-BE49-F238E27FC236}">
                    <a16:creationId xmlns:a16="http://schemas.microsoft.com/office/drawing/2014/main" id="{A8FBDBDE-3248-452A-9844-0E2D1355A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4501" y="2878138"/>
                <a:ext cx="1102998" cy="1101725"/>
              </a:xfrm>
              <a:custGeom>
                <a:avLst/>
                <a:gdLst>
                  <a:gd name="connsiteX0" fmla="*/ 995289 w 1102998"/>
                  <a:gd name="connsiteY0" fmla="*/ 920750 h 1101725"/>
                  <a:gd name="connsiteX1" fmla="*/ 942705 w 1102998"/>
                  <a:gd name="connsiteY1" fmla="*/ 942170 h 1101725"/>
                  <a:gd name="connsiteX2" fmla="*/ 921387 w 1102998"/>
                  <a:gd name="connsiteY2" fmla="*/ 995006 h 1101725"/>
                  <a:gd name="connsiteX3" fmla="*/ 943416 w 1102998"/>
                  <a:gd name="connsiteY3" fmla="*/ 1048555 h 1101725"/>
                  <a:gd name="connsiteX4" fmla="*/ 996000 w 1102998"/>
                  <a:gd name="connsiteY4" fmla="*/ 1069975 h 1101725"/>
                  <a:gd name="connsiteX5" fmla="*/ 1049294 w 1102998"/>
                  <a:gd name="connsiteY5" fmla="*/ 1049269 h 1101725"/>
                  <a:gd name="connsiteX6" fmla="*/ 1070612 w 1102998"/>
                  <a:gd name="connsiteY6" fmla="*/ 995720 h 1101725"/>
                  <a:gd name="connsiteX7" fmla="*/ 1048584 w 1102998"/>
                  <a:gd name="connsiteY7" fmla="*/ 942884 h 1101725"/>
                  <a:gd name="connsiteX8" fmla="*/ 995289 w 1102998"/>
                  <a:gd name="connsiteY8" fmla="*/ 920750 h 1101725"/>
                  <a:gd name="connsiteX9" fmla="*/ 107710 w 1102998"/>
                  <a:gd name="connsiteY9" fmla="*/ 920750 h 1101725"/>
                  <a:gd name="connsiteX10" fmla="*/ 54416 w 1102998"/>
                  <a:gd name="connsiteY10" fmla="*/ 942884 h 1101725"/>
                  <a:gd name="connsiteX11" fmla="*/ 32387 w 1102998"/>
                  <a:gd name="connsiteY11" fmla="*/ 995720 h 1101725"/>
                  <a:gd name="connsiteX12" fmla="*/ 53705 w 1102998"/>
                  <a:gd name="connsiteY12" fmla="*/ 1049269 h 1101725"/>
                  <a:gd name="connsiteX13" fmla="*/ 107000 w 1102998"/>
                  <a:gd name="connsiteY13" fmla="*/ 1069975 h 1101725"/>
                  <a:gd name="connsiteX14" fmla="*/ 159584 w 1102998"/>
                  <a:gd name="connsiteY14" fmla="*/ 1048555 h 1101725"/>
                  <a:gd name="connsiteX15" fmla="*/ 181612 w 1102998"/>
                  <a:gd name="connsiteY15" fmla="*/ 995006 h 1101725"/>
                  <a:gd name="connsiteX16" fmla="*/ 160294 w 1102998"/>
                  <a:gd name="connsiteY16" fmla="*/ 942170 h 1101725"/>
                  <a:gd name="connsiteX17" fmla="*/ 107710 w 1102998"/>
                  <a:gd name="connsiteY17" fmla="*/ 920750 h 1101725"/>
                  <a:gd name="connsiteX18" fmla="*/ 995283 w 1102998"/>
                  <a:gd name="connsiteY18" fmla="*/ 890587 h 1101725"/>
                  <a:gd name="connsiteX19" fmla="*/ 1071212 w 1102998"/>
                  <a:gd name="connsiteY19" fmla="*/ 920546 h 1101725"/>
                  <a:gd name="connsiteX20" fmla="*/ 1071928 w 1102998"/>
                  <a:gd name="connsiteY20" fmla="*/ 1071053 h 1101725"/>
                  <a:gd name="connsiteX21" fmla="*/ 995999 w 1102998"/>
                  <a:gd name="connsiteY21" fmla="*/ 1101725 h 1101725"/>
                  <a:gd name="connsiteX22" fmla="*/ 920070 w 1102998"/>
                  <a:gd name="connsiteY22" fmla="*/ 1070340 h 1101725"/>
                  <a:gd name="connsiteX23" fmla="*/ 920070 w 1102998"/>
                  <a:gd name="connsiteY23" fmla="*/ 920546 h 1101725"/>
                  <a:gd name="connsiteX24" fmla="*/ 995283 w 1102998"/>
                  <a:gd name="connsiteY24" fmla="*/ 890587 h 1101725"/>
                  <a:gd name="connsiteX25" fmla="*/ 107716 w 1102998"/>
                  <a:gd name="connsiteY25" fmla="*/ 890587 h 1101725"/>
                  <a:gd name="connsiteX26" fmla="*/ 182928 w 1102998"/>
                  <a:gd name="connsiteY26" fmla="*/ 920546 h 1101725"/>
                  <a:gd name="connsiteX27" fmla="*/ 182928 w 1102998"/>
                  <a:gd name="connsiteY27" fmla="*/ 1070340 h 1101725"/>
                  <a:gd name="connsiteX28" fmla="*/ 106999 w 1102998"/>
                  <a:gd name="connsiteY28" fmla="*/ 1101725 h 1101725"/>
                  <a:gd name="connsiteX29" fmla="*/ 31070 w 1102998"/>
                  <a:gd name="connsiteY29" fmla="*/ 1071053 h 1101725"/>
                  <a:gd name="connsiteX30" fmla="*/ 31787 w 1102998"/>
                  <a:gd name="connsiteY30" fmla="*/ 920546 h 1101725"/>
                  <a:gd name="connsiteX31" fmla="*/ 107716 w 1102998"/>
                  <a:gd name="connsiteY31" fmla="*/ 890587 h 1101725"/>
                  <a:gd name="connsiteX32" fmla="*/ 550733 w 1102998"/>
                  <a:gd name="connsiteY32" fmla="*/ 323850 h 1101725"/>
                  <a:gd name="connsiteX33" fmla="*/ 395182 w 1102998"/>
                  <a:gd name="connsiteY33" fmla="*/ 387585 h 1101725"/>
                  <a:gd name="connsiteX34" fmla="*/ 392328 w 1102998"/>
                  <a:gd name="connsiteY34" fmla="*/ 390450 h 1101725"/>
                  <a:gd name="connsiteX35" fmla="*/ 389474 w 1102998"/>
                  <a:gd name="connsiteY35" fmla="*/ 393315 h 1101725"/>
                  <a:gd name="connsiteX36" fmla="*/ 392328 w 1102998"/>
                  <a:gd name="connsiteY36" fmla="*/ 710559 h 1101725"/>
                  <a:gd name="connsiteX37" fmla="*/ 392328 w 1102998"/>
                  <a:gd name="connsiteY37" fmla="*/ 711275 h 1101725"/>
                  <a:gd name="connsiteX38" fmla="*/ 393041 w 1102998"/>
                  <a:gd name="connsiteY38" fmla="*/ 711275 h 1101725"/>
                  <a:gd name="connsiteX39" fmla="*/ 552160 w 1102998"/>
                  <a:gd name="connsiteY39" fmla="*/ 777875 h 1101725"/>
                  <a:gd name="connsiteX40" fmla="*/ 707711 w 1102998"/>
                  <a:gd name="connsiteY40" fmla="*/ 714140 h 1101725"/>
                  <a:gd name="connsiteX41" fmla="*/ 710565 w 1102998"/>
                  <a:gd name="connsiteY41" fmla="*/ 711275 h 1101725"/>
                  <a:gd name="connsiteX42" fmla="*/ 713419 w 1102998"/>
                  <a:gd name="connsiteY42" fmla="*/ 708411 h 1101725"/>
                  <a:gd name="connsiteX43" fmla="*/ 776924 w 1102998"/>
                  <a:gd name="connsiteY43" fmla="*/ 550863 h 1101725"/>
                  <a:gd name="connsiteX44" fmla="*/ 710565 w 1102998"/>
                  <a:gd name="connsiteY44" fmla="*/ 391166 h 1101725"/>
                  <a:gd name="connsiteX45" fmla="*/ 710565 w 1102998"/>
                  <a:gd name="connsiteY45" fmla="*/ 390450 h 1101725"/>
                  <a:gd name="connsiteX46" fmla="*/ 709852 w 1102998"/>
                  <a:gd name="connsiteY46" fmla="*/ 390450 h 1101725"/>
                  <a:gd name="connsiteX47" fmla="*/ 550733 w 1102998"/>
                  <a:gd name="connsiteY47" fmla="*/ 323850 h 1101725"/>
                  <a:gd name="connsiteX48" fmla="*/ 211227 w 1102998"/>
                  <a:gd name="connsiteY48" fmla="*/ 198437 h 1101725"/>
                  <a:gd name="connsiteX49" fmla="*/ 211942 w 1102998"/>
                  <a:gd name="connsiteY49" fmla="*/ 198437 h 1101725"/>
                  <a:gd name="connsiteX50" fmla="*/ 214086 w 1102998"/>
                  <a:gd name="connsiteY50" fmla="*/ 198437 h 1101725"/>
                  <a:gd name="connsiteX51" fmla="*/ 214801 w 1102998"/>
                  <a:gd name="connsiteY51" fmla="*/ 198437 h 1101725"/>
                  <a:gd name="connsiteX52" fmla="*/ 215516 w 1102998"/>
                  <a:gd name="connsiteY52" fmla="*/ 198437 h 1101725"/>
                  <a:gd name="connsiteX53" fmla="*/ 314166 w 1102998"/>
                  <a:gd name="connsiteY53" fmla="*/ 206285 h 1101725"/>
                  <a:gd name="connsiteX54" fmla="*/ 329178 w 1102998"/>
                  <a:gd name="connsiteY54" fmla="*/ 222693 h 1101725"/>
                  <a:gd name="connsiteX55" fmla="*/ 312022 w 1102998"/>
                  <a:gd name="connsiteY55" fmla="*/ 237675 h 1101725"/>
                  <a:gd name="connsiteX56" fmla="*/ 255548 w 1102998"/>
                  <a:gd name="connsiteY56" fmla="*/ 232681 h 1101725"/>
                  <a:gd name="connsiteX57" fmla="*/ 381363 w 1102998"/>
                  <a:gd name="connsiteY57" fmla="*/ 357528 h 1101725"/>
                  <a:gd name="connsiteX58" fmla="*/ 550784 w 1102998"/>
                  <a:gd name="connsiteY58" fmla="*/ 293321 h 1101725"/>
                  <a:gd name="connsiteX59" fmla="*/ 721635 w 1102998"/>
                  <a:gd name="connsiteY59" fmla="*/ 358241 h 1101725"/>
                  <a:gd name="connsiteX60" fmla="*/ 847450 w 1102998"/>
                  <a:gd name="connsiteY60" fmla="*/ 232681 h 1101725"/>
                  <a:gd name="connsiteX61" fmla="*/ 790977 w 1102998"/>
                  <a:gd name="connsiteY61" fmla="*/ 237675 h 1101725"/>
                  <a:gd name="connsiteX62" fmla="*/ 773820 w 1102998"/>
                  <a:gd name="connsiteY62" fmla="*/ 222693 h 1101725"/>
                  <a:gd name="connsiteX63" fmla="*/ 788832 w 1102998"/>
                  <a:gd name="connsiteY63" fmla="*/ 206285 h 1101725"/>
                  <a:gd name="connsiteX64" fmla="*/ 887482 w 1102998"/>
                  <a:gd name="connsiteY64" fmla="*/ 198437 h 1101725"/>
                  <a:gd name="connsiteX65" fmla="*/ 888197 w 1102998"/>
                  <a:gd name="connsiteY65" fmla="*/ 198437 h 1101725"/>
                  <a:gd name="connsiteX66" fmla="*/ 888912 w 1102998"/>
                  <a:gd name="connsiteY66" fmla="*/ 198437 h 1101725"/>
                  <a:gd name="connsiteX67" fmla="*/ 891057 w 1102998"/>
                  <a:gd name="connsiteY67" fmla="*/ 198437 h 1101725"/>
                  <a:gd name="connsiteX68" fmla="*/ 891772 w 1102998"/>
                  <a:gd name="connsiteY68" fmla="*/ 198437 h 1101725"/>
                  <a:gd name="connsiteX69" fmla="*/ 893916 w 1102998"/>
                  <a:gd name="connsiteY69" fmla="*/ 199151 h 1101725"/>
                  <a:gd name="connsiteX70" fmla="*/ 894631 w 1102998"/>
                  <a:gd name="connsiteY70" fmla="*/ 199151 h 1101725"/>
                  <a:gd name="connsiteX71" fmla="*/ 896776 w 1102998"/>
                  <a:gd name="connsiteY71" fmla="*/ 200577 h 1101725"/>
                  <a:gd name="connsiteX72" fmla="*/ 897490 w 1102998"/>
                  <a:gd name="connsiteY72" fmla="*/ 201291 h 1101725"/>
                  <a:gd name="connsiteX73" fmla="*/ 899635 w 1102998"/>
                  <a:gd name="connsiteY73" fmla="*/ 202718 h 1101725"/>
                  <a:gd name="connsiteX74" fmla="*/ 901780 w 1102998"/>
                  <a:gd name="connsiteY74" fmla="*/ 204858 h 1101725"/>
                  <a:gd name="connsiteX75" fmla="*/ 901780 w 1102998"/>
                  <a:gd name="connsiteY75" fmla="*/ 205571 h 1101725"/>
                  <a:gd name="connsiteX76" fmla="*/ 903209 w 1102998"/>
                  <a:gd name="connsiteY76" fmla="*/ 207711 h 1101725"/>
                  <a:gd name="connsiteX77" fmla="*/ 903209 w 1102998"/>
                  <a:gd name="connsiteY77" fmla="*/ 208425 h 1101725"/>
                  <a:gd name="connsiteX78" fmla="*/ 903924 w 1102998"/>
                  <a:gd name="connsiteY78" fmla="*/ 210565 h 1101725"/>
                  <a:gd name="connsiteX79" fmla="*/ 903924 w 1102998"/>
                  <a:gd name="connsiteY79" fmla="*/ 211279 h 1101725"/>
                  <a:gd name="connsiteX80" fmla="*/ 903924 w 1102998"/>
                  <a:gd name="connsiteY80" fmla="*/ 213419 h 1101725"/>
                  <a:gd name="connsiteX81" fmla="*/ 903924 w 1102998"/>
                  <a:gd name="connsiteY81" fmla="*/ 214132 h 1101725"/>
                  <a:gd name="connsiteX82" fmla="*/ 903924 w 1102998"/>
                  <a:gd name="connsiteY82" fmla="*/ 214846 h 1101725"/>
                  <a:gd name="connsiteX83" fmla="*/ 896061 w 1102998"/>
                  <a:gd name="connsiteY83" fmla="*/ 313296 h 1101725"/>
                  <a:gd name="connsiteX84" fmla="*/ 880334 w 1102998"/>
                  <a:gd name="connsiteY84" fmla="*/ 328278 h 1101725"/>
                  <a:gd name="connsiteX85" fmla="*/ 879619 w 1102998"/>
                  <a:gd name="connsiteY85" fmla="*/ 328278 h 1101725"/>
                  <a:gd name="connsiteX86" fmla="*/ 864607 w 1102998"/>
                  <a:gd name="connsiteY86" fmla="*/ 311156 h 1101725"/>
                  <a:gd name="connsiteX87" fmla="*/ 869611 w 1102998"/>
                  <a:gd name="connsiteY87" fmla="*/ 254797 h 1101725"/>
                  <a:gd name="connsiteX88" fmla="*/ 743796 w 1102998"/>
                  <a:gd name="connsiteY88" fmla="*/ 380357 h 1101725"/>
                  <a:gd name="connsiteX89" fmla="*/ 744511 w 1102998"/>
                  <a:gd name="connsiteY89" fmla="*/ 721367 h 1101725"/>
                  <a:gd name="connsiteX90" fmla="*/ 869611 w 1102998"/>
                  <a:gd name="connsiteY90" fmla="*/ 846928 h 1101725"/>
                  <a:gd name="connsiteX91" fmla="*/ 864607 w 1102998"/>
                  <a:gd name="connsiteY91" fmla="*/ 790568 h 1101725"/>
                  <a:gd name="connsiteX92" fmla="*/ 879619 w 1102998"/>
                  <a:gd name="connsiteY92" fmla="*/ 773446 h 1101725"/>
                  <a:gd name="connsiteX93" fmla="*/ 896061 w 1102998"/>
                  <a:gd name="connsiteY93" fmla="*/ 788428 h 1101725"/>
                  <a:gd name="connsiteX94" fmla="*/ 903924 w 1102998"/>
                  <a:gd name="connsiteY94" fmla="*/ 886879 h 1101725"/>
                  <a:gd name="connsiteX95" fmla="*/ 903924 w 1102998"/>
                  <a:gd name="connsiteY95" fmla="*/ 887592 h 1101725"/>
                  <a:gd name="connsiteX96" fmla="*/ 903924 w 1102998"/>
                  <a:gd name="connsiteY96" fmla="*/ 888306 h 1101725"/>
                  <a:gd name="connsiteX97" fmla="*/ 903924 w 1102998"/>
                  <a:gd name="connsiteY97" fmla="*/ 890446 h 1101725"/>
                  <a:gd name="connsiteX98" fmla="*/ 903924 w 1102998"/>
                  <a:gd name="connsiteY98" fmla="*/ 891159 h 1101725"/>
                  <a:gd name="connsiteX99" fmla="*/ 903209 w 1102998"/>
                  <a:gd name="connsiteY99" fmla="*/ 893299 h 1101725"/>
                  <a:gd name="connsiteX100" fmla="*/ 903209 w 1102998"/>
                  <a:gd name="connsiteY100" fmla="*/ 894013 h 1101725"/>
                  <a:gd name="connsiteX101" fmla="*/ 901780 w 1102998"/>
                  <a:gd name="connsiteY101" fmla="*/ 896153 h 1101725"/>
                  <a:gd name="connsiteX102" fmla="*/ 901780 w 1102998"/>
                  <a:gd name="connsiteY102" fmla="*/ 896866 h 1101725"/>
                  <a:gd name="connsiteX103" fmla="*/ 899635 w 1102998"/>
                  <a:gd name="connsiteY103" fmla="*/ 899007 h 1101725"/>
                  <a:gd name="connsiteX104" fmla="*/ 897490 w 1102998"/>
                  <a:gd name="connsiteY104" fmla="*/ 901147 h 1101725"/>
                  <a:gd name="connsiteX105" fmla="*/ 895346 w 1102998"/>
                  <a:gd name="connsiteY105" fmla="*/ 901860 h 1101725"/>
                  <a:gd name="connsiteX106" fmla="*/ 894631 w 1102998"/>
                  <a:gd name="connsiteY106" fmla="*/ 902574 h 1101725"/>
                  <a:gd name="connsiteX107" fmla="*/ 892486 w 1102998"/>
                  <a:gd name="connsiteY107" fmla="*/ 903287 h 1101725"/>
                  <a:gd name="connsiteX108" fmla="*/ 891772 w 1102998"/>
                  <a:gd name="connsiteY108" fmla="*/ 903287 h 1101725"/>
                  <a:gd name="connsiteX109" fmla="*/ 888197 w 1102998"/>
                  <a:gd name="connsiteY109" fmla="*/ 903287 h 1101725"/>
                  <a:gd name="connsiteX110" fmla="*/ 887482 w 1102998"/>
                  <a:gd name="connsiteY110" fmla="*/ 903287 h 1101725"/>
                  <a:gd name="connsiteX111" fmla="*/ 788832 w 1102998"/>
                  <a:gd name="connsiteY111" fmla="*/ 895440 h 1101725"/>
                  <a:gd name="connsiteX112" fmla="*/ 773820 w 1102998"/>
                  <a:gd name="connsiteY112" fmla="*/ 879031 h 1101725"/>
                  <a:gd name="connsiteX113" fmla="*/ 790977 w 1102998"/>
                  <a:gd name="connsiteY113" fmla="*/ 864050 h 1101725"/>
                  <a:gd name="connsiteX114" fmla="*/ 847450 w 1102998"/>
                  <a:gd name="connsiteY114" fmla="*/ 869043 h 1101725"/>
                  <a:gd name="connsiteX115" fmla="*/ 721635 w 1102998"/>
                  <a:gd name="connsiteY115" fmla="*/ 744197 h 1101725"/>
                  <a:gd name="connsiteX116" fmla="*/ 552214 w 1102998"/>
                  <a:gd name="connsiteY116" fmla="*/ 808404 h 1101725"/>
                  <a:gd name="connsiteX117" fmla="*/ 381363 w 1102998"/>
                  <a:gd name="connsiteY117" fmla="*/ 743483 h 1101725"/>
                  <a:gd name="connsiteX118" fmla="*/ 255548 w 1102998"/>
                  <a:gd name="connsiteY118" fmla="*/ 869043 h 1101725"/>
                  <a:gd name="connsiteX119" fmla="*/ 312022 w 1102998"/>
                  <a:gd name="connsiteY119" fmla="*/ 864050 h 1101725"/>
                  <a:gd name="connsiteX120" fmla="*/ 329178 w 1102998"/>
                  <a:gd name="connsiteY120" fmla="*/ 879031 h 1101725"/>
                  <a:gd name="connsiteX121" fmla="*/ 314166 w 1102998"/>
                  <a:gd name="connsiteY121" fmla="*/ 895440 h 1101725"/>
                  <a:gd name="connsiteX122" fmla="*/ 215516 w 1102998"/>
                  <a:gd name="connsiteY122" fmla="*/ 903287 h 1101725"/>
                  <a:gd name="connsiteX123" fmla="*/ 214801 w 1102998"/>
                  <a:gd name="connsiteY123" fmla="*/ 903287 h 1101725"/>
                  <a:gd name="connsiteX124" fmla="*/ 211227 w 1102998"/>
                  <a:gd name="connsiteY124" fmla="*/ 903287 h 1101725"/>
                  <a:gd name="connsiteX125" fmla="*/ 210512 w 1102998"/>
                  <a:gd name="connsiteY125" fmla="*/ 903287 h 1101725"/>
                  <a:gd name="connsiteX126" fmla="*/ 208367 w 1102998"/>
                  <a:gd name="connsiteY126" fmla="*/ 902574 h 1101725"/>
                  <a:gd name="connsiteX127" fmla="*/ 207653 w 1102998"/>
                  <a:gd name="connsiteY127" fmla="*/ 901860 h 1101725"/>
                  <a:gd name="connsiteX128" fmla="*/ 205508 w 1102998"/>
                  <a:gd name="connsiteY128" fmla="*/ 901147 h 1101725"/>
                  <a:gd name="connsiteX129" fmla="*/ 203363 w 1102998"/>
                  <a:gd name="connsiteY129" fmla="*/ 899007 h 1101725"/>
                  <a:gd name="connsiteX130" fmla="*/ 201219 w 1102998"/>
                  <a:gd name="connsiteY130" fmla="*/ 896866 h 1101725"/>
                  <a:gd name="connsiteX131" fmla="*/ 201219 w 1102998"/>
                  <a:gd name="connsiteY131" fmla="*/ 896153 h 1101725"/>
                  <a:gd name="connsiteX132" fmla="*/ 199789 w 1102998"/>
                  <a:gd name="connsiteY132" fmla="*/ 894013 h 1101725"/>
                  <a:gd name="connsiteX133" fmla="*/ 199789 w 1102998"/>
                  <a:gd name="connsiteY133" fmla="*/ 893299 h 1101725"/>
                  <a:gd name="connsiteX134" fmla="*/ 199074 w 1102998"/>
                  <a:gd name="connsiteY134" fmla="*/ 891159 h 1101725"/>
                  <a:gd name="connsiteX135" fmla="*/ 199074 w 1102998"/>
                  <a:gd name="connsiteY135" fmla="*/ 890446 h 1101725"/>
                  <a:gd name="connsiteX136" fmla="*/ 199074 w 1102998"/>
                  <a:gd name="connsiteY136" fmla="*/ 888306 h 1101725"/>
                  <a:gd name="connsiteX137" fmla="*/ 199074 w 1102998"/>
                  <a:gd name="connsiteY137" fmla="*/ 887592 h 1101725"/>
                  <a:gd name="connsiteX138" fmla="*/ 199074 w 1102998"/>
                  <a:gd name="connsiteY138" fmla="*/ 886879 h 1101725"/>
                  <a:gd name="connsiteX139" fmla="*/ 206938 w 1102998"/>
                  <a:gd name="connsiteY139" fmla="*/ 788428 h 1101725"/>
                  <a:gd name="connsiteX140" fmla="*/ 223379 w 1102998"/>
                  <a:gd name="connsiteY140" fmla="*/ 773446 h 1101725"/>
                  <a:gd name="connsiteX141" fmla="*/ 238391 w 1102998"/>
                  <a:gd name="connsiteY141" fmla="*/ 790568 h 1101725"/>
                  <a:gd name="connsiteX142" fmla="*/ 233387 w 1102998"/>
                  <a:gd name="connsiteY142" fmla="*/ 846928 h 1101725"/>
                  <a:gd name="connsiteX143" fmla="*/ 359202 w 1102998"/>
                  <a:gd name="connsiteY143" fmla="*/ 721367 h 1101725"/>
                  <a:gd name="connsiteX144" fmla="*/ 358488 w 1102998"/>
                  <a:gd name="connsiteY144" fmla="*/ 380357 h 1101725"/>
                  <a:gd name="connsiteX145" fmla="*/ 233387 w 1102998"/>
                  <a:gd name="connsiteY145" fmla="*/ 254797 h 1101725"/>
                  <a:gd name="connsiteX146" fmla="*/ 238391 w 1102998"/>
                  <a:gd name="connsiteY146" fmla="*/ 311156 h 1101725"/>
                  <a:gd name="connsiteX147" fmla="*/ 223379 w 1102998"/>
                  <a:gd name="connsiteY147" fmla="*/ 328278 h 1101725"/>
                  <a:gd name="connsiteX148" fmla="*/ 222665 w 1102998"/>
                  <a:gd name="connsiteY148" fmla="*/ 328278 h 1101725"/>
                  <a:gd name="connsiteX149" fmla="*/ 206938 w 1102998"/>
                  <a:gd name="connsiteY149" fmla="*/ 313296 h 1101725"/>
                  <a:gd name="connsiteX150" fmla="*/ 199074 w 1102998"/>
                  <a:gd name="connsiteY150" fmla="*/ 214846 h 1101725"/>
                  <a:gd name="connsiteX151" fmla="*/ 199074 w 1102998"/>
                  <a:gd name="connsiteY151" fmla="*/ 214132 h 1101725"/>
                  <a:gd name="connsiteX152" fmla="*/ 199074 w 1102998"/>
                  <a:gd name="connsiteY152" fmla="*/ 213419 h 1101725"/>
                  <a:gd name="connsiteX153" fmla="*/ 199074 w 1102998"/>
                  <a:gd name="connsiteY153" fmla="*/ 211279 h 1101725"/>
                  <a:gd name="connsiteX154" fmla="*/ 199074 w 1102998"/>
                  <a:gd name="connsiteY154" fmla="*/ 210565 h 1101725"/>
                  <a:gd name="connsiteX155" fmla="*/ 199789 w 1102998"/>
                  <a:gd name="connsiteY155" fmla="*/ 208425 h 1101725"/>
                  <a:gd name="connsiteX156" fmla="*/ 199789 w 1102998"/>
                  <a:gd name="connsiteY156" fmla="*/ 207711 h 1101725"/>
                  <a:gd name="connsiteX157" fmla="*/ 201219 w 1102998"/>
                  <a:gd name="connsiteY157" fmla="*/ 205571 h 1101725"/>
                  <a:gd name="connsiteX158" fmla="*/ 201219 w 1102998"/>
                  <a:gd name="connsiteY158" fmla="*/ 204858 h 1101725"/>
                  <a:gd name="connsiteX159" fmla="*/ 203363 w 1102998"/>
                  <a:gd name="connsiteY159" fmla="*/ 202718 h 1101725"/>
                  <a:gd name="connsiteX160" fmla="*/ 205508 w 1102998"/>
                  <a:gd name="connsiteY160" fmla="*/ 201291 h 1101725"/>
                  <a:gd name="connsiteX161" fmla="*/ 206223 w 1102998"/>
                  <a:gd name="connsiteY161" fmla="*/ 200577 h 1101725"/>
                  <a:gd name="connsiteX162" fmla="*/ 208367 w 1102998"/>
                  <a:gd name="connsiteY162" fmla="*/ 199864 h 1101725"/>
                  <a:gd name="connsiteX163" fmla="*/ 209082 w 1102998"/>
                  <a:gd name="connsiteY163" fmla="*/ 199151 h 1101725"/>
                  <a:gd name="connsiteX164" fmla="*/ 211227 w 1102998"/>
                  <a:gd name="connsiteY164" fmla="*/ 198437 h 1101725"/>
                  <a:gd name="connsiteX165" fmla="*/ 996000 w 1102998"/>
                  <a:gd name="connsiteY165" fmla="*/ 31750 h 1101725"/>
                  <a:gd name="connsiteX166" fmla="*/ 943416 w 1102998"/>
                  <a:gd name="connsiteY166" fmla="*/ 53779 h 1101725"/>
                  <a:gd name="connsiteX167" fmla="*/ 921387 w 1102998"/>
                  <a:gd name="connsiteY167" fmla="*/ 106363 h 1101725"/>
                  <a:gd name="connsiteX168" fmla="*/ 942705 w 1102998"/>
                  <a:gd name="connsiteY168" fmla="*/ 159657 h 1101725"/>
                  <a:gd name="connsiteX169" fmla="*/ 995289 w 1102998"/>
                  <a:gd name="connsiteY169" fmla="*/ 180975 h 1101725"/>
                  <a:gd name="connsiteX170" fmla="*/ 1048584 w 1102998"/>
                  <a:gd name="connsiteY170" fmla="*/ 158947 h 1101725"/>
                  <a:gd name="connsiteX171" fmla="*/ 1070612 w 1102998"/>
                  <a:gd name="connsiteY171" fmla="*/ 106363 h 1101725"/>
                  <a:gd name="connsiteX172" fmla="*/ 1049294 w 1102998"/>
                  <a:gd name="connsiteY172" fmla="*/ 53068 h 1101725"/>
                  <a:gd name="connsiteX173" fmla="*/ 996000 w 1102998"/>
                  <a:gd name="connsiteY173" fmla="*/ 31750 h 1101725"/>
                  <a:gd name="connsiteX174" fmla="*/ 107000 w 1102998"/>
                  <a:gd name="connsiteY174" fmla="*/ 31750 h 1101725"/>
                  <a:gd name="connsiteX175" fmla="*/ 53705 w 1102998"/>
                  <a:gd name="connsiteY175" fmla="*/ 53068 h 1101725"/>
                  <a:gd name="connsiteX176" fmla="*/ 32387 w 1102998"/>
                  <a:gd name="connsiteY176" fmla="*/ 106363 h 1101725"/>
                  <a:gd name="connsiteX177" fmla="*/ 54416 w 1102998"/>
                  <a:gd name="connsiteY177" fmla="*/ 158947 h 1101725"/>
                  <a:gd name="connsiteX178" fmla="*/ 107710 w 1102998"/>
                  <a:gd name="connsiteY178" fmla="*/ 180975 h 1101725"/>
                  <a:gd name="connsiteX179" fmla="*/ 160294 w 1102998"/>
                  <a:gd name="connsiteY179" fmla="*/ 159657 h 1101725"/>
                  <a:gd name="connsiteX180" fmla="*/ 181612 w 1102998"/>
                  <a:gd name="connsiteY180" fmla="*/ 106363 h 1101725"/>
                  <a:gd name="connsiteX181" fmla="*/ 159584 w 1102998"/>
                  <a:gd name="connsiteY181" fmla="*/ 53779 h 1101725"/>
                  <a:gd name="connsiteX182" fmla="*/ 107000 w 1102998"/>
                  <a:gd name="connsiteY182" fmla="*/ 31750 h 1101725"/>
                  <a:gd name="connsiteX183" fmla="*/ 995999 w 1102998"/>
                  <a:gd name="connsiteY183" fmla="*/ 0 h 1101725"/>
                  <a:gd name="connsiteX184" fmla="*/ 1071928 w 1102998"/>
                  <a:gd name="connsiteY184" fmla="*/ 29959 h 1101725"/>
                  <a:gd name="connsiteX185" fmla="*/ 1071212 w 1102998"/>
                  <a:gd name="connsiteY185" fmla="*/ 181179 h 1101725"/>
                  <a:gd name="connsiteX186" fmla="*/ 995283 w 1102998"/>
                  <a:gd name="connsiteY186" fmla="*/ 211138 h 1101725"/>
                  <a:gd name="connsiteX187" fmla="*/ 920070 w 1102998"/>
                  <a:gd name="connsiteY187" fmla="*/ 181179 h 1101725"/>
                  <a:gd name="connsiteX188" fmla="*/ 920070 w 1102998"/>
                  <a:gd name="connsiteY188" fmla="*/ 30672 h 1101725"/>
                  <a:gd name="connsiteX189" fmla="*/ 995999 w 1102998"/>
                  <a:gd name="connsiteY189" fmla="*/ 0 h 1101725"/>
                  <a:gd name="connsiteX190" fmla="*/ 106999 w 1102998"/>
                  <a:gd name="connsiteY190" fmla="*/ 0 h 1101725"/>
                  <a:gd name="connsiteX191" fmla="*/ 182928 w 1102998"/>
                  <a:gd name="connsiteY191" fmla="*/ 30672 h 1101725"/>
                  <a:gd name="connsiteX192" fmla="*/ 182928 w 1102998"/>
                  <a:gd name="connsiteY192" fmla="*/ 181179 h 1101725"/>
                  <a:gd name="connsiteX193" fmla="*/ 107716 w 1102998"/>
                  <a:gd name="connsiteY193" fmla="*/ 211138 h 1101725"/>
                  <a:gd name="connsiteX194" fmla="*/ 31787 w 1102998"/>
                  <a:gd name="connsiteY194" fmla="*/ 181179 h 1101725"/>
                  <a:gd name="connsiteX195" fmla="*/ 31070 w 1102998"/>
                  <a:gd name="connsiteY195" fmla="*/ 29959 h 1101725"/>
                  <a:gd name="connsiteX196" fmla="*/ 106999 w 1102998"/>
                  <a:gd name="connsiteY196" fmla="*/ 0 h 1101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</a:cxnLst>
                <a:rect l="l" t="t" r="r" b="b"/>
                <a:pathLst>
                  <a:path w="1102998" h="1101725">
                    <a:moveTo>
                      <a:pt x="995289" y="920750"/>
                    </a:moveTo>
                    <a:cubicBezTo>
                      <a:pt x="975392" y="920750"/>
                      <a:pt x="956917" y="928604"/>
                      <a:pt x="942705" y="942170"/>
                    </a:cubicBezTo>
                    <a:cubicBezTo>
                      <a:pt x="928493" y="956450"/>
                      <a:pt x="921387" y="975728"/>
                      <a:pt x="921387" y="995006"/>
                    </a:cubicBezTo>
                    <a:cubicBezTo>
                      <a:pt x="921387" y="1015711"/>
                      <a:pt x="929204" y="1034275"/>
                      <a:pt x="943416" y="1048555"/>
                    </a:cubicBezTo>
                    <a:cubicBezTo>
                      <a:pt x="957628" y="1062835"/>
                      <a:pt x="975392" y="1069975"/>
                      <a:pt x="996000" y="1069975"/>
                    </a:cubicBezTo>
                    <a:cubicBezTo>
                      <a:pt x="1015896" y="1069975"/>
                      <a:pt x="1035082" y="1062835"/>
                      <a:pt x="1049294" y="1049269"/>
                    </a:cubicBezTo>
                    <a:cubicBezTo>
                      <a:pt x="1062796" y="1034989"/>
                      <a:pt x="1070612" y="1015711"/>
                      <a:pt x="1070612" y="995720"/>
                    </a:cubicBezTo>
                    <a:cubicBezTo>
                      <a:pt x="1070612" y="975728"/>
                      <a:pt x="1062796" y="957164"/>
                      <a:pt x="1048584" y="942884"/>
                    </a:cubicBezTo>
                    <a:cubicBezTo>
                      <a:pt x="1034372" y="928604"/>
                      <a:pt x="1015896" y="920750"/>
                      <a:pt x="995289" y="920750"/>
                    </a:cubicBezTo>
                    <a:close/>
                    <a:moveTo>
                      <a:pt x="107710" y="920750"/>
                    </a:moveTo>
                    <a:cubicBezTo>
                      <a:pt x="87103" y="920750"/>
                      <a:pt x="68628" y="928604"/>
                      <a:pt x="54416" y="942884"/>
                    </a:cubicBezTo>
                    <a:cubicBezTo>
                      <a:pt x="40204" y="957164"/>
                      <a:pt x="32387" y="975728"/>
                      <a:pt x="32387" y="995720"/>
                    </a:cubicBezTo>
                    <a:cubicBezTo>
                      <a:pt x="32387" y="1015711"/>
                      <a:pt x="40204" y="1034989"/>
                      <a:pt x="53705" y="1049269"/>
                    </a:cubicBezTo>
                    <a:cubicBezTo>
                      <a:pt x="67917" y="1062835"/>
                      <a:pt x="87103" y="1069975"/>
                      <a:pt x="107000" y="1069975"/>
                    </a:cubicBezTo>
                    <a:cubicBezTo>
                      <a:pt x="127607" y="1069975"/>
                      <a:pt x="145372" y="1062835"/>
                      <a:pt x="159584" y="1048555"/>
                    </a:cubicBezTo>
                    <a:cubicBezTo>
                      <a:pt x="173796" y="1034275"/>
                      <a:pt x="181612" y="1015711"/>
                      <a:pt x="181612" y="995006"/>
                    </a:cubicBezTo>
                    <a:cubicBezTo>
                      <a:pt x="181612" y="975728"/>
                      <a:pt x="174506" y="956450"/>
                      <a:pt x="160294" y="942170"/>
                    </a:cubicBezTo>
                    <a:cubicBezTo>
                      <a:pt x="146082" y="928604"/>
                      <a:pt x="127607" y="920750"/>
                      <a:pt x="107710" y="920750"/>
                    </a:cubicBezTo>
                    <a:close/>
                    <a:moveTo>
                      <a:pt x="995283" y="890587"/>
                    </a:moveTo>
                    <a:cubicBezTo>
                      <a:pt x="1023219" y="890587"/>
                      <a:pt x="1050439" y="899860"/>
                      <a:pt x="1071212" y="920546"/>
                    </a:cubicBezTo>
                    <a:cubicBezTo>
                      <a:pt x="1113474" y="962631"/>
                      <a:pt x="1113474" y="1029681"/>
                      <a:pt x="1071928" y="1071053"/>
                    </a:cubicBezTo>
                    <a:cubicBezTo>
                      <a:pt x="1050439" y="1091739"/>
                      <a:pt x="1023219" y="1101725"/>
                      <a:pt x="995999" y="1101725"/>
                    </a:cubicBezTo>
                    <a:cubicBezTo>
                      <a:pt x="968063" y="1101725"/>
                      <a:pt x="941560" y="1091739"/>
                      <a:pt x="920070" y="1070340"/>
                    </a:cubicBezTo>
                    <a:cubicBezTo>
                      <a:pt x="878524" y="1029681"/>
                      <a:pt x="878524" y="962631"/>
                      <a:pt x="920070" y="920546"/>
                    </a:cubicBezTo>
                    <a:cubicBezTo>
                      <a:pt x="941560" y="899860"/>
                      <a:pt x="968063" y="890587"/>
                      <a:pt x="995283" y="890587"/>
                    </a:cubicBezTo>
                    <a:close/>
                    <a:moveTo>
                      <a:pt x="107716" y="890587"/>
                    </a:moveTo>
                    <a:cubicBezTo>
                      <a:pt x="134935" y="890587"/>
                      <a:pt x="161439" y="899860"/>
                      <a:pt x="182928" y="920546"/>
                    </a:cubicBezTo>
                    <a:cubicBezTo>
                      <a:pt x="224474" y="962631"/>
                      <a:pt x="224474" y="1029681"/>
                      <a:pt x="182928" y="1070340"/>
                    </a:cubicBezTo>
                    <a:cubicBezTo>
                      <a:pt x="161439" y="1091739"/>
                      <a:pt x="134935" y="1101725"/>
                      <a:pt x="106999" y="1101725"/>
                    </a:cubicBezTo>
                    <a:cubicBezTo>
                      <a:pt x="79779" y="1101725"/>
                      <a:pt x="52560" y="1091739"/>
                      <a:pt x="31070" y="1071053"/>
                    </a:cubicBezTo>
                    <a:cubicBezTo>
                      <a:pt x="-10476" y="1029681"/>
                      <a:pt x="-10476" y="962631"/>
                      <a:pt x="31787" y="920546"/>
                    </a:cubicBezTo>
                    <a:cubicBezTo>
                      <a:pt x="52560" y="899860"/>
                      <a:pt x="79779" y="890587"/>
                      <a:pt x="107716" y="890587"/>
                    </a:cubicBezTo>
                    <a:close/>
                    <a:moveTo>
                      <a:pt x="550733" y="323850"/>
                    </a:moveTo>
                    <a:cubicBezTo>
                      <a:pt x="492223" y="323850"/>
                      <a:pt x="436567" y="346766"/>
                      <a:pt x="395182" y="387585"/>
                    </a:cubicBezTo>
                    <a:cubicBezTo>
                      <a:pt x="394468" y="388302"/>
                      <a:pt x="393755" y="389734"/>
                      <a:pt x="392328" y="390450"/>
                    </a:cubicBezTo>
                    <a:cubicBezTo>
                      <a:pt x="391614" y="391882"/>
                      <a:pt x="390187" y="392598"/>
                      <a:pt x="389474" y="393315"/>
                    </a:cubicBezTo>
                    <a:cubicBezTo>
                      <a:pt x="303849" y="481398"/>
                      <a:pt x="305276" y="623192"/>
                      <a:pt x="392328" y="710559"/>
                    </a:cubicBezTo>
                    <a:cubicBezTo>
                      <a:pt x="392328" y="711275"/>
                      <a:pt x="392328" y="711275"/>
                      <a:pt x="392328" y="711275"/>
                    </a:cubicBezTo>
                    <a:cubicBezTo>
                      <a:pt x="392328" y="711275"/>
                      <a:pt x="392328" y="711275"/>
                      <a:pt x="393041" y="711275"/>
                    </a:cubicBezTo>
                    <a:cubicBezTo>
                      <a:pt x="435140" y="754243"/>
                      <a:pt x="491509" y="777875"/>
                      <a:pt x="552160" y="777875"/>
                    </a:cubicBezTo>
                    <a:cubicBezTo>
                      <a:pt x="610670" y="777875"/>
                      <a:pt x="666326" y="754959"/>
                      <a:pt x="707711" y="714140"/>
                    </a:cubicBezTo>
                    <a:cubicBezTo>
                      <a:pt x="708425" y="713424"/>
                      <a:pt x="709138" y="711991"/>
                      <a:pt x="710565" y="711275"/>
                    </a:cubicBezTo>
                    <a:cubicBezTo>
                      <a:pt x="711279" y="709843"/>
                      <a:pt x="712706" y="709127"/>
                      <a:pt x="713419" y="708411"/>
                    </a:cubicBezTo>
                    <a:cubicBezTo>
                      <a:pt x="754091" y="666159"/>
                      <a:pt x="776924" y="610301"/>
                      <a:pt x="776924" y="550863"/>
                    </a:cubicBezTo>
                    <a:cubicBezTo>
                      <a:pt x="776924" y="490708"/>
                      <a:pt x="753378" y="434134"/>
                      <a:pt x="710565" y="391166"/>
                    </a:cubicBezTo>
                    <a:cubicBezTo>
                      <a:pt x="710565" y="390450"/>
                      <a:pt x="710565" y="390450"/>
                      <a:pt x="710565" y="390450"/>
                    </a:cubicBezTo>
                    <a:cubicBezTo>
                      <a:pt x="710565" y="390450"/>
                      <a:pt x="710565" y="390450"/>
                      <a:pt x="709852" y="390450"/>
                    </a:cubicBezTo>
                    <a:cubicBezTo>
                      <a:pt x="667753" y="347482"/>
                      <a:pt x="611384" y="323850"/>
                      <a:pt x="550733" y="323850"/>
                    </a:cubicBezTo>
                    <a:close/>
                    <a:moveTo>
                      <a:pt x="211227" y="198437"/>
                    </a:moveTo>
                    <a:cubicBezTo>
                      <a:pt x="211227" y="198437"/>
                      <a:pt x="211227" y="198437"/>
                      <a:pt x="211942" y="198437"/>
                    </a:cubicBezTo>
                    <a:cubicBezTo>
                      <a:pt x="212657" y="198437"/>
                      <a:pt x="213371" y="198437"/>
                      <a:pt x="214086" y="198437"/>
                    </a:cubicBezTo>
                    <a:cubicBezTo>
                      <a:pt x="214801" y="198437"/>
                      <a:pt x="214801" y="198437"/>
                      <a:pt x="214801" y="198437"/>
                    </a:cubicBezTo>
                    <a:cubicBezTo>
                      <a:pt x="215516" y="198437"/>
                      <a:pt x="215516" y="198437"/>
                      <a:pt x="215516" y="198437"/>
                    </a:cubicBezTo>
                    <a:cubicBezTo>
                      <a:pt x="215516" y="198437"/>
                      <a:pt x="215516" y="198437"/>
                      <a:pt x="314166" y="206285"/>
                    </a:cubicBezTo>
                    <a:cubicBezTo>
                      <a:pt x="322745" y="206998"/>
                      <a:pt x="329893" y="214132"/>
                      <a:pt x="329178" y="222693"/>
                    </a:cubicBezTo>
                    <a:cubicBezTo>
                      <a:pt x="328464" y="231254"/>
                      <a:pt x="320600" y="237675"/>
                      <a:pt x="312022" y="237675"/>
                    </a:cubicBezTo>
                    <a:cubicBezTo>
                      <a:pt x="312022" y="237675"/>
                      <a:pt x="312022" y="237675"/>
                      <a:pt x="255548" y="232681"/>
                    </a:cubicBezTo>
                    <a:cubicBezTo>
                      <a:pt x="255548" y="232681"/>
                      <a:pt x="255548" y="232681"/>
                      <a:pt x="381363" y="357528"/>
                    </a:cubicBezTo>
                    <a:cubicBezTo>
                      <a:pt x="429259" y="314723"/>
                      <a:pt x="490021" y="293321"/>
                      <a:pt x="550784" y="293321"/>
                    </a:cubicBezTo>
                    <a:cubicBezTo>
                      <a:pt x="612262" y="293321"/>
                      <a:pt x="673740" y="314723"/>
                      <a:pt x="721635" y="358241"/>
                    </a:cubicBezTo>
                    <a:cubicBezTo>
                      <a:pt x="721635" y="358241"/>
                      <a:pt x="721635" y="358241"/>
                      <a:pt x="847450" y="232681"/>
                    </a:cubicBezTo>
                    <a:cubicBezTo>
                      <a:pt x="847450" y="232681"/>
                      <a:pt x="847450" y="232681"/>
                      <a:pt x="790977" y="237675"/>
                    </a:cubicBezTo>
                    <a:cubicBezTo>
                      <a:pt x="782398" y="238388"/>
                      <a:pt x="774535" y="231254"/>
                      <a:pt x="773820" y="222693"/>
                    </a:cubicBezTo>
                    <a:cubicBezTo>
                      <a:pt x="773820" y="214132"/>
                      <a:pt x="780254" y="206998"/>
                      <a:pt x="788832" y="206285"/>
                    </a:cubicBezTo>
                    <a:cubicBezTo>
                      <a:pt x="788832" y="206285"/>
                      <a:pt x="788832" y="206285"/>
                      <a:pt x="887482" y="198437"/>
                    </a:cubicBezTo>
                    <a:cubicBezTo>
                      <a:pt x="887482" y="198437"/>
                      <a:pt x="887482" y="198437"/>
                      <a:pt x="888197" y="198437"/>
                    </a:cubicBezTo>
                    <a:cubicBezTo>
                      <a:pt x="888197" y="198437"/>
                      <a:pt x="888197" y="198437"/>
                      <a:pt x="888912" y="198437"/>
                    </a:cubicBezTo>
                    <a:cubicBezTo>
                      <a:pt x="889627" y="198437"/>
                      <a:pt x="890342" y="198437"/>
                      <a:pt x="891057" y="198437"/>
                    </a:cubicBezTo>
                    <a:cubicBezTo>
                      <a:pt x="891057" y="198437"/>
                      <a:pt x="891057" y="198437"/>
                      <a:pt x="891772" y="198437"/>
                    </a:cubicBezTo>
                    <a:cubicBezTo>
                      <a:pt x="892486" y="198437"/>
                      <a:pt x="893201" y="199151"/>
                      <a:pt x="893916" y="199151"/>
                    </a:cubicBezTo>
                    <a:cubicBezTo>
                      <a:pt x="894631" y="199151"/>
                      <a:pt x="894631" y="199151"/>
                      <a:pt x="894631" y="199151"/>
                    </a:cubicBezTo>
                    <a:cubicBezTo>
                      <a:pt x="895346" y="199864"/>
                      <a:pt x="896061" y="200577"/>
                      <a:pt x="896776" y="200577"/>
                    </a:cubicBezTo>
                    <a:cubicBezTo>
                      <a:pt x="896776" y="200577"/>
                      <a:pt x="897490" y="200577"/>
                      <a:pt x="897490" y="201291"/>
                    </a:cubicBezTo>
                    <a:cubicBezTo>
                      <a:pt x="898205" y="201291"/>
                      <a:pt x="898920" y="202004"/>
                      <a:pt x="899635" y="202718"/>
                    </a:cubicBezTo>
                    <a:cubicBezTo>
                      <a:pt x="900350" y="203431"/>
                      <a:pt x="901065" y="204144"/>
                      <a:pt x="901780" y="204858"/>
                    </a:cubicBezTo>
                    <a:cubicBezTo>
                      <a:pt x="901780" y="204858"/>
                      <a:pt x="901780" y="204858"/>
                      <a:pt x="901780" y="205571"/>
                    </a:cubicBezTo>
                    <a:cubicBezTo>
                      <a:pt x="901780" y="206285"/>
                      <a:pt x="902495" y="206998"/>
                      <a:pt x="903209" y="207711"/>
                    </a:cubicBezTo>
                    <a:cubicBezTo>
                      <a:pt x="903209" y="207711"/>
                      <a:pt x="903209" y="207711"/>
                      <a:pt x="903209" y="208425"/>
                    </a:cubicBezTo>
                    <a:cubicBezTo>
                      <a:pt x="903209" y="209138"/>
                      <a:pt x="903924" y="209852"/>
                      <a:pt x="903924" y="210565"/>
                    </a:cubicBezTo>
                    <a:cubicBezTo>
                      <a:pt x="903924" y="210565"/>
                      <a:pt x="903924" y="210565"/>
                      <a:pt x="903924" y="211279"/>
                    </a:cubicBezTo>
                    <a:cubicBezTo>
                      <a:pt x="903924" y="211992"/>
                      <a:pt x="903924" y="212705"/>
                      <a:pt x="903924" y="213419"/>
                    </a:cubicBezTo>
                    <a:cubicBezTo>
                      <a:pt x="903924" y="214132"/>
                      <a:pt x="903924" y="214132"/>
                      <a:pt x="903924" y="214132"/>
                    </a:cubicBezTo>
                    <a:cubicBezTo>
                      <a:pt x="903924" y="214132"/>
                      <a:pt x="903924" y="214132"/>
                      <a:pt x="903924" y="214846"/>
                    </a:cubicBezTo>
                    <a:cubicBezTo>
                      <a:pt x="903924" y="214846"/>
                      <a:pt x="903924" y="214846"/>
                      <a:pt x="896061" y="313296"/>
                    </a:cubicBezTo>
                    <a:cubicBezTo>
                      <a:pt x="895346" y="321857"/>
                      <a:pt x="888912" y="328278"/>
                      <a:pt x="880334" y="328278"/>
                    </a:cubicBezTo>
                    <a:cubicBezTo>
                      <a:pt x="880334" y="328278"/>
                      <a:pt x="880334" y="328278"/>
                      <a:pt x="879619" y="328278"/>
                    </a:cubicBezTo>
                    <a:cubicBezTo>
                      <a:pt x="871041" y="327565"/>
                      <a:pt x="864607" y="319717"/>
                      <a:pt x="864607" y="311156"/>
                    </a:cubicBezTo>
                    <a:cubicBezTo>
                      <a:pt x="864607" y="311156"/>
                      <a:pt x="864607" y="311156"/>
                      <a:pt x="869611" y="254797"/>
                    </a:cubicBezTo>
                    <a:cubicBezTo>
                      <a:pt x="869611" y="254797"/>
                      <a:pt x="869611" y="254797"/>
                      <a:pt x="743796" y="380357"/>
                    </a:cubicBezTo>
                    <a:cubicBezTo>
                      <a:pt x="830294" y="478094"/>
                      <a:pt x="830294" y="624343"/>
                      <a:pt x="744511" y="721367"/>
                    </a:cubicBezTo>
                    <a:cubicBezTo>
                      <a:pt x="744511" y="721367"/>
                      <a:pt x="744511" y="721367"/>
                      <a:pt x="869611" y="846928"/>
                    </a:cubicBezTo>
                    <a:cubicBezTo>
                      <a:pt x="869611" y="846928"/>
                      <a:pt x="869611" y="846928"/>
                      <a:pt x="864607" y="790568"/>
                    </a:cubicBezTo>
                    <a:cubicBezTo>
                      <a:pt x="864607" y="782007"/>
                      <a:pt x="871041" y="774160"/>
                      <a:pt x="879619" y="773446"/>
                    </a:cubicBezTo>
                    <a:cubicBezTo>
                      <a:pt x="888197" y="772733"/>
                      <a:pt x="895346" y="779867"/>
                      <a:pt x="896061" y="788428"/>
                    </a:cubicBezTo>
                    <a:cubicBezTo>
                      <a:pt x="896061" y="788428"/>
                      <a:pt x="896061" y="788428"/>
                      <a:pt x="903924" y="886879"/>
                    </a:cubicBezTo>
                    <a:cubicBezTo>
                      <a:pt x="903924" y="886879"/>
                      <a:pt x="903924" y="886879"/>
                      <a:pt x="903924" y="887592"/>
                    </a:cubicBezTo>
                    <a:cubicBezTo>
                      <a:pt x="903924" y="887592"/>
                      <a:pt x="903924" y="887592"/>
                      <a:pt x="903924" y="888306"/>
                    </a:cubicBezTo>
                    <a:cubicBezTo>
                      <a:pt x="903924" y="889019"/>
                      <a:pt x="903924" y="889732"/>
                      <a:pt x="903924" y="890446"/>
                    </a:cubicBezTo>
                    <a:cubicBezTo>
                      <a:pt x="903924" y="890446"/>
                      <a:pt x="903924" y="890446"/>
                      <a:pt x="903924" y="891159"/>
                    </a:cubicBezTo>
                    <a:cubicBezTo>
                      <a:pt x="903924" y="891873"/>
                      <a:pt x="903209" y="892586"/>
                      <a:pt x="903209" y="893299"/>
                    </a:cubicBezTo>
                    <a:cubicBezTo>
                      <a:pt x="903209" y="894013"/>
                      <a:pt x="903209" y="894013"/>
                      <a:pt x="903209" y="894013"/>
                    </a:cubicBezTo>
                    <a:cubicBezTo>
                      <a:pt x="902495" y="894726"/>
                      <a:pt x="901780" y="895440"/>
                      <a:pt x="901780" y="896153"/>
                    </a:cubicBezTo>
                    <a:cubicBezTo>
                      <a:pt x="901780" y="896153"/>
                      <a:pt x="901780" y="896153"/>
                      <a:pt x="901780" y="896866"/>
                    </a:cubicBezTo>
                    <a:cubicBezTo>
                      <a:pt x="901065" y="897580"/>
                      <a:pt x="900350" y="898293"/>
                      <a:pt x="899635" y="899007"/>
                    </a:cubicBezTo>
                    <a:cubicBezTo>
                      <a:pt x="898920" y="899720"/>
                      <a:pt x="898205" y="900434"/>
                      <a:pt x="897490" y="901147"/>
                    </a:cubicBezTo>
                    <a:cubicBezTo>
                      <a:pt x="896776" y="901147"/>
                      <a:pt x="896061" y="901860"/>
                      <a:pt x="895346" y="901860"/>
                    </a:cubicBezTo>
                    <a:cubicBezTo>
                      <a:pt x="895346" y="901860"/>
                      <a:pt x="894631" y="901860"/>
                      <a:pt x="894631" y="902574"/>
                    </a:cubicBezTo>
                    <a:cubicBezTo>
                      <a:pt x="893916" y="902574"/>
                      <a:pt x="893201" y="902574"/>
                      <a:pt x="892486" y="903287"/>
                    </a:cubicBezTo>
                    <a:cubicBezTo>
                      <a:pt x="891772" y="903287"/>
                      <a:pt x="891772" y="903287"/>
                      <a:pt x="891772" y="903287"/>
                    </a:cubicBezTo>
                    <a:cubicBezTo>
                      <a:pt x="890342" y="903287"/>
                      <a:pt x="889627" y="903287"/>
                      <a:pt x="888197" y="903287"/>
                    </a:cubicBezTo>
                    <a:cubicBezTo>
                      <a:pt x="888197" y="903287"/>
                      <a:pt x="888197" y="903287"/>
                      <a:pt x="887482" y="903287"/>
                    </a:cubicBezTo>
                    <a:cubicBezTo>
                      <a:pt x="887482" y="903287"/>
                      <a:pt x="887482" y="903287"/>
                      <a:pt x="788832" y="895440"/>
                    </a:cubicBezTo>
                    <a:cubicBezTo>
                      <a:pt x="780254" y="894726"/>
                      <a:pt x="773820" y="887592"/>
                      <a:pt x="773820" y="879031"/>
                    </a:cubicBezTo>
                    <a:cubicBezTo>
                      <a:pt x="774535" y="870470"/>
                      <a:pt x="782398" y="864050"/>
                      <a:pt x="790977" y="864050"/>
                    </a:cubicBezTo>
                    <a:cubicBezTo>
                      <a:pt x="790977" y="864050"/>
                      <a:pt x="790977" y="864050"/>
                      <a:pt x="847450" y="869043"/>
                    </a:cubicBezTo>
                    <a:cubicBezTo>
                      <a:pt x="847450" y="869043"/>
                      <a:pt x="847450" y="869043"/>
                      <a:pt x="721635" y="744197"/>
                    </a:cubicBezTo>
                    <a:cubicBezTo>
                      <a:pt x="673740" y="787001"/>
                      <a:pt x="612977" y="808404"/>
                      <a:pt x="552214" y="808404"/>
                    </a:cubicBezTo>
                    <a:cubicBezTo>
                      <a:pt x="490736" y="808404"/>
                      <a:pt x="429259" y="787001"/>
                      <a:pt x="381363" y="743483"/>
                    </a:cubicBezTo>
                    <a:cubicBezTo>
                      <a:pt x="381363" y="743483"/>
                      <a:pt x="381363" y="743483"/>
                      <a:pt x="255548" y="869043"/>
                    </a:cubicBezTo>
                    <a:cubicBezTo>
                      <a:pt x="255548" y="869043"/>
                      <a:pt x="255548" y="869043"/>
                      <a:pt x="312022" y="864050"/>
                    </a:cubicBezTo>
                    <a:cubicBezTo>
                      <a:pt x="320600" y="864050"/>
                      <a:pt x="328464" y="870470"/>
                      <a:pt x="329178" y="879031"/>
                    </a:cubicBezTo>
                    <a:cubicBezTo>
                      <a:pt x="329893" y="887592"/>
                      <a:pt x="322745" y="894726"/>
                      <a:pt x="314166" y="895440"/>
                    </a:cubicBezTo>
                    <a:cubicBezTo>
                      <a:pt x="314166" y="895440"/>
                      <a:pt x="314166" y="895440"/>
                      <a:pt x="215516" y="903287"/>
                    </a:cubicBezTo>
                    <a:cubicBezTo>
                      <a:pt x="215516" y="903287"/>
                      <a:pt x="215516" y="903287"/>
                      <a:pt x="214801" y="903287"/>
                    </a:cubicBezTo>
                    <a:cubicBezTo>
                      <a:pt x="213371" y="903287"/>
                      <a:pt x="212657" y="903287"/>
                      <a:pt x="211227" y="903287"/>
                    </a:cubicBezTo>
                    <a:cubicBezTo>
                      <a:pt x="211227" y="903287"/>
                      <a:pt x="211227" y="903287"/>
                      <a:pt x="210512" y="903287"/>
                    </a:cubicBezTo>
                    <a:cubicBezTo>
                      <a:pt x="209797" y="902574"/>
                      <a:pt x="209082" y="902574"/>
                      <a:pt x="208367" y="902574"/>
                    </a:cubicBezTo>
                    <a:cubicBezTo>
                      <a:pt x="208367" y="901860"/>
                      <a:pt x="207653" y="901860"/>
                      <a:pt x="207653" y="901860"/>
                    </a:cubicBezTo>
                    <a:cubicBezTo>
                      <a:pt x="206938" y="901860"/>
                      <a:pt x="206223" y="901147"/>
                      <a:pt x="205508" y="901147"/>
                    </a:cubicBezTo>
                    <a:cubicBezTo>
                      <a:pt x="204793" y="900434"/>
                      <a:pt x="204078" y="899720"/>
                      <a:pt x="203363" y="899007"/>
                    </a:cubicBezTo>
                    <a:cubicBezTo>
                      <a:pt x="202649" y="898293"/>
                      <a:pt x="201934" y="897580"/>
                      <a:pt x="201219" y="896866"/>
                    </a:cubicBezTo>
                    <a:cubicBezTo>
                      <a:pt x="201219" y="896866"/>
                      <a:pt x="201219" y="896866"/>
                      <a:pt x="201219" y="896153"/>
                    </a:cubicBezTo>
                    <a:cubicBezTo>
                      <a:pt x="201219" y="895440"/>
                      <a:pt x="200504" y="894726"/>
                      <a:pt x="199789" y="894013"/>
                    </a:cubicBezTo>
                    <a:cubicBezTo>
                      <a:pt x="199789" y="894013"/>
                      <a:pt x="199789" y="894013"/>
                      <a:pt x="199789" y="893299"/>
                    </a:cubicBezTo>
                    <a:cubicBezTo>
                      <a:pt x="199789" y="892586"/>
                      <a:pt x="199074" y="891873"/>
                      <a:pt x="199074" y="891159"/>
                    </a:cubicBezTo>
                    <a:cubicBezTo>
                      <a:pt x="199074" y="891159"/>
                      <a:pt x="199074" y="891159"/>
                      <a:pt x="199074" y="890446"/>
                    </a:cubicBezTo>
                    <a:cubicBezTo>
                      <a:pt x="199074" y="889732"/>
                      <a:pt x="199074" y="889019"/>
                      <a:pt x="199074" y="888306"/>
                    </a:cubicBezTo>
                    <a:cubicBezTo>
                      <a:pt x="199074" y="887592"/>
                      <a:pt x="199074" y="887592"/>
                      <a:pt x="199074" y="887592"/>
                    </a:cubicBezTo>
                    <a:cubicBezTo>
                      <a:pt x="199074" y="887592"/>
                      <a:pt x="199074" y="887592"/>
                      <a:pt x="199074" y="886879"/>
                    </a:cubicBezTo>
                    <a:cubicBezTo>
                      <a:pt x="199074" y="886879"/>
                      <a:pt x="199074" y="886879"/>
                      <a:pt x="206938" y="788428"/>
                    </a:cubicBezTo>
                    <a:cubicBezTo>
                      <a:pt x="207653" y="779867"/>
                      <a:pt x="214801" y="773446"/>
                      <a:pt x="223379" y="773446"/>
                    </a:cubicBezTo>
                    <a:cubicBezTo>
                      <a:pt x="231958" y="774160"/>
                      <a:pt x="238391" y="782007"/>
                      <a:pt x="238391" y="790568"/>
                    </a:cubicBezTo>
                    <a:cubicBezTo>
                      <a:pt x="238391" y="790568"/>
                      <a:pt x="238391" y="790568"/>
                      <a:pt x="233387" y="846928"/>
                    </a:cubicBezTo>
                    <a:cubicBezTo>
                      <a:pt x="233387" y="846928"/>
                      <a:pt x="233387" y="846928"/>
                      <a:pt x="359202" y="721367"/>
                    </a:cubicBezTo>
                    <a:cubicBezTo>
                      <a:pt x="272705" y="623630"/>
                      <a:pt x="272705" y="477381"/>
                      <a:pt x="358488" y="380357"/>
                    </a:cubicBezTo>
                    <a:cubicBezTo>
                      <a:pt x="358488" y="380357"/>
                      <a:pt x="358488" y="380357"/>
                      <a:pt x="233387" y="254797"/>
                    </a:cubicBezTo>
                    <a:cubicBezTo>
                      <a:pt x="233387" y="254797"/>
                      <a:pt x="233387" y="254797"/>
                      <a:pt x="238391" y="311156"/>
                    </a:cubicBezTo>
                    <a:cubicBezTo>
                      <a:pt x="238391" y="319717"/>
                      <a:pt x="231958" y="327565"/>
                      <a:pt x="223379" y="328278"/>
                    </a:cubicBezTo>
                    <a:cubicBezTo>
                      <a:pt x="223379" y="328278"/>
                      <a:pt x="223379" y="328278"/>
                      <a:pt x="222665" y="328278"/>
                    </a:cubicBezTo>
                    <a:cubicBezTo>
                      <a:pt x="214086" y="328278"/>
                      <a:pt x="207653" y="321857"/>
                      <a:pt x="206938" y="313296"/>
                    </a:cubicBezTo>
                    <a:cubicBezTo>
                      <a:pt x="206938" y="313296"/>
                      <a:pt x="206938" y="313296"/>
                      <a:pt x="199074" y="214846"/>
                    </a:cubicBezTo>
                    <a:cubicBezTo>
                      <a:pt x="199074" y="214846"/>
                      <a:pt x="199074" y="214846"/>
                      <a:pt x="199074" y="214132"/>
                    </a:cubicBezTo>
                    <a:cubicBezTo>
                      <a:pt x="199074" y="214132"/>
                      <a:pt x="199074" y="214132"/>
                      <a:pt x="199074" y="213419"/>
                    </a:cubicBezTo>
                    <a:cubicBezTo>
                      <a:pt x="199074" y="212705"/>
                      <a:pt x="199074" y="211992"/>
                      <a:pt x="199074" y="211279"/>
                    </a:cubicBezTo>
                    <a:cubicBezTo>
                      <a:pt x="199074" y="211279"/>
                      <a:pt x="199074" y="211279"/>
                      <a:pt x="199074" y="210565"/>
                    </a:cubicBezTo>
                    <a:cubicBezTo>
                      <a:pt x="199074" y="209852"/>
                      <a:pt x="199789" y="209138"/>
                      <a:pt x="199789" y="208425"/>
                    </a:cubicBezTo>
                    <a:cubicBezTo>
                      <a:pt x="199789" y="207711"/>
                      <a:pt x="199789" y="207711"/>
                      <a:pt x="199789" y="207711"/>
                    </a:cubicBezTo>
                    <a:cubicBezTo>
                      <a:pt x="200504" y="206998"/>
                      <a:pt x="201219" y="206285"/>
                      <a:pt x="201219" y="205571"/>
                    </a:cubicBezTo>
                    <a:cubicBezTo>
                      <a:pt x="201219" y="205571"/>
                      <a:pt x="201219" y="205571"/>
                      <a:pt x="201219" y="204858"/>
                    </a:cubicBezTo>
                    <a:cubicBezTo>
                      <a:pt x="201934" y="204144"/>
                      <a:pt x="202649" y="203431"/>
                      <a:pt x="203363" y="202718"/>
                    </a:cubicBezTo>
                    <a:cubicBezTo>
                      <a:pt x="204078" y="202004"/>
                      <a:pt x="204793" y="201291"/>
                      <a:pt x="205508" y="201291"/>
                    </a:cubicBezTo>
                    <a:cubicBezTo>
                      <a:pt x="205508" y="200577"/>
                      <a:pt x="206223" y="200577"/>
                      <a:pt x="206223" y="200577"/>
                    </a:cubicBezTo>
                    <a:cubicBezTo>
                      <a:pt x="206938" y="200577"/>
                      <a:pt x="207653" y="199864"/>
                      <a:pt x="208367" y="199864"/>
                    </a:cubicBezTo>
                    <a:cubicBezTo>
                      <a:pt x="208367" y="199151"/>
                      <a:pt x="208367" y="199151"/>
                      <a:pt x="209082" y="199151"/>
                    </a:cubicBezTo>
                    <a:cubicBezTo>
                      <a:pt x="209797" y="199151"/>
                      <a:pt x="210512" y="198437"/>
                      <a:pt x="211227" y="198437"/>
                    </a:cubicBezTo>
                    <a:close/>
                    <a:moveTo>
                      <a:pt x="996000" y="31750"/>
                    </a:moveTo>
                    <a:cubicBezTo>
                      <a:pt x="975392" y="31750"/>
                      <a:pt x="957628" y="39567"/>
                      <a:pt x="943416" y="53779"/>
                    </a:cubicBezTo>
                    <a:cubicBezTo>
                      <a:pt x="929204" y="67990"/>
                      <a:pt x="921387" y="86466"/>
                      <a:pt x="921387" y="106363"/>
                    </a:cubicBezTo>
                    <a:cubicBezTo>
                      <a:pt x="921387" y="126259"/>
                      <a:pt x="928493" y="145445"/>
                      <a:pt x="942705" y="159657"/>
                    </a:cubicBezTo>
                    <a:cubicBezTo>
                      <a:pt x="956917" y="173159"/>
                      <a:pt x="975392" y="180975"/>
                      <a:pt x="995289" y="180975"/>
                    </a:cubicBezTo>
                    <a:cubicBezTo>
                      <a:pt x="1015896" y="180975"/>
                      <a:pt x="1034372" y="173159"/>
                      <a:pt x="1048584" y="158947"/>
                    </a:cubicBezTo>
                    <a:cubicBezTo>
                      <a:pt x="1062796" y="144735"/>
                      <a:pt x="1070612" y="126259"/>
                      <a:pt x="1070612" y="106363"/>
                    </a:cubicBezTo>
                    <a:cubicBezTo>
                      <a:pt x="1070612" y="86466"/>
                      <a:pt x="1062796" y="67280"/>
                      <a:pt x="1049294" y="53068"/>
                    </a:cubicBezTo>
                    <a:cubicBezTo>
                      <a:pt x="1035082" y="39567"/>
                      <a:pt x="1015896" y="31750"/>
                      <a:pt x="996000" y="31750"/>
                    </a:cubicBezTo>
                    <a:close/>
                    <a:moveTo>
                      <a:pt x="107000" y="31750"/>
                    </a:moveTo>
                    <a:cubicBezTo>
                      <a:pt x="87103" y="31750"/>
                      <a:pt x="67917" y="39567"/>
                      <a:pt x="53705" y="53068"/>
                    </a:cubicBezTo>
                    <a:cubicBezTo>
                      <a:pt x="40204" y="67280"/>
                      <a:pt x="32387" y="86466"/>
                      <a:pt x="32387" y="106363"/>
                    </a:cubicBezTo>
                    <a:cubicBezTo>
                      <a:pt x="32387" y="126259"/>
                      <a:pt x="40204" y="144735"/>
                      <a:pt x="54416" y="158947"/>
                    </a:cubicBezTo>
                    <a:cubicBezTo>
                      <a:pt x="68628" y="173159"/>
                      <a:pt x="87103" y="180975"/>
                      <a:pt x="107710" y="180975"/>
                    </a:cubicBezTo>
                    <a:cubicBezTo>
                      <a:pt x="127607" y="180975"/>
                      <a:pt x="146082" y="173159"/>
                      <a:pt x="160294" y="159657"/>
                    </a:cubicBezTo>
                    <a:cubicBezTo>
                      <a:pt x="174506" y="145445"/>
                      <a:pt x="181612" y="126259"/>
                      <a:pt x="181612" y="106363"/>
                    </a:cubicBezTo>
                    <a:cubicBezTo>
                      <a:pt x="181612" y="86466"/>
                      <a:pt x="173796" y="67990"/>
                      <a:pt x="159584" y="53779"/>
                    </a:cubicBezTo>
                    <a:cubicBezTo>
                      <a:pt x="145372" y="39567"/>
                      <a:pt x="127607" y="31750"/>
                      <a:pt x="107000" y="31750"/>
                    </a:cubicBezTo>
                    <a:close/>
                    <a:moveTo>
                      <a:pt x="995999" y="0"/>
                    </a:moveTo>
                    <a:cubicBezTo>
                      <a:pt x="1023219" y="0"/>
                      <a:pt x="1050439" y="9986"/>
                      <a:pt x="1071928" y="29959"/>
                    </a:cubicBezTo>
                    <a:cubicBezTo>
                      <a:pt x="1113474" y="72044"/>
                      <a:pt x="1113474" y="139094"/>
                      <a:pt x="1071212" y="181179"/>
                    </a:cubicBezTo>
                    <a:cubicBezTo>
                      <a:pt x="1050439" y="201152"/>
                      <a:pt x="1023219" y="211138"/>
                      <a:pt x="995283" y="211138"/>
                    </a:cubicBezTo>
                    <a:cubicBezTo>
                      <a:pt x="968063" y="211138"/>
                      <a:pt x="941560" y="201152"/>
                      <a:pt x="920070" y="181179"/>
                    </a:cubicBezTo>
                    <a:cubicBezTo>
                      <a:pt x="878524" y="139094"/>
                      <a:pt x="878524" y="72044"/>
                      <a:pt x="920070" y="30672"/>
                    </a:cubicBezTo>
                    <a:cubicBezTo>
                      <a:pt x="941560" y="9986"/>
                      <a:pt x="968063" y="0"/>
                      <a:pt x="995999" y="0"/>
                    </a:cubicBezTo>
                    <a:close/>
                    <a:moveTo>
                      <a:pt x="106999" y="0"/>
                    </a:moveTo>
                    <a:cubicBezTo>
                      <a:pt x="134935" y="0"/>
                      <a:pt x="161439" y="9986"/>
                      <a:pt x="182928" y="30672"/>
                    </a:cubicBezTo>
                    <a:cubicBezTo>
                      <a:pt x="224474" y="72044"/>
                      <a:pt x="224474" y="139094"/>
                      <a:pt x="182928" y="181179"/>
                    </a:cubicBezTo>
                    <a:cubicBezTo>
                      <a:pt x="161439" y="201152"/>
                      <a:pt x="134935" y="211138"/>
                      <a:pt x="107716" y="211138"/>
                    </a:cubicBezTo>
                    <a:cubicBezTo>
                      <a:pt x="79779" y="211138"/>
                      <a:pt x="52560" y="201152"/>
                      <a:pt x="31787" y="181179"/>
                    </a:cubicBezTo>
                    <a:cubicBezTo>
                      <a:pt x="-10476" y="139094"/>
                      <a:pt x="-10476" y="72044"/>
                      <a:pt x="31070" y="29959"/>
                    </a:cubicBezTo>
                    <a:cubicBezTo>
                      <a:pt x="52560" y="9986"/>
                      <a:pt x="79779" y="0"/>
                      <a:pt x="10699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7" name="Freeform 40">
                <a:extLst>
                  <a:ext uri="{FF2B5EF4-FFF2-40B4-BE49-F238E27FC236}">
                    <a16:creationId xmlns:a16="http://schemas.microsoft.com/office/drawing/2014/main" id="{AE70EC0C-0F36-4AFD-AFCD-6DF1D3EF7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6739" y="2939746"/>
                <a:ext cx="978523" cy="978509"/>
              </a:xfrm>
              <a:custGeom>
                <a:avLst/>
                <a:gdLst>
                  <a:gd name="connsiteX0" fmla="*/ 44235 w 978523"/>
                  <a:gd name="connsiteY0" fmla="*/ 889000 h 978509"/>
                  <a:gd name="connsiteX1" fmla="*/ 74586 w 978523"/>
                  <a:gd name="connsiteY1" fmla="*/ 902373 h 978509"/>
                  <a:gd name="connsiteX2" fmla="*/ 74586 w 978523"/>
                  <a:gd name="connsiteY2" fmla="*/ 965137 h 978509"/>
                  <a:gd name="connsiteX3" fmla="*/ 13350 w 978523"/>
                  <a:gd name="connsiteY3" fmla="*/ 965137 h 978509"/>
                  <a:gd name="connsiteX4" fmla="*/ 13350 w 978523"/>
                  <a:gd name="connsiteY4" fmla="*/ 902373 h 978509"/>
                  <a:gd name="connsiteX5" fmla="*/ 44235 w 978523"/>
                  <a:gd name="connsiteY5" fmla="*/ 889000 h 978509"/>
                  <a:gd name="connsiteX6" fmla="*/ 934288 w 978523"/>
                  <a:gd name="connsiteY6" fmla="*/ 889000 h 978509"/>
                  <a:gd name="connsiteX7" fmla="*/ 965173 w 978523"/>
                  <a:gd name="connsiteY7" fmla="*/ 902373 h 978509"/>
                  <a:gd name="connsiteX8" fmla="*/ 965173 w 978523"/>
                  <a:gd name="connsiteY8" fmla="*/ 965137 h 978509"/>
                  <a:gd name="connsiteX9" fmla="*/ 903937 w 978523"/>
                  <a:gd name="connsiteY9" fmla="*/ 965137 h 978509"/>
                  <a:gd name="connsiteX10" fmla="*/ 903937 w 978523"/>
                  <a:gd name="connsiteY10" fmla="*/ 902373 h 978509"/>
                  <a:gd name="connsiteX11" fmla="*/ 934288 w 978523"/>
                  <a:gd name="connsiteY11" fmla="*/ 889000 h 978509"/>
                  <a:gd name="connsiteX12" fmla="*/ 488995 w 978523"/>
                  <a:gd name="connsiteY12" fmla="*/ 294320 h 978509"/>
                  <a:gd name="connsiteX13" fmla="*/ 627390 w 978523"/>
                  <a:gd name="connsiteY13" fmla="*/ 351380 h 978509"/>
                  <a:gd name="connsiteX14" fmla="*/ 627390 w 978523"/>
                  <a:gd name="connsiteY14" fmla="*/ 627129 h 978509"/>
                  <a:gd name="connsiteX15" fmla="*/ 351133 w 978523"/>
                  <a:gd name="connsiteY15" fmla="*/ 627129 h 978509"/>
                  <a:gd name="connsiteX16" fmla="*/ 351133 w 978523"/>
                  <a:gd name="connsiteY16" fmla="*/ 351380 h 978509"/>
                  <a:gd name="connsiteX17" fmla="*/ 488995 w 978523"/>
                  <a:gd name="connsiteY17" fmla="*/ 294320 h 978509"/>
                  <a:gd name="connsiteX18" fmla="*/ 934288 w 978523"/>
                  <a:gd name="connsiteY18" fmla="*/ 0 h 978509"/>
                  <a:gd name="connsiteX19" fmla="*/ 965173 w 978523"/>
                  <a:gd name="connsiteY19" fmla="*/ 13372 h 978509"/>
                  <a:gd name="connsiteX20" fmla="*/ 965173 w 978523"/>
                  <a:gd name="connsiteY20" fmla="*/ 76136 h 978509"/>
                  <a:gd name="connsiteX21" fmla="*/ 903937 w 978523"/>
                  <a:gd name="connsiteY21" fmla="*/ 76136 h 978509"/>
                  <a:gd name="connsiteX22" fmla="*/ 903937 w 978523"/>
                  <a:gd name="connsiteY22" fmla="*/ 13372 h 978509"/>
                  <a:gd name="connsiteX23" fmla="*/ 934288 w 978523"/>
                  <a:gd name="connsiteY23" fmla="*/ 0 h 978509"/>
                  <a:gd name="connsiteX24" fmla="*/ 44235 w 978523"/>
                  <a:gd name="connsiteY24" fmla="*/ 0 h 978509"/>
                  <a:gd name="connsiteX25" fmla="*/ 74586 w 978523"/>
                  <a:gd name="connsiteY25" fmla="*/ 13372 h 978509"/>
                  <a:gd name="connsiteX26" fmla="*/ 74586 w 978523"/>
                  <a:gd name="connsiteY26" fmla="*/ 76136 h 978509"/>
                  <a:gd name="connsiteX27" fmla="*/ 13350 w 978523"/>
                  <a:gd name="connsiteY27" fmla="*/ 76136 h 978509"/>
                  <a:gd name="connsiteX28" fmla="*/ 13350 w 978523"/>
                  <a:gd name="connsiteY28" fmla="*/ 13372 h 978509"/>
                  <a:gd name="connsiteX29" fmla="*/ 44235 w 978523"/>
                  <a:gd name="connsiteY29" fmla="*/ 0 h 9785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78523" h="978509">
                    <a:moveTo>
                      <a:pt x="44235" y="889000"/>
                    </a:moveTo>
                    <a:cubicBezTo>
                      <a:pt x="55361" y="889000"/>
                      <a:pt x="66397" y="893457"/>
                      <a:pt x="74586" y="902373"/>
                    </a:cubicBezTo>
                    <a:cubicBezTo>
                      <a:pt x="92387" y="919490"/>
                      <a:pt x="92387" y="948019"/>
                      <a:pt x="74586" y="965137"/>
                    </a:cubicBezTo>
                    <a:cubicBezTo>
                      <a:pt x="58209" y="982967"/>
                      <a:pt x="30439" y="982967"/>
                      <a:pt x="13350" y="965137"/>
                    </a:cubicBezTo>
                    <a:cubicBezTo>
                      <a:pt x="-4451" y="948019"/>
                      <a:pt x="-4451" y="919490"/>
                      <a:pt x="13350" y="902373"/>
                    </a:cubicBezTo>
                    <a:cubicBezTo>
                      <a:pt x="21894" y="893457"/>
                      <a:pt x="33109" y="889000"/>
                      <a:pt x="44235" y="889000"/>
                    </a:cubicBezTo>
                    <a:close/>
                    <a:moveTo>
                      <a:pt x="934288" y="889000"/>
                    </a:moveTo>
                    <a:cubicBezTo>
                      <a:pt x="945414" y="889000"/>
                      <a:pt x="956629" y="893457"/>
                      <a:pt x="965173" y="902373"/>
                    </a:cubicBezTo>
                    <a:cubicBezTo>
                      <a:pt x="982974" y="919490"/>
                      <a:pt x="982974" y="948019"/>
                      <a:pt x="965173" y="965137"/>
                    </a:cubicBezTo>
                    <a:cubicBezTo>
                      <a:pt x="948084" y="982967"/>
                      <a:pt x="920314" y="982967"/>
                      <a:pt x="903937" y="965137"/>
                    </a:cubicBezTo>
                    <a:cubicBezTo>
                      <a:pt x="886136" y="948019"/>
                      <a:pt x="886136" y="919490"/>
                      <a:pt x="903937" y="902373"/>
                    </a:cubicBezTo>
                    <a:cubicBezTo>
                      <a:pt x="912126" y="893457"/>
                      <a:pt x="923163" y="889000"/>
                      <a:pt x="934288" y="889000"/>
                    </a:cubicBezTo>
                    <a:close/>
                    <a:moveTo>
                      <a:pt x="488995" y="294320"/>
                    </a:moveTo>
                    <a:cubicBezTo>
                      <a:pt x="538924" y="294409"/>
                      <a:pt x="588942" y="313518"/>
                      <a:pt x="627390" y="351380"/>
                    </a:cubicBezTo>
                    <a:cubicBezTo>
                      <a:pt x="702862" y="427818"/>
                      <a:pt x="703574" y="551405"/>
                      <a:pt x="627390" y="627129"/>
                    </a:cubicBezTo>
                    <a:cubicBezTo>
                      <a:pt x="551206" y="703567"/>
                      <a:pt x="428030" y="702853"/>
                      <a:pt x="351133" y="627129"/>
                    </a:cubicBezTo>
                    <a:cubicBezTo>
                      <a:pt x="275661" y="550691"/>
                      <a:pt x="274949" y="427104"/>
                      <a:pt x="351133" y="351380"/>
                    </a:cubicBezTo>
                    <a:cubicBezTo>
                      <a:pt x="389225" y="313161"/>
                      <a:pt x="439066" y="294230"/>
                      <a:pt x="488995" y="294320"/>
                    </a:cubicBezTo>
                    <a:close/>
                    <a:moveTo>
                      <a:pt x="934288" y="0"/>
                    </a:moveTo>
                    <a:cubicBezTo>
                      <a:pt x="945414" y="0"/>
                      <a:pt x="956629" y="4457"/>
                      <a:pt x="965173" y="13372"/>
                    </a:cubicBezTo>
                    <a:cubicBezTo>
                      <a:pt x="982974" y="30490"/>
                      <a:pt x="982974" y="59019"/>
                      <a:pt x="965173" y="76136"/>
                    </a:cubicBezTo>
                    <a:cubicBezTo>
                      <a:pt x="948084" y="93967"/>
                      <a:pt x="920314" y="93967"/>
                      <a:pt x="903937" y="76136"/>
                    </a:cubicBezTo>
                    <a:cubicBezTo>
                      <a:pt x="886136" y="59019"/>
                      <a:pt x="886136" y="30490"/>
                      <a:pt x="903937" y="13372"/>
                    </a:cubicBezTo>
                    <a:cubicBezTo>
                      <a:pt x="912126" y="4457"/>
                      <a:pt x="923163" y="0"/>
                      <a:pt x="934288" y="0"/>
                    </a:cubicBezTo>
                    <a:close/>
                    <a:moveTo>
                      <a:pt x="44235" y="0"/>
                    </a:moveTo>
                    <a:cubicBezTo>
                      <a:pt x="55361" y="0"/>
                      <a:pt x="66397" y="4457"/>
                      <a:pt x="74586" y="13372"/>
                    </a:cubicBezTo>
                    <a:cubicBezTo>
                      <a:pt x="92387" y="30490"/>
                      <a:pt x="92387" y="59019"/>
                      <a:pt x="74586" y="76136"/>
                    </a:cubicBezTo>
                    <a:cubicBezTo>
                      <a:pt x="58209" y="93967"/>
                      <a:pt x="30439" y="93967"/>
                      <a:pt x="13350" y="76136"/>
                    </a:cubicBezTo>
                    <a:cubicBezTo>
                      <a:pt x="-4451" y="59019"/>
                      <a:pt x="-4451" y="30490"/>
                      <a:pt x="13350" y="13372"/>
                    </a:cubicBezTo>
                    <a:cubicBezTo>
                      <a:pt x="21894" y="4457"/>
                      <a:pt x="33109" y="0"/>
                      <a:pt x="442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3B3EBFA-A091-4CEC-B831-6DFA644730E4}"/>
              </a:ext>
            </a:extLst>
          </p:cNvPr>
          <p:cNvGrpSpPr>
            <a:grpSpLocks noChangeAspect="1"/>
          </p:cNvGrpSpPr>
          <p:nvPr/>
        </p:nvGrpSpPr>
        <p:grpSpPr>
          <a:xfrm>
            <a:off x="6340386" y="1168993"/>
            <a:ext cx="769741" cy="768998"/>
            <a:chOff x="6464300" y="2606675"/>
            <a:chExt cx="1646238" cy="1644650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5996B6AD-8BAE-4A35-BC09-0CBA5F0B41C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AA70A934-03EA-472F-A3C1-BC36B5224429}"/>
                </a:ext>
              </a:extLst>
            </p:cNvPr>
            <p:cNvGrpSpPr/>
            <p:nvPr/>
          </p:nvGrpSpPr>
          <p:grpSpPr>
            <a:xfrm>
              <a:off x="6729413" y="2881312"/>
              <a:ext cx="1146175" cy="1125538"/>
              <a:chOff x="6729413" y="2881312"/>
              <a:chExt cx="1146175" cy="1125538"/>
            </a:xfrm>
          </p:grpSpPr>
          <p:sp>
            <p:nvSpPr>
              <p:cNvPr id="31" name="Freeform 10">
                <a:extLst>
                  <a:ext uri="{FF2B5EF4-FFF2-40B4-BE49-F238E27FC236}">
                    <a16:creationId xmlns:a16="http://schemas.microsoft.com/office/drawing/2014/main" id="{43002CAB-07DA-4E9A-81EB-8374434BE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2944813"/>
                <a:ext cx="822325" cy="336550"/>
              </a:xfrm>
              <a:custGeom>
                <a:avLst/>
                <a:gdLst>
                  <a:gd name="connsiteX0" fmla="*/ 485775 w 822325"/>
                  <a:gd name="connsiteY0" fmla="*/ 0 h 336550"/>
                  <a:gd name="connsiteX1" fmla="*/ 779453 w 822325"/>
                  <a:gd name="connsiteY1" fmla="*/ 0 h 336550"/>
                  <a:gd name="connsiteX2" fmla="*/ 822325 w 822325"/>
                  <a:gd name="connsiteY2" fmla="*/ 39134 h 336550"/>
                  <a:gd name="connsiteX3" fmla="*/ 822325 w 822325"/>
                  <a:gd name="connsiteY3" fmla="*/ 300974 h 336550"/>
                  <a:gd name="connsiteX4" fmla="*/ 780167 w 822325"/>
                  <a:gd name="connsiteY4" fmla="*/ 336550 h 336550"/>
                  <a:gd name="connsiteX5" fmla="*/ 487919 w 822325"/>
                  <a:gd name="connsiteY5" fmla="*/ 336550 h 336550"/>
                  <a:gd name="connsiteX6" fmla="*/ 552228 w 822325"/>
                  <a:gd name="connsiteY6" fmla="*/ 169342 h 336550"/>
                  <a:gd name="connsiteX7" fmla="*/ 485775 w 822325"/>
                  <a:gd name="connsiteY7" fmla="*/ 0 h 336550"/>
                  <a:gd name="connsiteX8" fmla="*/ 41444 w 822325"/>
                  <a:gd name="connsiteY8" fmla="*/ 0 h 336550"/>
                  <a:gd name="connsiteX9" fmla="*/ 336550 w 822325"/>
                  <a:gd name="connsiteY9" fmla="*/ 0 h 336550"/>
                  <a:gd name="connsiteX10" fmla="*/ 269383 w 822325"/>
                  <a:gd name="connsiteY10" fmla="*/ 169342 h 336550"/>
                  <a:gd name="connsiteX11" fmla="*/ 334407 w 822325"/>
                  <a:gd name="connsiteY11" fmla="*/ 336550 h 336550"/>
                  <a:gd name="connsiteX12" fmla="*/ 40729 w 822325"/>
                  <a:gd name="connsiteY12" fmla="*/ 336550 h 336550"/>
                  <a:gd name="connsiteX13" fmla="*/ 0 w 822325"/>
                  <a:gd name="connsiteY13" fmla="*/ 301686 h 336550"/>
                  <a:gd name="connsiteX14" fmla="*/ 0 w 822325"/>
                  <a:gd name="connsiteY14" fmla="*/ 39134 h 336550"/>
                  <a:gd name="connsiteX15" fmla="*/ 41444 w 822325"/>
                  <a:gd name="connsiteY15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22325" h="336550">
                    <a:moveTo>
                      <a:pt x="485775" y="0"/>
                    </a:moveTo>
                    <a:cubicBezTo>
                      <a:pt x="485775" y="0"/>
                      <a:pt x="485775" y="0"/>
                      <a:pt x="779453" y="0"/>
                    </a:cubicBezTo>
                    <a:cubicBezTo>
                      <a:pt x="782311" y="21346"/>
                      <a:pt x="800174" y="38422"/>
                      <a:pt x="822325" y="39134"/>
                    </a:cubicBezTo>
                    <a:cubicBezTo>
                      <a:pt x="822325" y="39134"/>
                      <a:pt x="822325" y="39134"/>
                      <a:pt x="822325" y="300974"/>
                    </a:cubicBezTo>
                    <a:cubicBezTo>
                      <a:pt x="801603" y="301686"/>
                      <a:pt x="784454" y="316628"/>
                      <a:pt x="780167" y="336550"/>
                    </a:cubicBezTo>
                    <a:cubicBezTo>
                      <a:pt x="780167" y="336550"/>
                      <a:pt x="780167" y="336550"/>
                      <a:pt x="487919" y="336550"/>
                    </a:cubicBezTo>
                    <a:cubicBezTo>
                      <a:pt x="522932" y="298839"/>
                      <a:pt x="552228" y="237649"/>
                      <a:pt x="552228" y="169342"/>
                    </a:cubicBezTo>
                    <a:cubicBezTo>
                      <a:pt x="552228" y="99613"/>
                      <a:pt x="522217" y="37711"/>
                      <a:pt x="485775" y="0"/>
                    </a:cubicBezTo>
                    <a:close/>
                    <a:moveTo>
                      <a:pt x="41444" y="0"/>
                    </a:moveTo>
                    <a:lnTo>
                      <a:pt x="336550" y="0"/>
                    </a:lnTo>
                    <a:cubicBezTo>
                      <a:pt x="300109" y="37711"/>
                      <a:pt x="269383" y="99613"/>
                      <a:pt x="269383" y="169342"/>
                    </a:cubicBezTo>
                    <a:cubicBezTo>
                      <a:pt x="269383" y="237649"/>
                      <a:pt x="299394" y="298839"/>
                      <a:pt x="334407" y="336550"/>
                    </a:cubicBezTo>
                    <a:cubicBezTo>
                      <a:pt x="334407" y="336550"/>
                      <a:pt x="334407" y="336550"/>
                      <a:pt x="40729" y="336550"/>
                    </a:cubicBezTo>
                    <a:cubicBezTo>
                      <a:pt x="37157" y="317339"/>
                      <a:pt x="20007" y="303109"/>
                      <a:pt x="0" y="301686"/>
                    </a:cubicBezTo>
                    <a:cubicBezTo>
                      <a:pt x="0" y="301686"/>
                      <a:pt x="0" y="301686"/>
                      <a:pt x="0" y="39134"/>
                    </a:cubicBezTo>
                    <a:cubicBezTo>
                      <a:pt x="21437" y="37711"/>
                      <a:pt x="38586" y="20634"/>
                      <a:pt x="4144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2" name="Freeform 11">
                <a:extLst>
                  <a:ext uri="{FF2B5EF4-FFF2-40B4-BE49-F238E27FC236}">
                    <a16:creationId xmlns:a16="http://schemas.microsoft.com/office/drawing/2014/main" id="{EC6BF5DB-92AD-4504-AE97-BB3B02A34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2881312"/>
                <a:ext cx="1146175" cy="1125538"/>
              </a:xfrm>
              <a:custGeom>
                <a:avLst/>
                <a:gdLst>
                  <a:gd name="connsiteX0" fmla="*/ 409739 w 1146175"/>
                  <a:gd name="connsiteY0" fmla="*/ 615791 h 1125538"/>
                  <a:gd name="connsiteX1" fmla="*/ 326138 w 1146175"/>
                  <a:gd name="connsiteY1" fmla="*/ 635801 h 1125538"/>
                  <a:gd name="connsiteX2" fmla="*/ 31750 w 1146175"/>
                  <a:gd name="connsiteY2" fmla="*/ 803020 h 1125538"/>
                  <a:gd name="connsiteX3" fmla="*/ 31750 w 1146175"/>
                  <a:gd name="connsiteY3" fmla="*/ 1087437 h 1125538"/>
                  <a:gd name="connsiteX4" fmla="*/ 368296 w 1146175"/>
                  <a:gd name="connsiteY4" fmla="*/ 957377 h 1125538"/>
                  <a:gd name="connsiteX5" fmla="*/ 419028 w 1146175"/>
                  <a:gd name="connsiteY5" fmla="*/ 949516 h 1125538"/>
                  <a:gd name="connsiteX6" fmla="*/ 568366 w 1146175"/>
                  <a:gd name="connsiteY6" fmla="*/ 960236 h 1125538"/>
                  <a:gd name="connsiteX7" fmla="*/ 797017 w 1146175"/>
                  <a:gd name="connsiteY7" fmla="*/ 933795 h 1125538"/>
                  <a:gd name="connsiteX8" fmla="*/ 1047818 w 1146175"/>
                  <a:gd name="connsiteY8" fmla="*/ 767290 h 1125538"/>
                  <a:gd name="connsiteX9" fmla="*/ 1079972 w 1146175"/>
                  <a:gd name="connsiteY9" fmla="*/ 730130 h 1125538"/>
                  <a:gd name="connsiteX10" fmla="*/ 1074971 w 1146175"/>
                  <a:gd name="connsiteY10" fmla="*/ 655810 h 1125538"/>
                  <a:gd name="connsiteX11" fmla="*/ 1036386 w 1146175"/>
                  <a:gd name="connsiteY11" fmla="*/ 642232 h 1125538"/>
                  <a:gd name="connsiteX12" fmla="*/ 999230 w 1146175"/>
                  <a:gd name="connsiteY12" fmla="*/ 660097 h 1125538"/>
                  <a:gd name="connsiteX13" fmla="*/ 951356 w 1146175"/>
                  <a:gd name="connsiteY13" fmla="*/ 713694 h 1125538"/>
                  <a:gd name="connsiteX14" fmla="*/ 805591 w 1146175"/>
                  <a:gd name="connsiteY14" fmla="*/ 805164 h 1125538"/>
                  <a:gd name="connsiteX15" fmla="*/ 608380 w 1146175"/>
                  <a:gd name="connsiteY15" fmla="*/ 794445 h 1125538"/>
                  <a:gd name="connsiteX16" fmla="*/ 553360 w 1146175"/>
                  <a:gd name="connsiteY16" fmla="*/ 772292 h 1125538"/>
                  <a:gd name="connsiteX17" fmla="*/ 544071 w 1146175"/>
                  <a:gd name="connsiteY17" fmla="*/ 755856 h 1125538"/>
                  <a:gd name="connsiteX18" fmla="*/ 557648 w 1146175"/>
                  <a:gd name="connsiteY18" fmla="*/ 742278 h 1125538"/>
                  <a:gd name="connsiteX19" fmla="*/ 715560 w 1146175"/>
                  <a:gd name="connsiteY19" fmla="*/ 726557 h 1125538"/>
                  <a:gd name="connsiteX20" fmla="*/ 759146 w 1146175"/>
                  <a:gd name="connsiteY20" fmla="*/ 679392 h 1125538"/>
                  <a:gd name="connsiteX21" fmla="*/ 713416 w 1146175"/>
                  <a:gd name="connsiteY21" fmla="*/ 631513 h 1125538"/>
                  <a:gd name="connsiteX22" fmla="*/ 409739 w 1146175"/>
                  <a:gd name="connsiteY22" fmla="*/ 615791 h 1125538"/>
                  <a:gd name="connsiteX23" fmla="*/ 390213 w 1146175"/>
                  <a:gd name="connsiteY23" fmla="*/ 584200 h 1125538"/>
                  <a:gd name="connsiteX24" fmla="*/ 393786 w 1146175"/>
                  <a:gd name="connsiteY24" fmla="*/ 584200 h 1125538"/>
                  <a:gd name="connsiteX25" fmla="*/ 396645 w 1146175"/>
                  <a:gd name="connsiteY25" fmla="*/ 584200 h 1125538"/>
                  <a:gd name="connsiteX26" fmla="*/ 399504 w 1146175"/>
                  <a:gd name="connsiteY26" fmla="*/ 584200 h 1125538"/>
                  <a:gd name="connsiteX27" fmla="*/ 403077 w 1146175"/>
                  <a:gd name="connsiteY27" fmla="*/ 584200 h 1125538"/>
                  <a:gd name="connsiteX28" fmla="*/ 410939 w 1146175"/>
                  <a:gd name="connsiteY28" fmla="*/ 584200 h 1125538"/>
                  <a:gd name="connsiteX29" fmla="*/ 715390 w 1146175"/>
                  <a:gd name="connsiteY29" fmla="*/ 599912 h 1125538"/>
                  <a:gd name="connsiteX30" fmla="*/ 780426 w 1146175"/>
                  <a:gd name="connsiteY30" fmla="*/ 640619 h 1125538"/>
                  <a:gd name="connsiteX31" fmla="*/ 782570 w 1146175"/>
                  <a:gd name="connsiteY31" fmla="*/ 644904 h 1125538"/>
                  <a:gd name="connsiteX32" fmla="*/ 789002 w 1146175"/>
                  <a:gd name="connsiteY32" fmla="*/ 663473 h 1125538"/>
                  <a:gd name="connsiteX33" fmla="*/ 790431 w 1146175"/>
                  <a:gd name="connsiteY33" fmla="*/ 679184 h 1125538"/>
                  <a:gd name="connsiteX34" fmla="*/ 789716 w 1146175"/>
                  <a:gd name="connsiteY34" fmla="*/ 684898 h 1125538"/>
                  <a:gd name="connsiteX35" fmla="*/ 789716 w 1146175"/>
                  <a:gd name="connsiteY35" fmla="*/ 685612 h 1125538"/>
                  <a:gd name="connsiteX36" fmla="*/ 789002 w 1146175"/>
                  <a:gd name="connsiteY36" fmla="*/ 691325 h 1125538"/>
                  <a:gd name="connsiteX37" fmla="*/ 763988 w 1146175"/>
                  <a:gd name="connsiteY37" fmla="*/ 738460 h 1125538"/>
                  <a:gd name="connsiteX38" fmla="*/ 763273 w 1146175"/>
                  <a:gd name="connsiteY38" fmla="*/ 738460 h 1125538"/>
                  <a:gd name="connsiteX39" fmla="*/ 758985 w 1146175"/>
                  <a:gd name="connsiteY39" fmla="*/ 742031 h 1125538"/>
                  <a:gd name="connsiteX40" fmla="*/ 754697 w 1146175"/>
                  <a:gd name="connsiteY40" fmla="*/ 744888 h 1125538"/>
                  <a:gd name="connsiteX41" fmla="*/ 753983 w 1146175"/>
                  <a:gd name="connsiteY41" fmla="*/ 745602 h 1125538"/>
                  <a:gd name="connsiteX42" fmla="*/ 749695 w 1146175"/>
                  <a:gd name="connsiteY42" fmla="*/ 748458 h 1125538"/>
                  <a:gd name="connsiteX43" fmla="*/ 748265 w 1146175"/>
                  <a:gd name="connsiteY43" fmla="*/ 749173 h 1125538"/>
                  <a:gd name="connsiteX44" fmla="*/ 743263 w 1146175"/>
                  <a:gd name="connsiteY44" fmla="*/ 751315 h 1125538"/>
                  <a:gd name="connsiteX45" fmla="*/ 742548 w 1146175"/>
                  <a:gd name="connsiteY45" fmla="*/ 752029 h 1125538"/>
                  <a:gd name="connsiteX46" fmla="*/ 738260 w 1146175"/>
                  <a:gd name="connsiteY46" fmla="*/ 753458 h 1125538"/>
                  <a:gd name="connsiteX47" fmla="*/ 718964 w 1146175"/>
                  <a:gd name="connsiteY47" fmla="*/ 757743 h 1125538"/>
                  <a:gd name="connsiteX48" fmla="*/ 624626 w 1146175"/>
                  <a:gd name="connsiteY48" fmla="*/ 767027 h 1125538"/>
                  <a:gd name="connsiteX49" fmla="*/ 743263 w 1146175"/>
                  <a:gd name="connsiteY49" fmla="*/ 784167 h 1125538"/>
                  <a:gd name="connsiteX50" fmla="*/ 775423 w 1146175"/>
                  <a:gd name="connsiteY50" fmla="*/ 779882 h 1125538"/>
                  <a:gd name="connsiteX51" fmla="*/ 785428 w 1146175"/>
                  <a:gd name="connsiteY51" fmla="*/ 777739 h 1125538"/>
                  <a:gd name="connsiteX52" fmla="*/ 786858 w 1146175"/>
                  <a:gd name="connsiteY52" fmla="*/ 777025 h 1125538"/>
                  <a:gd name="connsiteX53" fmla="*/ 796863 w 1146175"/>
                  <a:gd name="connsiteY53" fmla="*/ 774883 h 1125538"/>
                  <a:gd name="connsiteX54" fmla="*/ 826880 w 1146175"/>
                  <a:gd name="connsiteY54" fmla="*/ 764170 h 1125538"/>
                  <a:gd name="connsiteX55" fmla="*/ 909782 w 1146175"/>
                  <a:gd name="connsiteY55" fmla="*/ 711322 h 1125538"/>
                  <a:gd name="connsiteX56" fmla="*/ 928363 w 1146175"/>
                  <a:gd name="connsiteY56" fmla="*/ 692753 h 1125538"/>
                  <a:gd name="connsiteX57" fmla="*/ 975532 w 1146175"/>
                  <a:gd name="connsiteY57" fmla="*/ 639191 h 1125538"/>
                  <a:gd name="connsiteX58" fmla="*/ 978391 w 1146175"/>
                  <a:gd name="connsiteY58" fmla="*/ 635620 h 1125538"/>
                  <a:gd name="connsiteX59" fmla="*/ 979105 w 1146175"/>
                  <a:gd name="connsiteY59" fmla="*/ 635620 h 1125538"/>
                  <a:gd name="connsiteX60" fmla="*/ 1034135 w 1146175"/>
                  <a:gd name="connsiteY60" fmla="*/ 610624 h 1125538"/>
                  <a:gd name="connsiteX61" fmla="*/ 1034850 w 1146175"/>
                  <a:gd name="connsiteY61" fmla="*/ 610624 h 1125538"/>
                  <a:gd name="connsiteX62" fmla="*/ 1039138 w 1146175"/>
                  <a:gd name="connsiteY62" fmla="*/ 610624 h 1125538"/>
                  <a:gd name="connsiteX63" fmla="*/ 1040567 w 1146175"/>
                  <a:gd name="connsiteY63" fmla="*/ 610624 h 1125538"/>
                  <a:gd name="connsiteX64" fmla="*/ 1079875 w 1146175"/>
                  <a:gd name="connsiteY64" fmla="*/ 621337 h 1125538"/>
                  <a:gd name="connsiteX65" fmla="*/ 1083448 w 1146175"/>
                  <a:gd name="connsiteY65" fmla="*/ 623479 h 1125538"/>
                  <a:gd name="connsiteX66" fmla="*/ 1086307 w 1146175"/>
                  <a:gd name="connsiteY66" fmla="*/ 624908 h 1125538"/>
                  <a:gd name="connsiteX67" fmla="*/ 1087021 w 1146175"/>
                  <a:gd name="connsiteY67" fmla="*/ 625622 h 1125538"/>
                  <a:gd name="connsiteX68" fmla="*/ 1089880 w 1146175"/>
                  <a:gd name="connsiteY68" fmla="*/ 627764 h 1125538"/>
                  <a:gd name="connsiteX69" fmla="*/ 1090595 w 1146175"/>
                  <a:gd name="connsiteY69" fmla="*/ 628478 h 1125538"/>
                  <a:gd name="connsiteX70" fmla="*/ 1092739 w 1146175"/>
                  <a:gd name="connsiteY70" fmla="*/ 629907 h 1125538"/>
                  <a:gd name="connsiteX71" fmla="*/ 1095597 w 1146175"/>
                  <a:gd name="connsiteY71" fmla="*/ 632049 h 1125538"/>
                  <a:gd name="connsiteX72" fmla="*/ 1095597 w 1146175"/>
                  <a:gd name="connsiteY72" fmla="*/ 632763 h 1125538"/>
                  <a:gd name="connsiteX73" fmla="*/ 1103459 w 1146175"/>
                  <a:gd name="connsiteY73" fmla="*/ 749887 h 1125538"/>
                  <a:gd name="connsiteX74" fmla="*/ 1072013 w 1146175"/>
                  <a:gd name="connsiteY74" fmla="*/ 787738 h 1125538"/>
                  <a:gd name="connsiteX75" fmla="*/ 966241 w 1146175"/>
                  <a:gd name="connsiteY75" fmla="*/ 884150 h 1125538"/>
                  <a:gd name="connsiteX76" fmla="*/ 956950 w 1146175"/>
                  <a:gd name="connsiteY76" fmla="*/ 890577 h 1125538"/>
                  <a:gd name="connsiteX77" fmla="*/ 948374 w 1146175"/>
                  <a:gd name="connsiteY77" fmla="*/ 896291 h 1125538"/>
                  <a:gd name="connsiteX78" fmla="*/ 806154 w 1146175"/>
                  <a:gd name="connsiteY78" fmla="*/ 963422 h 1125538"/>
                  <a:gd name="connsiteX79" fmla="*/ 792575 w 1146175"/>
                  <a:gd name="connsiteY79" fmla="*/ 967707 h 1125538"/>
                  <a:gd name="connsiteX80" fmla="*/ 788287 w 1146175"/>
                  <a:gd name="connsiteY80" fmla="*/ 968422 h 1125538"/>
                  <a:gd name="connsiteX81" fmla="*/ 779711 w 1146175"/>
                  <a:gd name="connsiteY81" fmla="*/ 971278 h 1125538"/>
                  <a:gd name="connsiteX82" fmla="*/ 773994 w 1146175"/>
                  <a:gd name="connsiteY82" fmla="*/ 972707 h 1125538"/>
                  <a:gd name="connsiteX83" fmla="*/ 766132 w 1146175"/>
                  <a:gd name="connsiteY83" fmla="*/ 974135 h 1125538"/>
                  <a:gd name="connsiteX84" fmla="*/ 759700 w 1146175"/>
                  <a:gd name="connsiteY84" fmla="*/ 976277 h 1125538"/>
                  <a:gd name="connsiteX85" fmla="*/ 753983 w 1146175"/>
                  <a:gd name="connsiteY85" fmla="*/ 976992 h 1125538"/>
                  <a:gd name="connsiteX86" fmla="*/ 724681 w 1146175"/>
                  <a:gd name="connsiteY86" fmla="*/ 983419 h 1125538"/>
                  <a:gd name="connsiteX87" fmla="*/ 721822 w 1146175"/>
                  <a:gd name="connsiteY87" fmla="*/ 983419 h 1125538"/>
                  <a:gd name="connsiteX88" fmla="*/ 711102 w 1146175"/>
                  <a:gd name="connsiteY88" fmla="*/ 985562 h 1125538"/>
                  <a:gd name="connsiteX89" fmla="*/ 709673 w 1146175"/>
                  <a:gd name="connsiteY89" fmla="*/ 985562 h 1125538"/>
                  <a:gd name="connsiteX90" fmla="*/ 650355 w 1146175"/>
                  <a:gd name="connsiteY90" fmla="*/ 991989 h 1125538"/>
                  <a:gd name="connsiteX91" fmla="*/ 648211 w 1146175"/>
                  <a:gd name="connsiteY91" fmla="*/ 991989 h 1125538"/>
                  <a:gd name="connsiteX92" fmla="*/ 637491 w 1146175"/>
                  <a:gd name="connsiteY92" fmla="*/ 992703 h 1125538"/>
                  <a:gd name="connsiteX93" fmla="*/ 635347 w 1146175"/>
                  <a:gd name="connsiteY93" fmla="*/ 992703 h 1125538"/>
                  <a:gd name="connsiteX94" fmla="*/ 621053 w 1146175"/>
                  <a:gd name="connsiteY94" fmla="*/ 992703 h 1125538"/>
                  <a:gd name="connsiteX95" fmla="*/ 620338 w 1146175"/>
                  <a:gd name="connsiteY95" fmla="*/ 992703 h 1125538"/>
                  <a:gd name="connsiteX96" fmla="*/ 612477 w 1146175"/>
                  <a:gd name="connsiteY96" fmla="*/ 992703 h 1125538"/>
                  <a:gd name="connsiteX97" fmla="*/ 606045 w 1146175"/>
                  <a:gd name="connsiteY97" fmla="*/ 992703 h 1125538"/>
                  <a:gd name="connsiteX98" fmla="*/ 598898 w 1146175"/>
                  <a:gd name="connsiteY98" fmla="*/ 992703 h 1125538"/>
                  <a:gd name="connsiteX99" fmla="*/ 592466 w 1146175"/>
                  <a:gd name="connsiteY99" fmla="*/ 992703 h 1125538"/>
                  <a:gd name="connsiteX100" fmla="*/ 584605 w 1146175"/>
                  <a:gd name="connsiteY100" fmla="*/ 991989 h 1125538"/>
                  <a:gd name="connsiteX101" fmla="*/ 578887 w 1146175"/>
                  <a:gd name="connsiteY101" fmla="*/ 991989 h 1125538"/>
                  <a:gd name="connsiteX102" fmla="*/ 566738 w 1146175"/>
                  <a:gd name="connsiteY102" fmla="*/ 991275 h 1125538"/>
                  <a:gd name="connsiteX103" fmla="*/ 566023 w 1146175"/>
                  <a:gd name="connsiteY103" fmla="*/ 991275 h 1125538"/>
                  <a:gd name="connsiteX104" fmla="*/ 485265 w 1146175"/>
                  <a:gd name="connsiteY104" fmla="*/ 985562 h 1125538"/>
                  <a:gd name="connsiteX105" fmla="*/ 416656 w 1146175"/>
                  <a:gd name="connsiteY105" fmla="*/ 980562 h 1125538"/>
                  <a:gd name="connsiteX106" fmla="*/ 410939 w 1146175"/>
                  <a:gd name="connsiteY106" fmla="*/ 980562 h 1125538"/>
                  <a:gd name="connsiteX107" fmla="*/ 407365 w 1146175"/>
                  <a:gd name="connsiteY107" fmla="*/ 980562 h 1125538"/>
                  <a:gd name="connsiteX108" fmla="*/ 393072 w 1146175"/>
                  <a:gd name="connsiteY108" fmla="*/ 981991 h 1125538"/>
                  <a:gd name="connsiteX109" fmla="*/ 388784 w 1146175"/>
                  <a:gd name="connsiteY109" fmla="*/ 982705 h 1125538"/>
                  <a:gd name="connsiteX110" fmla="*/ 388784 w 1146175"/>
                  <a:gd name="connsiteY110" fmla="*/ 983419 h 1125538"/>
                  <a:gd name="connsiteX111" fmla="*/ 384496 w 1146175"/>
                  <a:gd name="connsiteY111" fmla="*/ 984133 h 1125538"/>
                  <a:gd name="connsiteX112" fmla="*/ 383781 w 1146175"/>
                  <a:gd name="connsiteY112" fmla="*/ 984847 h 1125538"/>
                  <a:gd name="connsiteX113" fmla="*/ 379493 w 1146175"/>
                  <a:gd name="connsiteY113" fmla="*/ 986276 h 1125538"/>
                  <a:gd name="connsiteX114" fmla="*/ 21441 w 1146175"/>
                  <a:gd name="connsiteY114" fmla="*/ 1124824 h 1125538"/>
                  <a:gd name="connsiteX115" fmla="*/ 15723 w 1146175"/>
                  <a:gd name="connsiteY115" fmla="*/ 1125538 h 1125538"/>
                  <a:gd name="connsiteX116" fmla="*/ 7147 w 1146175"/>
                  <a:gd name="connsiteY116" fmla="*/ 1122681 h 1125538"/>
                  <a:gd name="connsiteX117" fmla="*/ 0 w 1146175"/>
                  <a:gd name="connsiteY117" fmla="*/ 1109826 h 1125538"/>
                  <a:gd name="connsiteX118" fmla="*/ 0 w 1146175"/>
                  <a:gd name="connsiteY118" fmla="*/ 793451 h 1125538"/>
                  <a:gd name="connsiteX119" fmla="*/ 7862 w 1146175"/>
                  <a:gd name="connsiteY119" fmla="*/ 779882 h 1125538"/>
                  <a:gd name="connsiteX120" fmla="*/ 310169 w 1146175"/>
                  <a:gd name="connsiteY120" fmla="*/ 608482 h 1125538"/>
                  <a:gd name="connsiteX121" fmla="*/ 315887 w 1146175"/>
                  <a:gd name="connsiteY121" fmla="*/ 605625 h 1125538"/>
                  <a:gd name="connsiteX122" fmla="*/ 318031 w 1146175"/>
                  <a:gd name="connsiteY122" fmla="*/ 604197 h 1125538"/>
                  <a:gd name="connsiteX123" fmla="*/ 320889 w 1146175"/>
                  <a:gd name="connsiteY123" fmla="*/ 602768 h 1125538"/>
                  <a:gd name="connsiteX124" fmla="*/ 324463 w 1146175"/>
                  <a:gd name="connsiteY124" fmla="*/ 601340 h 1125538"/>
                  <a:gd name="connsiteX125" fmla="*/ 326607 w 1146175"/>
                  <a:gd name="connsiteY125" fmla="*/ 599912 h 1125538"/>
                  <a:gd name="connsiteX126" fmla="*/ 330180 w 1146175"/>
                  <a:gd name="connsiteY126" fmla="*/ 598483 h 1125538"/>
                  <a:gd name="connsiteX127" fmla="*/ 332324 w 1146175"/>
                  <a:gd name="connsiteY127" fmla="*/ 597769 h 1125538"/>
                  <a:gd name="connsiteX128" fmla="*/ 336612 w 1146175"/>
                  <a:gd name="connsiteY128" fmla="*/ 596341 h 1125538"/>
                  <a:gd name="connsiteX129" fmla="*/ 338042 w 1146175"/>
                  <a:gd name="connsiteY129" fmla="*/ 595627 h 1125538"/>
                  <a:gd name="connsiteX130" fmla="*/ 342330 w 1146175"/>
                  <a:gd name="connsiteY130" fmla="*/ 594198 h 1125538"/>
                  <a:gd name="connsiteX131" fmla="*/ 343044 w 1146175"/>
                  <a:gd name="connsiteY131" fmla="*/ 593484 h 1125538"/>
                  <a:gd name="connsiteX132" fmla="*/ 348047 w 1146175"/>
                  <a:gd name="connsiteY132" fmla="*/ 592056 h 1125538"/>
                  <a:gd name="connsiteX133" fmla="*/ 348762 w 1146175"/>
                  <a:gd name="connsiteY133" fmla="*/ 592056 h 1125538"/>
                  <a:gd name="connsiteX134" fmla="*/ 382352 w 1146175"/>
                  <a:gd name="connsiteY134" fmla="*/ 584914 h 1125538"/>
                  <a:gd name="connsiteX135" fmla="*/ 383781 w 1146175"/>
                  <a:gd name="connsiteY135" fmla="*/ 584914 h 1125538"/>
                  <a:gd name="connsiteX136" fmla="*/ 387354 w 1146175"/>
                  <a:gd name="connsiteY136" fmla="*/ 584914 h 1125538"/>
                  <a:gd name="connsiteX137" fmla="*/ 390213 w 1146175"/>
                  <a:gd name="connsiteY137" fmla="*/ 584200 h 1125538"/>
                  <a:gd name="connsiteX138" fmla="*/ 654433 w 1146175"/>
                  <a:gd name="connsiteY138" fmla="*/ 103187 h 1125538"/>
                  <a:gd name="connsiteX139" fmla="*/ 686457 w 1146175"/>
                  <a:gd name="connsiteY139" fmla="*/ 103187 h 1125538"/>
                  <a:gd name="connsiteX140" fmla="*/ 686457 w 1146175"/>
                  <a:gd name="connsiteY140" fmla="*/ 126776 h 1125538"/>
                  <a:gd name="connsiteX141" fmla="*/ 724174 w 1146175"/>
                  <a:gd name="connsiteY141" fmla="*/ 139643 h 1125538"/>
                  <a:gd name="connsiteX142" fmla="*/ 714211 w 1146175"/>
                  <a:gd name="connsiteY142" fmla="*/ 169665 h 1125538"/>
                  <a:gd name="connsiteX143" fmla="*/ 672936 w 1146175"/>
                  <a:gd name="connsiteY143" fmla="*/ 156083 h 1125538"/>
                  <a:gd name="connsiteX144" fmla="*/ 653722 w 1146175"/>
                  <a:gd name="connsiteY144" fmla="*/ 162517 h 1125538"/>
                  <a:gd name="connsiteX145" fmla="*/ 646605 w 1146175"/>
                  <a:gd name="connsiteY145" fmla="*/ 179672 h 1125538"/>
                  <a:gd name="connsiteX146" fmla="*/ 685034 w 1146175"/>
                  <a:gd name="connsiteY146" fmla="*/ 215413 h 1125538"/>
                  <a:gd name="connsiteX147" fmla="*/ 715634 w 1146175"/>
                  <a:gd name="connsiteY147" fmla="*/ 233998 h 1125538"/>
                  <a:gd name="connsiteX148" fmla="*/ 729155 w 1146175"/>
                  <a:gd name="connsiteY148" fmla="*/ 253298 h 1125538"/>
                  <a:gd name="connsiteX149" fmla="*/ 733425 w 1146175"/>
                  <a:gd name="connsiteY149" fmla="*/ 278317 h 1125538"/>
                  <a:gd name="connsiteX150" fmla="*/ 721327 w 1146175"/>
                  <a:gd name="connsiteY150" fmla="*/ 311198 h 1125538"/>
                  <a:gd name="connsiteX151" fmla="*/ 686457 w 1146175"/>
                  <a:gd name="connsiteY151" fmla="*/ 331213 h 1125538"/>
                  <a:gd name="connsiteX152" fmla="*/ 686457 w 1146175"/>
                  <a:gd name="connsiteY152" fmla="*/ 361950 h 1125538"/>
                  <a:gd name="connsiteX153" fmla="*/ 654433 w 1146175"/>
                  <a:gd name="connsiteY153" fmla="*/ 361950 h 1125538"/>
                  <a:gd name="connsiteX154" fmla="*/ 654433 w 1146175"/>
                  <a:gd name="connsiteY154" fmla="*/ 332643 h 1125538"/>
                  <a:gd name="connsiteX155" fmla="*/ 609600 w 1146175"/>
                  <a:gd name="connsiteY155" fmla="*/ 319061 h 1125538"/>
                  <a:gd name="connsiteX156" fmla="*/ 623833 w 1146175"/>
                  <a:gd name="connsiteY156" fmla="*/ 287609 h 1125538"/>
                  <a:gd name="connsiteX157" fmla="*/ 665820 w 1146175"/>
                  <a:gd name="connsiteY157" fmla="*/ 301906 h 1125538"/>
                  <a:gd name="connsiteX158" fmla="*/ 697132 w 1146175"/>
                  <a:gd name="connsiteY158" fmla="*/ 280461 h 1125538"/>
                  <a:gd name="connsiteX159" fmla="*/ 689304 w 1146175"/>
                  <a:gd name="connsiteY159" fmla="*/ 259732 h 1125538"/>
                  <a:gd name="connsiteX160" fmla="*/ 658703 w 1146175"/>
                  <a:gd name="connsiteY160" fmla="*/ 239002 h 1125538"/>
                  <a:gd name="connsiteX161" fmla="*/ 627391 w 1146175"/>
                  <a:gd name="connsiteY161" fmla="*/ 220417 h 1125538"/>
                  <a:gd name="connsiteX162" fmla="*/ 613870 w 1146175"/>
                  <a:gd name="connsiteY162" fmla="*/ 202546 h 1125538"/>
                  <a:gd name="connsiteX163" fmla="*/ 610312 w 1146175"/>
                  <a:gd name="connsiteY163" fmla="*/ 179672 h 1125538"/>
                  <a:gd name="connsiteX164" fmla="*/ 623121 w 1146175"/>
                  <a:gd name="connsiteY164" fmla="*/ 147506 h 1125538"/>
                  <a:gd name="connsiteX165" fmla="*/ 654433 w 1146175"/>
                  <a:gd name="connsiteY165" fmla="*/ 128920 h 1125538"/>
                  <a:gd name="connsiteX166" fmla="*/ 654433 w 1146175"/>
                  <a:gd name="connsiteY166" fmla="*/ 103187 h 1125538"/>
                  <a:gd name="connsiteX167" fmla="*/ 228600 w 1146175"/>
                  <a:gd name="connsiteY167" fmla="*/ 31750 h 1125538"/>
                  <a:gd name="connsiteX168" fmla="*/ 228600 w 1146175"/>
                  <a:gd name="connsiteY168" fmla="*/ 431800 h 1125538"/>
                  <a:gd name="connsiteX169" fmla="*/ 1114425 w 1146175"/>
                  <a:gd name="connsiteY169" fmla="*/ 431800 h 1125538"/>
                  <a:gd name="connsiteX170" fmla="*/ 1114425 w 1146175"/>
                  <a:gd name="connsiteY170" fmla="*/ 31750 h 1125538"/>
                  <a:gd name="connsiteX171" fmla="*/ 209003 w 1146175"/>
                  <a:gd name="connsiteY171" fmla="*/ 0 h 1125538"/>
                  <a:gd name="connsiteX172" fmla="*/ 1134023 w 1146175"/>
                  <a:gd name="connsiteY172" fmla="*/ 0 h 1125538"/>
                  <a:gd name="connsiteX173" fmla="*/ 1146175 w 1146175"/>
                  <a:gd name="connsiteY173" fmla="*/ 11428 h 1125538"/>
                  <a:gd name="connsiteX174" fmla="*/ 1146175 w 1146175"/>
                  <a:gd name="connsiteY174" fmla="*/ 451408 h 1125538"/>
                  <a:gd name="connsiteX175" fmla="*/ 1134023 w 1146175"/>
                  <a:gd name="connsiteY175" fmla="*/ 463550 h 1125538"/>
                  <a:gd name="connsiteX176" fmla="*/ 209003 w 1146175"/>
                  <a:gd name="connsiteY176" fmla="*/ 463550 h 1125538"/>
                  <a:gd name="connsiteX177" fmla="*/ 196850 w 1146175"/>
                  <a:gd name="connsiteY177" fmla="*/ 451408 h 1125538"/>
                  <a:gd name="connsiteX178" fmla="*/ 196850 w 1146175"/>
                  <a:gd name="connsiteY178" fmla="*/ 11428 h 1125538"/>
                  <a:gd name="connsiteX179" fmla="*/ 209003 w 1146175"/>
                  <a:gd name="connsiteY179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46175" h="1125538">
                    <a:moveTo>
                      <a:pt x="409739" y="615791"/>
                    </a:moveTo>
                    <a:cubicBezTo>
                      <a:pt x="380443" y="614362"/>
                      <a:pt x="351147" y="621508"/>
                      <a:pt x="326138" y="635801"/>
                    </a:cubicBezTo>
                    <a:cubicBezTo>
                      <a:pt x="326138" y="635801"/>
                      <a:pt x="326138" y="635801"/>
                      <a:pt x="31750" y="803020"/>
                    </a:cubicBezTo>
                    <a:cubicBezTo>
                      <a:pt x="31750" y="803020"/>
                      <a:pt x="31750" y="803020"/>
                      <a:pt x="31750" y="1087437"/>
                    </a:cubicBezTo>
                    <a:cubicBezTo>
                      <a:pt x="31750" y="1087437"/>
                      <a:pt x="31750" y="1087437"/>
                      <a:pt x="368296" y="957377"/>
                    </a:cubicBezTo>
                    <a:cubicBezTo>
                      <a:pt x="384730" y="950946"/>
                      <a:pt x="401879" y="948087"/>
                      <a:pt x="419028" y="949516"/>
                    </a:cubicBezTo>
                    <a:cubicBezTo>
                      <a:pt x="419028" y="949516"/>
                      <a:pt x="419028" y="949516"/>
                      <a:pt x="568366" y="960236"/>
                    </a:cubicBezTo>
                    <a:cubicBezTo>
                      <a:pt x="645535" y="965953"/>
                      <a:pt x="722705" y="956663"/>
                      <a:pt x="797017" y="933795"/>
                    </a:cubicBezTo>
                    <a:cubicBezTo>
                      <a:pt x="894908" y="903067"/>
                      <a:pt x="981367" y="845897"/>
                      <a:pt x="1047818" y="767290"/>
                    </a:cubicBezTo>
                    <a:cubicBezTo>
                      <a:pt x="1047818" y="767290"/>
                      <a:pt x="1047818" y="767290"/>
                      <a:pt x="1079972" y="730130"/>
                    </a:cubicBezTo>
                    <a:cubicBezTo>
                      <a:pt x="1098550" y="707977"/>
                      <a:pt x="1096407" y="675104"/>
                      <a:pt x="1074971" y="655810"/>
                    </a:cubicBezTo>
                    <a:cubicBezTo>
                      <a:pt x="1064253" y="646520"/>
                      <a:pt x="1050676" y="641517"/>
                      <a:pt x="1036386" y="642232"/>
                    </a:cubicBezTo>
                    <a:cubicBezTo>
                      <a:pt x="1022095" y="642947"/>
                      <a:pt x="1008519" y="649378"/>
                      <a:pt x="999230" y="660097"/>
                    </a:cubicBezTo>
                    <a:cubicBezTo>
                      <a:pt x="999230" y="660097"/>
                      <a:pt x="999230" y="660097"/>
                      <a:pt x="951356" y="713694"/>
                    </a:cubicBezTo>
                    <a:cubicBezTo>
                      <a:pt x="912771" y="758000"/>
                      <a:pt x="862039" y="789443"/>
                      <a:pt x="805591" y="805164"/>
                    </a:cubicBezTo>
                    <a:cubicBezTo>
                      <a:pt x="740568" y="823744"/>
                      <a:pt x="670544" y="819457"/>
                      <a:pt x="608380" y="794445"/>
                    </a:cubicBezTo>
                    <a:cubicBezTo>
                      <a:pt x="608380" y="794445"/>
                      <a:pt x="608380" y="794445"/>
                      <a:pt x="553360" y="772292"/>
                    </a:cubicBezTo>
                    <a:cubicBezTo>
                      <a:pt x="546930" y="769434"/>
                      <a:pt x="542642" y="763002"/>
                      <a:pt x="544071" y="755856"/>
                    </a:cubicBezTo>
                    <a:cubicBezTo>
                      <a:pt x="544786" y="748710"/>
                      <a:pt x="550502" y="742993"/>
                      <a:pt x="557648" y="742278"/>
                    </a:cubicBezTo>
                    <a:cubicBezTo>
                      <a:pt x="557648" y="742278"/>
                      <a:pt x="557648" y="742278"/>
                      <a:pt x="715560" y="726557"/>
                    </a:cubicBezTo>
                    <a:cubicBezTo>
                      <a:pt x="740568" y="724413"/>
                      <a:pt x="759146" y="703689"/>
                      <a:pt x="759146" y="679392"/>
                    </a:cubicBezTo>
                    <a:cubicBezTo>
                      <a:pt x="759146" y="653666"/>
                      <a:pt x="739139" y="632942"/>
                      <a:pt x="713416" y="631513"/>
                    </a:cubicBezTo>
                    <a:cubicBezTo>
                      <a:pt x="713416" y="631513"/>
                      <a:pt x="713416" y="631513"/>
                      <a:pt x="409739" y="615791"/>
                    </a:cubicBezTo>
                    <a:close/>
                    <a:moveTo>
                      <a:pt x="390213" y="584200"/>
                    </a:moveTo>
                    <a:cubicBezTo>
                      <a:pt x="391642" y="584200"/>
                      <a:pt x="392357" y="584200"/>
                      <a:pt x="393786" y="584200"/>
                    </a:cubicBezTo>
                    <a:cubicBezTo>
                      <a:pt x="394501" y="584200"/>
                      <a:pt x="395930" y="584200"/>
                      <a:pt x="396645" y="584200"/>
                    </a:cubicBezTo>
                    <a:cubicBezTo>
                      <a:pt x="398074" y="584200"/>
                      <a:pt x="398789" y="584200"/>
                      <a:pt x="399504" y="584200"/>
                    </a:cubicBezTo>
                    <a:cubicBezTo>
                      <a:pt x="400933" y="584200"/>
                      <a:pt x="401648" y="584200"/>
                      <a:pt x="403077" y="584200"/>
                    </a:cubicBezTo>
                    <a:cubicBezTo>
                      <a:pt x="405221" y="584200"/>
                      <a:pt x="408080" y="584200"/>
                      <a:pt x="410939" y="584200"/>
                    </a:cubicBezTo>
                    <a:cubicBezTo>
                      <a:pt x="410939" y="584200"/>
                      <a:pt x="410939" y="584200"/>
                      <a:pt x="715390" y="599912"/>
                    </a:cubicBezTo>
                    <a:cubicBezTo>
                      <a:pt x="743263" y="601340"/>
                      <a:pt x="766847" y="617766"/>
                      <a:pt x="780426" y="640619"/>
                    </a:cubicBezTo>
                    <a:cubicBezTo>
                      <a:pt x="781140" y="642048"/>
                      <a:pt x="781855" y="643476"/>
                      <a:pt x="782570" y="644904"/>
                    </a:cubicBezTo>
                    <a:cubicBezTo>
                      <a:pt x="785428" y="650618"/>
                      <a:pt x="787572" y="657045"/>
                      <a:pt x="789002" y="663473"/>
                    </a:cubicBezTo>
                    <a:cubicBezTo>
                      <a:pt x="789716" y="668472"/>
                      <a:pt x="790431" y="673471"/>
                      <a:pt x="790431" y="679184"/>
                    </a:cubicBezTo>
                    <a:cubicBezTo>
                      <a:pt x="790431" y="681327"/>
                      <a:pt x="790431" y="682755"/>
                      <a:pt x="789716" y="684898"/>
                    </a:cubicBezTo>
                    <a:cubicBezTo>
                      <a:pt x="789716" y="684898"/>
                      <a:pt x="789716" y="685612"/>
                      <a:pt x="789716" y="685612"/>
                    </a:cubicBezTo>
                    <a:cubicBezTo>
                      <a:pt x="789716" y="687754"/>
                      <a:pt x="789716" y="689183"/>
                      <a:pt x="789002" y="691325"/>
                    </a:cubicBezTo>
                    <a:cubicBezTo>
                      <a:pt x="786143" y="709893"/>
                      <a:pt x="776852" y="726319"/>
                      <a:pt x="763988" y="738460"/>
                    </a:cubicBezTo>
                    <a:cubicBezTo>
                      <a:pt x="763988" y="738460"/>
                      <a:pt x="763273" y="738460"/>
                      <a:pt x="763273" y="738460"/>
                    </a:cubicBezTo>
                    <a:cubicBezTo>
                      <a:pt x="761844" y="739888"/>
                      <a:pt x="760415" y="740603"/>
                      <a:pt x="758985" y="742031"/>
                    </a:cubicBezTo>
                    <a:cubicBezTo>
                      <a:pt x="757556" y="743459"/>
                      <a:pt x="756127" y="744173"/>
                      <a:pt x="754697" y="744888"/>
                    </a:cubicBezTo>
                    <a:cubicBezTo>
                      <a:pt x="753983" y="745602"/>
                      <a:pt x="753983" y="745602"/>
                      <a:pt x="753983" y="745602"/>
                    </a:cubicBezTo>
                    <a:cubicBezTo>
                      <a:pt x="752553" y="746316"/>
                      <a:pt x="751124" y="747744"/>
                      <a:pt x="749695" y="748458"/>
                    </a:cubicBezTo>
                    <a:cubicBezTo>
                      <a:pt x="748980" y="748458"/>
                      <a:pt x="748265" y="748458"/>
                      <a:pt x="748265" y="749173"/>
                    </a:cubicBezTo>
                    <a:cubicBezTo>
                      <a:pt x="746836" y="749887"/>
                      <a:pt x="745407" y="750601"/>
                      <a:pt x="743263" y="751315"/>
                    </a:cubicBezTo>
                    <a:cubicBezTo>
                      <a:pt x="743263" y="751315"/>
                      <a:pt x="742548" y="751315"/>
                      <a:pt x="742548" y="752029"/>
                    </a:cubicBezTo>
                    <a:cubicBezTo>
                      <a:pt x="741118" y="752029"/>
                      <a:pt x="739689" y="752743"/>
                      <a:pt x="738260" y="753458"/>
                    </a:cubicBezTo>
                    <a:cubicBezTo>
                      <a:pt x="731828" y="755600"/>
                      <a:pt x="725396" y="757028"/>
                      <a:pt x="718964" y="757743"/>
                    </a:cubicBezTo>
                    <a:cubicBezTo>
                      <a:pt x="718964" y="757743"/>
                      <a:pt x="718964" y="757743"/>
                      <a:pt x="624626" y="767027"/>
                    </a:cubicBezTo>
                    <a:cubicBezTo>
                      <a:pt x="662504" y="781310"/>
                      <a:pt x="703241" y="787023"/>
                      <a:pt x="743263" y="784167"/>
                    </a:cubicBezTo>
                    <a:cubicBezTo>
                      <a:pt x="753983" y="783453"/>
                      <a:pt x="764703" y="782024"/>
                      <a:pt x="775423" y="779882"/>
                    </a:cubicBezTo>
                    <a:cubicBezTo>
                      <a:pt x="778996" y="779168"/>
                      <a:pt x="781855" y="778453"/>
                      <a:pt x="785428" y="777739"/>
                    </a:cubicBezTo>
                    <a:cubicBezTo>
                      <a:pt x="786143" y="777739"/>
                      <a:pt x="786143" y="777739"/>
                      <a:pt x="786858" y="777025"/>
                    </a:cubicBezTo>
                    <a:cubicBezTo>
                      <a:pt x="790431" y="776311"/>
                      <a:pt x="793290" y="775597"/>
                      <a:pt x="796863" y="774883"/>
                    </a:cubicBezTo>
                    <a:cubicBezTo>
                      <a:pt x="806869" y="772026"/>
                      <a:pt x="816874" y="768455"/>
                      <a:pt x="826880" y="764170"/>
                    </a:cubicBezTo>
                    <a:cubicBezTo>
                      <a:pt x="857611" y="752029"/>
                      <a:pt x="885483" y="734175"/>
                      <a:pt x="909782" y="711322"/>
                    </a:cubicBezTo>
                    <a:cubicBezTo>
                      <a:pt x="916214" y="705608"/>
                      <a:pt x="921931" y="699181"/>
                      <a:pt x="928363" y="692753"/>
                    </a:cubicBezTo>
                    <a:cubicBezTo>
                      <a:pt x="928363" y="692753"/>
                      <a:pt x="928363" y="692753"/>
                      <a:pt x="975532" y="639191"/>
                    </a:cubicBezTo>
                    <a:cubicBezTo>
                      <a:pt x="976961" y="637763"/>
                      <a:pt x="977676" y="637048"/>
                      <a:pt x="978391" y="635620"/>
                    </a:cubicBezTo>
                    <a:cubicBezTo>
                      <a:pt x="979105" y="635620"/>
                      <a:pt x="979105" y="635620"/>
                      <a:pt x="979105" y="635620"/>
                    </a:cubicBezTo>
                    <a:cubicBezTo>
                      <a:pt x="994114" y="620623"/>
                      <a:pt x="1013410" y="612053"/>
                      <a:pt x="1034135" y="610624"/>
                    </a:cubicBezTo>
                    <a:cubicBezTo>
                      <a:pt x="1034850" y="610624"/>
                      <a:pt x="1034850" y="610624"/>
                      <a:pt x="1034850" y="610624"/>
                    </a:cubicBezTo>
                    <a:cubicBezTo>
                      <a:pt x="1036279" y="610624"/>
                      <a:pt x="1037709" y="610624"/>
                      <a:pt x="1039138" y="610624"/>
                    </a:cubicBezTo>
                    <a:cubicBezTo>
                      <a:pt x="1039138" y="610624"/>
                      <a:pt x="1039853" y="610624"/>
                      <a:pt x="1040567" y="610624"/>
                    </a:cubicBezTo>
                    <a:cubicBezTo>
                      <a:pt x="1054146" y="610624"/>
                      <a:pt x="1067725" y="614909"/>
                      <a:pt x="1079875" y="621337"/>
                    </a:cubicBezTo>
                    <a:cubicBezTo>
                      <a:pt x="1081304" y="622051"/>
                      <a:pt x="1082019" y="622765"/>
                      <a:pt x="1083448" y="623479"/>
                    </a:cubicBezTo>
                    <a:cubicBezTo>
                      <a:pt x="1084877" y="624193"/>
                      <a:pt x="1085592" y="624908"/>
                      <a:pt x="1086307" y="624908"/>
                    </a:cubicBezTo>
                    <a:cubicBezTo>
                      <a:pt x="1087021" y="625622"/>
                      <a:pt x="1087021" y="625622"/>
                      <a:pt x="1087021" y="625622"/>
                    </a:cubicBezTo>
                    <a:cubicBezTo>
                      <a:pt x="1087736" y="626336"/>
                      <a:pt x="1089165" y="627050"/>
                      <a:pt x="1089880" y="627764"/>
                    </a:cubicBezTo>
                    <a:cubicBezTo>
                      <a:pt x="1089880" y="627764"/>
                      <a:pt x="1090595" y="628478"/>
                      <a:pt x="1090595" y="628478"/>
                    </a:cubicBezTo>
                    <a:cubicBezTo>
                      <a:pt x="1091309" y="629193"/>
                      <a:pt x="1092024" y="629193"/>
                      <a:pt x="1092739" y="629907"/>
                    </a:cubicBezTo>
                    <a:cubicBezTo>
                      <a:pt x="1093453" y="630621"/>
                      <a:pt x="1094168" y="631335"/>
                      <a:pt x="1095597" y="632049"/>
                    </a:cubicBezTo>
                    <a:cubicBezTo>
                      <a:pt x="1095597" y="632049"/>
                      <a:pt x="1095597" y="632763"/>
                      <a:pt x="1095597" y="632763"/>
                    </a:cubicBezTo>
                    <a:cubicBezTo>
                      <a:pt x="1129902" y="663473"/>
                      <a:pt x="1133475" y="714893"/>
                      <a:pt x="1103459" y="749887"/>
                    </a:cubicBezTo>
                    <a:cubicBezTo>
                      <a:pt x="1103459" y="749887"/>
                      <a:pt x="1103459" y="749887"/>
                      <a:pt x="1072013" y="787738"/>
                    </a:cubicBezTo>
                    <a:cubicBezTo>
                      <a:pt x="1040567" y="824160"/>
                      <a:pt x="1004834" y="857012"/>
                      <a:pt x="966241" y="884150"/>
                    </a:cubicBezTo>
                    <a:cubicBezTo>
                      <a:pt x="963383" y="886292"/>
                      <a:pt x="959809" y="888435"/>
                      <a:pt x="956950" y="890577"/>
                    </a:cubicBezTo>
                    <a:cubicBezTo>
                      <a:pt x="954092" y="892720"/>
                      <a:pt x="951233" y="894862"/>
                      <a:pt x="948374" y="896291"/>
                    </a:cubicBezTo>
                    <a:cubicBezTo>
                      <a:pt x="904779" y="924857"/>
                      <a:pt x="856896" y="947711"/>
                      <a:pt x="806154" y="963422"/>
                    </a:cubicBezTo>
                    <a:cubicBezTo>
                      <a:pt x="801866" y="964851"/>
                      <a:pt x="797578" y="966279"/>
                      <a:pt x="792575" y="967707"/>
                    </a:cubicBezTo>
                    <a:cubicBezTo>
                      <a:pt x="791146" y="967707"/>
                      <a:pt x="789716" y="968422"/>
                      <a:pt x="788287" y="968422"/>
                    </a:cubicBezTo>
                    <a:cubicBezTo>
                      <a:pt x="785428" y="969136"/>
                      <a:pt x="782570" y="970564"/>
                      <a:pt x="779711" y="971278"/>
                    </a:cubicBezTo>
                    <a:cubicBezTo>
                      <a:pt x="777567" y="971278"/>
                      <a:pt x="775423" y="971992"/>
                      <a:pt x="773994" y="972707"/>
                    </a:cubicBezTo>
                    <a:cubicBezTo>
                      <a:pt x="771135" y="973421"/>
                      <a:pt x="768991" y="973421"/>
                      <a:pt x="766132" y="974135"/>
                    </a:cubicBezTo>
                    <a:cubicBezTo>
                      <a:pt x="763988" y="974849"/>
                      <a:pt x="761844" y="975563"/>
                      <a:pt x="759700" y="976277"/>
                    </a:cubicBezTo>
                    <a:cubicBezTo>
                      <a:pt x="757556" y="976277"/>
                      <a:pt x="756127" y="976992"/>
                      <a:pt x="753983" y="976992"/>
                    </a:cubicBezTo>
                    <a:cubicBezTo>
                      <a:pt x="743977" y="979134"/>
                      <a:pt x="733972" y="981277"/>
                      <a:pt x="724681" y="983419"/>
                    </a:cubicBezTo>
                    <a:cubicBezTo>
                      <a:pt x="723252" y="983419"/>
                      <a:pt x="722537" y="983419"/>
                      <a:pt x="721822" y="983419"/>
                    </a:cubicBezTo>
                    <a:cubicBezTo>
                      <a:pt x="718249" y="984133"/>
                      <a:pt x="714676" y="984847"/>
                      <a:pt x="711102" y="985562"/>
                    </a:cubicBezTo>
                    <a:cubicBezTo>
                      <a:pt x="710387" y="985562"/>
                      <a:pt x="710387" y="985562"/>
                      <a:pt x="709673" y="985562"/>
                    </a:cubicBezTo>
                    <a:cubicBezTo>
                      <a:pt x="689662" y="988418"/>
                      <a:pt x="670366" y="990561"/>
                      <a:pt x="650355" y="991989"/>
                    </a:cubicBezTo>
                    <a:cubicBezTo>
                      <a:pt x="649640" y="991989"/>
                      <a:pt x="648925" y="991989"/>
                      <a:pt x="648211" y="991989"/>
                    </a:cubicBezTo>
                    <a:cubicBezTo>
                      <a:pt x="644637" y="991989"/>
                      <a:pt x="641064" y="991989"/>
                      <a:pt x="637491" y="992703"/>
                    </a:cubicBezTo>
                    <a:cubicBezTo>
                      <a:pt x="636776" y="992703"/>
                      <a:pt x="636061" y="992703"/>
                      <a:pt x="635347" y="992703"/>
                    </a:cubicBezTo>
                    <a:cubicBezTo>
                      <a:pt x="630344" y="992703"/>
                      <a:pt x="626056" y="992703"/>
                      <a:pt x="621053" y="992703"/>
                    </a:cubicBezTo>
                    <a:cubicBezTo>
                      <a:pt x="621053" y="992703"/>
                      <a:pt x="620338" y="992703"/>
                      <a:pt x="620338" y="992703"/>
                    </a:cubicBezTo>
                    <a:cubicBezTo>
                      <a:pt x="617480" y="992703"/>
                      <a:pt x="614621" y="992703"/>
                      <a:pt x="612477" y="992703"/>
                    </a:cubicBezTo>
                    <a:cubicBezTo>
                      <a:pt x="610333" y="992703"/>
                      <a:pt x="608189" y="992703"/>
                      <a:pt x="606045" y="992703"/>
                    </a:cubicBezTo>
                    <a:cubicBezTo>
                      <a:pt x="603901" y="992703"/>
                      <a:pt x="601042" y="992703"/>
                      <a:pt x="598898" y="992703"/>
                    </a:cubicBezTo>
                    <a:cubicBezTo>
                      <a:pt x="596754" y="992703"/>
                      <a:pt x="594610" y="992703"/>
                      <a:pt x="592466" y="992703"/>
                    </a:cubicBezTo>
                    <a:cubicBezTo>
                      <a:pt x="589607" y="992703"/>
                      <a:pt x="587463" y="992703"/>
                      <a:pt x="584605" y="991989"/>
                    </a:cubicBezTo>
                    <a:cubicBezTo>
                      <a:pt x="582461" y="991989"/>
                      <a:pt x="581031" y="991989"/>
                      <a:pt x="578887" y="991989"/>
                    </a:cubicBezTo>
                    <a:cubicBezTo>
                      <a:pt x="575314" y="991989"/>
                      <a:pt x="571026" y="991275"/>
                      <a:pt x="566738" y="991275"/>
                    </a:cubicBezTo>
                    <a:cubicBezTo>
                      <a:pt x="566738" y="991275"/>
                      <a:pt x="566023" y="991275"/>
                      <a:pt x="566023" y="991275"/>
                    </a:cubicBezTo>
                    <a:cubicBezTo>
                      <a:pt x="566023" y="991275"/>
                      <a:pt x="566023" y="991275"/>
                      <a:pt x="485265" y="985562"/>
                    </a:cubicBezTo>
                    <a:cubicBezTo>
                      <a:pt x="485265" y="985562"/>
                      <a:pt x="485265" y="985562"/>
                      <a:pt x="416656" y="980562"/>
                    </a:cubicBezTo>
                    <a:cubicBezTo>
                      <a:pt x="415227" y="980562"/>
                      <a:pt x="413083" y="980562"/>
                      <a:pt x="410939" y="980562"/>
                    </a:cubicBezTo>
                    <a:cubicBezTo>
                      <a:pt x="410224" y="980562"/>
                      <a:pt x="408794" y="980562"/>
                      <a:pt x="407365" y="980562"/>
                    </a:cubicBezTo>
                    <a:cubicBezTo>
                      <a:pt x="402362" y="980562"/>
                      <a:pt x="398074" y="981277"/>
                      <a:pt x="393072" y="981991"/>
                    </a:cubicBezTo>
                    <a:cubicBezTo>
                      <a:pt x="391642" y="982705"/>
                      <a:pt x="390213" y="982705"/>
                      <a:pt x="388784" y="982705"/>
                    </a:cubicBezTo>
                    <a:cubicBezTo>
                      <a:pt x="388784" y="983419"/>
                      <a:pt x="388784" y="983419"/>
                      <a:pt x="388784" y="983419"/>
                    </a:cubicBezTo>
                    <a:cubicBezTo>
                      <a:pt x="387354" y="983419"/>
                      <a:pt x="385925" y="984133"/>
                      <a:pt x="384496" y="984133"/>
                    </a:cubicBezTo>
                    <a:cubicBezTo>
                      <a:pt x="384496" y="984133"/>
                      <a:pt x="384496" y="984133"/>
                      <a:pt x="383781" y="984847"/>
                    </a:cubicBezTo>
                    <a:cubicBezTo>
                      <a:pt x="382352" y="984847"/>
                      <a:pt x="380922" y="985562"/>
                      <a:pt x="379493" y="986276"/>
                    </a:cubicBezTo>
                    <a:cubicBezTo>
                      <a:pt x="379493" y="986276"/>
                      <a:pt x="379493" y="986276"/>
                      <a:pt x="21441" y="1124824"/>
                    </a:cubicBezTo>
                    <a:cubicBezTo>
                      <a:pt x="20011" y="1125538"/>
                      <a:pt x="17867" y="1125538"/>
                      <a:pt x="15723" y="1125538"/>
                    </a:cubicBezTo>
                    <a:cubicBezTo>
                      <a:pt x="12864" y="1125538"/>
                      <a:pt x="10006" y="1124824"/>
                      <a:pt x="7147" y="1122681"/>
                    </a:cubicBezTo>
                    <a:cubicBezTo>
                      <a:pt x="2859" y="1119825"/>
                      <a:pt x="0" y="1114826"/>
                      <a:pt x="0" y="1109826"/>
                    </a:cubicBezTo>
                    <a:cubicBezTo>
                      <a:pt x="0" y="1109826"/>
                      <a:pt x="0" y="1109826"/>
                      <a:pt x="0" y="793451"/>
                    </a:cubicBezTo>
                    <a:cubicBezTo>
                      <a:pt x="0" y="787738"/>
                      <a:pt x="3574" y="782738"/>
                      <a:pt x="7862" y="779882"/>
                    </a:cubicBezTo>
                    <a:cubicBezTo>
                      <a:pt x="7862" y="779882"/>
                      <a:pt x="7862" y="779882"/>
                      <a:pt x="310169" y="608482"/>
                    </a:cubicBezTo>
                    <a:cubicBezTo>
                      <a:pt x="311599" y="607053"/>
                      <a:pt x="313743" y="606339"/>
                      <a:pt x="315887" y="605625"/>
                    </a:cubicBezTo>
                    <a:cubicBezTo>
                      <a:pt x="316601" y="604911"/>
                      <a:pt x="317316" y="604911"/>
                      <a:pt x="318031" y="604197"/>
                    </a:cubicBezTo>
                    <a:cubicBezTo>
                      <a:pt x="318745" y="603483"/>
                      <a:pt x="320175" y="602768"/>
                      <a:pt x="320889" y="602768"/>
                    </a:cubicBezTo>
                    <a:cubicBezTo>
                      <a:pt x="322319" y="602054"/>
                      <a:pt x="323033" y="601340"/>
                      <a:pt x="324463" y="601340"/>
                    </a:cubicBezTo>
                    <a:cubicBezTo>
                      <a:pt x="325177" y="600626"/>
                      <a:pt x="325892" y="600626"/>
                      <a:pt x="326607" y="599912"/>
                    </a:cubicBezTo>
                    <a:cubicBezTo>
                      <a:pt x="328036" y="599198"/>
                      <a:pt x="329466" y="599198"/>
                      <a:pt x="330180" y="598483"/>
                    </a:cubicBezTo>
                    <a:cubicBezTo>
                      <a:pt x="330895" y="598483"/>
                      <a:pt x="331610" y="597769"/>
                      <a:pt x="332324" y="597769"/>
                    </a:cubicBezTo>
                    <a:cubicBezTo>
                      <a:pt x="333754" y="597055"/>
                      <a:pt x="335183" y="596341"/>
                      <a:pt x="336612" y="596341"/>
                    </a:cubicBezTo>
                    <a:cubicBezTo>
                      <a:pt x="336612" y="595627"/>
                      <a:pt x="337327" y="595627"/>
                      <a:pt x="338042" y="595627"/>
                    </a:cubicBezTo>
                    <a:cubicBezTo>
                      <a:pt x="339471" y="594913"/>
                      <a:pt x="340900" y="594198"/>
                      <a:pt x="342330" y="594198"/>
                    </a:cubicBezTo>
                    <a:cubicBezTo>
                      <a:pt x="343044" y="593484"/>
                      <a:pt x="343044" y="593484"/>
                      <a:pt x="343044" y="593484"/>
                    </a:cubicBezTo>
                    <a:cubicBezTo>
                      <a:pt x="345188" y="592770"/>
                      <a:pt x="346618" y="592770"/>
                      <a:pt x="348047" y="592056"/>
                    </a:cubicBezTo>
                    <a:cubicBezTo>
                      <a:pt x="348762" y="592056"/>
                      <a:pt x="348762" y="592056"/>
                      <a:pt x="348762" y="592056"/>
                    </a:cubicBezTo>
                    <a:cubicBezTo>
                      <a:pt x="360197" y="588485"/>
                      <a:pt x="370917" y="586343"/>
                      <a:pt x="382352" y="584914"/>
                    </a:cubicBezTo>
                    <a:cubicBezTo>
                      <a:pt x="383066" y="584914"/>
                      <a:pt x="383781" y="584914"/>
                      <a:pt x="383781" y="584914"/>
                    </a:cubicBezTo>
                    <a:cubicBezTo>
                      <a:pt x="385210" y="584914"/>
                      <a:pt x="386640" y="584914"/>
                      <a:pt x="387354" y="584914"/>
                    </a:cubicBezTo>
                    <a:cubicBezTo>
                      <a:pt x="388784" y="584914"/>
                      <a:pt x="389498" y="584914"/>
                      <a:pt x="390213" y="584200"/>
                    </a:cubicBezTo>
                    <a:close/>
                    <a:moveTo>
                      <a:pt x="654433" y="103187"/>
                    </a:moveTo>
                    <a:cubicBezTo>
                      <a:pt x="686457" y="103187"/>
                      <a:pt x="686457" y="103187"/>
                      <a:pt x="686457" y="103187"/>
                    </a:cubicBezTo>
                    <a:cubicBezTo>
                      <a:pt x="686457" y="126776"/>
                      <a:pt x="686457" y="126776"/>
                      <a:pt x="686457" y="126776"/>
                    </a:cubicBezTo>
                    <a:cubicBezTo>
                      <a:pt x="702825" y="128920"/>
                      <a:pt x="716346" y="132495"/>
                      <a:pt x="724174" y="139643"/>
                    </a:cubicBezTo>
                    <a:cubicBezTo>
                      <a:pt x="714211" y="169665"/>
                      <a:pt x="714211" y="169665"/>
                      <a:pt x="714211" y="169665"/>
                    </a:cubicBezTo>
                    <a:cubicBezTo>
                      <a:pt x="700690" y="161087"/>
                      <a:pt x="687169" y="156083"/>
                      <a:pt x="672936" y="156083"/>
                    </a:cubicBezTo>
                    <a:cubicBezTo>
                      <a:pt x="665108" y="156083"/>
                      <a:pt x="658703" y="158228"/>
                      <a:pt x="653722" y="162517"/>
                    </a:cubicBezTo>
                    <a:cubicBezTo>
                      <a:pt x="648740" y="167520"/>
                      <a:pt x="646605" y="172524"/>
                      <a:pt x="646605" y="179672"/>
                    </a:cubicBezTo>
                    <a:cubicBezTo>
                      <a:pt x="646605" y="191109"/>
                      <a:pt x="659415" y="203261"/>
                      <a:pt x="685034" y="215413"/>
                    </a:cubicBezTo>
                    <a:cubicBezTo>
                      <a:pt x="698555" y="222561"/>
                      <a:pt x="709230" y="228280"/>
                      <a:pt x="715634" y="233998"/>
                    </a:cubicBezTo>
                    <a:cubicBezTo>
                      <a:pt x="722039" y="239717"/>
                      <a:pt x="725597" y="246150"/>
                      <a:pt x="729155" y="253298"/>
                    </a:cubicBezTo>
                    <a:cubicBezTo>
                      <a:pt x="732002" y="261161"/>
                      <a:pt x="733425" y="269024"/>
                      <a:pt x="733425" y="278317"/>
                    </a:cubicBezTo>
                    <a:cubicBezTo>
                      <a:pt x="733425" y="290469"/>
                      <a:pt x="729867" y="301906"/>
                      <a:pt x="721327" y="311198"/>
                    </a:cubicBezTo>
                    <a:cubicBezTo>
                      <a:pt x="712788" y="320491"/>
                      <a:pt x="700690" y="327639"/>
                      <a:pt x="686457" y="331213"/>
                    </a:cubicBezTo>
                    <a:cubicBezTo>
                      <a:pt x="686457" y="361950"/>
                      <a:pt x="686457" y="361950"/>
                      <a:pt x="686457" y="361950"/>
                    </a:cubicBezTo>
                    <a:cubicBezTo>
                      <a:pt x="654433" y="361950"/>
                      <a:pt x="654433" y="361950"/>
                      <a:pt x="654433" y="361950"/>
                    </a:cubicBezTo>
                    <a:cubicBezTo>
                      <a:pt x="654433" y="332643"/>
                      <a:pt x="654433" y="332643"/>
                      <a:pt x="654433" y="332643"/>
                    </a:cubicBezTo>
                    <a:cubicBezTo>
                      <a:pt x="638777" y="332643"/>
                      <a:pt x="623833" y="327639"/>
                      <a:pt x="609600" y="319061"/>
                    </a:cubicBezTo>
                    <a:cubicBezTo>
                      <a:pt x="623833" y="287609"/>
                      <a:pt x="623833" y="287609"/>
                      <a:pt x="623833" y="287609"/>
                    </a:cubicBezTo>
                    <a:cubicBezTo>
                      <a:pt x="638066" y="296902"/>
                      <a:pt x="652299" y="301906"/>
                      <a:pt x="665820" y="301906"/>
                    </a:cubicBezTo>
                    <a:cubicBezTo>
                      <a:pt x="687169" y="301906"/>
                      <a:pt x="697132" y="294758"/>
                      <a:pt x="697132" y="280461"/>
                    </a:cubicBezTo>
                    <a:cubicBezTo>
                      <a:pt x="697132" y="273313"/>
                      <a:pt x="694997" y="266165"/>
                      <a:pt x="689304" y="259732"/>
                    </a:cubicBezTo>
                    <a:cubicBezTo>
                      <a:pt x="683611" y="254013"/>
                      <a:pt x="673648" y="246865"/>
                      <a:pt x="658703" y="239002"/>
                    </a:cubicBezTo>
                    <a:cubicBezTo>
                      <a:pt x="643047" y="231854"/>
                      <a:pt x="633084" y="225420"/>
                      <a:pt x="627391" y="220417"/>
                    </a:cubicBezTo>
                    <a:cubicBezTo>
                      <a:pt x="621698" y="215413"/>
                      <a:pt x="618140" y="209695"/>
                      <a:pt x="613870" y="202546"/>
                    </a:cubicBezTo>
                    <a:cubicBezTo>
                      <a:pt x="611735" y="195398"/>
                      <a:pt x="610312" y="188250"/>
                      <a:pt x="610312" y="179672"/>
                    </a:cubicBezTo>
                    <a:cubicBezTo>
                      <a:pt x="610312" y="167520"/>
                      <a:pt x="613870" y="156083"/>
                      <a:pt x="623121" y="147506"/>
                    </a:cubicBezTo>
                    <a:cubicBezTo>
                      <a:pt x="630949" y="138213"/>
                      <a:pt x="640912" y="131780"/>
                      <a:pt x="654433" y="128920"/>
                    </a:cubicBezTo>
                    <a:cubicBezTo>
                      <a:pt x="654433" y="103187"/>
                      <a:pt x="654433" y="103187"/>
                      <a:pt x="654433" y="103187"/>
                    </a:cubicBezTo>
                    <a:close/>
                    <a:moveTo>
                      <a:pt x="228600" y="31750"/>
                    </a:moveTo>
                    <a:lnTo>
                      <a:pt x="228600" y="431800"/>
                    </a:lnTo>
                    <a:lnTo>
                      <a:pt x="1114425" y="431800"/>
                    </a:lnTo>
                    <a:lnTo>
                      <a:pt x="1114425" y="31750"/>
                    </a:lnTo>
                    <a:close/>
                    <a:moveTo>
                      <a:pt x="209003" y="0"/>
                    </a:moveTo>
                    <a:cubicBezTo>
                      <a:pt x="1134023" y="0"/>
                      <a:pt x="1134023" y="0"/>
                      <a:pt x="1134023" y="0"/>
                    </a:cubicBezTo>
                    <a:cubicBezTo>
                      <a:pt x="1141171" y="0"/>
                      <a:pt x="1146175" y="5000"/>
                      <a:pt x="1146175" y="11428"/>
                    </a:cubicBezTo>
                    <a:cubicBezTo>
                      <a:pt x="1146175" y="451408"/>
                      <a:pt x="1146175" y="451408"/>
                      <a:pt x="1146175" y="451408"/>
                    </a:cubicBezTo>
                    <a:cubicBezTo>
                      <a:pt x="1146175" y="457836"/>
                      <a:pt x="1141171" y="463550"/>
                      <a:pt x="1134023" y="463550"/>
                    </a:cubicBezTo>
                    <a:cubicBezTo>
                      <a:pt x="209003" y="463550"/>
                      <a:pt x="209003" y="463550"/>
                      <a:pt x="209003" y="463550"/>
                    </a:cubicBezTo>
                    <a:cubicBezTo>
                      <a:pt x="202569" y="463550"/>
                      <a:pt x="196850" y="457836"/>
                      <a:pt x="196850" y="451408"/>
                    </a:cubicBezTo>
                    <a:cubicBezTo>
                      <a:pt x="196850" y="11428"/>
                      <a:pt x="196850" y="11428"/>
                      <a:pt x="196850" y="11428"/>
                    </a:cubicBezTo>
                    <a:cubicBezTo>
                      <a:pt x="196850" y="5000"/>
                      <a:pt x="202569" y="0"/>
                      <a:pt x="20900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9A45077-C891-428E-A410-B4D3BBCE294A}"/>
              </a:ext>
            </a:extLst>
          </p:cNvPr>
          <p:cNvGrpSpPr>
            <a:grpSpLocks noChangeAspect="1"/>
          </p:cNvGrpSpPr>
          <p:nvPr/>
        </p:nvGrpSpPr>
        <p:grpSpPr>
          <a:xfrm>
            <a:off x="9300172" y="1168993"/>
            <a:ext cx="768998" cy="768998"/>
            <a:chOff x="5273675" y="2606675"/>
            <a:chExt cx="1644650" cy="1644650"/>
          </a:xfrm>
        </p:grpSpPr>
        <p:sp>
          <p:nvSpPr>
            <p:cNvPr id="34" name="AutoShape 3">
              <a:extLst>
                <a:ext uri="{FF2B5EF4-FFF2-40B4-BE49-F238E27FC236}">
                  <a16:creationId xmlns:a16="http://schemas.microsoft.com/office/drawing/2014/main" id="{A261F30F-BBBD-4753-BC09-A74A479F67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4E0D997A-09AE-41B7-AA34-7DF10AE2256C}"/>
                </a:ext>
              </a:extLst>
            </p:cNvPr>
            <p:cNvGrpSpPr/>
            <p:nvPr/>
          </p:nvGrpSpPr>
          <p:grpSpPr>
            <a:xfrm>
              <a:off x="5444599" y="3152775"/>
              <a:ext cx="1302803" cy="552451"/>
              <a:chOff x="5445125" y="3152775"/>
              <a:chExt cx="1302803" cy="552451"/>
            </a:xfrm>
          </p:grpSpPr>
          <p:sp>
            <p:nvSpPr>
              <p:cNvPr id="36" name="Freeform 6">
                <a:extLst>
                  <a:ext uri="{FF2B5EF4-FFF2-40B4-BE49-F238E27FC236}">
                    <a16:creationId xmlns:a16="http://schemas.microsoft.com/office/drawing/2014/main" id="{23008BDE-3700-421A-B405-CDCD1F96A7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8175" y="3152775"/>
                <a:ext cx="470652" cy="550863"/>
              </a:xfrm>
              <a:custGeom>
                <a:avLst/>
                <a:gdLst>
                  <a:gd name="connsiteX0" fmla="*/ 153002 w 470652"/>
                  <a:gd name="connsiteY0" fmla="*/ 388952 h 550863"/>
                  <a:gd name="connsiteX1" fmla="*/ 141936 w 470652"/>
                  <a:gd name="connsiteY1" fmla="*/ 393758 h 550863"/>
                  <a:gd name="connsiteX2" fmla="*/ 141936 w 470652"/>
                  <a:gd name="connsiteY2" fmla="*/ 415117 h 550863"/>
                  <a:gd name="connsiteX3" fmla="*/ 174776 w 470652"/>
                  <a:gd name="connsiteY3" fmla="*/ 447868 h 550863"/>
                  <a:gd name="connsiteX4" fmla="*/ 141936 w 470652"/>
                  <a:gd name="connsiteY4" fmla="*/ 479194 h 550863"/>
                  <a:gd name="connsiteX5" fmla="*/ 141936 w 470652"/>
                  <a:gd name="connsiteY5" fmla="*/ 499841 h 550863"/>
                  <a:gd name="connsiteX6" fmla="*/ 153359 w 470652"/>
                  <a:gd name="connsiteY6" fmla="*/ 504825 h 550863"/>
                  <a:gd name="connsiteX7" fmla="*/ 164068 w 470652"/>
                  <a:gd name="connsiteY7" fmla="*/ 499841 h 550863"/>
                  <a:gd name="connsiteX8" fmla="*/ 196907 w 470652"/>
                  <a:gd name="connsiteY8" fmla="*/ 469227 h 550863"/>
                  <a:gd name="connsiteX9" fmla="*/ 229033 w 470652"/>
                  <a:gd name="connsiteY9" fmla="*/ 499841 h 550863"/>
                  <a:gd name="connsiteX10" fmla="*/ 239742 w 470652"/>
                  <a:gd name="connsiteY10" fmla="*/ 504825 h 550863"/>
                  <a:gd name="connsiteX11" fmla="*/ 250450 w 470652"/>
                  <a:gd name="connsiteY11" fmla="*/ 499841 h 550863"/>
                  <a:gd name="connsiteX12" fmla="*/ 250450 w 470652"/>
                  <a:gd name="connsiteY12" fmla="*/ 479194 h 550863"/>
                  <a:gd name="connsiteX13" fmla="*/ 218324 w 470652"/>
                  <a:gd name="connsiteY13" fmla="*/ 447868 h 550863"/>
                  <a:gd name="connsiteX14" fmla="*/ 250450 w 470652"/>
                  <a:gd name="connsiteY14" fmla="*/ 415117 h 550863"/>
                  <a:gd name="connsiteX15" fmla="*/ 250450 w 470652"/>
                  <a:gd name="connsiteY15" fmla="*/ 393758 h 550863"/>
                  <a:gd name="connsiteX16" fmla="*/ 229033 w 470652"/>
                  <a:gd name="connsiteY16" fmla="*/ 393758 h 550863"/>
                  <a:gd name="connsiteX17" fmla="*/ 196907 w 470652"/>
                  <a:gd name="connsiteY17" fmla="*/ 425796 h 550863"/>
                  <a:gd name="connsiteX18" fmla="*/ 164068 w 470652"/>
                  <a:gd name="connsiteY18" fmla="*/ 393758 h 550863"/>
                  <a:gd name="connsiteX19" fmla="*/ 153002 w 470652"/>
                  <a:gd name="connsiteY19" fmla="*/ 388952 h 550863"/>
                  <a:gd name="connsiteX20" fmla="*/ 196909 w 470652"/>
                  <a:gd name="connsiteY20" fmla="*/ 342900 h 550863"/>
                  <a:gd name="connsiteX21" fmla="*/ 302913 w 470652"/>
                  <a:gd name="connsiteY21" fmla="*/ 447594 h 550863"/>
                  <a:gd name="connsiteX22" fmla="*/ 196909 w 470652"/>
                  <a:gd name="connsiteY22" fmla="*/ 550863 h 550863"/>
                  <a:gd name="connsiteX23" fmla="*/ 90188 w 470652"/>
                  <a:gd name="connsiteY23" fmla="*/ 447594 h 550863"/>
                  <a:gd name="connsiteX24" fmla="*/ 196909 w 470652"/>
                  <a:gd name="connsiteY24" fmla="*/ 342900 h 550863"/>
                  <a:gd name="connsiteX25" fmla="*/ 17225 w 470652"/>
                  <a:gd name="connsiteY25" fmla="*/ 0 h 550863"/>
                  <a:gd name="connsiteX26" fmla="*/ 361980 w 470652"/>
                  <a:gd name="connsiteY26" fmla="*/ 0 h 550863"/>
                  <a:gd name="connsiteX27" fmla="*/ 377683 w 470652"/>
                  <a:gd name="connsiteY27" fmla="*/ 9278 h 550863"/>
                  <a:gd name="connsiteX28" fmla="*/ 469047 w 470652"/>
                  <a:gd name="connsiteY28" fmla="*/ 194833 h 550863"/>
                  <a:gd name="connsiteX29" fmla="*/ 469047 w 470652"/>
                  <a:gd name="connsiteY29" fmla="*/ 207679 h 550863"/>
                  <a:gd name="connsiteX30" fmla="*/ 377683 w 470652"/>
                  <a:gd name="connsiteY30" fmla="*/ 394661 h 550863"/>
                  <a:gd name="connsiteX31" fmla="*/ 361980 w 470652"/>
                  <a:gd name="connsiteY31" fmla="*/ 403225 h 550863"/>
                  <a:gd name="connsiteX32" fmla="*/ 325577 w 470652"/>
                  <a:gd name="connsiteY32" fmla="*/ 403225 h 550863"/>
                  <a:gd name="connsiteX33" fmla="*/ 197097 w 470652"/>
                  <a:gd name="connsiteY33" fmla="*/ 311161 h 550863"/>
                  <a:gd name="connsiteX34" fmla="*/ 69331 w 470652"/>
                  <a:gd name="connsiteY34" fmla="*/ 403225 h 550863"/>
                  <a:gd name="connsiteX35" fmla="*/ 17225 w 470652"/>
                  <a:gd name="connsiteY35" fmla="*/ 403225 h 550863"/>
                  <a:gd name="connsiteX36" fmla="*/ 1522 w 470652"/>
                  <a:gd name="connsiteY36" fmla="*/ 380388 h 550863"/>
                  <a:gd name="connsiteX37" fmla="*/ 87175 w 470652"/>
                  <a:gd name="connsiteY37" fmla="*/ 207679 h 550863"/>
                  <a:gd name="connsiteX38" fmla="*/ 87175 w 470652"/>
                  <a:gd name="connsiteY38" fmla="*/ 194833 h 550863"/>
                  <a:gd name="connsiteX39" fmla="*/ 1522 w 470652"/>
                  <a:gd name="connsiteY39" fmla="*/ 22838 h 550863"/>
                  <a:gd name="connsiteX40" fmla="*/ 17225 w 470652"/>
                  <a:gd name="connsiteY40" fmla="*/ 0 h 550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70652" h="550863">
                    <a:moveTo>
                      <a:pt x="153002" y="388952"/>
                    </a:moveTo>
                    <a:cubicBezTo>
                      <a:pt x="148897" y="388952"/>
                      <a:pt x="144792" y="390554"/>
                      <a:pt x="141936" y="393758"/>
                    </a:cubicBezTo>
                    <a:cubicBezTo>
                      <a:pt x="136225" y="398742"/>
                      <a:pt x="136225" y="408709"/>
                      <a:pt x="141936" y="415117"/>
                    </a:cubicBezTo>
                    <a:cubicBezTo>
                      <a:pt x="141936" y="415117"/>
                      <a:pt x="141936" y="415117"/>
                      <a:pt x="174776" y="447868"/>
                    </a:cubicBezTo>
                    <a:cubicBezTo>
                      <a:pt x="174776" y="447868"/>
                      <a:pt x="174776" y="447868"/>
                      <a:pt x="141936" y="479194"/>
                    </a:cubicBezTo>
                    <a:cubicBezTo>
                      <a:pt x="136225" y="485602"/>
                      <a:pt x="136225" y="494858"/>
                      <a:pt x="141936" y="499841"/>
                    </a:cubicBezTo>
                    <a:cubicBezTo>
                      <a:pt x="145506" y="503401"/>
                      <a:pt x="148362" y="504825"/>
                      <a:pt x="153359" y="504825"/>
                    </a:cubicBezTo>
                    <a:cubicBezTo>
                      <a:pt x="157642" y="504825"/>
                      <a:pt x="161212" y="503401"/>
                      <a:pt x="164068" y="499841"/>
                    </a:cubicBezTo>
                    <a:cubicBezTo>
                      <a:pt x="164068" y="499841"/>
                      <a:pt x="164068" y="499841"/>
                      <a:pt x="196907" y="469227"/>
                    </a:cubicBezTo>
                    <a:cubicBezTo>
                      <a:pt x="196907" y="469227"/>
                      <a:pt x="196907" y="469227"/>
                      <a:pt x="229033" y="499841"/>
                    </a:cubicBezTo>
                    <a:cubicBezTo>
                      <a:pt x="231889" y="503401"/>
                      <a:pt x="236172" y="504825"/>
                      <a:pt x="239742" y="504825"/>
                    </a:cubicBezTo>
                    <a:cubicBezTo>
                      <a:pt x="244025" y="504825"/>
                      <a:pt x="248308" y="503401"/>
                      <a:pt x="250450" y="499841"/>
                    </a:cubicBezTo>
                    <a:cubicBezTo>
                      <a:pt x="256875" y="494858"/>
                      <a:pt x="256875" y="485602"/>
                      <a:pt x="250450" y="479194"/>
                    </a:cubicBezTo>
                    <a:cubicBezTo>
                      <a:pt x="250450" y="479194"/>
                      <a:pt x="250450" y="479194"/>
                      <a:pt x="218324" y="447868"/>
                    </a:cubicBezTo>
                    <a:cubicBezTo>
                      <a:pt x="218324" y="447868"/>
                      <a:pt x="218324" y="447868"/>
                      <a:pt x="250450" y="415117"/>
                    </a:cubicBezTo>
                    <a:cubicBezTo>
                      <a:pt x="256875" y="408709"/>
                      <a:pt x="256875" y="398742"/>
                      <a:pt x="250450" y="393758"/>
                    </a:cubicBezTo>
                    <a:cubicBezTo>
                      <a:pt x="244739" y="387350"/>
                      <a:pt x="234744" y="387350"/>
                      <a:pt x="229033" y="393758"/>
                    </a:cubicBezTo>
                    <a:cubicBezTo>
                      <a:pt x="229033" y="393758"/>
                      <a:pt x="229033" y="393758"/>
                      <a:pt x="196907" y="425796"/>
                    </a:cubicBezTo>
                    <a:cubicBezTo>
                      <a:pt x="196907" y="425796"/>
                      <a:pt x="196907" y="425796"/>
                      <a:pt x="164068" y="393758"/>
                    </a:cubicBezTo>
                    <a:cubicBezTo>
                      <a:pt x="161212" y="390554"/>
                      <a:pt x="157107" y="388952"/>
                      <a:pt x="153002" y="388952"/>
                    </a:cubicBezTo>
                    <a:close/>
                    <a:moveTo>
                      <a:pt x="196909" y="342900"/>
                    </a:moveTo>
                    <a:cubicBezTo>
                      <a:pt x="254925" y="342900"/>
                      <a:pt x="302913" y="389193"/>
                      <a:pt x="302913" y="447594"/>
                    </a:cubicBezTo>
                    <a:cubicBezTo>
                      <a:pt x="302913" y="503858"/>
                      <a:pt x="254925" y="550863"/>
                      <a:pt x="196909" y="550863"/>
                    </a:cubicBezTo>
                    <a:cubicBezTo>
                      <a:pt x="137460" y="550863"/>
                      <a:pt x="90188" y="503858"/>
                      <a:pt x="90188" y="447594"/>
                    </a:cubicBezTo>
                    <a:cubicBezTo>
                      <a:pt x="90188" y="389193"/>
                      <a:pt x="137460" y="342900"/>
                      <a:pt x="196909" y="342900"/>
                    </a:cubicBezTo>
                    <a:close/>
                    <a:moveTo>
                      <a:pt x="17225" y="0"/>
                    </a:moveTo>
                    <a:cubicBezTo>
                      <a:pt x="17225" y="0"/>
                      <a:pt x="17225" y="0"/>
                      <a:pt x="361980" y="0"/>
                    </a:cubicBezTo>
                    <a:cubicBezTo>
                      <a:pt x="368404" y="0"/>
                      <a:pt x="374828" y="3568"/>
                      <a:pt x="377683" y="9278"/>
                    </a:cubicBezTo>
                    <a:cubicBezTo>
                      <a:pt x="377683" y="9278"/>
                      <a:pt x="377683" y="9278"/>
                      <a:pt x="469047" y="194833"/>
                    </a:cubicBezTo>
                    <a:cubicBezTo>
                      <a:pt x="471188" y="199115"/>
                      <a:pt x="471188" y="203397"/>
                      <a:pt x="469047" y="207679"/>
                    </a:cubicBezTo>
                    <a:cubicBezTo>
                      <a:pt x="469047" y="207679"/>
                      <a:pt x="469047" y="207679"/>
                      <a:pt x="377683" y="394661"/>
                    </a:cubicBezTo>
                    <a:cubicBezTo>
                      <a:pt x="374828" y="398943"/>
                      <a:pt x="368404" y="403225"/>
                      <a:pt x="361980" y="403225"/>
                    </a:cubicBezTo>
                    <a:cubicBezTo>
                      <a:pt x="361980" y="403225"/>
                      <a:pt x="361980" y="403225"/>
                      <a:pt x="325577" y="403225"/>
                    </a:cubicBezTo>
                    <a:cubicBezTo>
                      <a:pt x="307019" y="349700"/>
                      <a:pt x="256341" y="311161"/>
                      <a:pt x="197097" y="311161"/>
                    </a:cubicBezTo>
                    <a:cubicBezTo>
                      <a:pt x="137140" y="311161"/>
                      <a:pt x="87175" y="349700"/>
                      <a:pt x="69331" y="403225"/>
                    </a:cubicBezTo>
                    <a:cubicBezTo>
                      <a:pt x="69331" y="403225"/>
                      <a:pt x="69331" y="403225"/>
                      <a:pt x="17225" y="403225"/>
                    </a:cubicBezTo>
                    <a:cubicBezTo>
                      <a:pt x="4377" y="403225"/>
                      <a:pt x="-3475" y="391093"/>
                      <a:pt x="1522" y="380388"/>
                    </a:cubicBezTo>
                    <a:cubicBezTo>
                      <a:pt x="1522" y="380388"/>
                      <a:pt x="1522" y="380388"/>
                      <a:pt x="87175" y="207679"/>
                    </a:cubicBezTo>
                    <a:cubicBezTo>
                      <a:pt x="89317" y="203397"/>
                      <a:pt x="89317" y="199115"/>
                      <a:pt x="87175" y="194833"/>
                    </a:cubicBezTo>
                    <a:cubicBezTo>
                      <a:pt x="87175" y="194833"/>
                      <a:pt x="87175" y="194833"/>
                      <a:pt x="1522" y="22838"/>
                    </a:cubicBezTo>
                    <a:cubicBezTo>
                      <a:pt x="-3475" y="12133"/>
                      <a:pt x="4377" y="0"/>
                      <a:pt x="1722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7" name="Freeform 7">
                <a:extLst>
                  <a:ext uri="{FF2B5EF4-FFF2-40B4-BE49-F238E27FC236}">
                    <a16:creationId xmlns:a16="http://schemas.microsoft.com/office/drawing/2014/main" id="{8CAD341A-01B9-492B-969C-C21BE4A4C2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45125" y="3152775"/>
                <a:ext cx="1302803" cy="552451"/>
              </a:xfrm>
              <a:custGeom>
                <a:avLst/>
                <a:gdLst>
                  <a:gd name="connsiteX0" fmla="*/ 1086933 w 1302803"/>
                  <a:gd name="connsiteY0" fmla="*/ 406063 h 552451"/>
                  <a:gd name="connsiteX1" fmla="*/ 1076251 w 1302803"/>
                  <a:gd name="connsiteY1" fmla="*/ 409816 h 552451"/>
                  <a:gd name="connsiteX2" fmla="*/ 1008596 w 1302803"/>
                  <a:gd name="connsiteY2" fmla="*/ 477732 h 552451"/>
                  <a:gd name="connsiteX3" fmla="*/ 977974 w 1302803"/>
                  <a:gd name="connsiteY3" fmla="*/ 446991 h 552451"/>
                  <a:gd name="connsiteX4" fmla="*/ 956609 w 1302803"/>
                  <a:gd name="connsiteY4" fmla="*/ 446991 h 552451"/>
                  <a:gd name="connsiteX5" fmla="*/ 956609 w 1302803"/>
                  <a:gd name="connsiteY5" fmla="*/ 468438 h 552451"/>
                  <a:gd name="connsiteX6" fmla="*/ 995778 w 1302803"/>
                  <a:gd name="connsiteY6" fmla="*/ 507758 h 552451"/>
                  <a:gd name="connsiteX7" fmla="*/ 1000763 w 1302803"/>
                  <a:gd name="connsiteY7" fmla="*/ 510617 h 552451"/>
                  <a:gd name="connsiteX8" fmla="*/ 1009309 w 1302803"/>
                  <a:gd name="connsiteY8" fmla="*/ 512762 h 552451"/>
                  <a:gd name="connsiteX9" fmla="*/ 1019279 w 1302803"/>
                  <a:gd name="connsiteY9" fmla="*/ 509188 h 552451"/>
                  <a:gd name="connsiteX10" fmla="*/ 1097615 w 1302803"/>
                  <a:gd name="connsiteY10" fmla="*/ 431263 h 552451"/>
                  <a:gd name="connsiteX11" fmla="*/ 1097615 w 1302803"/>
                  <a:gd name="connsiteY11" fmla="*/ 409816 h 552451"/>
                  <a:gd name="connsiteX12" fmla="*/ 1086933 w 1302803"/>
                  <a:gd name="connsiteY12" fmla="*/ 406063 h 552451"/>
                  <a:gd name="connsiteX13" fmla="*/ 249702 w 1302803"/>
                  <a:gd name="connsiteY13" fmla="*/ 406063 h 552451"/>
                  <a:gd name="connsiteX14" fmla="*/ 238638 w 1302803"/>
                  <a:gd name="connsiteY14" fmla="*/ 409816 h 552451"/>
                  <a:gd name="connsiteX15" fmla="*/ 171718 w 1302803"/>
                  <a:gd name="connsiteY15" fmla="*/ 477732 h 552451"/>
                  <a:gd name="connsiteX16" fmla="*/ 140776 w 1302803"/>
                  <a:gd name="connsiteY16" fmla="*/ 446991 h 552451"/>
                  <a:gd name="connsiteX17" fmla="*/ 118470 w 1302803"/>
                  <a:gd name="connsiteY17" fmla="*/ 446991 h 552451"/>
                  <a:gd name="connsiteX18" fmla="*/ 118470 w 1302803"/>
                  <a:gd name="connsiteY18" fmla="*/ 468438 h 552451"/>
                  <a:gd name="connsiteX19" fmla="*/ 158046 w 1302803"/>
                  <a:gd name="connsiteY19" fmla="*/ 507758 h 552451"/>
                  <a:gd name="connsiteX20" fmla="*/ 163803 w 1302803"/>
                  <a:gd name="connsiteY20" fmla="*/ 510617 h 552451"/>
                  <a:gd name="connsiteX21" fmla="*/ 171718 w 1302803"/>
                  <a:gd name="connsiteY21" fmla="*/ 512762 h 552451"/>
                  <a:gd name="connsiteX22" fmla="*/ 182512 w 1302803"/>
                  <a:gd name="connsiteY22" fmla="*/ 509188 h 552451"/>
                  <a:gd name="connsiteX23" fmla="*/ 260225 w 1302803"/>
                  <a:gd name="connsiteY23" fmla="*/ 431263 h 552451"/>
                  <a:gd name="connsiteX24" fmla="*/ 260225 w 1302803"/>
                  <a:gd name="connsiteY24" fmla="*/ 409816 h 552451"/>
                  <a:gd name="connsiteX25" fmla="*/ 249702 w 1302803"/>
                  <a:gd name="connsiteY25" fmla="*/ 406063 h 552451"/>
                  <a:gd name="connsiteX26" fmla="*/ 1027112 w 1302803"/>
                  <a:gd name="connsiteY26" fmla="*/ 344487 h 552451"/>
                  <a:gd name="connsiteX27" fmla="*/ 1133475 w 1302803"/>
                  <a:gd name="connsiteY27" fmla="*/ 448469 h 552451"/>
                  <a:gd name="connsiteX28" fmla="*/ 1027112 w 1302803"/>
                  <a:gd name="connsiteY28" fmla="*/ 552451 h 552451"/>
                  <a:gd name="connsiteX29" fmla="*/ 920749 w 1302803"/>
                  <a:gd name="connsiteY29" fmla="*/ 448469 h 552451"/>
                  <a:gd name="connsiteX30" fmla="*/ 1027112 w 1302803"/>
                  <a:gd name="connsiteY30" fmla="*/ 344487 h 552451"/>
                  <a:gd name="connsiteX31" fmla="*/ 192882 w 1302803"/>
                  <a:gd name="connsiteY31" fmla="*/ 344487 h 552451"/>
                  <a:gd name="connsiteX32" fmla="*/ 298451 w 1302803"/>
                  <a:gd name="connsiteY32" fmla="*/ 448469 h 552451"/>
                  <a:gd name="connsiteX33" fmla="*/ 192882 w 1302803"/>
                  <a:gd name="connsiteY33" fmla="*/ 552451 h 552451"/>
                  <a:gd name="connsiteX34" fmla="*/ 87313 w 1302803"/>
                  <a:gd name="connsiteY34" fmla="*/ 448469 h 552451"/>
                  <a:gd name="connsiteX35" fmla="*/ 192882 w 1302803"/>
                  <a:gd name="connsiteY35" fmla="*/ 344487 h 552451"/>
                  <a:gd name="connsiteX36" fmla="*/ 848631 w 1302803"/>
                  <a:gd name="connsiteY36" fmla="*/ 0 h 552451"/>
                  <a:gd name="connsiteX37" fmla="*/ 1193581 w 1302803"/>
                  <a:gd name="connsiteY37" fmla="*/ 0 h 552451"/>
                  <a:gd name="connsiteX38" fmla="*/ 1208548 w 1302803"/>
                  <a:gd name="connsiteY38" fmla="*/ 9278 h 552451"/>
                  <a:gd name="connsiteX39" fmla="*/ 1301200 w 1302803"/>
                  <a:gd name="connsiteY39" fmla="*/ 194119 h 552451"/>
                  <a:gd name="connsiteX40" fmla="*/ 1301200 w 1302803"/>
                  <a:gd name="connsiteY40" fmla="*/ 207679 h 552451"/>
                  <a:gd name="connsiteX41" fmla="*/ 1208548 w 1302803"/>
                  <a:gd name="connsiteY41" fmla="*/ 393947 h 552451"/>
                  <a:gd name="connsiteX42" fmla="*/ 1193581 w 1302803"/>
                  <a:gd name="connsiteY42" fmla="*/ 403225 h 552451"/>
                  <a:gd name="connsiteX43" fmla="*/ 1155095 w 1302803"/>
                  <a:gd name="connsiteY43" fmla="*/ 403225 h 552451"/>
                  <a:gd name="connsiteX44" fmla="*/ 1027521 w 1302803"/>
                  <a:gd name="connsiteY44" fmla="*/ 312588 h 552451"/>
                  <a:gd name="connsiteX45" fmla="*/ 899233 w 1302803"/>
                  <a:gd name="connsiteY45" fmla="*/ 403225 h 552451"/>
                  <a:gd name="connsiteX46" fmla="*/ 848631 w 1302803"/>
                  <a:gd name="connsiteY46" fmla="*/ 403225 h 552451"/>
                  <a:gd name="connsiteX47" fmla="*/ 833664 w 1302803"/>
                  <a:gd name="connsiteY47" fmla="*/ 380388 h 552451"/>
                  <a:gd name="connsiteX48" fmla="*/ 919189 w 1302803"/>
                  <a:gd name="connsiteY48" fmla="*/ 207679 h 552451"/>
                  <a:gd name="connsiteX49" fmla="*/ 919189 w 1302803"/>
                  <a:gd name="connsiteY49" fmla="*/ 194119 h 552451"/>
                  <a:gd name="connsiteX50" fmla="*/ 833664 w 1302803"/>
                  <a:gd name="connsiteY50" fmla="*/ 22837 h 552451"/>
                  <a:gd name="connsiteX51" fmla="*/ 848631 w 1302803"/>
                  <a:gd name="connsiteY51" fmla="*/ 0 h 552451"/>
                  <a:gd name="connsiteX52" fmla="*/ 15719 w 1302803"/>
                  <a:gd name="connsiteY52" fmla="*/ 0 h 552451"/>
                  <a:gd name="connsiteX53" fmla="*/ 357249 w 1302803"/>
                  <a:gd name="connsiteY53" fmla="*/ 0 h 552451"/>
                  <a:gd name="connsiteX54" fmla="*/ 371539 w 1302803"/>
                  <a:gd name="connsiteY54" fmla="*/ 9278 h 552451"/>
                  <a:gd name="connsiteX55" fmla="*/ 462995 w 1302803"/>
                  <a:gd name="connsiteY55" fmla="*/ 194119 h 552451"/>
                  <a:gd name="connsiteX56" fmla="*/ 462995 w 1302803"/>
                  <a:gd name="connsiteY56" fmla="*/ 207679 h 552451"/>
                  <a:gd name="connsiteX57" fmla="*/ 371539 w 1302803"/>
                  <a:gd name="connsiteY57" fmla="*/ 393947 h 552451"/>
                  <a:gd name="connsiteX58" fmla="*/ 357249 w 1302803"/>
                  <a:gd name="connsiteY58" fmla="*/ 403225 h 552451"/>
                  <a:gd name="connsiteX59" fmla="*/ 320095 w 1302803"/>
                  <a:gd name="connsiteY59" fmla="*/ 403225 h 552451"/>
                  <a:gd name="connsiteX60" fmla="*/ 192915 w 1302803"/>
                  <a:gd name="connsiteY60" fmla="*/ 312588 h 552451"/>
                  <a:gd name="connsiteX61" fmla="*/ 65734 w 1302803"/>
                  <a:gd name="connsiteY61" fmla="*/ 403225 h 552451"/>
                  <a:gd name="connsiteX62" fmla="*/ 15719 w 1302803"/>
                  <a:gd name="connsiteY62" fmla="*/ 403225 h 552451"/>
                  <a:gd name="connsiteX63" fmla="*/ 0 w 1302803"/>
                  <a:gd name="connsiteY63" fmla="*/ 386811 h 552451"/>
                  <a:gd name="connsiteX64" fmla="*/ 0 w 1302803"/>
                  <a:gd name="connsiteY64" fmla="*/ 16414 h 552451"/>
                  <a:gd name="connsiteX65" fmla="*/ 15719 w 1302803"/>
                  <a:gd name="connsiteY65" fmla="*/ 0 h 552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1302803" h="552451">
                    <a:moveTo>
                      <a:pt x="1086933" y="406063"/>
                    </a:moveTo>
                    <a:cubicBezTo>
                      <a:pt x="1083016" y="406063"/>
                      <a:pt x="1079099" y="407314"/>
                      <a:pt x="1076251" y="409816"/>
                    </a:cubicBezTo>
                    <a:cubicBezTo>
                      <a:pt x="1076251" y="409816"/>
                      <a:pt x="1076251" y="409816"/>
                      <a:pt x="1008596" y="477732"/>
                    </a:cubicBezTo>
                    <a:cubicBezTo>
                      <a:pt x="1008596" y="477732"/>
                      <a:pt x="1008596" y="477732"/>
                      <a:pt x="977974" y="446991"/>
                    </a:cubicBezTo>
                    <a:cubicBezTo>
                      <a:pt x="972277" y="440557"/>
                      <a:pt x="963019" y="440557"/>
                      <a:pt x="956609" y="446991"/>
                    </a:cubicBezTo>
                    <a:cubicBezTo>
                      <a:pt x="950912" y="453425"/>
                      <a:pt x="950912" y="462719"/>
                      <a:pt x="956609" y="468438"/>
                    </a:cubicBezTo>
                    <a:cubicBezTo>
                      <a:pt x="956609" y="468438"/>
                      <a:pt x="956609" y="468438"/>
                      <a:pt x="995778" y="507758"/>
                    </a:cubicBezTo>
                    <a:cubicBezTo>
                      <a:pt x="997202" y="509188"/>
                      <a:pt x="999338" y="509903"/>
                      <a:pt x="1000763" y="510617"/>
                    </a:cubicBezTo>
                    <a:cubicBezTo>
                      <a:pt x="1003611" y="512047"/>
                      <a:pt x="1006460" y="512762"/>
                      <a:pt x="1009309" y="512762"/>
                    </a:cubicBezTo>
                    <a:cubicBezTo>
                      <a:pt x="1013581" y="512762"/>
                      <a:pt x="1017142" y="511332"/>
                      <a:pt x="1019279" y="509188"/>
                    </a:cubicBezTo>
                    <a:cubicBezTo>
                      <a:pt x="1019279" y="509188"/>
                      <a:pt x="1019279" y="509188"/>
                      <a:pt x="1097615" y="431263"/>
                    </a:cubicBezTo>
                    <a:cubicBezTo>
                      <a:pt x="1103312" y="426259"/>
                      <a:pt x="1103312" y="416251"/>
                      <a:pt x="1097615" y="409816"/>
                    </a:cubicBezTo>
                    <a:cubicBezTo>
                      <a:pt x="1094767" y="407314"/>
                      <a:pt x="1090850" y="406063"/>
                      <a:pt x="1086933" y="406063"/>
                    </a:cubicBezTo>
                    <a:close/>
                    <a:moveTo>
                      <a:pt x="249702" y="406063"/>
                    </a:moveTo>
                    <a:cubicBezTo>
                      <a:pt x="245834" y="406063"/>
                      <a:pt x="241876" y="407314"/>
                      <a:pt x="238638" y="409816"/>
                    </a:cubicBezTo>
                    <a:cubicBezTo>
                      <a:pt x="238638" y="409816"/>
                      <a:pt x="238638" y="409816"/>
                      <a:pt x="171718" y="477732"/>
                    </a:cubicBezTo>
                    <a:cubicBezTo>
                      <a:pt x="171718" y="477732"/>
                      <a:pt x="171718" y="477732"/>
                      <a:pt x="140776" y="446991"/>
                    </a:cubicBezTo>
                    <a:cubicBezTo>
                      <a:pt x="134300" y="440557"/>
                      <a:pt x="124226" y="440557"/>
                      <a:pt x="118470" y="446991"/>
                    </a:cubicBezTo>
                    <a:cubicBezTo>
                      <a:pt x="112713" y="453425"/>
                      <a:pt x="112713" y="462719"/>
                      <a:pt x="118470" y="468438"/>
                    </a:cubicBezTo>
                    <a:cubicBezTo>
                      <a:pt x="118470" y="468438"/>
                      <a:pt x="118470" y="468438"/>
                      <a:pt x="158046" y="507758"/>
                    </a:cubicBezTo>
                    <a:cubicBezTo>
                      <a:pt x="160205" y="509188"/>
                      <a:pt x="161644" y="509903"/>
                      <a:pt x="163803" y="510617"/>
                    </a:cubicBezTo>
                    <a:cubicBezTo>
                      <a:pt x="165961" y="512047"/>
                      <a:pt x="168840" y="512762"/>
                      <a:pt x="171718" y="512762"/>
                    </a:cubicBezTo>
                    <a:cubicBezTo>
                      <a:pt x="175316" y="512762"/>
                      <a:pt x="179633" y="511332"/>
                      <a:pt x="182512" y="509188"/>
                    </a:cubicBezTo>
                    <a:cubicBezTo>
                      <a:pt x="182512" y="509188"/>
                      <a:pt x="182512" y="509188"/>
                      <a:pt x="260225" y="431263"/>
                    </a:cubicBezTo>
                    <a:cubicBezTo>
                      <a:pt x="266701" y="426259"/>
                      <a:pt x="266701" y="416251"/>
                      <a:pt x="260225" y="409816"/>
                    </a:cubicBezTo>
                    <a:cubicBezTo>
                      <a:pt x="257347" y="407314"/>
                      <a:pt x="253569" y="406063"/>
                      <a:pt x="249702" y="406063"/>
                    </a:cubicBezTo>
                    <a:close/>
                    <a:moveTo>
                      <a:pt x="1027112" y="344487"/>
                    </a:moveTo>
                    <a:cubicBezTo>
                      <a:pt x="1085855" y="344487"/>
                      <a:pt x="1133475" y="391041"/>
                      <a:pt x="1133475" y="448469"/>
                    </a:cubicBezTo>
                    <a:cubicBezTo>
                      <a:pt x="1133475" y="505897"/>
                      <a:pt x="1085855" y="552451"/>
                      <a:pt x="1027112" y="552451"/>
                    </a:cubicBezTo>
                    <a:cubicBezTo>
                      <a:pt x="968369" y="552451"/>
                      <a:pt x="920749" y="505897"/>
                      <a:pt x="920749" y="448469"/>
                    </a:cubicBezTo>
                    <a:cubicBezTo>
                      <a:pt x="920749" y="391041"/>
                      <a:pt x="968369" y="344487"/>
                      <a:pt x="1027112" y="344487"/>
                    </a:cubicBezTo>
                    <a:close/>
                    <a:moveTo>
                      <a:pt x="192882" y="344487"/>
                    </a:moveTo>
                    <a:cubicBezTo>
                      <a:pt x="251186" y="344487"/>
                      <a:pt x="298451" y="391041"/>
                      <a:pt x="298451" y="448469"/>
                    </a:cubicBezTo>
                    <a:cubicBezTo>
                      <a:pt x="298451" y="505897"/>
                      <a:pt x="251186" y="552451"/>
                      <a:pt x="192882" y="552451"/>
                    </a:cubicBezTo>
                    <a:cubicBezTo>
                      <a:pt x="134578" y="552451"/>
                      <a:pt x="87313" y="505897"/>
                      <a:pt x="87313" y="448469"/>
                    </a:cubicBezTo>
                    <a:cubicBezTo>
                      <a:pt x="87313" y="391041"/>
                      <a:pt x="134578" y="344487"/>
                      <a:pt x="192882" y="344487"/>
                    </a:cubicBezTo>
                    <a:close/>
                    <a:moveTo>
                      <a:pt x="848631" y="0"/>
                    </a:moveTo>
                    <a:cubicBezTo>
                      <a:pt x="848631" y="0"/>
                      <a:pt x="848631" y="0"/>
                      <a:pt x="1193581" y="0"/>
                    </a:cubicBezTo>
                    <a:cubicBezTo>
                      <a:pt x="1200708" y="0"/>
                      <a:pt x="1205697" y="3568"/>
                      <a:pt x="1208548" y="9278"/>
                    </a:cubicBezTo>
                    <a:cubicBezTo>
                      <a:pt x="1208548" y="9278"/>
                      <a:pt x="1208548" y="9278"/>
                      <a:pt x="1301200" y="194119"/>
                    </a:cubicBezTo>
                    <a:cubicBezTo>
                      <a:pt x="1303338" y="198401"/>
                      <a:pt x="1303338" y="203397"/>
                      <a:pt x="1301200" y="207679"/>
                    </a:cubicBezTo>
                    <a:cubicBezTo>
                      <a:pt x="1301200" y="207679"/>
                      <a:pt x="1301200" y="207679"/>
                      <a:pt x="1208548" y="393947"/>
                    </a:cubicBezTo>
                    <a:cubicBezTo>
                      <a:pt x="1205697" y="398943"/>
                      <a:pt x="1200708" y="403225"/>
                      <a:pt x="1193581" y="403225"/>
                    </a:cubicBezTo>
                    <a:cubicBezTo>
                      <a:pt x="1193581" y="403225"/>
                      <a:pt x="1193581" y="403225"/>
                      <a:pt x="1155095" y="403225"/>
                    </a:cubicBezTo>
                    <a:cubicBezTo>
                      <a:pt x="1136565" y="350413"/>
                      <a:pt x="1085963" y="312588"/>
                      <a:pt x="1027521" y="312588"/>
                    </a:cubicBezTo>
                    <a:cubicBezTo>
                      <a:pt x="968366" y="312588"/>
                      <a:pt x="917764" y="350413"/>
                      <a:pt x="899233" y="403225"/>
                    </a:cubicBezTo>
                    <a:cubicBezTo>
                      <a:pt x="899233" y="403225"/>
                      <a:pt x="899233" y="403225"/>
                      <a:pt x="848631" y="403225"/>
                    </a:cubicBezTo>
                    <a:cubicBezTo>
                      <a:pt x="835802" y="403225"/>
                      <a:pt x="828675" y="390379"/>
                      <a:pt x="833664" y="380388"/>
                    </a:cubicBezTo>
                    <a:cubicBezTo>
                      <a:pt x="833664" y="380388"/>
                      <a:pt x="833664" y="380388"/>
                      <a:pt x="919189" y="207679"/>
                    </a:cubicBezTo>
                    <a:cubicBezTo>
                      <a:pt x="921327" y="203397"/>
                      <a:pt x="921327" y="198401"/>
                      <a:pt x="919189" y="194119"/>
                    </a:cubicBezTo>
                    <a:cubicBezTo>
                      <a:pt x="919189" y="194119"/>
                      <a:pt x="919189" y="194119"/>
                      <a:pt x="833664" y="22837"/>
                    </a:cubicBezTo>
                    <a:cubicBezTo>
                      <a:pt x="828675" y="12132"/>
                      <a:pt x="835802" y="0"/>
                      <a:pt x="848631" y="0"/>
                    </a:cubicBezTo>
                    <a:close/>
                    <a:moveTo>
                      <a:pt x="15719" y="0"/>
                    </a:moveTo>
                    <a:cubicBezTo>
                      <a:pt x="15719" y="0"/>
                      <a:pt x="15719" y="0"/>
                      <a:pt x="357249" y="0"/>
                    </a:cubicBezTo>
                    <a:cubicBezTo>
                      <a:pt x="362965" y="0"/>
                      <a:pt x="368681" y="3568"/>
                      <a:pt x="371539" y="9278"/>
                    </a:cubicBezTo>
                    <a:cubicBezTo>
                      <a:pt x="371539" y="9278"/>
                      <a:pt x="371539" y="9278"/>
                      <a:pt x="462995" y="194119"/>
                    </a:cubicBezTo>
                    <a:cubicBezTo>
                      <a:pt x="465138" y="198401"/>
                      <a:pt x="465138" y="203397"/>
                      <a:pt x="462995" y="207679"/>
                    </a:cubicBezTo>
                    <a:cubicBezTo>
                      <a:pt x="462995" y="207679"/>
                      <a:pt x="462995" y="207679"/>
                      <a:pt x="371539" y="393947"/>
                    </a:cubicBezTo>
                    <a:cubicBezTo>
                      <a:pt x="369396" y="398943"/>
                      <a:pt x="362965" y="403225"/>
                      <a:pt x="357249" y="403225"/>
                    </a:cubicBezTo>
                    <a:cubicBezTo>
                      <a:pt x="357249" y="403225"/>
                      <a:pt x="357249" y="403225"/>
                      <a:pt x="320095" y="403225"/>
                    </a:cubicBezTo>
                    <a:cubicBezTo>
                      <a:pt x="301518" y="350413"/>
                      <a:pt x="252218" y="312588"/>
                      <a:pt x="192915" y="312588"/>
                    </a:cubicBezTo>
                    <a:cubicBezTo>
                      <a:pt x="133611" y="312588"/>
                      <a:pt x="84310" y="350413"/>
                      <a:pt x="65734" y="403225"/>
                    </a:cubicBezTo>
                    <a:cubicBezTo>
                      <a:pt x="65734" y="403225"/>
                      <a:pt x="65734" y="403225"/>
                      <a:pt x="15719" y="403225"/>
                    </a:cubicBezTo>
                    <a:cubicBezTo>
                      <a:pt x="7145" y="403225"/>
                      <a:pt x="0" y="395375"/>
                      <a:pt x="0" y="386811"/>
                    </a:cubicBezTo>
                    <a:cubicBezTo>
                      <a:pt x="0" y="386811"/>
                      <a:pt x="0" y="386811"/>
                      <a:pt x="0" y="16414"/>
                    </a:cubicBezTo>
                    <a:cubicBezTo>
                      <a:pt x="0" y="7137"/>
                      <a:pt x="7145" y="0"/>
                      <a:pt x="1571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8" name="Oval 20">
            <a:extLst>
              <a:ext uri="{FF2B5EF4-FFF2-40B4-BE49-F238E27FC236}">
                <a16:creationId xmlns:a16="http://schemas.microsoft.com/office/drawing/2014/main" id="{4751DDDC-4CBE-4152-B57E-F4DD1B342BC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64591" y="2650858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40" name="Oval 20">
            <a:extLst>
              <a:ext uri="{FF2B5EF4-FFF2-40B4-BE49-F238E27FC236}">
                <a16:creationId xmlns:a16="http://schemas.microsoft.com/office/drawing/2014/main" id="{C59E23E2-E792-4483-BBCD-2314FE0372D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48454" y="3101948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41" name="Oval 20">
            <a:extLst>
              <a:ext uri="{FF2B5EF4-FFF2-40B4-BE49-F238E27FC236}">
                <a16:creationId xmlns:a16="http://schemas.microsoft.com/office/drawing/2014/main" id="{AF22F9BA-6FAD-4C0A-A74E-7E50556AD5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48454" y="2644752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33B9C42E-5D9D-4B9C-BE52-5B37CA051F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7557" y="3835622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44" name="Oval 20">
            <a:extLst>
              <a:ext uri="{FF2B5EF4-FFF2-40B4-BE49-F238E27FC236}">
                <a16:creationId xmlns:a16="http://schemas.microsoft.com/office/drawing/2014/main" id="{4AAC7AC1-1870-40A0-BA9C-F645F42E1A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7557" y="2624023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45" name="Oval 20">
            <a:extLst>
              <a:ext uri="{FF2B5EF4-FFF2-40B4-BE49-F238E27FC236}">
                <a16:creationId xmlns:a16="http://schemas.microsoft.com/office/drawing/2014/main" id="{B2D452FE-CC22-4161-9F60-6411C4A1A59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3933" y="3907318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6" name="Oval 20">
            <a:extLst>
              <a:ext uri="{FF2B5EF4-FFF2-40B4-BE49-F238E27FC236}">
                <a16:creationId xmlns:a16="http://schemas.microsoft.com/office/drawing/2014/main" id="{B57BD95A-DAC7-4620-900B-754E0B86458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3933" y="3418488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7" name="Oval 20">
            <a:extLst>
              <a:ext uri="{FF2B5EF4-FFF2-40B4-BE49-F238E27FC236}">
                <a16:creationId xmlns:a16="http://schemas.microsoft.com/office/drawing/2014/main" id="{4DD736EC-1680-4330-A480-7407BD0E62E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3933" y="2624023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83E24B3B-D2B9-45B7-B2DD-648734929E27}"/>
              </a:ext>
            </a:extLst>
          </p:cNvPr>
          <p:cNvCxnSpPr>
            <a:cxnSpLocks/>
          </p:cNvCxnSpPr>
          <p:nvPr/>
        </p:nvCxnSpPr>
        <p:spPr>
          <a:xfrm rot="10800000">
            <a:off x="629249" y="2525190"/>
            <a:ext cx="2198458" cy="0"/>
          </a:xfrm>
          <a:prstGeom prst="line">
            <a:avLst/>
          </a:prstGeom>
          <a:ln w="19050" cap="rnd">
            <a:solidFill>
              <a:schemeClr val="accent5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C735C22C-905B-4C41-A6BA-EC7557BB67B0}"/>
              </a:ext>
            </a:extLst>
          </p:cNvPr>
          <p:cNvCxnSpPr>
            <a:cxnSpLocks/>
          </p:cNvCxnSpPr>
          <p:nvPr/>
        </p:nvCxnSpPr>
        <p:spPr>
          <a:xfrm rot="10800000">
            <a:off x="3541431" y="2525190"/>
            <a:ext cx="2198458" cy="0"/>
          </a:xfrm>
          <a:prstGeom prst="line">
            <a:avLst/>
          </a:prstGeom>
          <a:ln w="19050" cap="rnd">
            <a:solidFill>
              <a:schemeClr val="accent5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C5D1895-88E4-4586-B635-92E083C882C3}"/>
              </a:ext>
            </a:extLst>
          </p:cNvPr>
          <p:cNvCxnSpPr>
            <a:cxnSpLocks/>
          </p:cNvCxnSpPr>
          <p:nvPr/>
        </p:nvCxnSpPr>
        <p:spPr>
          <a:xfrm rot="10800000">
            <a:off x="6453012" y="2525191"/>
            <a:ext cx="2198458" cy="0"/>
          </a:xfrm>
          <a:prstGeom prst="line">
            <a:avLst/>
          </a:prstGeom>
          <a:ln w="19050" cap="rnd">
            <a:solidFill>
              <a:schemeClr val="accent5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75242D3-744E-4B01-9AB5-5900D97C4EEA}"/>
              </a:ext>
            </a:extLst>
          </p:cNvPr>
          <p:cNvCxnSpPr>
            <a:cxnSpLocks/>
          </p:cNvCxnSpPr>
          <p:nvPr/>
        </p:nvCxnSpPr>
        <p:spPr>
          <a:xfrm rot="10800000">
            <a:off x="9364591" y="2525191"/>
            <a:ext cx="2198458" cy="0"/>
          </a:xfrm>
          <a:prstGeom prst="line">
            <a:avLst/>
          </a:prstGeom>
          <a:ln w="19050" cap="rnd">
            <a:solidFill>
              <a:schemeClr val="accent5"/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D533FBAD-8803-4031-A821-A45A4901CF14}"/>
              </a:ext>
            </a:extLst>
          </p:cNvPr>
          <p:cNvSpPr/>
          <p:nvPr/>
        </p:nvSpPr>
        <p:spPr>
          <a:xfrm>
            <a:off x="9133367" y="4589474"/>
            <a:ext cx="3058633" cy="2268525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94400" lvl="1" indent="-129600">
              <a:buClr>
                <a:schemeClr val="bg1"/>
              </a:buClr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</a:rPr>
              <a:t># of </a:t>
            </a:r>
            <a:r>
              <a:rPr lang="en-US" sz="1600">
                <a:solidFill>
                  <a:srgbClr val="FFC000"/>
                </a:solidFill>
              </a:rPr>
              <a:t>new business/training partnerships formed </a:t>
            </a:r>
            <a:r>
              <a:rPr lang="en-US" sz="1600">
                <a:solidFill>
                  <a:schemeClr val="bg1"/>
                </a:solidFill>
              </a:rPr>
              <a:t>/ applying for funding</a:t>
            </a:r>
          </a:p>
          <a:p>
            <a:pPr marL="194400" lvl="1" indent="-129600">
              <a:buClr>
                <a:schemeClr val="bg1"/>
              </a:buClr>
              <a:buFont typeface="Trebuchet MS" panose="020B0603020202020204" pitchFamily="34" charset="0"/>
              <a:buChar char="•"/>
            </a:pPr>
            <a:endParaRPr lang="en-US" sz="1600">
              <a:solidFill>
                <a:schemeClr val="bg1"/>
              </a:solidFill>
            </a:endParaRPr>
          </a:p>
          <a:p>
            <a:pPr marL="194400" lvl="1" indent="-129600">
              <a:buClr>
                <a:schemeClr val="bg1"/>
              </a:buClr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</a:rPr>
              <a:t># </a:t>
            </a:r>
            <a:r>
              <a:rPr lang="en-US" sz="1600">
                <a:solidFill>
                  <a:srgbClr val="FFC000"/>
                </a:solidFill>
              </a:rPr>
              <a:t>business connected</a:t>
            </a:r>
            <a:r>
              <a:rPr lang="en-US" sz="1600">
                <a:solidFill>
                  <a:schemeClr val="bg1"/>
                </a:solidFill>
              </a:rPr>
              <a:t> to existing training partnerships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7E49330C-9E44-4820-BB40-10325B48957B}"/>
              </a:ext>
            </a:extLst>
          </p:cNvPr>
          <p:cNvSpPr/>
          <p:nvPr/>
        </p:nvSpPr>
        <p:spPr>
          <a:xfrm>
            <a:off x="9356650" y="4415591"/>
            <a:ext cx="2612067" cy="379714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4800" lvl="1">
              <a:buClr>
                <a:schemeClr val="bg1"/>
              </a:buClr>
            </a:pPr>
            <a:r>
              <a:rPr lang="en-US" sz="1600" b="1">
                <a:solidFill>
                  <a:srgbClr val="FFC000"/>
                </a:solidFill>
              </a:rPr>
              <a:t>Market Maker outcomes</a:t>
            </a:r>
          </a:p>
        </p:txBody>
      </p:sp>
      <p:sp>
        <p:nvSpPr>
          <p:cNvPr id="54" name="Oval 20">
            <a:extLst>
              <a:ext uri="{FF2B5EF4-FFF2-40B4-BE49-F238E27FC236}">
                <a16:creationId xmlns:a16="http://schemas.microsoft.com/office/drawing/2014/main" id="{6C18788C-0848-4273-8401-534FE04D12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3933" y="4518957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5" name="Oval 20">
            <a:extLst>
              <a:ext uri="{FF2B5EF4-FFF2-40B4-BE49-F238E27FC236}">
                <a16:creationId xmlns:a16="http://schemas.microsoft.com/office/drawing/2014/main" id="{3906DA6B-E699-4006-AD13-C56E4ACD629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87557" y="4426511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56" name="Oval 20">
            <a:extLst>
              <a:ext uri="{FF2B5EF4-FFF2-40B4-BE49-F238E27FC236}">
                <a16:creationId xmlns:a16="http://schemas.microsoft.com/office/drawing/2014/main" id="{495B65FF-521F-4446-A37E-0D317E3EDB5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445068" y="4068291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57" name="Oval 20">
            <a:extLst>
              <a:ext uri="{FF2B5EF4-FFF2-40B4-BE49-F238E27FC236}">
                <a16:creationId xmlns:a16="http://schemas.microsoft.com/office/drawing/2014/main" id="{B5D9FD1B-8146-4C4B-89D2-AD015D4BC1F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364591" y="3291981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58" name="Oval 20">
            <a:extLst>
              <a:ext uri="{FF2B5EF4-FFF2-40B4-BE49-F238E27FC236}">
                <a16:creationId xmlns:a16="http://schemas.microsoft.com/office/drawing/2014/main" id="{DAD7518B-E093-48D1-8817-2530B9FE92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3933" y="5132868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0" name="Oval 20">
            <a:extLst>
              <a:ext uri="{FF2B5EF4-FFF2-40B4-BE49-F238E27FC236}">
                <a16:creationId xmlns:a16="http://schemas.microsoft.com/office/drawing/2014/main" id="{009F0760-7B31-4C65-B0F0-902C25BA58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524781" y="5387948"/>
            <a:ext cx="275250" cy="27525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59" name="Isosceles Triangle 58">
            <a:extLst>
              <a:ext uri="{FF2B5EF4-FFF2-40B4-BE49-F238E27FC236}">
                <a16:creationId xmlns:a16="http://schemas.microsoft.com/office/drawing/2014/main" id="{7F080A86-57F5-4A1C-A9ED-0F0510ADD7B0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1" name="Oval 20">
            <a:extLst>
              <a:ext uri="{FF2B5EF4-FFF2-40B4-BE49-F238E27FC236}">
                <a16:creationId xmlns:a16="http://schemas.microsoft.com/office/drawing/2014/main" id="{4788ABEF-323D-4522-BBB2-62F5CD212A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9716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551903-C0F0-4767-A747-55ABDD87A6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/>
                </a:solidFill>
              </a:rPr>
              <a:t>Market Maker role within MassHire workforce syste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0A0C29-1667-44C5-A331-7EB73686E9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64">
              <a:solidFill>
                <a:srgbClr val="FFFFFF"/>
              </a:solidFill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076CB6F3-FC4F-4461-8E75-A303CC19DEB8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FBA25E3F-2D01-4E14-9445-71FC26FB33E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4332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559232-46A2-4CF5-96DD-C82B69E370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735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27" imgH="327" progId="TCLayout.ActiveDocument.1">
                  <p:embed/>
                </p:oleObj>
              </mc:Choice>
              <mc:Fallback>
                <p:oleObj name="think-cell Slide" r:id="rId12" imgW="327" imgH="32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559232-46A2-4CF5-96DD-C82B69E37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491FCD6-6C48-4FD5-9B7F-D6D0ED9B6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606288"/>
            <a:ext cx="10117513" cy="553998"/>
          </a:xfrm>
        </p:spPr>
        <p:txBody>
          <a:bodyPr vert="horz"/>
          <a:lstStyle/>
          <a:p>
            <a:r>
              <a:rPr lang="en-US" sz="2000" u="sng" dirty="0"/>
              <a:t>Market Maker's Ecosystem</a:t>
            </a:r>
            <a:r>
              <a:rPr lang="en-US" sz="2000" dirty="0"/>
              <a:t>: Landscape of types of players Market Makers should partner with to support connecting employers to training provid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4CD682-C4F2-423B-A0DC-1B33EDEADC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Market Maker role within MassHire workforce syste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A28D43-9C31-4F22-98F9-29F4A2E0486A}"/>
              </a:ext>
            </a:extLst>
          </p:cNvPr>
          <p:cNvSpPr/>
          <p:nvPr/>
        </p:nvSpPr>
        <p:spPr>
          <a:xfrm>
            <a:off x="451413" y="1255309"/>
            <a:ext cx="10903352" cy="498540"/>
          </a:xfrm>
          <a:prstGeom prst="rect">
            <a:avLst/>
          </a:prstGeom>
          <a:noFill/>
          <a:ln w="28575" cap="rnd" cmpd="sng" algn="ctr">
            <a:solidFill>
              <a:srgbClr val="00269E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Arial" panose="020B0604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</a:rPr>
              <a:t>Market Makers may have strong relationships with other regional-focused players, but should also develop</a:t>
            </a:r>
          </a:p>
          <a:p>
            <a:pPr algn="ctr">
              <a:buFont typeface="Arial" panose="020B0604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</a:rPr>
              <a:t> relationships with industry-focused organizations who can broker employer connections</a:t>
            </a:r>
          </a:p>
        </p:txBody>
      </p:sp>
      <p:sp>
        <p:nvSpPr>
          <p:cNvPr id="12" name="ee4pHeader2">
            <a:extLst>
              <a:ext uri="{FF2B5EF4-FFF2-40B4-BE49-F238E27FC236}">
                <a16:creationId xmlns:a16="http://schemas.microsoft.com/office/drawing/2014/main" id="{67785AB6-908D-40C7-AA51-F6A3258E4387}"/>
              </a:ext>
            </a:extLst>
          </p:cNvPr>
          <p:cNvSpPr txBox="1"/>
          <p:nvPr/>
        </p:nvSpPr>
        <p:spPr>
          <a:xfrm>
            <a:off x="4357579" y="2483775"/>
            <a:ext cx="3318250" cy="649169"/>
          </a:xfrm>
          <a:prstGeom prst="round2SameRect">
            <a:avLst>
              <a:gd name="adj1" fmla="val 94625"/>
              <a:gd name="adj2" fmla="val 0"/>
            </a:avLst>
          </a:prstGeom>
          <a:solidFill>
            <a:schemeClr val="tx2"/>
          </a:solidFill>
          <a:ln cap="rnd">
            <a:noFill/>
          </a:ln>
        </p:spPr>
        <p:txBody>
          <a:bodyPr wrap="square" lIns="0" tIns="0" rIns="0" bIns="137160" rtlCol="0" anchor="ctr" anchorCtr="0">
            <a:noAutofit/>
          </a:bodyPr>
          <a:lstStyle/>
          <a:p>
            <a:pPr marL="0" lvl="3" algn="ctr"/>
            <a:r>
              <a:rPr lang="en-US">
                <a:solidFill>
                  <a:srgbClr val="FFFFFF"/>
                </a:solidFill>
              </a:rPr>
              <a:t>Workforce</a:t>
            </a:r>
          </a:p>
        </p:txBody>
      </p:sp>
      <p:sp>
        <p:nvSpPr>
          <p:cNvPr id="13" name="ee4pHeader3">
            <a:extLst>
              <a:ext uri="{FF2B5EF4-FFF2-40B4-BE49-F238E27FC236}">
                <a16:creationId xmlns:a16="http://schemas.microsoft.com/office/drawing/2014/main" id="{B0861F34-47D7-4472-BFF8-E852BD5751A1}"/>
              </a:ext>
            </a:extLst>
          </p:cNvPr>
          <p:cNvSpPr txBox="1"/>
          <p:nvPr/>
        </p:nvSpPr>
        <p:spPr>
          <a:xfrm>
            <a:off x="8036514" y="2483775"/>
            <a:ext cx="3318251" cy="649169"/>
          </a:xfrm>
          <a:prstGeom prst="round2SameRect">
            <a:avLst>
              <a:gd name="adj1" fmla="val 94625"/>
              <a:gd name="adj2" fmla="val 0"/>
            </a:avLst>
          </a:prstGeom>
          <a:solidFill>
            <a:schemeClr val="tx2"/>
          </a:solidFill>
          <a:ln cap="rnd">
            <a:noFill/>
          </a:ln>
        </p:spPr>
        <p:txBody>
          <a:bodyPr wrap="square" lIns="0" tIns="0" rIns="0" bIns="137160" rtlCol="0" anchor="ctr" anchorCtr="0">
            <a:noAutofit/>
          </a:bodyPr>
          <a:lstStyle/>
          <a:p>
            <a:pPr marL="0" lvl="3" algn="ctr"/>
            <a:r>
              <a:rPr lang="en-US">
                <a:solidFill>
                  <a:srgbClr val="FFFFFF"/>
                </a:solidFill>
              </a:rPr>
              <a:t>Employers</a:t>
            </a:r>
          </a:p>
        </p:txBody>
      </p:sp>
      <p:sp>
        <p:nvSpPr>
          <p:cNvPr id="11" name="ee4pHeader1">
            <a:extLst>
              <a:ext uri="{FF2B5EF4-FFF2-40B4-BE49-F238E27FC236}">
                <a16:creationId xmlns:a16="http://schemas.microsoft.com/office/drawing/2014/main" id="{B1C931F8-766E-4CCE-90CD-BCB41CAF2763}"/>
              </a:ext>
            </a:extLst>
          </p:cNvPr>
          <p:cNvSpPr txBox="1"/>
          <p:nvPr/>
        </p:nvSpPr>
        <p:spPr>
          <a:xfrm>
            <a:off x="462684" y="2483775"/>
            <a:ext cx="2856272" cy="649169"/>
          </a:xfrm>
          <a:prstGeom prst="round2SameRect">
            <a:avLst>
              <a:gd name="adj1" fmla="val 94625"/>
              <a:gd name="adj2" fmla="val 0"/>
            </a:avLst>
          </a:prstGeom>
          <a:solidFill>
            <a:schemeClr val="tx2"/>
          </a:solidFill>
          <a:ln cap="rnd">
            <a:noFill/>
          </a:ln>
        </p:spPr>
        <p:txBody>
          <a:bodyPr wrap="square" lIns="0" tIns="0" rIns="0" bIns="137160" rtlCol="0" anchor="ctr" anchorCtr="0">
            <a:noAutofit/>
          </a:bodyPr>
          <a:lstStyle/>
          <a:p>
            <a:pPr marL="0" lvl="3" algn="ctr"/>
            <a:r>
              <a:rPr lang="en-US">
                <a:solidFill>
                  <a:srgbClr val="FFFFFF"/>
                </a:solidFill>
              </a:rPr>
              <a:t>Training providers</a:t>
            </a:r>
          </a:p>
        </p:txBody>
      </p:sp>
      <p:sp>
        <p:nvSpPr>
          <p:cNvPr id="28" name="Textfeld 1">
            <a:extLst>
              <a:ext uri="{FF2B5EF4-FFF2-40B4-BE49-F238E27FC236}">
                <a16:creationId xmlns:a16="http://schemas.microsoft.com/office/drawing/2014/main" id="{EE806BDB-1DD2-41ED-9A8C-3F95D2B785C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62846" y="12991"/>
            <a:ext cx="6085332" cy="26776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sym typeface="Trebuchet MS" panose="020B0603020202020204" pitchFamily="34" charset="0"/>
              </a:rPr>
              <a:t>Not-exhaustiv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ACC6226-ADAE-441C-A4A8-637515783195}"/>
              </a:ext>
            </a:extLst>
          </p:cNvPr>
          <p:cNvSpPr>
            <a:spLocks noChangeAspect="1"/>
          </p:cNvSpPr>
          <p:nvPr/>
        </p:nvSpPr>
        <p:spPr>
          <a:xfrm>
            <a:off x="9317788" y="1839472"/>
            <a:ext cx="755703" cy="755703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kern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650FF2A-1EE6-4882-84A1-65638D5AB5EC}"/>
              </a:ext>
            </a:extLst>
          </p:cNvPr>
          <p:cNvGrpSpPr>
            <a:grpSpLocks noChangeAspect="1"/>
          </p:cNvGrpSpPr>
          <p:nvPr/>
        </p:nvGrpSpPr>
        <p:grpSpPr>
          <a:xfrm>
            <a:off x="9407141" y="1929103"/>
            <a:ext cx="576996" cy="576440"/>
            <a:chOff x="6464300" y="2606675"/>
            <a:chExt cx="1646238" cy="1644650"/>
          </a:xfrm>
        </p:grpSpPr>
        <p:sp>
          <p:nvSpPr>
            <p:cNvPr id="25" name="AutoShape 3">
              <a:extLst>
                <a:ext uri="{FF2B5EF4-FFF2-40B4-BE49-F238E27FC236}">
                  <a16:creationId xmlns:a16="http://schemas.microsoft.com/office/drawing/2014/main" id="{2F13F225-F5D7-4B1F-B398-66CD7B284BF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B44F6C9-A205-4AEE-B24B-7E43CD254023}"/>
                </a:ext>
              </a:extLst>
            </p:cNvPr>
            <p:cNvGrpSpPr/>
            <p:nvPr/>
          </p:nvGrpSpPr>
          <p:grpSpPr>
            <a:xfrm>
              <a:off x="6603395" y="2776538"/>
              <a:ext cx="1369800" cy="1303338"/>
              <a:chOff x="6603395" y="2776538"/>
              <a:chExt cx="1369800" cy="1303338"/>
            </a:xfrm>
          </p:grpSpPr>
          <p:sp>
            <p:nvSpPr>
              <p:cNvPr id="33" name="Freeform 12">
                <a:extLst>
                  <a:ext uri="{FF2B5EF4-FFF2-40B4-BE49-F238E27FC236}">
                    <a16:creationId xmlns:a16="http://schemas.microsoft.com/office/drawing/2014/main" id="{48C378AD-914C-4F40-856B-813800AF9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9743" y="2925763"/>
                <a:ext cx="1363452" cy="1154113"/>
              </a:xfrm>
              <a:custGeom>
                <a:avLst/>
                <a:gdLst>
                  <a:gd name="connsiteX0" fmla="*/ 1096819 w 1363452"/>
                  <a:gd name="connsiteY0" fmla="*/ 877888 h 1154113"/>
                  <a:gd name="connsiteX1" fmla="*/ 1054707 w 1363452"/>
                  <a:gd name="connsiteY1" fmla="*/ 929919 h 1154113"/>
                  <a:gd name="connsiteX2" fmla="*/ 1288107 w 1363452"/>
                  <a:gd name="connsiteY2" fmla="*/ 1122363 h 1154113"/>
                  <a:gd name="connsiteX3" fmla="*/ 1313802 w 1363452"/>
                  <a:gd name="connsiteY3" fmla="*/ 1101693 h 1154113"/>
                  <a:gd name="connsiteX4" fmla="*/ 1314516 w 1363452"/>
                  <a:gd name="connsiteY4" fmla="*/ 1100980 h 1154113"/>
                  <a:gd name="connsiteX5" fmla="*/ 1315230 w 1363452"/>
                  <a:gd name="connsiteY5" fmla="*/ 1100268 h 1154113"/>
                  <a:gd name="connsiteX6" fmla="*/ 1330932 w 1363452"/>
                  <a:gd name="connsiteY6" fmla="*/ 1071045 h 1154113"/>
                  <a:gd name="connsiteX7" fmla="*/ 1096819 w 1363452"/>
                  <a:gd name="connsiteY7" fmla="*/ 877888 h 1154113"/>
                  <a:gd name="connsiteX8" fmla="*/ 1093256 w 1363452"/>
                  <a:gd name="connsiteY8" fmla="*/ 838848 h 1154113"/>
                  <a:gd name="connsiteX9" fmla="*/ 1104637 w 1363452"/>
                  <a:gd name="connsiteY9" fmla="*/ 842334 h 1154113"/>
                  <a:gd name="connsiteX10" fmla="*/ 1355565 w 1363452"/>
                  <a:gd name="connsiteY10" fmla="*/ 1048995 h 1154113"/>
                  <a:gd name="connsiteX11" fmla="*/ 1339792 w 1363452"/>
                  <a:gd name="connsiteY11" fmla="*/ 1120504 h 1154113"/>
                  <a:gd name="connsiteX12" fmla="*/ 1286739 w 1363452"/>
                  <a:gd name="connsiteY12" fmla="*/ 1154113 h 1154113"/>
                  <a:gd name="connsiteX13" fmla="*/ 1272400 w 1363452"/>
                  <a:gd name="connsiteY13" fmla="*/ 1149823 h 1154113"/>
                  <a:gd name="connsiteX14" fmla="*/ 1022190 w 1363452"/>
                  <a:gd name="connsiteY14" fmla="*/ 943162 h 1154113"/>
                  <a:gd name="connsiteX15" fmla="*/ 1020039 w 1363452"/>
                  <a:gd name="connsiteY15" fmla="*/ 920994 h 1154113"/>
                  <a:gd name="connsiteX16" fmla="*/ 1082412 w 1363452"/>
                  <a:gd name="connsiteY16" fmla="*/ 844479 h 1154113"/>
                  <a:gd name="connsiteX17" fmla="*/ 1093256 w 1363452"/>
                  <a:gd name="connsiteY17" fmla="*/ 838848 h 1154113"/>
                  <a:gd name="connsiteX18" fmla="*/ 126043 w 1363452"/>
                  <a:gd name="connsiteY18" fmla="*/ 801687 h 1154113"/>
                  <a:gd name="connsiteX19" fmla="*/ 185273 w 1363452"/>
                  <a:gd name="connsiteY19" fmla="*/ 849550 h 1154113"/>
                  <a:gd name="connsiteX20" fmla="*/ 188128 w 1363452"/>
                  <a:gd name="connsiteY20" fmla="*/ 849550 h 1154113"/>
                  <a:gd name="connsiteX21" fmla="*/ 246645 w 1363452"/>
                  <a:gd name="connsiteY21" fmla="*/ 801687 h 1154113"/>
                  <a:gd name="connsiteX22" fmla="*/ 327284 w 1363452"/>
                  <a:gd name="connsiteY22" fmla="*/ 814546 h 1154113"/>
                  <a:gd name="connsiteX23" fmla="*/ 372242 w 1363452"/>
                  <a:gd name="connsiteY23" fmla="*/ 880268 h 1154113"/>
                  <a:gd name="connsiteX24" fmla="*/ 367960 w 1363452"/>
                  <a:gd name="connsiteY24" fmla="*/ 887412 h 1154113"/>
                  <a:gd name="connsiteX25" fmla="*/ 4728 w 1363452"/>
                  <a:gd name="connsiteY25" fmla="*/ 887412 h 1154113"/>
                  <a:gd name="connsiteX26" fmla="*/ 446 w 1363452"/>
                  <a:gd name="connsiteY26" fmla="*/ 880268 h 1154113"/>
                  <a:gd name="connsiteX27" fmla="*/ 45404 w 1363452"/>
                  <a:gd name="connsiteY27" fmla="*/ 814546 h 1154113"/>
                  <a:gd name="connsiteX28" fmla="*/ 126043 w 1363452"/>
                  <a:gd name="connsiteY28" fmla="*/ 801687 h 1154113"/>
                  <a:gd name="connsiteX29" fmla="*/ 86331 w 1363452"/>
                  <a:gd name="connsiteY29" fmla="*/ 687387 h 1154113"/>
                  <a:gd name="connsiteX30" fmla="*/ 97046 w 1363452"/>
                  <a:gd name="connsiteY30" fmla="*/ 692364 h 1154113"/>
                  <a:gd name="connsiteX31" fmla="*/ 107048 w 1363452"/>
                  <a:gd name="connsiteY31" fmla="*/ 704450 h 1154113"/>
                  <a:gd name="connsiteX32" fmla="*/ 109191 w 1363452"/>
                  <a:gd name="connsiteY32" fmla="*/ 706583 h 1154113"/>
                  <a:gd name="connsiteX33" fmla="*/ 138480 w 1363452"/>
                  <a:gd name="connsiteY33" fmla="*/ 768437 h 1154113"/>
                  <a:gd name="connsiteX34" fmla="*/ 186343 w 1363452"/>
                  <a:gd name="connsiteY34" fmla="*/ 791899 h 1154113"/>
                  <a:gd name="connsiteX35" fmla="*/ 233492 w 1363452"/>
                  <a:gd name="connsiteY35" fmla="*/ 768437 h 1154113"/>
                  <a:gd name="connsiteX36" fmla="*/ 264210 w 1363452"/>
                  <a:gd name="connsiteY36" fmla="*/ 706583 h 1154113"/>
                  <a:gd name="connsiteX37" fmla="*/ 266353 w 1363452"/>
                  <a:gd name="connsiteY37" fmla="*/ 704450 h 1154113"/>
                  <a:gd name="connsiteX38" fmla="*/ 275640 w 1363452"/>
                  <a:gd name="connsiteY38" fmla="*/ 692364 h 1154113"/>
                  <a:gd name="connsiteX39" fmla="*/ 286356 w 1363452"/>
                  <a:gd name="connsiteY39" fmla="*/ 687387 h 1154113"/>
                  <a:gd name="connsiteX40" fmla="*/ 286356 w 1363452"/>
                  <a:gd name="connsiteY40" fmla="*/ 688098 h 1154113"/>
                  <a:gd name="connsiteX41" fmla="*/ 272068 w 1363452"/>
                  <a:gd name="connsiteY41" fmla="*/ 710849 h 1154113"/>
                  <a:gd name="connsiteX42" fmla="*/ 241350 w 1363452"/>
                  <a:gd name="connsiteY42" fmla="*/ 773414 h 1154113"/>
                  <a:gd name="connsiteX43" fmla="*/ 241350 w 1363452"/>
                  <a:gd name="connsiteY43" fmla="*/ 793321 h 1154113"/>
                  <a:gd name="connsiteX44" fmla="*/ 239921 w 1363452"/>
                  <a:gd name="connsiteY44" fmla="*/ 795454 h 1154113"/>
                  <a:gd name="connsiteX45" fmla="*/ 232063 w 1363452"/>
                  <a:gd name="connsiteY45" fmla="*/ 803275 h 1154113"/>
                  <a:gd name="connsiteX46" fmla="*/ 232063 w 1363452"/>
                  <a:gd name="connsiteY46" fmla="*/ 780524 h 1154113"/>
                  <a:gd name="connsiteX47" fmla="*/ 186343 w 1363452"/>
                  <a:gd name="connsiteY47" fmla="*/ 801142 h 1154113"/>
                  <a:gd name="connsiteX48" fmla="*/ 139909 w 1363452"/>
                  <a:gd name="connsiteY48" fmla="*/ 780524 h 1154113"/>
                  <a:gd name="connsiteX49" fmla="*/ 139909 w 1363452"/>
                  <a:gd name="connsiteY49" fmla="*/ 803275 h 1154113"/>
                  <a:gd name="connsiteX50" fmla="*/ 132051 w 1363452"/>
                  <a:gd name="connsiteY50" fmla="*/ 795454 h 1154113"/>
                  <a:gd name="connsiteX51" fmla="*/ 130622 w 1363452"/>
                  <a:gd name="connsiteY51" fmla="*/ 793321 h 1154113"/>
                  <a:gd name="connsiteX52" fmla="*/ 130622 w 1363452"/>
                  <a:gd name="connsiteY52" fmla="*/ 773414 h 1154113"/>
                  <a:gd name="connsiteX53" fmla="*/ 101333 w 1363452"/>
                  <a:gd name="connsiteY53" fmla="*/ 710849 h 1154113"/>
                  <a:gd name="connsiteX54" fmla="*/ 86331 w 1363452"/>
                  <a:gd name="connsiteY54" fmla="*/ 688098 h 1154113"/>
                  <a:gd name="connsiteX55" fmla="*/ 86331 w 1363452"/>
                  <a:gd name="connsiteY55" fmla="*/ 687387 h 1154113"/>
                  <a:gd name="connsiteX56" fmla="*/ 548294 w 1363452"/>
                  <a:gd name="connsiteY56" fmla="*/ 525462 h 1154113"/>
                  <a:gd name="connsiteX57" fmla="*/ 562627 w 1363452"/>
                  <a:gd name="connsiteY57" fmla="*/ 532613 h 1154113"/>
                  <a:gd name="connsiteX58" fmla="*/ 576960 w 1363452"/>
                  <a:gd name="connsiteY58" fmla="*/ 548345 h 1154113"/>
                  <a:gd name="connsiteX59" fmla="*/ 579827 w 1363452"/>
                  <a:gd name="connsiteY59" fmla="*/ 551205 h 1154113"/>
                  <a:gd name="connsiteX60" fmla="*/ 620677 w 1363452"/>
                  <a:gd name="connsiteY60" fmla="*/ 635586 h 1154113"/>
                  <a:gd name="connsiteX61" fmla="*/ 685177 w 1363452"/>
                  <a:gd name="connsiteY61" fmla="*/ 667765 h 1154113"/>
                  <a:gd name="connsiteX62" fmla="*/ 750394 w 1363452"/>
                  <a:gd name="connsiteY62" fmla="*/ 635586 h 1154113"/>
                  <a:gd name="connsiteX63" fmla="*/ 791244 w 1363452"/>
                  <a:gd name="connsiteY63" fmla="*/ 551205 h 1154113"/>
                  <a:gd name="connsiteX64" fmla="*/ 794110 w 1363452"/>
                  <a:gd name="connsiteY64" fmla="*/ 548345 h 1154113"/>
                  <a:gd name="connsiteX65" fmla="*/ 807727 w 1363452"/>
                  <a:gd name="connsiteY65" fmla="*/ 532613 h 1154113"/>
                  <a:gd name="connsiteX66" fmla="*/ 821344 w 1363452"/>
                  <a:gd name="connsiteY66" fmla="*/ 525462 h 1154113"/>
                  <a:gd name="connsiteX67" fmla="*/ 821344 w 1363452"/>
                  <a:gd name="connsiteY67" fmla="*/ 526177 h 1154113"/>
                  <a:gd name="connsiteX68" fmla="*/ 801994 w 1363452"/>
                  <a:gd name="connsiteY68" fmla="*/ 557641 h 1154113"/>
                  <a:gd name="connsiteX69" fmla="*/ 761144 w 1363452"/>
                  <a:gd name="connsiteY69" fmla="*/ 642737 h 1154113"/>
                  <a:gd name="connsiteX70" fmla="*/ 761144 w 1363452"/>
                  <a:gd name="connsiteY70" fmla="*/ 669910 h 1154113"/>
                  <a:gd name="connsiteX71" fmla="*/ 758994 w 1363452"/>
                  <a:gd name="connsiteY71" fmla="*/ 672770 h 1154113"/>
                  <a:gd name="connsiteX72" fmla="*/ 748244 w 1363452"/>
                  <a:gd name="connsiteY72" fmla="*/ 684212 h 1154113"/>
                  <a:gd name="connsiteX73" fmla="*/ 748244 w 1363452"/>
                  <a:gd name="connsiteY73" fmla="*/ 653463 h 1154113"/>
                  <a:gd name="connsiteX74" fmla="*/ 685177 w 1363452"/>
                  <a:gd name="connsiteY74" fmla="*/ 680636 h 1154113"/>
                  <a:gd name="connsiteX75" fmla="*/ 622827 w 1363452"/>
                  <a:gd name="connsiteY75" fmla="*/ 653463 h 1154113"/>
                  <a:gd name="connsiteX76" fmla="*/ 622827 w 1363452"/>
                  <a:gd name="connsiteY76" fmla="*/ 684212 h 1154113"/>
                  <a:gd name="connsiteX77" fmla="*/ 612077 w 1363452"/>
                  <a:gd name="connsiteY77" fmla="*/ 672770 h 1154113"/>
                  <a:gd name="connsiteX78" fmla="*/ 609927 w 1363452"/>
                  <a:gd name="connsiteY78" fmla="*/ 669910 h 1154113"/>
                  <a:gd name="connsiteX79" fmla="*/ 609927 w 1363452"/>
                  <a:gd name="connsiteY79" fmla="*/ 642737 h 1154113"/>
                  <a:gd name="connsiteX80" fmla="*/ 568360 w 1363452"/>
                  <a:gd name="connsiteY80" fmla="*/ 557641 h 1154113"/>
                  <a:gd name="connsiteX81" fmla="*/ 548294 w 1363452"/>
                  <a:gd name="connsiteY81" fmla="*/ 526892 h 1154113"/>
                  <a:gd name="connsiteX82" fmla="*/ 548294 w 1363452"/>
                  <a:gd name="connsiteY82" fmla="*/ 525462 h 1154113"/>
                  <a:gd name="connsiteX83" fmla="*/ 682874 w 1363452"/>
                  <a:gd name="connsiteY83" fmla="*/ 292100 h 1154113"/>
                  <a:gd name="connsiteX84" fmla="*/ 387956 w 1363452"/>
                  <a:gd name="connsiteY84" fmla="*/ 586582 h 1154113"/>
                  <a:gd name="connsiteX85" fmla="*/ 441513 w 1363452"/>
                  <a:gd name="connsiteY85" fmla="*/ 756283 h 1154113"/>
                  <a:gd name="connsiteX86" fmla="*/ 442227 w 1363452"/>
                  <a:gd name="connsiteY86" fmla="*/ 755570 h 1154113"/>
                  <a:gd name="connsiteX87" fmla="*/ 490785 w 1363452"/>
                  <a:gd name="connsiteY87" fmla="*/ 697814 h 1154113"/>
                  <a:gd name="connsiteX88" fmla="*/ 599326 w 1363452"/>
                  <a:gd name="connsiteY88" fmla="*/ 680702 h 1154113"/>
                  <a:gd name="connsiteX89" fmla="*/ 600754 w 1363452"/>
                  <a:gd name="connsiteY89" fmla="*/ 682841 h 1154113"/>
                  <a:gd name="connsiteX90" fmla="*/ 655739 w 1363452"/>
                  <a:gd name="connsiteY90" fmla="*/ 866803 h 1154113"/>
                  <a:gd name="connsiteX91" fmla="*/ 657881 w 1363452"/>
                  <a:gd name="connsiteY91" fmla="*/ 874646 h 1154113"/>
                  <a:gd name="connsiteX92" fmla="*/ 664308 w 1363452"/>
                  <a:gd name="connsiteY92" fmla="*/ 879637 h 1154113"/>
                  <a:gd name="connsiteX93" fmla="*/ 672163 w 1363452"/>
                  <a:gd name="connsiteY93" fmla="*/ 880350 h 1154113"/>
                  <a:gd name="connsiteX94" fmla="*/ 694300 w 1363452"/>
                  <a:gd name="connsiteY94" fmla="*/ 880350 h 1154113"/>
                  <a:gd name="connsiteX95" fmla="*/ 702155 w 1363452"/>
                  <a:gd name="connsiteY95" fmla="*/ 879637 h 1154113"/>
                  <a:gd name="connsiteX96" fmla="*/ 708581 w 1363452"/>
                  <a:gd name="connsiteY96" fmla="*/ 874646 h 1154113"/>
                  <a:gd name="connsiteX97" fmla="*/ 712866 w 1363452"/>
                  <a:gd name="connsiteY97" fmla="*/ 861098 h 1154113"/>
                  <a:gd name="connsiteX98" fmla="*/ 766422 w 1363452"/>
                  <a:gd name="connsiteY98" fmla="*/ 682841 h 1154113"/>
                  <a:gd name="connsiteX99" fmla="*/ 769279 w 1363452"/>
                  <a:gd name="connsiteY99" fmla="*/ 680702 h 1154113"/>
                  <a:gd name="connsiteX100" fmla="*/ 877106 w 1363452"/>
                  <a:gd name="connsiteY100" fmla="*/ 697814 h 1154113"/>
                  <a:gd name="connsiteX101" fmla="*/ 906383 w 1363452"/>
                  <a:gd name="connsiteY101" fmla="*/ 722770 h 1154113"/>
                  <a:gd name="connsiteX102" fmla="*/ 925664 w 1363452"/>
                  <a:gd name="connsiteY102" fmla="*/ 754144 h 1154113"/>
                  <a:gd name="connsiteX103" fmla="*/ 927806 w 1363452"/>
                  <a:gd name="connsiteY103" fmla="*/ 752005 h 1154113"/>
                  <a:gd name="connsiteX104" fmla="*/ 978506 w 1363452"/>
                  <a:gd name="connsiteY104" fmla="*/ 586582 h 1154113"/>
                  <a:gd name="connsiteX105" fmla="*/ 682874 w 1363452"/>
                  <a:gd name="connsiteY105" fmla="*/ 292100 h 1154113"/>
                  <a:gd name="connsiteX106" fmla="*/ 713786 w 1363452"/>
                  <a:gd name="connsiteY106" fmla="*/ 261703 h 1154113"/>
                  <a:gd name="connsiteX107" fmla="*/ 890913 w 1363452"/>
                  <a:gd name="connsiteY107" fmla="*/ 334603 h 1154113"/>
                  <a:gd name="connsiteX108" fmla="*/ 969477 w 1363452"/>
                  <a:gd name="connsiteY108" fmla="*/ 742699 h 1154113"/>
                  <a:gd name="connsiteX109" fmla="*/ 1055184 w 1363452"/>
                  <a:gd name="connsiteY109" fmla="*/ 813455 h 1154113"/>
                  <a:gd name="connsiteX110" fmla="*/ 1056612 w 1363452"/>
                  <a:gd name="connsiteY110" fmla="*/ 826320 h 1154113"/>
                  <a:gd name="connsiteX111" fmla="*/ 995189 w 1363452"/>
                  <a:gd name="connsiteY111" fmla="*/ 901364 h 1154113"/>
                  <a:gd name="connsiteX112" fmla="*/ 982333 w 1363452"/>
                  <a:gd name="connsiteY112" fmla="*/ 902793 h 1154113"/>
                  <a:gd name="connsiteX113" fmla="*/ 898055 w 1363452"/>
                  <a:gd name="connsiteY113" fmla="*/ 832752 h 1154113"/>
                  <a:gd name="connsiteX114" fmla="*/ 478092 w 1363452"/>
                  <a:gd name="connsiteY114" fmla="*/ 839184 h 1154113"/>
                  <a:gd name="connsiteX115" fmla="*/ 431668 w 1363452"/>
                  <a:gd name="connsiteY115" fmla="*/ 380344 h 1154113"/>
                  <a:gd name="connsiteX116" fmla="*/ 713786 w 1363452"/>
                  <a:gd name="connsiteY116" fmla="*/ 261703 h 1154113"/>
                  <a:gd name="connsiteX117" fmla="*/ 83156 w 1363452"/>
                  <a:gd name="connsiteY117" fmla="*/ 203200 h 1154113"/>
                  <a:gd name="connsiteX118" fmla="*/ 93880 w 1363452"/>
                  <a:gd name="connsiteY118" fmla="*/ 207498 h 1154113"/>
                  <a:gd name="connsiteX119" fmla="*/ 103174 w 1363452"/>
                  <a:gd name="connsiteY119" fmla="*/ 218959 h 1154113"/>
                  <a:gd name="connsiteX120" fmla="*/ 105319 w 1363452"/>
                  <a:gd name="connsiteY120" fmla="*/ 221108 h 1154113"/>
                  <a:gd name="connsiteX121" fmla="*/ 136776 w 1363452"/>
                  <a:gd name="connsiteY121" fmla="*/ 284859 h 1154113"/>
                  <a:gd name="connsiteX122" fmla="*/ 183962 w 1363452"/>
                  <a:gd name="connsiteY122" fmla="*/ 308498 h 1154113"/>
                  <a:gd name="connsiteX123" fmla="*/ 231863 w 1363452"/>
                  <a:gd name="connsiteY123" fmla="*/ 284859 h 1154113"/>
                  <a:gd name="connsiteX124" fmla="*/ 262606 w 1363452"/>
                  <a:gd name="connsiteY124" fmla="*/ 221108 h 1154113"/>
                  <a:gd name="connsiteX125" fmla="*/ 264750 w 1363452"/>
                  <a:gd name="connsiteY125" fmla="*/ 218959 h 1154113"/>
                  <a:gd name="connsiteX126" fmla="*/ 273330 w 1363452"/>
                  <a:gd name="connsiteY126" fmla="*/ 207498 h 1154113"/>
                  <a:gd name="connsiteX127" fmla="*/ 284769 w 1363452"/>
                  <a:gd name="connsiteY127" fmla="*/ 203200 h 1154113"/>
                  <a:gd name="connsiteX128" fmla="*/ 284054 w 1363452"/>
                  <a:gd name="connsiteY128" fmla="*/ 203916 h 1154113"/>
                  <a:gd name="connsiteX129" fmla="*/ 270470 w 1363452"/>
                  <a:gd name="connsiteY129" fmla="*/ 226838 h 1154113"/>
                  <a:gd name="connsiteX130" fmla="*/ 240442 w 1363452"/>
                  <a:gd name="connsiteY130" fmla="*/ 289873 h 1154113"/>
                  <a:gd name="connsiteX131" fmla="*/ 240442 w 1363452"/>
                  <a:gd name="connsiteY131" fmla="*/ 309930 h 1154113"/>
                  <a:gd name="connsiteX132" fmla="*/ 238298 w 1363452"/>
                  <a:gd name="connsiteY132" fmla="*/ 312079 h 1154113"/>
                  <a:gd name="connsiteX133" fmla="*/ 230433 w 1363452"/>
                  <a:gd name="connsiteY133" fmla="*/ 320675 h 1154113"/>
                  <a:gd name="connsiteX134" fmla="*/ 230433 w 1363452"/>
                  <a:gd name="connsiteY134" fmla="*/ 297037 h 1154113"/>
                  <a:gd name="connsiteX135" fmla="*/ 183962 w 1363452"/>
                  <a:gd name="connsiteY135" fmla="*/ 317810 h 1154113"/>
                  <a:gd name="connsiteX136" fmla="*/ 137491 w 1363452"/>
                  <a:gd name="connsiteY136" fmla="*/ 297037 h 1154113"/>
                  <a:gd name="connsiteX137" fmla="*/ 137491 w 1363452"/>
                  <a:gd name="connsiteY137" fmla="*/ 320675 h 1154113"/>
                  <a:gd name="connsiteX138" fmla="*/ 129627 w 1363452"/>
                  <a:gd name="connsiteY138" fmla="*/ 312079 h 1154113"/>
                  <a:gd name="connsiteX139" fmla="*/ 128197 w 1363452"/>
                  <a:gd name="connsiteY139" fmla="*/ 309930 h 1154113"/>
                  <a:gd name="connsiteX140" fmla="*/ 128197 w 1363452"/>
                  <a:gd name="connsiteY140" fmla="*/ 289873 h 1154113"/>
                  <a:gd name="connsiteX141" fmla="*/ 98169 w 1363452"/>
                  <a:gd name="connsiteY141" fmla="*/ 226838 h 1154113"/>
                  <a:gd name="connsiteX142" fmla="*/ 83156 w 1363452"/>
                  <a:gd name="connsiteY142" fmla="*/ 203916 h 1154113"/>
                  <a:gd name="connsiteX143" fmla="*/ 83156 w 1363452"/>
                  <a:gd name="connsiteY143" fmla="*/ 203200 h 1154113"/>
                  <a:gd name="connsiteX144" fmla="*/ 1271480 w 1363452"/>
                  <a:gd name="connsiteY144" fmla="*/ 198437 h 1154113"/>
                  <a:gd name="connsiteX145" fmla="*/ 1271480 w 1363452"/>
                  <a:gd name="connsiteY145" fmla="*/ 199870 h 1154113"/>
                  <a:gd name="connsiteX146" fmla="*/ 1257192 w 1363452"/>
                  <a:gd name="connsiteY146" fmla="*/ 225660 h 1154113"/>
                  <a:gd name="connsiteX147" fmla="*/ 1228617 w 1363452"/>
                  <a:gd name="connsiteY147" fmla="*/ 289421 h 1154113"/>
                  <a:gd name="connsiteX148" fmla="*/ 1228617 w 1363452"/>
                  <a:gd name="connsiteY148" fmla="*/ 328824 h 1154113"/>
                  <a:gd name="connsiteX149" fmla="*/ 1217902 w 1363452"/>
                  <a:gd name="connsiteY149" fmla="*/ 338137 h 1154113"/>
                  <a:gd name="connsiteX150" fmla="*/ 1217902 w 1363452"/>
                  <a:gd name="connsiteY150" fmla="*/ 298734 h 1154113"/>
                  <a:gd name="connsiteX151" fmla="*/ 1171467 w 1363452"/>
                  <a:gd name="connsiteY151" fmla="*/ 320943 h 1154113"/>
                  <a:gd name="connsiteX152" fmla="*/ 1125747 w 1363452"/>
                  <a:gd name="connsiteY152" fmla="*/ 299451 h 1154113"/>
                  <a:gd name="connsiteX153" fmla="*/ 1125747 w 1363452"/>
                  <a:gd name="connsiteY153" fmla="*/ 338137 h 1154113"/>
                  <a:gd name="connsiteX154" fmla="*/ 1115032 w 1363452"/>
                  <a:gd name="connsiteY154" fmla="*/ 329540 h 1154113"/>
                  <a:gd name="connsiteX155" fmla="*/ 1115032 w 1363452"/>
                  <a:gd name="connsiteY155" fmla="*/ 289421 h 1154113"/>
                  <a:gd name="connsiteX156" fmla="*/ 1087171 w 1363452"/>
                  <a:gd name="connsiteY156" fmla="*/ 225660 h 1154113"/>
                  <a:gd name="connsiteX157" fmla="*/ 1072169 w 1363452"/>
                  <a:gd name="connsiteY157" fmla="*/ 200586 h 1154113"/>
                  <a:gd name="connsiteX158" fmla="*/ 1072169 w 1363452"/>
                  <a:gd name="connsiteY158" fmla="*/ 199870 h 1154113"/>
                  <a:gd name="connsiteX159" fmla="*/ 1084314 w 1363452"/>
                  <a:gd name="connsiteY159" fmla="*/ 205601 h 1154113"/>
                  <a:gd name="connsiteX160" fmla="*/ 1094315 w 1363452"/>
                  <a:gd name="connsiteY160" fmla="*/ 217064 h 1154113"/>
                  <a:gd name="connsiteX161" fmla="*/ 1095744 w 1363452"/>
                  <a:gd name="connsiteY161" fmla="*/ 219929 h 1154113"/>
                  <a:gd name="connsiteX162" fmla="*/ 1124319 w 1363452"/>
                  <a:gd name="connsiteY162" fmla="*/ 284406 h 1154113"/>
                  <a:gd name="connsiteX163" fmla="*/ 1171467 w 1363452"/>
                  <a:gd name="connsiteY163" fmla="*/ 310197 h 1154113"/>
                  <a:gd name="connsiteX164" fmla="*/ 1219330 w 1363452"/>
                  <a:gd name="connsiteY164" fmla="*/ 284406 h 1154113"/>
                  <a:gd name="connsiteX165" fmla="*/ 1247905 w 1363452"/>
                  <a:gd name="connsiteY165" fmla="*/ 219929 h 1154113"/>
                  <a:gd name="connsiteX166" fmla="*/ 1250049 w 1363452"/>
                  <a:gd name="connsiteY166" fmla="*/ 217064 h 1154113"/>
                  <a:gd name="connsiteX167" fmla="*/ 1260050 w 1363452"/>
                  <a:gd name="connsiteY167" fmla="*/ 204168 h 1154113"/>
                  <a:gd name="connsiteX168" fmla="*/ 1271480 w 1363452"/>
                  <a:gd name="connsiteY168" fmla="*/ 198437 h 1154113"/>
                  <a:gd name="connsiteX169" fmla="*/ 603826 w 1363452"/>
                  <a:gd name="connsiteY169" fmla="*/ 114300 h 1154113"/>
                  <a:gd name="connsiteX170" fmla="*/ 662317 w 1363452"/>
                  <a:gd name="connsiteY170" fmla="*/ 162877 h 1154113"/>
                  <a:gd name="connsiteX171" fmla="*/ 665171 w 1363452"/>
                  <a:gd name="connsiteY171" fmla="*/ 162877 h 1154113"/>
                  <a:gd name="connsiteX172" fmla="*/ 724376 w 1363452"/>
                  <a:gd name="connsiteY172" fmla="*/ 114300 h 1154113"/>
                  <a:gd name="connsiteX173" fmla="*/ 804267 w 1363452"/>
                  <a:gd name="connsiteY173" fmla="*/ 128587 h 1154113"/>
                  <a:gd name="connsiteX174" fmla="*/ 849205 w 1363452"/>
                  <a:gd name="connsiteY174" fmla="*/ 194310 h 1154113"/>
                  <a:gd name="connsiteX175" fmla="*/ 844926 w 1363452"/>
                  <a:gd name="connsiteY175" fmla="*/ 200025 h 1154113"/>
                  <a:gd name="connsiteX176" fmla="*/ 482562 w 1363452"/>
                  <a:gd name="connsiteY176" fmla="*/ 200025 h 1154113"/>
                  <a:gd name="connsiteX177" fmla="*/ 478282 w 1363452"/>
                  <a:gd name="connsiteY177" fmla="*/ 194310 h 1154113"/>
                  <a:gd name="connsiteX178" fmla="*/ 523221 w 1363452"/>
                  <a:gd name="connsiteY178" fmla="*/ 128587 h 1154113"/>
                  <a:gd name="connsiteX179" fmla="*/ 603826 w 1363452"/>
                  <a:gd name="connsiteY179" fmla="*/ 114300 h 1154113"/>
                  <a:gd name="connsiteX180" fmla="*/ 1170237 w 1363452"/>
                  <a:gd name="connsiteY180" fmla="*/ 50800 h 1154113"/>
                  <a:gd name="connsiteX181" fmla="*/ 1273781 w 1363452"/>
                  <a:gd name="connsiteY181" fmla="*/ 148062 h 1154113"/>
                  <a:gd name="connsiteX182" fmla="*/ 1270211 w 1363452"/>
                  <a:gd name="connsiteY182" fmla="*/ 180244 h 1154113"/>
                  <a:gd name="connsiteX183" fmla="*/ 1259499 w 1363452"/>
                  <a:gd name="connsiteY183" fmla="*/ 194548 h 1154113"/>
                  <a:gd name="connsiteX184" fmla="*/ 1258071 w 1363452"/>
                  <a:gd name="connsiteY184" fmla="*/ 195263 h 1154113"/>
                  <a:gd name="connsiteX185" fmla="*/ 1253072 w 1363452"/>
                  <a:gd name="connsiteY185" fmla="*/ 195263 h 1154113"/>
                  <a:gd name="connsiteX186" fmla="*/ 1251644 w 1363452"/>
                  <a:gd name="connsiteY186" fmla="*/ 193117 h 1154113"/>
                  <a:gd name="connsiteX187" fmla="*/ 1250216 w 1363452"/>
                  <a:gd name="connsiteY187" fmla="*/ 128038 h 1154113"/>
                  <a:gd name="connsiteX188" fmla="*/ 1246645 w 1363452"/>
                  <a:gd name="connsiteY188" fmla="*/ 126607 h 1154113"/>
                  <a:gd name="connsiteX189" fmla="*/ 1195944 w 1363452"/>
                  <a:gd name="connsiteY189" fmla="*/ 133759 h 1154113"/>
                  <a:gd name="connsiteX190" fmla="*/ 1153812 w 1363452"/>
                  <a:gd name="connsiteY190" fmla="*/ 138765 h 1154113"/>
                  <a:gd name="connsiteX191" fmla="*/ 1151670 w 1363452"/>
                  <a:gd name="connsiteY191" fmla="*/ 135904 h 1154113"/>
                  <a:gd name="connsiteX192" fmla="*/ 1156669 w 1363452"/>
                  <a:gd name="connsiteY192" fmla="*/ 126607 h 1154113"/>
                  <a:gd name="connsiteX193" fmla="*/ 1153812 w 1363452"/>
                  <a:gd name="connsiteY193" fmla="*/ 123747 h 1154113"/>
                  <a:gd name="connsiteX194" fmla="*/ 1114537 w 1363452"/>
                  <a:gd name="connsiteY194" fmla="*/ 146632 h 1154113"/>
                  <a:gd name="connsiteX195" fmla="*/ 1111680 w 1363452"/>
                  <a:gd name="connsiteY195" fmla="*/ 145201 h 1154113"/>
                  <a:gd name="connsiteX196" fmla="*/ 1113823 w 1363452"/>
                  <a:gd name="connsiteY196" fmla="*/ 130898 h 1154113"/>
                  <a:gd name="connsiteX197" fmla="*/ 1110966 w 1363452"/>
                  <a:gd name="connsiteY197" fmla="*/ 129468 h 1154113"/>
                  <a:gd name="connsiteX198" fmla="*/ 1088115 w 1363452"/>
                  <a:gd name="connsiteY198" fmla="*/ 191687 h 1154113"/>
                  <a:gd name="connsiteX199" fmla="*/ 1085973 w 1363452"/>
                  <a:gd name="connsiteY199" fmla="*/ 193833 h 1154113"/>
                  <a:gd name="connsiteX200" fmla="*/ 1083116 w 1363452"/>
                  <a:gd name="connsiteY200" fmla="*/ 193117 h 1154113"/>
                  <a:gd name="connsiteX201" fmla="*/ 1080974 w 1363452"/>
                  <a:gd name="connsiteY201" fmla="*/ 192402 h 1154113"/>
                  <a:gd name="connsiteX202" fmla="*/ 1071691 w 1363452"/>
                  <a:gd name="connsiteY202" fmla="*/ 180960 h 1154113"/>
                  <a:gd name="connsiteX203" fmla="*/ 1067406 w 1363452"/>
                  <a:gd name="connsiteY203" fmla="*/ 148062 h 1154113"/>
                  <a:gd name="connsiteX204" fmla="*/ 1170237 w 1363452"/>
                  <a:gd name="connsiteY204" fmla="*/ 50800 h 1154113"/>
                  <a:gd name="connsiteX205" fmla="*/ 182375 w 1363452"/>
                  <a:gd name="connsiteY205" fmla="*/ 50800 h 1154113"/>
                  <a:gd name="connsiteX206" fmla="*/ 281594 w 1363452"/>
                  <a:gd name="connsiteY206" fmla="*/ 153349 h 1154113"/>
                  <a:gd name="connsiteX207" fmla="*/ 277311 w 1363452"/>
                  <a:gd name="connsiteY207" fmla="*/ 188245 h 1154113"/>
                  <a:gd name="connsiteX208" fmla="*/ 277311 w 1363452"/>
                  <a:gd name="connsiteY208" fmla="*/ 188957 h 1154113"/>
                  <a:gd name="connsiteX209" fmla="*/ 267318 w 1363452"/>
                  <a:gd name="connsiteY209" fmla="*/ 201776 h 1154113"/>
                  <a:gd name="connsiteX210" fmla="*/ 260893 w 1363452"/>
                  <a:gd name="connsiteY210" fmla="*/ 201776 h 1154113"/>
                  <a:gd name="connsiteX211" fmla="*/ 236624 w 1363452"/>
                  <a:gd name="connsiteY211" fmla="*/ 132697 h 1154113"/>
                  <a:gd name="connsiteX212" fmla="*/ 106711 w 1363452"/>
                  <a:gd name="connsiteY212" fmla="*/ 127712 h 1154113"/>
                  <a:gd name="connsiteX213" fmla="*/ 105284 w 1363452"/>
                  <a:gd name="connsiteY213" fmla="*/ 203200 h 1154113"/>
                  <a:gd name="connsiteX214" fmla="*/ 98146 w 1363452"/>
                  <a:gd name="connsiteY214" fmla="*/ 203200 h 1154113"/>
                  <a:gd name="connsiteX215" fmla="*/ 87439 w 1363452"/>
                  <a:gd name="connsiteY215" fmla="*/ 187533 h 1154113"/>
                  <a:gd name="connsiteX216" fmla="*/ 83870 w 1363452"/>
                  <a:gd name="connsiteY216" fmla="*/ 153349 h 1154113"/>
                  <a:gd name="connsiteX217" fmla="*/ 182375 w 1363452"/>
                  <a:gd name="connsiteY217" fmla="*/ 50800 h 1154113"/>
                  <a:gd name="connsiteX218" fmla="*/ 764194 w 1363452"/>
                  <a:gd name="connsiteY218" fmla="*/ 0 h 1154113"/>
                  <a:gd name="connsiteX219" fmla="*/ 764194 w 1363452"/>
                  <a:gd name="connsiteY219" fmla="*/ 715 h 1154113"/>
                  <a:gd name="connsiteX220" fmla="*/ 749814 w 1363452"/>
                  <a:gd name="connsiteY220" fmla="*/ 23607 h 1154113"/>
                  <a:gd name="connsiteX221" fmla="*/ 719617 w 1363452"/>
                  <a:gd name="connsiteY221" fmla="*/ 86558 h 1154113"/>
                  <a:gd name="connsiteX222" fmla="*/ 719617 w 1363452"/>
                  <a:gd name="connsiteY222" fmla="*/ 106588 h 1154113"/>
                  <a:gd name="connsiteX223" fmla="*/ 718179 w 1363452"/>
                  <a:gd name="connsiteY223" fmla="*/ 108734 h 1154113"/>
                  <a:gd name="connsiteX224" fmla="*/ 710270 w 1363452"/>
                  <a:gd name="connsiteY224" fmla="*/ 115888 h 1154113"/>
                  <a:gd name="connsiteX225" fmla="*/ 710270 w 1363452"/>
                  <a:gd name="connsiteY225" fmla="*/ 93712 h 1154113"/>
                  <a:gd name="connsiteX226" fmla="*/ 664256 w 1363452"/>
                  <a:gd name="connsiteY226" fmla="*/ 113742 h 1154113"/>
                  <a:gd name="connsiteX227" fmla="*/ 618960 w 1363452"/>
                  <a:gd name="connsiteY227" fmla="*/ 93712 h 1154113"/>
                  <a:gd name="connsiteX228" fmla="*/ 618960 w 1363452"/>
                  <a:gd name="connsiteY228" fmla="*/ 115888 h 1154113"/>
                  <a:gd name="connsiteX229" fmla="*/ 611051 w 1363452"/>
                  <a:gd name="connsiteY229" fmla="*/ 108734 h 1154113"/>
                  <a:gd name="connsiteX230" fmla="*/ 609613 w 1363452"/>
                  <a:gd name="connsiteY230" fmla="*/ 106588 h 1154113"/>
                  <a:gd name="connsiteX231" fmla="*/ 609613 w 1363452"/>
                  <a:gd name="connsiteY231" fmla="*/ 86558 h 1154113"/>
                  <a:gd name="connsiteX232" fmla="*/ 580135 w 1363452"/>
                  <a:gd name="connsiteY232" fmla="*/ 23607 h 1154113"/>
                  <a:gd name="connsiteX233" fmla="*/ 565756 w 1363452"/>
                  <a:gd name="connsiteY233" fmla="*/ 1431 h 1154113"/>
                  <a:gd name="connsiteX234" fmla="*/ 565756 w 1363452"/>
                  <a:gd name="connsiteY234" fmla="*/ 715 h 1154113"/>
                  <a:gd name="connsiteX235" fmla="*/ 575821 w 1363452"/>
                  <a:gd name="connsiteY235" fmla="*/ 5723 h 1154113"/>
                  <a:gd name="connsiteX236" fmla="*/ 585887 w 1363452"/>
                  <a:gd name="connsiteY236" fmla="*/ 15738 h 1154113"/>
                  <a:gd name="connsiteX237" fmla="*/ 588044 w 1363452"/>
                  <a:gd name="connsiteY237" fmla="*/ 18599 h 1154113"/>
                  <a:gd name="connsiteX238" fmla="*/ 617522 w 1363452"/>
                  <a:gd name="connsiteY238" fmla="*/ 81551 h 1154113"/>
                  <a:gd name="connsiteX239" fmla="*/ 664256 w 1363452"/>
                  <a:gd name="connsiteY239" fmla="*/ 104442 h 1154113"/>
                  <a:gd name="connsiteX240" fmla="*/ 711708 w 1363452"/>
                  <a:gd name="connsiteY240" fmla="*/ 81551 h 1154113"/>
                  <a:gd name="connsiteX241" fmla="*/ 741186 w 1363452"/>
                  <a:gd name="connsiteY241" fmla="*/ 18599 h 1154113"/>
                  <a:gd name="connsiteX242" fmla="*/ 743343 w 1363452"/>
                  <a:gd name="connsiteY242" fmla="*/ 15738 h 1154113"/>
                  <a:gd name="connsiteX243" fmla="*/ 753409 w 1363452"/>
                  <a:gd name="connsiteY243" fmla="*/ 5723 h 1154113"/>
                  <a:gd name="connsiteX244" fmla="*/ 764194 w 1363452"/>
                  <a:gd name="connsiteY244" fmla="*/ 0 h 1154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</a:cxnLst>
                <a:rect l="l" t="t" r="r" b="b"/>
                <a:pathLst>
                  <a:path w="1363452" h="1154113">
                    <a:moveTo>
                      <a:pt x="1096819" y="877888"/>
                    </a:moveTo>
                    <a:cubicBezTo>
                      <a:pt x="1096819" y="877888"/>
                      <a:pt x="1096819" y="877888"/>
                      <a:pt x="1054707" y="929919"/>
                    </a:cubicBezTo>
                    <a:cubicBezTo>
                      <a:pt x="1054707" y="929919"/>
                      <a:pt x="1054707" y="929919"/>
                      <a:pt x="1288107" y="1122363"/>
                    </a:cubicBezTo>
                    <a:cubicBezTo>
                      <a:pt x="1293103" y="1120938"/>
                      <a:pt x="1303096" y="1115236"/>
                      <a:pt x="1313802" y="1101693"/>
                    </a:cubicBezTo>
                    <a:cubicBezTo>
                      <a:pt x="1313802" y="1101693"/>
                      <a:pt x="1313802" y="1101693"/>
                      <a:pt x="1314516" y="1100980"/>
                    </a:cubicBezTo>
                    <a:lnTo>
                      <a:pt x="1315230" y="1100268"/>
                    </a:lnTo>
                    <a:cubicBezTo>
                      <a:pt x="1325936" y="1087438"/>
                      <a:pt x="1330218" y="1076034"/>
                      <a:pt x="1330932" y="1071045"/>
                    </a:cubicBezTo>
                    <a:cubicBezTo>
                      <a:pt x="1330932" y="1071045"/>
                      <a:pt x="1330932" y="1071045"/>
                      <a:pt x="1096819" y="877888"/>
                    </a:cubicBezTo>
                    <a:close/>
                    <a:moveTo>
                      <a:pt x="1093256" y="838848"/>
                    </a:moveTo>
                    <a:cubicBezTo>
                      <a:pt x="1097289" y="838401"/>
                      <a:pt x="1101411" y="839474"/>
                      <a:pt x="1104637" y="842334"/>
                    </a:cubicBezTo>
                    <a:cubicBezTo>
                      <a:pt x="1104637" y="842334"/>
                      <a:pt x="1104637" y="842334"/>
                      <a:pt x="1355565" y="1048995"/>
                    </a:cubicBezTo>
                    <a:cubicBezTo>
                      <a:pt x="1370620" y="1061151"/>
                      <a:pt x="1363451" y="1093330"/>
                      <a:pt x="1339792" y="1120504"/>
                    </a:cubicBezTo>
                    <a:cubicBezTo>
                      <a:pt x="1323302" y="1141957"/>
                      <a:pt x="1302511" y="1154113"/>
                      <a:pt x="1286739" y="1154113"/>
                    </a:cubicBezTo>
                    <a:cubicBezTo>
                      <a:pt x="1281003" y="1154113"/>
                      <a:pt x="1276702" y="1152683"/>
                      <a:pt x="1272400" y="1149823"/>
                    </a:cubicBezTo>
                    <a:cubicBezTo>
                      <a:pt x="1272400" y="1149823"/>
                      <a:pt x="1272400" y="1149823"/>
                      <a:pt x="1022190" y="943162"/>
                    </a:cubicBezTo>
                    <a:cubicBezTo>
                      <a:pt x="1015737" y="937441"/>
                      <a:pt x="1015020" y="927430"/>
                      <a:pt x="1020039" y="920994"/>
                    </a:cubicBezTo>
                    <a:cubicBezTo>
                      <a:pt x="1020039" y="920994"/>
                      <a:pt x="1020039" y="920994"/>
                      <a:pt x="1082412" y="844479"/>
                    </a:cubicBezTo>
                    <a:cubicBezTo>
                      <a:pt x="1085280" y="841261"/>
                      <a:pt x="1089223" y="839295"/>
                      <a:pt x="1093256" y="838848"/>
                    </a:cubicBezTo>
                    <a:close/>
                    <a:moveTo>
                      <a:pt x="126043" y="801687"/>
                    </a:moveTo>
                    <a:cubicBezTo>
                      <a:pt x="126043" y="801687"/>
                      <a:pt x="166006" y="834548"/>
                      <a:pt x="185273" y="849550"/>
                    </a:cubicBezTo>
                    <a:cubicBezTo>
                      <a:pt x="185987" y="850265"/>
                      <a:pt x="187414" y="850265"/>
                      <a:pt x="188128" y="849550"/>
                    </a:cubicBezTo>
                    <a:cubicBezTo>
                      <a:pt x="213818" y="828833"/>
                      <a:pt x="246645" y="801687"/>
                      <a:pt x="246645" y="801687"/>
                    </a:cubicBezTo>
                    <a:cubicBezTo>
                      <a:pt x="246645" y="801687"/>
                      <a:pt x="299452" y="801687"/>
                      <a:pt x="327284" y="814546"/>
                    </a:cubicBezTo>
                    <a:cubicBezTo>
                      <a:pt x="350833" y="825261"/>
                      <a:pt x="366533" y="865267"/>
                      <a:pt x="372242" y="880268"/>
                    </a:cubicBezTo>
                    <a:cubicBezTo>
                      <a:pt x="373669" y="883126"/>
                      <a:pt x="371528" y="887412"/>
                      <a:pt x="367960" y="887412"/>
                    </a:cubicBezTo>
                    <a:cubicBezTo>
                      <a:pt x="367960" y="887412"/>
                      <a:pt x="367960" y="887412"/>
                      <a:pt x="4728" y="887412"/>
                    </a:cubicBezTo>
                    <a:cubicBezTo>
                      <a:pt x="1160" y="887412"/>
                      <a:pt x="-981" y="883126"/>
                      <a:pt x="446" y="880268"/>
                    </a:cubicBezTo>
                    <a:cubicBezTo>
                      <a:pt x="6155" y="865267"/>
                      <a:pt x="22568" y="825261"/>
                      <a:pt x="45404" y="814546"/>
                    </a:cubicBezTo>
                    <a:cubicBezTo>
                      <a:pt x="73949" y="801687"/>
                      <a:pt x="126043" y="801687"/>
                      <a:pt x="126043" y="801687"/>
                    </a:cubicBezTo>
                    <a:close/>
                    <a:moveTo>
                      <a:pt x="86331" y="687387"/>
                    </a:moveTo>
                    <a:cubicBezTo>
                      <a:pt x="86331" y="687387"/>
                      <a:pt x="86331" y="687387"/>
                      <a:pt x="97046" y="692364"/>
                    </a:cubicBezTo>
                    <a:cubicBezTo>
                      <a:pt x="98475" y="696629"/>
                      <a:pt x="101333" y="700895"/>
                      <a:pt x="107048" y="704450"/>
                    </a:cubicBezTo>
                    <a:cubicBezTo>
                      <a:pt x="107762" y="704450"/>
                      <a:pt x="108476" y="705872"/>
                      <a:pt x="109191" y="706583"/>
                    </a:cubicBezTo>
                    <a:cubicBezTo>
                      <a:pt x="117763" y="727912"/>
                      <a:pt x="132765" y="763461"/>
                      <a:pt x="138480" y="768437"/>
                    </a:cubicBezTo>
                    <a:cubicBezTo>
                      <a:pt x="147767" y="776969"/>
                      <a:pt x="172770" y="791899"/>
                      <a:pt x="186343" y="791899"/>
                    </a:cubicBezTo>
                    <a:cubicBezTo>
                      <a:pt x="199202" y="791899"/>
                      <a:pt x="224205" y="776969"/>
                      <a:pt x="233492" y="768437"/>
                    </a:cubicBezTo>
                    <a:cubicBezTo>
                      <a:pt x="239207" y="763461"/>
                      <a:pt x="255638" y="727912"/>
                      <a:pt x="264210" y="706583"/>
                    </a:cubicBezTo>
                    <a:cubicBezTo>
                      <a:pt x="264925" y="705872"/>
                      <a:pt x="265639" y="704450"/>
                      <a:pt x="266353" y="704450"/>
                    </a:cubicBezTo>
                    <a:cubicBezTo>
                      <a:pt x="271354" y="700895"/>
                      <a:pt x="274211" y="696629"/>
                      <a:pt x="275640" y="692364"/>
                    </a:cubicBezTo>
                    <a:cubicBezTo>
                      <a:pt x="275640" y="692364"/>
                      <a:pt x="275640" y="692364"/>
                      <a:pt x="286356" y="687387"/>
                    </a:cubicBezTo>
                    <a:cubicBezTo>
                      <a:pt x="286356" y="687387"/>
                      <a:pt x="286356" y="687387"/>
                      <a:pt x="286356" y="688098"/>
                    </a:cubicBezTo>
                    <a:cubicBezTo>
                      <a:pt x="285641" y="692364"/>
                      <a:pt x="282784" y="705161"/>
                      <a:pt x="272068" y="710849"/>
                    </a:cubicBezTo>
                    <a:cubicBezTo>
                      <a:pt x="267782" y="722224"/>
                      <a:pt x="250637" y="762039"/>
                      <a:pt x="241350" y="773414"/>
                    </a:cubicBezTo>
                    <a:cubicBezTo>
                      <a:pt x="241350" y="773414"/>
                      <a:pt x="241350" y="773414"/>
                      <a:pt x="241350" y="793321"/>
                    </a:cubicBezTo>
                    <a:cubicBezTo>
                      <a:pt x="241350" y="793321"/>
                      <a:pt x="241350" y="793321"/>
                      <a:pt x="239921" y="795454"/>
                    </a:cubicBezTo>
                    <a:cubicBezTo>
                      <a:pt x="239921" y="795454"/>
                      <a:pt x="237064" y="799009"/>
                      <a:pt x="232063" y="803275"/>
                    </a:cubicBezTo>
                    <a:cubicBezTo>
                      <a:pt x="232063" y="803275"/>
                      <a:pt x="232063" y="803275"/>
                      <a:pt x="232063" y="780524"/>
                    </a:cubicBezTo>
                    <a:cubicBezTo>
                      <a:pt x="219919" y="789766"/>
                      <a:pt x="199202" y="801142"/>
                      <a:pt x="186343" y="801142"/>
                    </a:cubicBezTo>
                    <a:cubicBezTo>
                      <a:pt x="172770" y="801142"/>
                      <a:pt x="152768" y="789766"/>
                      <a:pt x="139909" y="780524"/>
                    </a:cubicBezTo>
                    <a:cubicBezTo>
                      <a:pt x="139909" y="780524"/>
                      <a:pt x="139909" y="780524"/>
                      <a:pt x="139909" y="803275"/>
                    </a:cubicBezTo>
                    <a:cubicBezTo>
                      <a:pt x="134908" y="799009"/>
                      <a:pt x="132765" y="795454"/>
                      <a:pt x="132051" y="795454"/>
                    </a:cubicBezTo>
                    <a:cubicBezTo>
                      <a:pt x="132051" y="795454"/>
                      <a:pt x="132051" y="795454"/>
                      <a:pt x="130622" y="793321"/>
                    </a:cubicBezTo>
                    <a:cubicBezTo>
                      <a:pt x="130622" y="793321"/>
                      <a:pt x="130622" y="793321"/>
                      <a:pt x="130622" y="773414"/>
                    </a:cubicBezTo>
                    <a:cubicBezTo>
                      <a:pt x="122050" y="762039"/>
                      <a:pt x="105619" y="722224"/>
                      <a:pt x="101333" y="710849"/>
                    </a:cubicBezTo>
                    <a:cubicBezTo>
                      <a:pt x="90617" y="705161"/>
                      <a:pt x="87760" y="694497"/>
                      <a:pt x="86331" y="688098"/>
                    </a:cubicBezTo>
                    <a:cubicBezTo>
                      <a:pt x="86331" y="688098"/>
                      <a:pt x="86331" y="688098"/>
                      <a:pt x="86331" y="687387"/>
                    </a:cubicBezTo>
                    <a:close/>
                    <a:moveTo>
                      <a:pt x="548294" y="525462"/>
                    </a:moveTo>
                    <a:cubicBezTo>
                      <a:pt x="548294" y="525462"/>
                      <a:pt x="548294" y="525462"/>
                      <a:pt x="562627" y="532613"/>
                    </a:cubicBezTo>
                    <a:cubicBezTo>
                      <a:pt x="564777" y="538333"/>
                      <a:pt x="569077" y="544054"/>
                      <a:pt x="576960" y="548345"/>
                    </a:cubicBezTo>
                    <a:cubicBezTo>
                      <a:pt x="578394" y="549060"/>
                      <a:pt x="579110" y="549775"/>
                      <a:pt x="579827" y="551205"/>
                    </a:cubicBezTo>
                    <a:cubicBezTo>
                      <a:pt x="591294" y="579809"/>
                      <a:pt x="612794" y="628435"/>
                      <a:pt x="620677" y="635586"/>
                    </a:cubicBezTo>
                    <a:cubicBezTo>
                      <a:pt x="633577" y="647027"/>
                      <a:pt x="666544" y="667765"/>
                      <a:pt x="685177" y="667765"/>
                    </a:cubicBezTo>
                    <a:cubicBezTo>
                      <a:pt x="703810" y="667765"/>
                      <a:pt x="737494" y="647027"/>
                      <a:pt x="750394" y="635586"/>
                    </a:cubicBezTo>
                    <a:cubicBezTo>
                      <a:pt x="758277" y="628435"/>
                      <a:pt x="779060" y="579809"/>
                      <a:pt x="791244" y="551205"/>
                    </a:cubicBezTo>
                    <a:cubicBezTo>
                      <a:pt x="791244" y="549775"/>
                      <a:pt x="792677" y="549060"/>
                      <a:pt x="794110" y="548345"/>
                    </a:cubicBezTo>
                    <a:cubicBezTo>
                      <a:pt x="801277" y="544054"/>
                      <a:pt x="805577" y="538333"/>
                      <a:pt x="807727" y="532613"/>
                    </a:cubicBezTo>
                    <a:cubicBezTo>
                      <a:pt x="807727" y="532613"/>
                      <a:pt x="807727" y="532613"/>
                      <a:pt x="821344" y="525462"/>
                    </a:cubicBezTo>
                    <a:cubicBezTo>
                      <a:pt x="821344" y="526177"/>
                      <a:pt x="821344" y="526177"/>
                      <a:pt x="821344" y="526177"/>
                    </a:cubicBezTo>
                    <a:cubicBezTo>
                      <a:pt x="820627" y="533328"/>
                      <a:pt x="816327" y="549060"/>
                      <a:pt x="801994" y="557641"/>
                    </a:cubicBezTo>
                    <a:cubicBezTo>
                      <a:pt x="795544" y="573373"/>
                      <a:pt x="773327" y="627005"/>
                      <a:pt x="761144" y="642737"/>
                    </a:cubicBezTo>
                    <a:cubicBezTo>
                      <a:pt x="761144" y="642737"/>
                      <a:pt x="761144" y="642737"/>
                      <a:pt x="761144" y="669910"/>
                    </a:cubicBezTo>
                    <a:cubicBezTo>
                      <a:pt x="761144" y="669910"/>
                      <a:pt x="761144" y="669910"/>
                      <a:pt x="758994" y="672770"/>
                    </a:cubicBezTo>
                    <a:cubicBezTo>
                      <a:pt x="758994" y="673486"/>
                      <a:pt x="755410" y="677776"/>
                      <a:pt x="748244" y="684212"/>
                    </a:cubicBezTo>
                    <a:cubicBezTo>
                      <a:pt x="748244" y="684212"/>
                      <a:pt x="748244" y="684212"/>
                      <a:pt x="748244" y="653463"/>
                    </a:cubicBezTo>
                    <a:cubicBezTo>
                      <a:pt x="731044" y="664904"/>
                      <a:pt x="704527" y="680636"/>
                      <a:pt x="685177" y="680636"/>
                    </a:cubicBezTo>
                    <a:cubicBezTo>
                      <a:pt x="666544" y="680636"/>
                      <a:pt x="639310" y="664904"/>
                      <a:pt x="622827" y="653463"/>
                    </a:cubicBezTo>
                    <a:cubicBezTo>
                      <a:pt x="622827" y="653463"/>
                      <a:pt x="622827" y="653463"/>
                      <a:pt x="622827" y="684212"/>
                    </a:cubicBezTo>
                    <a:cubicBezTo>
                      <a:pt x="615660" y="678491"/>
                      <a:pt x="612077" y="673486"/>
                      <a:pt x="612077" y="672770"/>
                    </a:cubicBezTo>
                    <a:cubicBezTo>
                      <a:pt x="612077" y="672770"/>
                      <a:pt x="612077" y="672770"/>
                      <a:pt x="609927" y="669910"/>
                    </a:cubicBezTo>
                    <a:cubicBezTo>
                      <a:pt x="609927" y="669910"/>
                      <a:pt x="609927" y="669910"/>
                      <a:pt x="609927" y="642737"/>
                    </a:cubicBezTo>
                    <a:cubicBezTo>
                      <a:pt x="597744" y="627005"/>
                      <a:pt x="575527" y="573373"/>
                      <a:pt x="568360" y="557641"/>
                    </a:cubicBezTo>
                    <a:cubicBezTo>
                      <a:pt x="554027" y="549775"/>
                      <a:pt x="549727" y="535473"/>
                      <a:pt x="548294" y="526892"/>
                    </a:cubicBezTo>
                    <a:cubicBezTo>
                      <a:pt x="548294" y="526892"/>
                      <a:pt x="548294" y="526177"/>
                      <a:pt x="548294" y="525462"/>
                    </a:cubicBezTo>
                    <a:close/>
                    <a:moveTo>
                      <a:pt x="682874" y="292100"/>
                    </a:moveTo>
                    <a:cubicBezTo>
                      <a:pt x="520062" y="292100"/>
                      <a:pt x="387956" y="424011"/>
                      <a:pt x="387956" y="586582"/>
                    </a:cubicBezTo>
                    <a:cubicBezTo>
                      <a:pt x="387956" y="650041"/>
                      <a:pt x="407951" y="708510"/>
                      <a:pt x="441513" y="756283"/>
                    </a:cubicBezTo>
                    <a:cubicBezTo>
                      <a:pt x="441513" y="756283"/>
                      <a:pt x="441513" y="756283"/>
                      <a:pt x="442227" y="755570"/>
                    </a:cubicBezTo>
                    <a:cubicBezTo>
                      <a:pt x="452224" y="734179"/>
                      <a:pt x="467934" y="708510"/>
                      <a:pt x="490785" y="697814"/>
                    </a:cubicBezTo>
                    <a:cubicBezTo>
                      <a:pt x="525775" y="682841"/>
                      <a:pt x="586472" y="680702"/>
                      <a:pt x="599326" y="680702"/>
                    </a:cubicBezTo>
                    <a:cubicBezTo>
                      <a:pt x="599326" y="680702"/>
                      <a:pt x="600040" y="681415"/>
                      <a:pt x="600754" y="682841"/>
                    </a:cubicBezTo>
                    <a:cubicBezTo>
                      <a:pt x="630032" y="776248"/>
                      <a:pt x="648598" y="840420"/>
                      <a:pt x="655739" y="866803"/>
                    </a:cubicBezTo>
                    <a:cubicBezTo>
                      <a:pt x="655739" y="866803"/>
                      <a:pt x="655739" y="866803"/>
                      <a:pt x="657881" y="874646"/>
                    </a:cubicBezTo>
                    <a:cubicBezTo>
                      <a:pt x="658595" y="877498"/>
                      <a:pt x="661452" y="879637"/>
                      <a:pt x="664308" y="879637"/>
                    </a:cubicBezTo>
                    <a:cubicBezTo>
                      <a:pt x="664308" y="879637"/>
                      <a:pt x="664308" y="879637"/>
                      <a:pt x="672163" y="880350"/>
                    </a:cubicBezTo>
                    <a:cubicBezTo>
                      <a:pt x="679304" y="881063"/>
                      <a:pt x="687159" y="881063"/>
                      <a:pt x="694300" y="880350"/>
                    </a:cubicBezTo>
                    <a:cubicBezTo>
                      <a:pt x="694300" y="880350"/>
                      <a:pt x="694300" y="880350"/>
                      <a:pt x="702155" y="879637"/>
                    </a:cubicBezTo>
                    <a:cubicBezTo>
                      <a:pt x="705725" y="879637"/>
                      <a:pt x="707867" y="877498"/>
                      <a:pt x="708581" y="874646"/>
                    </a:cubicBezTo>
                    <a:cubicBezTo>
                      <a:pt x="708581" y="874646"/>
                      <a:pt x="708581" y="874646"/>
                      <a:pt x="712866" y="861098"/>
                    </a:cubicBezTo>
                    <a:cubicBezTo>
                      <a:pt x="721435" y="834716"/>
                      <a:pt x="737145" y="782665"/>
                      <a:pt x="766422" y="682841"/>
                    </a:cubicBezTo>
                    <a:cubicBezTo>
                      <a:pt x="766422" y="681415"/>
                      <a:pt x="767851" y="680702"/>
                      <a:pt x="769279" y="680702"/>
                    </a:cubicBezTo>
                    <a:cubicBezTo>
                      <a:pt x="782132" y="680702"/>
                      <a:pt x="842830" y="682841"/>
                      <a:pt x="877106" y="697814"/>
                    </a:cubicBezTo>
                    <a:cubicBezTo>
                      <a:pt x="888531" y="703519"/>
                      <a:pt x="897814" y="712788"/>
                      <a:pt x="906383" y="722770"/>
                    </a:cubicBezTo>
                    <a:cubicBezTo>
                      <a:pt x="906383" y="722770"/>
                      <a:pt x="906383" y="722770"/>
                      <a:pt x="925664" y="754144"/>
                    </a:cubicBezTo>
                    <a:lnTo>
                      <a:pt x="927806" y="752005"/>
                    </a:lnTo>
                    <a:cubicBezTo>
                      <a:pt x="959940" y="704945"/>
                      <a:pt x="978506" y="647902"/>
                      <a:pt x="978506" y="586582"/>
                    </a:cubicBezTo>
                    <a:cubicBezTo>
                      <a:pt x="978506" y="424011"/>
                      <a:pt x="846400" y="292100"/>
                      <a:pt x="682874" y="292100"/>
                    </a:cubicBezTo>
                    <a:close/>
                    <a:moveTo>
                      <a:pt x="713786" y="261703"/>
                    </a:moveTo>
                    <a:cubicBezTo>
                      <a:pt x="776637" y="267421"/>
                      <a:pt x="838060" y="291721"/>
                      <a:pt x="890913" y="334603"/>
                    </a:cubicBezTo>
                    <a:cubicBezTo>
                      <a:pt x="1013045" y="435376"/>
                      <a:pt x="1043756" y="608335"/>
                      <a:pt x="969477" y="742699"/>
                    </a:cubicBezTo>
                    <a:cubicBezTo>
                      <a:pt x="1055184" y="813455"/>
                      <a:pt x="1055184" y="813455"/>
                      <a:pt x="1055184" y="813455"/>
                    </a:cubicBezTo>
                    <a:cubicBezTo>
                      <a:pt x="1058755" y="817029"/>
                      <a:pt x="1059469" y="822746"/>
                      <a:pt x="1056612" y="826320"/>
                    </a:cubicBezTo>
                    <a:cubicBezTo>
                      <a:pt x="995189" y="901364"/>
                      <a:pt x="995189" y="901364"/>
                      <a:pt x="995189" y="901364"/>
                    </a:cubicBezTo>
                    <a:cubicBezTo>
                      <a:pt x="992332" y="904937"/>
                      <a:pt x="986619" y="905652"/>
                      <a:pt x="982333" y="902793"/>
                    </a:cubicBezTo>
                    <a:cubicBezTo>
                      <a:pt x="898055" y="832752"/>
                      <a:pt x="898055" y="832752"/>
                      <a:pt x="898055" y="832752"/>
                    </a:cubicBezTo>
                    <a:cubicBezTo>
                      <a:pt x="780922" y="934955"/>
                      <a:pt x="602367" y="941387"/>
                      <a:pt x="478092" y="839184"/>
                    </a:cubicBezTo>
                    <a:cubicBezTo>
                      <a:pt x="338819" y="724832"/>
                      <a:pt x="318106" y="520426"/>
                      <a:pt x="431668" y="380344"/>
                    </a:cubicBezTo>
                    <a:cubicBezTo>
                      <a:pt x="503090" y="293150"/>
                      <a:pt x="609509" y="252412"/>
                      <a:pt x="713786" y="261703"/>
                    </a:cubicBezTo>
                    <a:close/>
                    <a:moveTo>
                      <a:pt x="83156" y="203200"/>
                    </a:moveTo>
                    <a:cubicBezTo>
                      <a:pt x="83156" y="203200"/>
                      <a:pt x="83156" y="203200"/>
                      <a:pt x="93880" y="207498"/>
                    </a:cubicBezTo>
                    <a:cubicBezTo>
                      <a:pt x="96025" y="211796"/>
                      <a:pt x="98884" y="216093"/>
                      <a:pt x="103174" y="218959"/>
                    </a:cubicBezTo>
                    <a:cubicBezTo>
                      <a:pt x="104604" y="219675"/>
                      <a:pt x="105319" y="220391"/>
                      <a:pt x="105319" y="221108"/>
                    </a:cubicBezTo>
                    <a:cubicBezTo>
                      <a:pt x="114613" y="242597"/>
                      <a:pt x="130342" y="279845"/>
                      <a:pt x="136776" y="284859"/>
                    </a:cubicBezTo>
                    <a:cubicBezTo>
                      <a:pt x="146070" y="292739"/>
                      <a:pt x="170378" y="308498"/>
                      <a:pt x="183962" y="308498"/>
                    </a:cubicBezTo>
                    <a:cubicBezTo>
                      <a:pt x="198261" y="308498"/>
                      <a:pt x="222569" y="292739"/>
                      <a:pt x="231863" y="284859"/>
                    </a:cubicBezTo>
                    <a:cubicBezTo>
                      <a:pt x="238298" y="279845"/>
                      <a:pt x="254026" y="242597"/>
                      <a:pt x="262606" y="221108"/>
                    </a:cubicBezTo>
                    <a:cubicBezTo>
                      <a:pt x="263321" y="220391"/>
                      <a:pt x="264036" y="219675"/>
                      <a:pt x="264750" y="218959"/>
                    </a:cubicBezTo>
                    <a:cubicBezTo>
                      <a:pt x="269755" y="216093"/>
                      <a:pt x="271900" y="211796"/>
                      <a:pt x="273330" y="207498"/>
                    </a:cubicBezTo>
                    <a:cubicBezTo>
                      <a:pt x="273330" y="207498"/>
                      <a:pt x="273330" y="207498"/>
                      <a:pt x="284769" y="203200"/>
                    </a:cubicBezTo>
                    <a:cubicBezTo>
                      <a:pt x="284769" y="203200"/>
                      <a:pt x="284769" y="203200"/>
                      <a:pt x="284054" y="203916"/>
                    </a:cubicBezTo>
                    <a:cubicBezTo>
                      <a:pt x="283339" y="208214"/>
                      <a:pt x="280479" y="219675"/>
                      <a:pt x="270470" y="226838"/>
                    </a:cubicBezTo>
                    <a:cubicBezTo>
                      <a:pt x="265465" y="238299"/>
                      <a:pt x="249737" y="278413"/>
                      <a:pt x="240442" y="289873"/>
                    </a:cubicBezTo>
                    <a:cubicBezTo>
                      <a:pt x="240442" y="289873"/>
                      <a:pt x="240442" y="289873"/>
                      <a:pt x="240442" y="309930"/>
                    </a:cubicBezTo>
                    <a:cubicBezTo>
                      <a:pt x="240442" y="309930"/>
                      <a:pt x="240442" y="309930"/>
                      <a:pt x="238298" y="312079"/>
                    </a:cubicBezTo>
                    <a:cubicBezTo>
                      <a:pt x="238298" y="312795"/>
                      <a:pt x="235438" y="316377"/>
                      <a:pt x="230433" y="320675"/>
                    </a:cubicBezTo>
                    <a:cubicBezTo>
                      <a:pt x="230433" y="320675"/>
                      <a:pt x="230433" y="320675"/>
                      <a:pt x="230433" y="297037"/>
                    </a:cubicBezTo>
                    <a:cubicBezTo>
                      <a:pt x="218279" y="306349"/>
                      <a:pt x="198261" y="317810"/>
                      <a:pt x="183962" y="317810"/>
                    </a:cubicBezTo>
                    <a:cubicBezTo>
                      <a:pt x="170378" y="317810"/>
                      <a:pt x="150360" y="306349"/>
                      <a:pt x="137491" y="297037"/>
                    </a:cubicBezTo>
                    <a:cubicBezTo>
                      <a:pt x="137491" y="297037"/>
                      <a:pt x="137491" y="297037"/>
                      <a:pt x="137491" y="320675"/>
                    </a:cubicBezTo>
                    <a:cubicBezTo>
                      <a:pt x="132487" y="316377"/>
                      <a:pt x="130342" y="312795"/>
                      <a:pt x="129627" y="312079"/>
                    </a:cubicBezTo>
                    <a:cubicBezTo>
                      <a:pt x="129627" y="312079"/>
                      <a:pt x="129627" y="312079"/>
                      <a:pt x="128197" y="309930"/>
                    </a:cubicBezTo>
                    <a:cubicBezTo>
                      <a:pt x="128197" y="309930"/>
                      <a:pt x="128197" y="309930"/>
                      <a:pt x="128197" y="289873"/>
                    </a:cubicBezTo>
                    <a:cubicBezTo>
                      <a:pt x="118903" y="278413"/>
                      <a:pt x="102459" y="238299"/>
                      <a:pt x="98169" y="226838"/>
                    </a:cubicBezTo>
                    <a:cubicBezTo>
                      <a:pt x="87445" y="220391"/>
                      <a:pt x="84586" y="209647"/>
                      <a:pt x="83156" y="203916"/>
                    </a:cubicBezTo>
                    <a:cubicBezTo>
                      <a:pt x="83156" y="203916"/>
                      <a:pt x="83156" y="203916"/>
                      <a:pt x="83156" y="203200"/>
                    </a:cubicBezTo>
                    <a:close/>
                    <a:moveTo>
                      <a:pt x="1271480" y="198437"/>
                    </a:moveTo>
                    <a:cubicBezTo>
                      <a:pt x="1272194" y="199153"/>
                      <a:pt x="1272194" y="199870"/>
                      <a:pt x="1271480" y="199870"/>
                    </a:cubicBezTo>
                    <a:cubicBezTo>
                      <a:pt x="1270765" y="205601"/>
                      <a:pt x="1267908" y="217780"/>
                      <a:pt x="1257192" y="225660"/>
                    </a:cubicBezTo>
                    <a:cubicBezTo>
                      <a:pt x="1252192" y="237839"/>
                      <a:pt x="1238619" y="277242"/>
                      <a:pt x="1228617" y="289421"/>
                    </a:cubicBezTo>
                    <a:cubicBezTo>
                      <a:pt x="1228617" y="289421"/>
                      <a:pt x="1228617" y="289421"/>
                      <a:pt x="1228617" y="328824"/>
                    </a:cubicBezTo>
                    <a:cubicBezTo>
                      <a:pt x="1225760" y="332406"/>
                      <a:pt x="1222188" y="335271"/>
                      <a:pt x="1217902" y="338137"/>
                    </a:cubicBezTo>
                    <a:cubicBezTo>
                      <a:pt x="1217902" y="338137"/>
                      <a:pt x="1217902" y="338137"/>
                      <a:pt x="1217902" y="298734"/>
                    </a:cubicBezTo>
                    <a:cubicBezTo>
                      <a:pt x="1205043" y="308764"/>
                      <a:pt x="1185755" y="320943"/>
                      <a:pt x="1171467" y="320943"/>
                    </a:cubicBezTo>
                    <a:cubicBezTo>
                      <a:pt x="1157894" y="320943"/>
                      <a:pt x="1138606" y="308764"/>
                      <a:pt x="1125747" y="299451"/>
                    </a:cubicBezTo>
                    <a:cubicBezTo>
                      <a:pt x="1125747" y="299451"/>
                      <a:pt x="1125747" y="299451"/>
                      <a:pt x="1125747" y="338137"/>
                    </a:cubicBezTo>
                    <a:cubicBezTo>
                      <a:pt x="1121461" y="335271"/>
                      <a:pt x="1118604" y="332406"/>
                      <a:pt x="1115032" y="329540"/>
                    </a:cubicBezTo>
                    <a:cubicBezTo>
                      <a:pt x="1115032" y="329540"/>
                      <a:pt x="1115032" y="329540"/>
                      <a:pt x="1115032" y="289421"/>
                    </a:cubicBezTo>
                    <a:cubicBezTo>
                      <a:pt x="1105745" y="277242"/>
                      <a:pt x="1091457" y="237839"/>
                      <a:pt x="1087171" y="225660"/>
                    </a:cubicBezTo>
                    <a:cubicBezTo>
                      <a:pt x="1076455" y="218496"/>
                      <a:pt x="1073598" y="207034"/>
                      <a:pt x="1072169" y="200586"/>
                    </a:cubicBezTo>
                    <a:cubicBezTo>
                      <a:pt x="1072169" y="200586"/>
                      <a:pt x="1072169" y="200586"/>
                      <a:pt x="1072169" y="199870"/>
                    </a:cubicBezTo>
                    <a:cubicBezTo>
                      <a:pt x="1072169" y="199870"/>
                      <a:pt x="1072169" y="199870"/>
                      <a:pt x="1084314" y="205601"/>
                    </a:cubicBezTo>
                    <a:cubicBezTo>
                      <a:pt x="1085742" y="209899"/>
                      <a:pt x="1088600" y="214198"/>
                      <a:pt x="1094315" y="217064"/>
                    </a:cubicBezTo>
                    <a:cubicBezTo>
                      <a:pt x="1095029" y="217780"/>
                      <a:pt x="1095029" y="218496"/>
                      <a:pt x="1095744" y="219929"/>
                    </a:cubicBezTo>
                    <a:cubicBezTo>
                      <a:pt x="1103602" y="242138"/>
                      <a:pt x="1118604" y="278675"/>
                      <a:pt x="1124319" y="284406"/>
                    </a:cubicBezTo>
                    <a:cubicBezTo>
                      <a:pt x="1133605" y="293003"/>
                      <a:pt x="1158609" y="310197"/>
                      <a:pt x="1171467" y="310197"/>
                    </a:cubicBezTo>
                    <a:cubicBezTo>
                      <a:pt x="1185755" y="310197"/>
                      <a:pt x="1210044" y="293003"/>
                      <a:pt x="1219330" y="284406"/>
                    </a:cubicBezTo>
                    <a:cubicBezTo>
                      <a:pt x="1225760" y="278675"/>
                      <a:pt x="1240047" y="242138"/>
                      <a:pt x="1247905" y="219929"/>
                    </a:cubicBezTo>
                    <a:cubicBezTo>
                      <a:pt x="1248620" y="218496"/>
                      <a:pt x="1249334" y="217780"/>
                      <a:pt x="1250049" y="217064"/>
                    </a:cubicBezTo>
                    <a:cubicBezTo>
                      <a:pt x="1255764" y="213481"/>
                      <a:pt x="1258621" y="209183"/>
                      <a:pt x="1260050" y="204168"/>
                    </a:cubicBezTo>
                    <a:cubicBezTo>
                      <a:pt x="1260050" y="204168"/>
                      <a:pt x="1260050" y="204168"/>
                      <a:pt x="1271480" y="198437"/>
                    </a:cubicBezTo>
                    <a:close/>
                    <a:moveTo>
                      <a:pt x="603826" y="114300"/>
                    </a:moveTo>
                    <a:cubicBezTo>
                      <a:pt x="603826" y="114300"/>
                      <a:pt x="643771" y="147875"/>
                      <a:pt x="662317" y="162877"/>
                    </a:cubicBezTo>
                    <a:cubicBezTo>
                      <a:pt x="663031" y="163592"/>
                      <a:pt x="664457" y="163592"/>
                      <a:pt x="665171" y="162877"/>
                    </a:cubicBezTo>
                    <a:cubicBezTo>
                      <a:pt x="690850" y="142875"/>
                      <a:pt x="724376" y="114300"/>
                      <a:pt x="724376" y="114300"/>
                    </a:cubicBezTo>
                    <a:cubicBezTo>
                      <a:pt x="724376" y="114300"/>
                      <a:pt x="775734" y="115014"/>
                      <a:pt x="804267" y="128587"/>
                    </a:cubicBezTo>
                    <a:cubicBezTo>
                      <a:pt x="827093" y="139303"/>
                      <a:pt x="843499" y="179308"/>
                      <a:pt x="849205" y="194310"/>
                    </a:cubicBezTo>
                    <a:cubicBezTo>
                      <a:pt x="849919" y="197167"/>
                      <a:pt x="847779" y="200025"/>
                      <a:pt x="844926" y="200025"/>
                    </a:cubicBezTo>
                    <a:cubicBezTo>
                      <a:pt x="844926" y="200025"/>
                      <a:pt x="844926" y="200025"/>
                      <a:pt x="482562" y="200025"/>
                    </a:cubicBezTo>
                    <a:cubicBezTo>
                      <a:pt x="478996" y="200025"/>
                      <a:pt x="476856" y="197167"/>
                      <a:pt x="478282" y="194310"/>
                    </a:cubicBezTo>
                    <a:cubicBezTo>
                      <a:pt x="483989" y="179308"/>
                      <a:pt x="500395" y="139303"/>
                      <a:pt x="523221" y="128587"/>
                    </a:cubicBezTo>
                    <a:cubicBezTo>
                      <a:pt x="551040" y="115014"/>
                      <a:pt x="603826" y="114300"/>
                      <a:pt x="603826" y="114300"/>
                    </a:cubicBezTo>
                    <a:close/>
                    <a:moveTo>
                      <a:pt x="1170237" y="50800"/>
                    </a:moveTo>
                    <a:cubicBezTo>
                      <a:pt x="1228793" y="50800"/>
                      <a:pt x="1273781" y="93710"/>
                      <a:pt x="1273781" y="148062"/>
                    </a:cubicBezTo>
                    <a:cubicBezTo>
                      <a:pt x="1273781" y="159505"/>
                      <a:pt x="1273781" y="170232"/>
                      <a:pt x="1270211" y="180244"/>
                    </a:cubicBezTo>
                    <a:cubicBezTo>
                      <a:pt x="1269497" y="180244"/>
                      <a:pt x="1268068" y="185251"/>
                      <a:pt x="1259499" y="194548"/>
                    </a:cubicBezTo>
                    <a:cubicBezTo>
                      <a:pt x="1259499" y="195263"/>
                      <a:pt x="1258785" y="195263"/>
                      <a:pt x="1258071" y="195263"/>
                    </a:cubicBezTo>
                    <a:cubicBezTo>
                      <a:pt x="1258071" y="195263"/>
                      <a:pt x="1258071" y="195263"/>
                      <a:pt x="1253072" y="195263"/>
                    </a:cubicBezTo>
                    <a:cubicBezTo>
                      <a:pt x="1252358" y="195263"/>
                      <a:pt x="1251644" y="194548"/>
                      <a:pt x="1251644" y="193117"/>
                    </a:cubicBezTo>
                    <a:cubicBezTo>
                      <a:pt x="1251644" y="188826"/>
                      <a:pt x="1250930" y="174523"/>
                      <a:pt x="1250216" y="128038"/>
                    </a:cubicBezTo>
                    <a:cubicBezTo>
                      <a:pt x="1250216" y="126607"/>
                      <a:pt x="1248074" y="125177"/>
                      <a:pt x="1246645" y="126607"/>
                    </a:cubicBezTo>
                    <a:cubicBezTo>
                      <a:pt x="1232363" y="137335"/>
                      <a:pt x="1199515" y="134474"/>
                      <a:pt x="1195944" y="133759"/>
                    </a:cubicBezTo>
                    <a:cubicBezTo>
                      <a:pt x="1195944" y="133759"/>
                      <a:pt x="1195944" y="133759"/>
                      <a:pt x="1153812" y="138765"/>
                    </a:cubicBezTo>
                    <a:cubicBezTo>
                      <a:pt x="1151670" y="138765"/>
                      <a:pt x="1150242" y="137335"/>
                      <a:pt x="1151670" y="135904"/>
                    </a:cubicBezTo>
                    <a:cubicBezTo>
                      <a:pt x="1153812" y="133044"/>
                      <a:pt x="1155241" y="129468"/>
                      <a:pt x="1156669" y="126607"/>
                    </a:cubicBezTo>
                    <a:cubicBezTo>
                      <a:pt x="1157383" y="124462"/>
                      <a:pt x="1155241" y="123031"/>
                      <a:pt x="1153812" y="123747"/>
                    </a:cubicBezTo>
                    <a:cubicBezTo>
                      <a:pt x="1141673" y="133044"/>
                      <a:pt x="1121678" y="143056"/>
                      <a:pt x="1114537" y="146632"/>
                    </a:cubicBezTo>
                    <a:cubicBezTo>
                      <a:pt x="1113109" y="148062"/>
                      <a:pt x="1110966" y="146632"/>
                      <a:pt x="1111680" y="145201"/>
                    </a:cubicBezTo>
                    <a:cubicBezTo>
                      <a:pt x="1111680" y="145201"/>
                      <a:pt x="1111680" y="145201"/>
                      <a:pt x="1113823" y="130898"/>
                    </a:cubicBezTo>
                    <a:cubicBezTo>
                      <a:pt x="1113823" y="129468"/>
                      <a:pt x="1112395" y="128753"/>
                      <a:pt x="1110966" y="129468"/>
                    </a:cubicBezTo>
                    <a:cubicBezTo>
                      <a:pt x="1086687" y="139480"/>
                      <a:pt x="1088115" y="181675"/>
                      <a:pt x="1088115" y="191687"/>
                    </a:cubicBezTo>
                    <a:cubicBezTo>
                      <a:pt x="1088115" y="193117"/>
                      <a:pt x="1087401" y="193833"/>
                      <a:pt x="1085973" y="193833"/>
                    </a:cubicBezTo>
                    <a:cubicBezTo>
                      <a:pt x="1085973" y="193833"/>
                      <a:pt x="1085973" y="193833"/>
                      <a:pt x="1083116" y="193117"/>
                    </a:cubicBezTo>
                    <a:cubicBezTo>
                      <a:pt x="1082402" y="193117"/>
                      <a:pt x="1080974" y="193117"/>
                      <a:pt x="1080974" y="192402"/>
                    </a:cubicBezTo>
                    <a:cubicBezTo>
                      <a:pt x="1080260" y="190972"/>
                      <a:pt x="1078118" y="187396"/>
                      <a:pt x="1071691" y="180960"/>
                    </a:cubicBezTo>
                    <a:cubicBezTo>
                      <a:pt x="1067406" y="170232"/>
                      <a:pt x="1067406" y="159505"/>
                      <a:pt x="1067406" y="148062"/>
                    </a:cubicBezTo>
                    <a:cubicBezTo>
                      <a:pt x="1067406" y="93710"/>
                      <a:pt x="1112395" y="50800"/>
                      <a:pt x="1170237" y="50800"/>
                    </a:cubicBezTo>
                    <a:close/>
                    <a:moveTo>
                      <a:pt x="182375" y="50800"/>
                    </a:moveTo>
                    <a:cubicBezTo>
                      <a:pt x="238052" y="50800"/>
                      <a:pt x="281594" y="97090"/>
                      <a:pt x="281594" y="153349"/>
                    </a:cubicBezTo>
                    <a:cubicBezTo>
                      <a:pt x="281594" y="165456"/>
                      <a:pt x="281594" y="177562"/>
                      <a:pt x="277311" y="188245"/>
                    </a:cubicBezTo>
                    <a:cubicBezTo>
                      <a:pt x="277311" y="188957"/>
                      <a:pt x="277311" y="188957"/>
                      <a:pt x="277311" y="188957"/>
                    </a:cubicBezTo>
                    <a:cubicBezTo>
                      <a:pt x="267318" y="196791"/>
                      <a:pt x="267318" y="201776"/>
                      <a:pt x="267318" y="201776"/>
                    </a:cubicBezTo>
                    <a:cubicBezTo>
                      <a:pt x="260893" y="201776"/>
                      <a:pt x="260893" y="201776"/>
                      <a:pt x="260893" y="201776"/>
                    </a:cubicBezTo>
                    <a:cubicBezTo>
                      <a:pt x="260893" y="201776"/>
                      <a:pt x="265890" y="141955"/>
                      <a:pt x="236624" y="132697"/>
                    </a:cubicBezTo>
                    <a:cubicBezTo>
                      <a:pt x="236624" y="132697"/>
                      <a:pt x="118132" y="185396"/>
                      <a:pt x="106711" y="127712"/>
                    </a:cubicBezTo>
                    <a:cubicBezTo>
                      <a:pt x="105284" y="198927"/>
                      <a:pt x="105284" y="203200"/>
                      <a:pt x="105284" y="203200"/>
                    </a:cubicBezTo>
                    <a:cubicBezTo>
                      <a:pt x="98146" y="203200"/>
                      <a:pt x="98146" y="203200"/>
                      <a:pt x="98146" y="203200"/>
                    </a:cubicBezTo>
                    <a:cubicBezTo>
                      <a:pt x="89580" y="191805"/>
                      <a:pt x="87439" y="187533"/>
                      <a:pt x="87439" y="187533"/>
                    </a:cubicBezTo>
                    <a:cubicBezTo>
                      <a:pt x="83156" y="176850"/>
                      <a:pt x="83870" y="164744"/>
                      <a:pt x="83870" y="153349"/>
                    </a:cubicBezTo>
                    <a:cubicBezTo>
                      <a:pt x="83870" y="97090"/>
                      <a:pt x="126698" y="50800"/>
                      <a:pt x="182375" y="50800"/>
                    </a:cubicBezTo>
                    <a:close/>
                    <a:moveTo>
                      <a:pt x="764194" y="0"/>
                    </a:moveTo>
                    <a:cubicBezTo>
                      <a:pt x="764194" y="715"/>
                      <a:pt x="764194" y="715"/>
                      <a:pt x="764194" y="715"/>
                    </a:cubicBezTo>
                    <a:cubicBezTo>
                      <a:pt x="763475" y="5723"/>
                      <a:pt x="760599" y="17168"/>
                      <a:pt x="749814" y="23607"/>
                    </a:cubicBezTo>
                    <a:cubicBezTo>
                      <a:pt x="744781" y="35052"/>
                      <a:pt x="728245" y="74397"/>
                      <a:pt x="719617" y="86558"/>
                    </a:cubicBezTo>
                    <a:cubicBezTo>
                      <a:pt x="719617" y="86558"/>
                      <a:pt x="719617" y="86558"/>
                      <a:pt x="719617" y="106588"/>
                    </a:cubicBezTo>
                    <a:cubicBezTo>
                      <a:pt x="719617" y="106588"/>
                      <a:pt x="719617" y="106588"/>
                      <a:pt x="718179" y="108734"/>
                    </a:cubicBezTo>
                    <a:cubicBezTo>
                      <a:pt x="718179" y="108734"/>
                      <a:pt x="715303" y="112311"/>
                      <a:pt x="710270" y="115888"/>
                    </a:cubicBezTo>
                    <a:cubicBezTo>
                      <a:pt x="710270" y="115888"/>
                      <a:pt x="710270" y="115888"/>
                      <a:pt x="710270" y="93712"/>
                    </a:cubicBezTo>
                    <a:cubicBezTo>
                      <a:pt x="698048" y="103011"/>
                      <a:pt x="677916" y="113742"/>
                      <a:pt x="664256" y="113742"/>
                    </a:cubicBezTo>
                    <a:cubicBezTo>
                      <a:pt x="650595" y="113742"/>
                      <a:pt x="631183" y="103011"/>
                      <a:pt x="618960" y="93712"/>
                    </a:cubicBezTo>
                    <a:cubicBezTo>
                      <a:pt x="618960" y="93712"/>
                      <a:pt x="618960" y="93712"/>
                      <a:pt x="618960" y="115888"/>
                    </a:cubicBezTo>
                    <a:cubicBezTo>
                      <a:pt x="613927" y="112311"/>
                      <a:pt x="611770" y="108734"/>
                      <a:pt x="611051" y="108734"/>
                    </a:cubicBezTo>
                    <a:cubicBezTo>
                      <a:pt x="611051" y="108734"/>
                      <a:pt x="611051" y="108734"/>
                      <a:pt x="609613" y="106588"/>
                    </a:cubicBezTo>
                    <a:cubicBezTo>
                      <a:pt x="609613" y="106588"/>
                      <a:pt x="609613" y="106588"/>
                      <a:pt x="609613" y="86558"/>
                    </a:cubicBezTo>
                    <a:cubicBezTo>
                      <a:pt x="600986" y="74397"/>
                      <a:pt x="584449" y="35052"/>
                      <a:pt x="580135" y="23607"/>
                    </a:cubicBezTo>
                    <a:cubicBezTo>
                      <a:pt x="569351" y="17168"/>
                      <a:pt x="567194" y="7153"/>
                      <a:pt x="565756" y="1431"/>
                    </a:cubicBezTo>
                    <a:cubicBezTo>
                      <a:pt x="565756" y="715"/>
                      <a:pt x="565756" y="715"/>
                      <a:pt x="565756" y="715"/>
                    </a:cubicBezTo>
                    <a:cubicBezTo>
                      <a:pt x="565756" y="715"/>
                      <a:pt x="565756" y="715"/>
                      <a:pt x="575821" y="5723"/>
                    </a:cubicBezTo>
                    <a:cubicBezTo>
                      <a:pt x="577259" y="9300"/>
                      <a:pt x="580135" y="13592"/>
                      <a:pt x="585887" y="15738"/>
                    </a:cubicBezTo>
                    <a:cubicBezTo>
                      <a:pt x="586606" y="16453"/>
                      <a:pt x="587325" y="17168"/>
                      <a:pt x="588044" y="18599"/>
                    </a:cubicBezTo>
                    <a:cubicBezTo>
                      <a:pt x="596672" y="39345"/>
                      <a:pt x="611770" y="75828"/>
                      <a:pt x="617522" y="81551"/>
                    </a:cubicBezTo>
                    <a:cubicBezTo>
                      <a:pt x="627588" y="89420"/>
                      <a:pt x="650595" y="104442"/>
                      <a:pt x="664256" y="104442"/>
                    </a:cubicBezTo>
                    <a:cubicBezTo>
                      <a:pt x="677916" y="104442"/>
                      <a:pt x="702362" y="89420"/>
                      <a:pt x="711708" y="81551"/>
                    </a:cubicBezTo>
                    <a:cubicBezTo>
                      <a:pt x="717460" y="75828"/>
                      <a:pt x="732559" y="39345"/>
                      <a:pt x="741186" y="18599"/>
                    </a:cubicBezTo>
                    <a:cubicBezTo>
                      <a:pt x="741905" y="17168"/>
                      <a:pt x="742624" y="16453"/>
                      <a:pt x="743343" y="15738"/>
                    </a:cubicBezTo>
                    <a:cubicBezTo>
                      <a:pt x="749095" y="13592"/>
                      <a:pt x="751971" y="9300"/>
                      <a:pt x="753409" y="5723"/>
                    </a:cubicBezTo>
                    <a:cubicBezTo>
                      <a:pt x="753409" y="5723"/>
                      <a:pt x="753409" y="5723"/>
                      <a:pt x="76419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4" name="Freeform 13">
                <a:extLst>
                  <a:ext uri="{FF2B5EF4-FFF2-40B4-BE49-F238E27FC236}">
                    <a16:creationId xmlns:a16="http://schemas.microsoft.com/office/drawing/2014/main" id="{F77EAC39-8ED6-4712-95B5-63DE536AB5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3395" y="2776538"/>
                <a:ext cx="1348393" cy="1019175"/>
              </a:xfrm>
              <a:custGeom>
                <a:avLst/>
                <a:gdLst>
                  <a:gd name="connsiteX0" fmla="*/ 691518 w 1348393"/>
                  <a:gd name="connsiteY0" fmla="*/ 855662 h 1019175"/>
                  <a:gd name="connsiteX1" fmla="*/ 709707 w 1348393"/>
                  <a:gd name="connsiteY1" fmla="*/ 859965 h 1019175"/>
                  <a:gd name="connsiteX2" fmla="*/ 711106 w 1348393"/>
                  <a:gd name="connsiteY2" fmla="*/ 864985 h 1019175"/>
                  <a:gd name="connsiteX3" fmla="*/ 699213 w 1348393"/>
                  <a:gd name="connsiteY3" fmla="*/ 899409 h 1019175"/>
                  <a:gd name="connsiteX4" fmla="*/ 699213 w 1348393"/>
                  <a:gd name="connsiteY4" fmla="*/ 902278 h 1019175"/>
                  <a:gd name="connsiteX5" fmla="*/ 709707 w 1348393"/>
                  <a:gd name="connsiteY5" fmla="*/ 1014872 h 1019175"/>
                  <a:gd name="connsiteX6" fmla="*/ 706908 w 1348393"/>
                  <a:gd name="connsiteY6" fmla="*/ 1017741 h 1019175"/>
                  <a:gd name="connsiteX7" fmla="*/ 690818 w 1348393"/>
                  <a:gd name="connsiteY7" fmla="*/ 1019175 h 1019175"/>
                  <a:gd name="connsiteX8" fmla="*/ 674728 w 1348393"/>
                  <a:gd name="connsiteY8" fmla="*/ 1017741 h 1019175"/>
                  <a:gd name="connsiteX9" fmla="*/ 671929 w 1348393"/>
                  <a:gd name="connsiteY9" fmla="*/ 1014872 h 1019175"/>
                  <a:gd name="connsiteX10" fmla="*/ 683123 w 1348393"/>
                  <a:gd name="connsiteY10" fmla="*/ 900843 h 1019175"/>
                  <a:gd name="connsiteX11" fmla="*/ 683123 w 1348393"/>
                  <a:gd name="connsiteY11" fmla="*/ 899409 h 1019175"/>
                  <a:gd name="connsiteX12" fmla="*/ 670530 w 1348393"/>
                  <a:gd name="connsiteY12" fmla="*/ 864985 h 1019175"/>
                  <a:gd name="connsiteX13" fmla="*/ 671929 w 1348393"/>
                  <a:gd name="connsiteY13" fmla="*/ 859965 h 1019175"/>
                  <a:gd name="connsiteX14" fmla="*/ 691518 w 1348393"/>
                  <a:gd name="connsiteY14" fmla="*/ 855662 h 1019175"/>
                  <a:gd name="connsiteX15" fmla="*/ 192693 w 1348393"/>
                  <a:gd name="connsiteY15" fmla="*/ 687387 h 1019175"/>
                  <a:gd name="connsiteX16" fmla="*/ 291118 w 1348393"/>
                  <a:gd name="connsiteY16" fmla="*/ 786632 h 1019175"/>
                  <a:gd name="connsiteX17" fmla="*/ 285412 w 1348393"/>
                  <a:gd name="connsiteY17" fmla="*/ 827330 h 1019175"/>
                  <a:gd name="connsiteX18" fmla="*/ 247611 w 1348393"/>
                  <a:gd name="connsiteY18" fmla="*/ 767355 h 1019175"/>
                  <a:gd name="connsiteX19" fmla="*/ 246185 w 1348393"/>
                  <a:gd name="connsiteY19" fmla="*/ 767355 h 1019175"/>
                  <a:gd name="connsiteX20" fmla="*/ 117091 w 1348393"/>
                  <a:gd name="connsiteY20" fmla="*/ 835898 h 1019175"/>
                  <a:gd name="connsiteX21" fmla="*/ 116378 w 1348393"/>
                  <a:gd name="connsiteY21" fmla="*/ 835898 h 1019175"/>
                  <a:gd name="connsiteX22" fmla="*/ 109959 w 1348393"/>
                  <a:gd name="connsiteY22" fmla="*/ 835898 h 1019175"/>
                  <a:gd name="connsiteX23" fmla="*/ 108532 w 1348393"/>
                  <a:gd name="connsiteY23" fmla="*/ 835184 h 1019175"/>
                  <a:gd name="connsiteX24" fmla="*/ 97834 w 1348393"/>
                  <a:gd name="connsiteY24" fmla="*/ 820190 h 1019175"/>
                  <a:gd name="connsiteX25" fmla="*/ 94268 w 1348393"/>
                  <a:gd name="connsiteY25" fmla="*/ 786632 h 1019175"/>
                  <a:gd name="connsiteX26" fmla="*/ 192693 w 1348393"/>
                  <a:gd name="connsiteY26" fmla="*/ 687387 h 1019175"/>
                  <a:gd name="connsiteX27" fmla="*/ 1105315 w 1348393"/>
                  <a:gd name="connsiteY27" fmla="*/ 476250 h 1019175"/>
                  <a:gd name="connsiteX28" fmla="*/ 1178454 w 1348393"/>
                  <a:gd name="connsiteY28" fmla="*/ 510102 h 1019175"/>
                  <a:gd name="connsiteX29" fmla="*/ 1248724 w 1348393"/>
                  <a:gd name="connsiteY29" fmla="*/ 476250 h 1019175"/>
                  <a:gd name="connsiteX30" fmla="*/ 1348393 w 1348393"/>
                  <a:gd name="connsiteY30" fmla="*/ 546836 h 1019175"/>
                  <a:gd name="connsiteX31" fmla="*/ 1348393 w 1348393"/>
                  <a:gd name="connsiteY31" fmla="*/ 548276 h 1019175"/>
                  <a:gd name="connsiteX32" fmla="*/ 1343374 w 1348393"/>
                  <a:gd name="connsiteY32" fmla="*/ 554038 h 1019175"/>
                  <a:gd name="connsiteX33" fmla="*/ 1012817 w 1348393"/>
                  <a:gd name="connsiteY33" fmla="*/ 554038 h 1019175"/>
                  <a:gd name="connsiteX34" fmla="*/ 1007797 w 1348393"/>
                  <a:gd name="connsiteY34" fmla="*/ 548276 h 1019175"/>
                  <a:gd name="connsiteX35" fmla="*/ 1008514 w 1348393"/>
                  <a:gd name="connsiteY35" fmla="*/ 543234 h 1019175"/>
                  <a:gd name="connsiteX36" fmla="*/ 1105315 w 1348393"/>
                  <a:gd name="connsiteY36" fmla="*/ 476250 h 1019175"/>
                  <a:gd name="connsiteX37" fmla="*/ 690450 w 1348393"/>
                  <a:gd name="connsiteY37" fmla="*/ 468312 h 1019175"/>
                  <a:gd name="connsiteX38" fmla="*/ 825387 w 1348393"/>
                  <a:gd name="connsiteY38" fmla="*/ 607562 h 1019175"/>
                  <a:gd name="connsiteX39" fmla="*/ 820363 w 1348393"/>
                  <a:gd name="connsiteY39" fmla="*/ 653978 h 1019175"/>
                  <a:gd name="connsiteX40" fmla="*/ 806008 w 1348393"/>
                  <a:gd name="connsiteY40" fmla="*/ 674687 h 1019175"/>
                  <a:gd name="connsiteX41" fmla="*/ 795960 w 1348393"/>
                  <a:gd name="connsiteY41" fmla="*/ 674687 h 1019175"/>
                  <a:gd name="connsiteX42" fmla="*/ 794524 w 1348393"/>
                  <a:gd name="connsiteY42" fmla="*/ 573285 h 1019175"/>
                  <a:gd name="connsiteX43" fmla="*/ 617239 w 1348393"/>
                  <a:gd name="connsiteY43" fmla="*/ 578998 h 1019175"/>
                  <a:gd name="connsiteX44" fmla="*/ 584223 w 1348393"/>
                  <a:gd name="connsiteY44" fmla="*/ 673259 h 1019175"/>
                  <a:gd name="connsiteX45" fmla="*/ 574892 w 1348393"/>
                  <a:gd name="connsiteY45" fmla="*/ 671831 h 1019175"/>
                  <a:gd name="connsiteX46" fmla="*/ 561254 w 1348393"/>
                  <a:gd name="connsiteY46" fmla="*/ 655406 h 1019175"/>
                  <a:gd name="connsiteX47" fmla="*/ 556948 w 1348393"/>
                  <a:gd name="connsiteY47" fmla="*/ 607562 h 1019175"/>
                  <a:gd name="connsiteX48" fmla="*/ 690450 w 1348393"/>
                  <a:gd name="connsiteY48" fmla="*/ 468312 h 1019175"/>
                  <a:gd name="connsiteX49" fmla="*/ 128400 w 1348393"/>
                  <a:gd name="connsiteY49" fmla="*/ 468312 h 1019175"/>
                  <a:gd name="connsiteX50" fmla="*/ 163427 w 1348393"/>
                  <a:gd name="connsiteY50" fmla="*/ 492601 h 1019175"/>
                  <a:gd name="connsiteX51" fmla="*/ 189875 w 1348393"/>
                  <a:gd name="connsiteY51" fmla="*/ 497602 h 1019175"/>
                  <a:gd name="connsiteX52" fmla="*/ 215609 w 1348393"/>
                  <a:gd name="connsiteY52" fmla="*/ 492601 h 1019175"/>
                  <a:gd name="connsiteX53" fmla="*/ 251350 w 1348393"/>
                  <a:gd name="connsiteY53" fmla="*/ 468312 h 1019175"/>
                  <a:gd name="connsiteX54" fmla="*/ 332840 w 1348393"/>
                  <a:gd name="connsiteY54" fmla="*/ 481885 h 1019175"/>
                  <a:gd name="connsiteX55" fmla="*/ 379303 w 1348393"/>
                  <a:gd name="connsiteY55" fmla="*/ 548322 h 1019175"/>
                  <a:gd name="connsiteX56" fmla="*/ 375014 w 1348393"/>
                  <a:gd name="connsiteY56" fmla="*/ 554037 h 1019175"/>
                  <a:gd name="connsiteX57" fmla="*/ 4736 w 1348393"/>
                  <a:gd name="connsiteY57" fmla="*/ 554037 h 1019175"/>
                  <a:gd name="connsiteX58" fmla="*/ 447 w 1348393"/>
                  <a:gd name="connsiteY58" fmla="*/ 548322 h 1019175"/>
                  <a:gd name="connsiteX59" fmla="*/ 46196 w 1348393"/>
                  <a:gd name="connsiteY59" fmla="*/ 481885 h 1019175"/>
                  <a:gd name="connsiteX60" fmla="*/ 128400 w 1348393"/>
                  <a:gd name="connsiteY60" fmla="*/ 468312 h 1019175"/>
                  <a:gd name="connsiteX61" fmla="*/ 759004 w 1348393"/>
                  <a:gd name="connsiteY61" fmla="*/ 188912 h 1019175"/>
                  <a:gd name="connsiteX62" fmla="*/ 783243 w 1348393"/>
                  <a:gd name="connsiteY62" fmla="*/ 240347 h 1019175"/>
                  <a:gd name="connsiteX63" fmla="*/ 734030 w 1348393"/>
                  <a:gd name="connsiteY63" fmla="*/ 257493 h 1019175"/>
                  <a:gd name="connsiteX64" fmla="*/ 734030 w 1348393"/>
                  <a:gd name="connsiteY64" fmla="*/ 239633 h 1019175"/>
                  <a:gd name="connsiteX65" fmla="*/ 752393 w 1348393"/>
                  <a:gd name="connsiteY65" fmla="*/ 205343 h 1019175"/>
                  <a:gd name="connsiteX66" fmla="*/ 759004 w 1348393"/>
                  <a:gd name="connsiteY66" fmla="*/ 188912 h 1019175"/>
                  <a:gd name="connsiteX67" fmla="*/ 580565 w 1348393"/>
                  <a:gd name="connsiteY67" fmla="*/ 188912 h 1019175"/>
                  <a:gd name="connsiteX68" fmla="*/ 587673 w 1348393"/>
                  <a:gd name="connsiteY68" fmla="*/ 206057 h 1019175"/>
                  <a:gd name="connsiteX69" fmla="*/ 605443 w 1348393"/>
                  <a:gd name="connsiteY69" fmla="*/ 240347 h 1019175"/>
                  <a:gd name="connsiteX70" fmla="*/ 605443 w 1348393"/>
                  <a:gd name="connsiteY70" fmla="*/ 257493 h 1019175"/>
                  <a:gd name="connsiteX71" fmla="*/ 557818 w 1348393"/>
                  <a:gd name="connsiteY71" fmla="*/ 241062 h 1019175"/>
                  <a:gd name="connsiteX72" fmla="*/ 580565 w 1348393"/>
                  <a:gd name="connsiteY72" fmla="*/ 188912 h 1019175"/>
                  <a:gd name="connsiteX73" fmla="*/ 671324 w 1348393"/>
                  <a:gd name="connsiteY73" fmla="*/ 0 h 1019175"/>
                  <a:gd name="connsiteX74" fmla="*/ 769824 w 1348393"/>
                  <a:gd name="connsiteY74" fmla="*/ 99959 h 1019175"/>
                  <a:gd name="connsiteX75" fmla="*/ 766229 w 1348393"/>
                  <a:gd name="connsiteY75" fmla="*/ 133517 h 1019175"/>
                  <a:gd name="connsiteX76" fmla="*/ 755445 w 1348393"/>
                  <a:gd name="connsiteY76" fmla="*/ 148511 h 1019175"/>
                  <a:gd name="connsiteX77" fmla="*/ 754007 w 1348393"/>
                  <a:gd name="connsiteY77" fmla="*/ 149225 h 1019175"/>
                  <a:gd name="connsiteX78" fmla="*/ 748255 w 1348393"/>
                  <a:gd name="connsiteY78" fmla="*/ 149225 h 1019175"/>
                  <a:gd name="connsiteX79" fmla="*/ 747536 w 1348393"/>
                  <a:gd name="connsiteY79" fmla="*/ 149225 h 1019175"/>
                  <a:gd name="connsiteX80" fmla="*/ 617401 w 1348393"/>
                  <a:gd name="connsiteY80" fmla="*/ 79968 h 1019175"/>
                  <a:gd name="connsiteX81" fmla="*/ 616682 w 1348393"/>
                  <a:gd name="connsiteY81" fmla="*/ 79968 h 1019175"/>
                  <a:gd name="connsiteX82" fmla="*/ 577138 w 1348393"/>
                  <a:gd name="connsiteY82" fmla="*/ 140657 h 1019175"/>
                  <a:gd name="connsiteX83" fmla="*/ 572105 w 1348393"/>
                  <a:gd name="connsiteY83" fmla="*/ 99959 h 1019175"/>
                  <a:gd name="connsiteX84" fmla="*/ 671324 w 1348393"/>
                  <a:gd name="connsiteY84" fmla="*/ 0 h 1019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348393" h="1019175">
                    <a:moveTo>
                      <a:pt x="691518" y="855662"/>
                    </a:moveTo>
                    <a:cubicBezTo>
                      <a:pt x="697814" y="855662"/>
                      <a:pt x="705509" y="857814"/>
                      <a:pt x="709707" y="859965"/>
                    </a:cubicBezTo>
                    <a:cubicBezTo>
                      <a:pt x="711106" y="859965"/>
                      <a:pt x="711805" y="862834"/>
                      <a:pt x="711106" y="864985"/>
                    </a:cubicBezTo>
                    <a:cubicBezTo>
                      <a:pt x="711106" y="864985"/>
                      <a:pt x="711106" y="864985"/>
                      <a:pt x="699213" y="899409"/>
                    </a:cubicBezTo>
                    <a:cubicBezTo>
                      <a:pt x="699213" y="900126"/>
                      <a:pt x="698513" y="900843"/>
                      <a:pt x="699213" y="902278"/>
                    </a:cubicBezTo>
                    <a:cubicBezTo>
                      <a:pt x="699213" y="902278"/>
                      <a:pt x="699213" y="894389"/>
                      <a:pt x="709707" y="1014872"/>
                    </a:cubicBezTo>
                    <a:cubicBezTo>
                      <a:pt x="709707" y="1016306"/>
                      <a:pt x="709007" y="1017741"/>
                      <a:pt x="706908" y="1017741"/>
                    </a:cubicBezTo>
                    <a:cubicBezTo>
                      <a:pt x="701312" y="1018458"/>
                      <a:pt x="696415" y="1019175"/>
                      <a:pt x="690818" y="1019175"/>
                    </a:cubicBezTo>
                    <a:cubicBezTo>
                      <a:pt x="685221" y="1019175"/>
                      <a:pt x="680324" y="1018458"/>
                      <a:pt x="674728" y="1017741"/>
                    </a:cubicBezTo>
                    <a:cubicBezTo>
                      <a:pt x="673329" y="1017741"/>
                      <a:pt x="671929" y="1016306"/>
                      <a:pt x="671929" y="1014872"/>
                    </a:cubicBezTo>
                    <a:cubicBezTo>
                      <a:pt x="673329" y="1004115"/>
                      <a:pt x="677526" y="963236"/>
                      <a:pt x="683123" y="900843"/>
                    </a:cubicBezTo>
                    <a:cubicBezTo>
                      <a:pt x="683123" y="900126"/>
                      <a:pt x="683123" y="900126"/>
                      <a:pt x="683123" y="899409"/>
                    </a:cubicBezTo>
                    <a:cubicBezTo>
                      <a:pt x="683123" y="899409"/>
                      <a:pt x="683123" y="899409"/>
                      <a:pt x="670530" y="864985"/>
                    </a:cubicBezTo>
                    <a:cubicBezTo>
                      <a:pt x="670530" y="862834"/>
                      <a:pt x="670530" y="859965"/>
                      <a:pt x="671929" y="859965"/>
                    </a:cubicBezTo>
                    <a:cubicBezTo>
                      <a:pt x="676127" y="857814"/>
                      <a:pt x="684522" y="855662"/>
                      <a:pt x="691518" y="855662"/>
                    </a:cubicBezTo>
                    <a:close/>
                    <a:moveTo>
                      <a:pt x="192693" y="687387"/>
                    </a:moveTo>
                    <a:cubicBezTo>
                      <a:pt x="248324" y="687387"/>
                      <a:pt x="291118" y="732369"/>
                      <a:pt x="291118" y="786632"/>
                    </a:cubicBezTo>
                    <a:cubicBezTo>
                      <a:pt x="291118" y="798770"/>
                      <a:pt x="289691" y="817334"/>
                      <a:pt x="285412" y="827330"/>
                    </a:cubicBezTo>
                    <a:cubicBezTo>
                      <a:pt x="276140" y="836612"/>
                      <a:pt x="276853" y="776637"/>
                      <a:pt x="247611" y="767355"/>
                    </a:cubicBezTo>
                    <a:cubicBezTo>
                      <a:pt x="246898" y="767355"/>
                      <a:pt x="246898" y="767355"/>
                      <a:pt x="246185" y="767355"/>
                    </a:cubicBezTo>
                    <a:cubicBezTo>
                      <a:pt x="117091" y="835898"/>
                      <a:pt x="117091" y="835898"/>
                      <a:pt x="117091" y="835898"/>
                    </a:cubicBezTo>
                    <a:cubicBezTo>
                      <a:pt x="116378" y="835898"/>
                      <a:pt x="116378" y="835898"/>
                      <a:pt x="116378" y="835898"/>
                    </a:cubicBezTo>
                    <a:cubicBezTo>
                      <a:pt x="109959" y="835898"/>
                      <a:pt x="109959" y="835898"/>
                      <a:pt x="109959" y="835898"/>
                    </a:cubicBezTo>
                    <a:cubicBezTo>
                      <a:pt x="109245" y="835898"/>
                      <a:pt x="109245" y="835898"/>
                      <a:pt x="108532" y="835184"/>
                    </a:cubicBezTo>
                    <a:cubicBezTo>
                      <a:pt x="99974" y="825188"/>
                      <a:pt x="97834" y="820190"/>
                      <a:pt x="97834" y="820190"/>
                    </a:cubicBezTo>
                    <a:cubicBezTo>
                      <a:pt x="94268" y="810194"/>
                      <a:pt x="94268" y="798770"/>
                      <a:pt x="94268" y="786632"/>
                    </a:cubicBezTo>
                    <a:cubicBezTo>
                      <a:pt x="94268" y="732369"/>
                      <a:pt x="137061" y="687387"/>
                      <a:pt x="192693" y="687387"/>
                    </a:cubicBezTo>
                    <a:close/>
                    <a:moveTo>
                      <a:pt x="1105315" y="476250"/>
                    </a:moveTo>
                    <a:cubicBezTo>
                      <a:pt x="1114637" y="485613"/>
                      <a:pt x="1133997" y="510102"/>
                      <a:pt x="1178454" y="510102"/>
                    </a:cubicBezTo>
                    <a:cubicBezTo>
                      <a:pt x="1220759" y="510102"/>
                      <a:pt x="1237968" y="489935"/>
                      <a:pt x="1248724" y="476250"/>
                    </a:cubicBezTo>
                    <a:cubicBezTo>
                      <a:pt x="1254460" y="476250"/>
                      <a:pt x="1340506" y="487054"/>
                      <a:pt x="1348393" y="546836"/>
                    </a:cubicBezTo>
                    <a:cubicBezTo>
                      <a:pt x="1348393" y="547556"/>
                      <a:pt x="1348393" y="547556"/>
                      <a:pt x="1348393" y="548276"/>
                    </a:cubicBezTo>
                    <a:cubicBezTo>
                      <a:pt x="1348393" y="551157"/>
                      <a:pt x="1346242" y="554038"/>
                      <a:pt x="1343374" y="554038"/>
                    </a:cubicBezTo>
                    <a:cubicBezTo>
                      <a:pt x="1343374" y="554038"/>
                      <a:pt x="1343374" y="554038"/>
                      <a:pt x="1012817" y="554038"/>
                    </a:cubicBezTo>
                    <a:cubicBezTo>
                      <a:pt x="1009948" y="554038"/>
                      <a:pt x="1007080" y="551157"/>
                      <a:pt x="1007797" y="548276"/>
                    </a:cubicBezTo>
                    <a:cubicBezTo>
                      <a:pt x="1007797" y="546836"/>
                      <a:pt x="1007797" y="544675"/>
                      <a:pt x="1008514" y="543234"/>
                    </a:cubicBezTo>
                    <a:cubicBezTo>
                      <a:pt x="1015685" y="478411"/>
                      <a:pt x="1099579" y="476250"/>
                      <a:pt x="1105315" y="476250"/>
                    </a:cubicBezTo>
                    <a:close/>
                    <a:moveTo>
                      <a:pt x="690450" y="468312"/>
                    </a:moveTo>
                    <a:cubicBezTo>
                      <a:pt x="767250" y="468312"/>
                      <a:pt x="825387" y="531153"/>
                      <a:pt x="825387" y="607562"/>
                    </a:cubicBezTo>
                    <a:cubicBezTo>
                      <a:pt x="825387" y="623986"/>
                      <a:pt x="826105" y="638982"/>
                      <a:pt x="820363" y="653978"/>
                    </a:cubicBezTo>
                    <a:cubicBezTo>
                      <a:pt x="820363" y="653978"/>
                      <a:pt x="817492" y="661119"/>
                      <a:pt x="806008" y="674687"/>
                    </a:cubicBezTo>
                    <a:cubicBezTo>
                      <a:pt x="806008" y="674687"/>
                      <a:pt x="806008" y="674687"/>
                      <a:pt x="795960" y="674687"/>
                    </a:cubicBezTo>
                    <a:cubicBezTo>
                      <a:pt x="795960" y="674687"/>
                      <a:pt x="795960" y="670403"/>
                      <a:pt x="794524" y="573285"/>
                    </a:cubicBezTo>
                    <a:cubicBezTo>
                      <a:pt x="779451" y="651122"/>
                      <a:pt x="617239" y="578998"/>
                      <a:pt x="617239" y="578998"/>
                    </a:cubicBezTo>
                    <a:cubicBezTo>
                      <a:pt x="577045" y="592566"/>
                      <a:pt x="584223" y="673259"/>
                      <a:pt x="584223" y="673259"/>
                    </a:cubicBezTo>
                    <a:cubicBezTo>
                      <a:pt x="584223" y="673259"/>
                      <a:pt x="584223" y="673259"/>
                      <a:pt x="574892" y="671831"/>
                    </a:cubicBezTo>
                    <a:cubicBezTo>
                      <a:pt x="574892" y="671831"/>
                      <a:pt x="574892" y="667546"/>
                      <a:pt x="561254" y="655406"/>
                    </a:cubicBezTo>
                    <a:cubicBezTo>
                      <a:pt x="556230" y="640410"/>
                      <a:pt x="556948" y="624700"/>
                      <a:pt x="556948" y="607562"/>
                    </a:cubicBezTo>
                    <a:cubicBezTo>
                      <a:pt x="556948" y="531153"/>
                      <a:pt x="614368" y="468312"/>
                      <a:pt x="690450" y="468312"/>
                    </a:cubicBezTo>
                    <a:close/>
                    <a:moveTo>
                      <a:pt x="128400" y="468312"/>
                    </a:moveTo>
                    <a:cubicBezTo>
                      <a:pt x="128400" y="468312"/>
                      <a:pt x="139838" y="484743"/>
                      <a:pt x="163427" y="492601"/>
                    </a:cubicBezTo>
                    <a:cubicBezTo>
                      <a:pt x="163427" y="492601"/>
                      <a:pt x="163427" y="492601"/>
                      <a:pt x="189875" y="497602"/>
                    </a:cubicBezTo>
                    <a:cubicBezTo>
                      <a:pt x="189875" y="497602"/>
                      <a:pt x="189875" y="497602"/>
                      <a:pt x="215609" y="492601"/>
                    </a:cubicBezTo>
                    <a:cubicBezTo>
                      <a:pt x="239198" y="484743"/>
                      <a:pt x="251350" y="468312"/>
                      <a:pt x="251350" y="468312"/>
                    </a:cubicBezTo>
                    <a:cubicBezTo>
                      <a:pt x="251350" y="468312"/>
                      <a:pt x="304961" y="469027"/>
                      <a:pt x="332840" y="481885"/>
                    </a:cubicBezTo>
                    <a:cubicBezTo>
                      <a:pt x="356429" y="492601"/>
                      <a:pt x="373584" y="532606"/>
                      <a:pt x="379303" y="548322"/>
                    </a:cubicBezTo>
                    <a:cubicBezTo>
                      <a:pt x="380018" y="551180"/>
                      <a:pt x="377873" y="554037"/>
                      <a:pt x="375014" y="554037"/>
                    </a:cubicBezTo>
                    <a:cubicBezTo>
                      <a:pt x="375014" y="554037"/>
                      <a:pt x="375014" y="554037"/>
                      <a:pt x="4736" y="554037"/>
                    </a:cubicBezTo>
                    <a:cubicBezTo>
                      <a:pt x="1162" y="554037"/>
                      <a:pt x="-982" y="551180"/>
                      <a:pt x="447" y="548322"/>
                    </a:cubicBezTo>
                    <a:cubicBezTo>
                      <a:pt x="6166" y="532606"/>
                      <a:pt x="22607" y="492601"/>
                      <a:pt x="46196" y="481885"/>
                    </a:cubicBezTo>
                    <a:cubicBezTo>
                      <a:pt x="74789" y="469027"/>
                      <a:pt x="128400" y="468312"/>
                      <a:pt x="128400" y="468312"/>
                    </a:cubicBezTo>
                    <a:close/>
                    <a:moveTo>
                      <a:pt x="759004" y="188912"/>
                    </a:moveTo>
                    <a:cubicBezTo>
                      <a:pt x="759739" y="207486"/>
                      <a:pt x="761208" y="238204"/>
                      <a:pt x="783243" y="240347"/>
                    </a:cubicBezTo>
                    <a:cubicBezTo>
                      <a:pt x="762677" y="260350"/>
                      <a:pt x="743579" y="259636"/>
                      <a:pt x="734030" y="257493"/>
                    </a:cubicBezTo>
                    <a:cubicBezTo>
                      <a:pt x="734030" y="257493"/>
                      <a:pt x="734030" y="257493"/>
                      <a:pt x="734030" y="239633"/>
                    </a:cubicBezTo>
                    <a:cubicBezTo>
                      <a:pt x="738437" y="233918"/>
                      <a:pt x="743579" y="224631"/>
                      <a:pt x="752393" y="205343"/>
                    </a:cubicBezTo>
                    <a:cubicBezTo>
                      <a:pt x="755331" y="198913"/>
                      <a:pt x="756800" y="193198"/>
                      <a:pt x="759004" y="188912"/>
                    </a:cubicBezTo>
                    <a:close/>
                    <a:moveTo>
                      <a:pt x="580565" y="188912"/>
                    </a:moveTo>
                    <a:cubicBezTo>
                      <a:pt x="582697" y="193913"/>
                      <a:pt x="585540" y="199628"/>
                      <a:pt x="587673" y="206057"/>
                    </a:cubicBezTo>
                    <a:cubicBezTo>
                      <a:pt x="596203" y="225346"/>
                      <a:pt x="601889" y="234632"/>
                      <a:pt x="605443" y="240347"/>
                    </a:cubicBezTo>
                    <a:cubicBezTo>
                      <a:pt x="605443" y="240347"/>
                      <a:pt x="605443" y="240347"/>
                      <a:pt x="605443" y="257493"/>
                    </a:cubicBezTo>
                    <a:cubicBezTo>
                      <a:pt x="596203" y="259636"/>
                      <a:pt x="577010" y="260350"/>
                      <a:pt x="557818" y="241062"/>
                    </a:cubicBezTo>
                    <a:cubicBezTo>
                      <a:pt x="578432" y="238919"/>
                      <a:pt x="579854" y="208200"/>
                      <a:pt x="580565" y="188912"/>
                    </a:cubicBezTo>
                    <a:close/>
                    <a:moveTo>
                      <a:pt x="671324" y="0"/>
                    </a:moveTo>
                    <a:cubicBezTo>
                      <a:pt x="725967" y="0"/>
                      <a:pt x="769824" y="44268"/>
                      <a:pt x="769824" y="99959"/>
                    </a:cubicBezTo>
                    <a:cubicBezTo>
                      <a:pt x="769824" y="111383"/>
                      <a:pt x="770543" y="122807"/>
                      <a:pt x="766229" y="133517"/>
                    </a:cubicBezTo>
                    <a:cubicBezTo>
                      <a:pt x="766229" y="133517"/>
                      <a:pt x="764791" y="138515"/>
                      <a:pt x="755445" y="148511"/>
                    </a:cubicBezTo>
                    <a:cubicBezTo>
                      <a:pt x="754726" y="149225"/>
                      <a:pt x="754726" y="149225"/>
                      <a:pt x="754007" y="149225"/>
                    </a:cubicBezTo>
                    <a:cubicBezTo>
                      <a:pt x="754007" y="149225"/>
                      <a:pt x="754007" y="149225"/>
                      <a:pt x="748255" y="149225"/>
                    </a:cubicBezTo>
                    <a:cubicBezTo>
                      <a:pt x="747536" y="149225"/>
                      <a:pt x="747536" y="149225"/>
                      <a:pt x="747536" y="149225"/>
                    </a:cubicBezTo>
                    <a:cubicBezTo>
                      <a:pt x="747536" y="149225"/>
                      <a:pt x="747536" y="149225"/>
                      <a:pt x="617401" y="79968"/>
                    </a:cubicBezTo>
                    <a:cubicBezTo>
                      <a:pt x="617401" y="79968"/>
                      <a:pt x="617401" y="79968"/>
                      <a:pt x="616682" y="79968"/>
                    </a:cubicBezTo>
                    <a:cubicBezTo>
                      <a:pt x="586485" y="89250"/>
                      <a:pt x="587204" y="149225"/>
                      <a:pt x="577138" y="140657"/>
                    </a:cubicBezTo>
                    <a:cubicBezTo>
                      <a:pt x="573543" y="129233"/>
                      <a:pt x="572105" y="111383"/>
                      <a:pt x="572105" y="99959"/>
                    </a:cubicBezTo>
                    <a:cubicBezTo>
                      <a:pt x="572105" y="44268"/>
                      <a:pt x="615244" y="0"/>
                      <a:pt x="67132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5" name="Oval 34">
            <a:extLst>
              <a:ext uri="{FF2B5EF4-FFF2-40B4-BE49-F238E27FC236}">
                <a16:creationId xmlns:a16="http://schemas.microsoft.com/office/drawing/2014/main" id="{7400CFD7-E6E1-49DF-A930-60F1E3BFE43E}"/>
              </a:ext>
            </a:extLst>
          </p:cNvPr>
          <p:cNvSpPr>
            <a:spLocks noChangeAspect="1"/>
          </p:cNvSpPr>
          <p:nvPr/>
        </p:nvSpPr>
        <p:spPr>
          <a:xfrm>
            <a:off x="5638853" y="1839472"/>
            <a:ext cx="755703" cy="755703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ker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277F8570-8FB1-41DA-A431-4FC21AB7DF33}"/>
              </a:ext>
            </a:extLst>
          </p:cNvPr>
          <p:cNvSpPr>
            <a:spLocks noChangeAspect="1"/>
          </p:cNvSpPr>
          <p:nvPr/>
        </p:nvSpPr>
        <p:spPr>
          <a:xfrm>
            <a:off x="1512969" y="1839472"/>
            <a:ext cx="755703" cy="755703"/>
          </a:xfrm>
          <a:prstGeom prst="ellipse">
            <a:avLst/>
          </a:prstGeom>
          <a:solidFill>
            <a:srgbClr val="FFFFFF"/>
          </a:solidFill>
          <a:ln w="38100">
            <a:gradFill flip="none" rotWithShape="1">
              <a:gsLst>
                <a:gs pos="0">
                  <a:schemeClr val="accent4"/>
                </a:gs>
                <a:gs pos="100000">
                  <a:schemeClr val="accent3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kern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74BD4B9-28B0-4C20-8A77-C0FFEB9123F4}"/>
              </a:ext>
            </a:extLst>
          </p:cNvPr>
          <p:cNvGrpSpPr>
            <a:grpSpLocks noChangeAspect="1"/>
          </p:cNvGrpSpPr>
          <p:nvPr/>
        </p:nvGrpSpPr>
        <p:grpSpPr>
          <a:xfrm>
            <a:off x="1602601" y="1929104"/>
            <a:ext cx="576440" cy="576440"/>
            <a:chOff x="5273675" y="2606675"/>
            <a:chExt cx="1644650" cy="1644650"/>
          </a:xfrm>
        </p:grpSpPr>
        <p:sp>
          <p:nvSpPr>
            <p:cNvPr id="38" name="AutoShape 3">
              <a:extLst>
                <a:ext uri="{FF2B5EF4-FFF2-40B4-BE49-F238E27FC236}">
                  <a16:creationId xmlns:a16="http://schemas.microsoft.com/office/drawing/2014/main" id="{7567FB1D-406B-4935-8CBB-8E3254FE45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13F3335-D6E5-4F07-A886-125D5E6D60FE}"/>
                </a:ext>
              </a:extLst>
            </p:cNvPr>
            <p:cNvGrpSpPr/>
            <p:nvPr/>
          </p:nvGrpSpPr>
          <p:grpSpPr>
            <a:xfrm>
              <a:off x="5338763" y="3074988"/>
              <a:ext cx="1508125" cy="715963"/>
              <a:chOff x="5338763" y="3074988"/>
              <a:chExt cx="1508125" cy="715963"/>
            </a:xfrm>
          </p:grpSpPr>
          <p:sp>
            <p:nvSpPr>
              <p:cNvPr id="40" name="Freeform 13">
                <a:extLst>
                  <a:ext uri="{FF2B5EF4-FFF2-40B4-BE49-F238E27FC236}">
                    <a16:creationId xmlns:a16="http://schemas.microsoft.com/office/drawing/2014/main" id="{FC9D40DC-E504-4176-86EB-4BAE18F72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1350" y="3359150"/>
                <a:ext cx="742950" cy="287338"/>
              </a:xfrm>
              <a:custGeom>
                <a:avLst/>
                <a:gdLst>
                  <a:gd name="T0" fmla="*/ 1018 w 1039"/>
                  <a:gd name="T1" fmla="*/ 82 h 402"/>
                  <a:gd name="T2" fmla="*/ 21 w 1039"/>
                  <a:gd name="T3" fmla="*/ 82 h 402"/>
                  <a:gd name="T4" fmla="*/ 0 w 1039"/>
                  <a:gd name="T5" fmla="*/ 109 h 402"/>
                  <a:gd name="T6" fmla="*/ 0 w 1039"/>
                  <a:gd name="T7" fmla="*/ 217 h 402"/>
                  <a:gd name="T8" fmla="*/ 0 w 1039"/>
                  <a:gd name="T9" fmla="*/ 241 h 402"/>
                  <a:gd name="T10" fmla="*/ 0 w 1039"/>
                  <a:gd name="T11" fmla="*/ 265 h 402"/>
                  <a:gd name="T12" fmla="*/ 0 w 1039"/>
                  <a:gd name="T13" fmla="*/ 383 h 402"/>
                  <a:gd name="T14" fmla="*/ 21 w 1039"/>
                  <a:gd name="T15" fmla="*/ 399 h 402"/>
                  <a:gd name="T16" fmla="*/ 1018 w 1039"/>
                  <a:gd name="T17" fmla="*/ 399 h 402"/>
                  <a:gd name="T18" fmla="*/ 1039 w 1039"/>
                  <a:gd name="T19" fmla="*/ 383 h 402"/>
                  <a:gd name="T20" fmla="*/ 1039 w 1039"/>
                  <a:gd name="T21" fmla="*/ 265 h 402"/>
                  <a:gd name="T22" fmla="*/ 1039 w 1039"/>
                  <a:gd name="T23" fmla="*/ 241 h 402"/>
                  <a:gd name="T24" fmla="*/ 1039 w 1039"/>
                  <a:gd name="T25" fmla="*/ 217 h 402"/>
                  <a:gd name="T26" fmla="*/ 1039 w 1039"/>
                  <a:gd name="T27" fmla="*/ 109 h 402"/>
                  <a:gd name="T28" fmla="*/ 1018 w 1039"/>
                  <a:gd name="T29" fmla="*/ 82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9" h="402">
                    <a:moveTo>
                      <a:pt x="1018" y="82"/>
                    </a:moveTo>
                    <a:cubicBezTo>
                      <a:pt x="686" y="0"/>
                      <a:pt x="353" y="0"/>
                      <a:pt x="21" y="82"/>
                    </a:cubicBezTo>
                    <a:cubicBezTo>
                      <a:pt x="9" y="85"/>
                      <a:pt x="0" y="97"/>
                      <a:pt x="0" y="109"/>
                    </a:cubicBezTo>
                    <a:cubicBezTo>
                      <a:pt x="0" y="145"/>
                      <a:pt x="0" y="181"/>
                      <a:pt x="0" y="217"/>
                    </a:cubicBezTo>
                    <a:cubicBezTo>
                      <a:pt x="0" y="225"/>
                      <a:pt x="0" y="233"/>
                      <a:pt x="0" y="241"/>
                    </a:cubicBezTo>
                    <a:cubicBezTo>
                      <a:pt x="0" y="249"/>
                      <a:pt x="0" y="257"/>
                      <a:pt x="0" y="265"/>
                    </a:cubicBezTo>
                    <a:cubicBezTo>
                      <a:pt x="0" y="304"/>
                      <a:pt x="0" y="343"/>
                      <a:pt x="0" y="383"/>
                    </a:cubicBezTo>
                    <a:cubicBezTo>
                      <a:pt x="0" y="395"/>
                      <a:pt x="9" y="402"/>
                      <a:pt x="21" y="399"/>
                    </a:cubicBezTo>
                    <a:cubicBezTo>
                      <a:pt x="353" y="317"/>
                      <a:pt x="686" y="317"/>
                      <a:pt x="1018" y="399"/>
                    </a:cubicBezTo>
                    <a:cubicBezTo>
                      <a:pt x="1030" y="402"/>
                      <a:pt x="1039" y="395"/>
                      <a:pt x="1039" y="383"/>
                    </a:cubicBezTo>
                    <a:cubicBezTo>
                      <a:pt x="1039" y="343"/>
                      <a:pt x="1039" y="304"/>
                      <a:pt x="1039" y="265"/>
                    </a:cubicBezTo>
                    <a:cubicBezTo>
                      <a:pt x="1039" y="257"/>
                      <a:pt x="1039" y="249"/>
                      <a:pt x="1039" y="241"/>
                    </a:cubicBezTo>
                    <a:cubicBezTo>
                      <a:pt x="1039" y="233"/>
                      <a:pt x="1039" y="225"/>
                      <a:pt x="1039" y="217"/>
                    </a:cubicBezTo>
                    <a:cubicBezTo>
                      <a:pt x="1039" y="181"/>
                      <a:pt x="1039" y="145"/>
                      <a:pt x="1039" y="109"/>
                    </a:cubicBezTo>
                    <a:cubicBezTo>
                      <a:pt x="1039" y="97"/>
                      <a:pt x="1030" y="85"/>
                      <a:pt x="1018" y="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14">
                <a:extLst>
                  <a:ext uri="{FF2B5EF4-FFF2-40B4-BE49-F238E27FC236}">
                    <a16:creationId xmlns:a16="http://schemas.microsoft.com/office/drawing/2014/main" id="{A3387621-5769-46A2-A851-23057CC8C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38763" y="3074988"/>
                <a:ext cx="1508125" cy="715963"/>
              </a:xfrm>
              <a:custGeom>
                <a:avLst/>
                <a:gdLst>
                  <a:gd name="T0" fmla="*/ 2099 w 2113"/>
                  <a:gd name="T1" fmla="*/ 402 h 1003"/>
                  <a:gd name="T2" fmla="*/ 1068 w 2113"/>
                  <a:gd name="T3" fmla="*/ 2 h 1003"/>
                  <a:gd name="T4" fmla="*/ 1052 w 2113"/>
                  <a:gd name="T5" fmla="*/ 2 h 1003"/>
                  <a:gd name="T6" fmla="*/ 14 w 2113"/>
                  <a:gd name="T7" fmla="*/ 402 h 1003"/>
                  <a:gd name="T8" fmla="*/ 0 w 2113"/>
                  <a:gd name="T9" fmla="*/ 422 h 1003"/>
                  <a:gd name="T10" fmla="*/ 13 w 2113"/>
                  <a:gd name="T11" fmla="*/ 442 h 1003"/>
                  <a:gd name="T12" fmla="*/ 271 w 2113"/>
                  <a:gd name="T13" fmla="*/ 551 h 1003"/>
                  <a:gd name="T14" fmla="*/ 271 w 2113"/>
                  <a:gd name="T15" fmla="*/ 761 h 1003"/>
                  <a:gd name="T16" fmla="*/ 243 w 2113"/>
                  <a:gd name="T17" fmla="*/ 806 h 1003"/>
                  <a:gd name="T18" fmla="*/ 262 w 2113"/>
                  <a:gd name="T19" fmla="*/ 845 h 1003"/>
                  <a:gd name="T20" fmla="*/ 218 w 2113"/>
                  <a:gd name="T21" fmla="*/ 1003 h 1003"/>
                  <a:gd name="T22" fmla="*/ 253 w 2113"/>
                  <a:gd name="T23" fmla="*/ 1003 h 1003"/>
                  <a:gd name="T24" fmla="*/ 332 w 2113"/>
                  <a:gd name="T25" fmla="*/ 1003 h 1003"/>
                  <a:gd name="T26" fmla="*/ 367 w 2113"/>
                  <a:gd name="T27" fmla="*/ 1003 h 1003"/>
                  <a:gd name="T28" fmla="*/ 323 w 2113"/>
                  <a:gd name="T29" fmla="*/ 845 h 1003"/>
                  <a:gd name="T30" fmla="*/ 342 w 2113"/>
                  <a:gd name="T31" fmla="*/ 806 h 1003"/>
                  <a:gd name="T32" fmla="*/ 315 w 2113"/>
                  <a:gd name="T33" fmla="*/ 761 h 1003"/>
                  <a:gd name="T34" fmla="*/ 315 w 2113"/>
                  <a:gd name="T35" fmla="*/ 569 h 1003"/>
                  <a:gd name="T36" fmla="*/ 493 w 2113"/>
                  <a:gd name="T37" fmla="*/ 644 h 1003"/>
                  <a:gd name="T38" fmla="*/ 493 w 2113"/>
                  <a:gd name="T39" fmla="*/ 620 h 1003"/>
                  <a:gd name="T40" fmla="*/ 493 w 2113"/>
                  <a:gd name="T41" fmla="*/ 596 h 1003"/>
                  <a:gd name="T42" fmla="*/ 493 w 2113"/>
                  <a:gd name="T43" fmla="*/ 485 h 1003"/>
                  <a:gd name="T44" fmla="*/ 525 w 2113"/>
                  <a:gd name="T45" fmla="*/ 443 h 1003"/>
                  <a:gd name="T46" fmla="*/ 878 w 2113"/>
                  <a:gd name="T47" fmla="*/ 380 h 1003"/>
                  <a:gd name="T48" fmla="*/ 1057 w 2113"/>
                  <a:gd name="T49" fmla="*/ 372 h 1003"/>
                  <a:gd name="T50" fmla="*/ 1235 w 2113"/>
                  <a:gd name="T51" fmla="*/ 380 h 1003"/>
                  <a:gd name="T52" fmla="*/ 1588 w 2113"/>
                  <a:gd name="T53" fmla="*/ 443 h 1003"/>
                  <a:gd name="T54" fmla="*/ 1588 w 2113"/>
                  <a:gd name="T55" fmla="*/ 443 h 1003"/>
                  <a:gd name="T56" fmla="*/ 1620 w 2113"/>
                  <a:gd name="T57" fmla="*/ 485 h 1003"/>
                  <a:gd name="T58" fmla="*/ 1620 w 2113"/>
                  <a:gd name="T59" fmla="*/ 596 h 1003"/>
                  <a:gd name="T60" fmla="*/ 1620 w 2113"/>
                  <a:gd name="T61" fmla="*/ 620 h 1003"/>
                  <a:gd name="T62" fmla="*/ 1620 w 2113"/>
                  <a:gd name="T63" fmla="*/ 644 h 1003"/>
                  <a:gd name="T64" fmla="*/ 2100 w 2113"/>
                  <a:gd name="T65" fmla="*/ 442 h 1003"/>
                  <a:gd name="T66" fmla="*/ 2113 w 2113"/>
                  <a:gd name="T67" fmla="*/ 422 h 1003"/>
                  <a:gd name="T68" fmla="*/ 2099 w 2113"/>
                  <a:gd name="T69" fmla="*/ 402 h 10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113" h="1003">
                    <a:moveTo>
                      <a:pt x="2099" y="402"/>
                    </a:moveTo>
                    <a:cubicBezTo>
                      <a:pt x="1068" y="2"/>
                      <a:pt x="1068" y="2"/>
                      <a:pt x="1068" y="2"/>
                    </a:cubicBezTo>
                    <a:cubicBezTo>
                      <a:pt x="1063" y="0"/>
                      <a:pt x="1057" y="0"/>
                      <a:pt x="1052" y="2"/>
                    </a:cubicBezTo>
                    <a:cubicBezTo>
                      <a:pt x="14" y="402"/>
                      <a:pt x="14" y="402"/>
                      <a:pt x="14" y="402"/>
                    </a:cubicBezTo>
                    <a:cubicBezTo>
                      <a:pt x="5" y="405"/>
                      <a:pt x="0" y="413"/>
                      <a:pt x="0" y="422"/>
                    </a:cubicBezTo>
                    <a:cubicBezTo>
                      <a:pt x="0" y="431"/>
                      <a:pt x="5" y="439"/>
                      <a:pt x="13" y="442"/>
                    </a:cubicBezTo>
                    <a:cubicBezTo>
                      <a:pt x="271" y="551"/>
                      <a:pt x="271" y="551"/>
                      <a:pt x="271" y="551"/>
                    </a:cubicBezTo>
                    <a:cubicBezTo>
                      <a:pt x="271" y="761"/>
                      <a:pt x="271" y="761"/>
                      <a:pt x="271" y="761"/>
                    </a:cubicBezTo>
                    <a:cubicBezTo>
                      <a:pt x="254" y="769"/>
                      <a:pt x="243" y="786"/>
                      <a:pt x="243" y="806"/>
                    </a:cubicBezTo>
                    <a:cubicBezTo>
                      <a:pt x="243" y="822"/>
                      <a:pt x="250" y="836"/>
                      <a:pt x="262" y="845"/>
                    </a:cubicBezTo>
                    <a:cubicBezTo>
                      <a:pt x="218" y="1003"/>
                      <a:pt x="218" y="1003"/>
                      <a:pt x="218" y="1003"/>
                    </a:cubicBezTo>
                    <a:cubicBezTo>
                      <a:pt x="253" y="1003"/>
                      <a:pt x="253" y="1003"/>
                      <a:pt x="253" y="1003"/>
                    </a:cubicBezTo>
                    <a:cubicBezTo>
                      <a:pt x="332" y="1003"/>
                      <a:pt x="332" y="1003"/>
                      <a:pt x="332" y="1003"/>
                    </a:cubicBezTo>
                    <a:cubicBezTo>
                      <a:pt x="367" y="1003"/>
                      <a:pt x="367" y="1003"/>
                      <a:pt x="367" y="1003"/>
                    </a:cubicBezTo>
                    <a:cubicBezTo>
                      <a:pt x="323" y="845"/>
                      <a:pt x="323" y="845"/>
                      <a:pt x="323" y="845"/>
                    </a:cubicBezTo>
                    <a:cubicBezTo>
                      <a:pt x="335" y="836"/>
                      <a:pt x="342" y="822"/>
                      <a:pt x="342" y="806"/>
                    </a:cubicBezTo>
                    <a:cubicBezTo>
                      <a:pt x="342" y="786"/>
                      <a:pt x="331" y="769"/>
                      <a:pt x="315" y="761"/>
                    </a:cubicBezTo>
                    <a:cubicBezTo>
                      <a:pt x="315" y="569"/>
                      <a:pt x="315" y="569"/>
                      <a:pt x="315" y="569"/>
                    </a:cubicBezTo>
                    <a:cubicBezTo>
                      <a:pt x="493" y="644"/>
                      <a:pt x="493" y="644"/>
                      <a:pt x="493" y="644"/>
                    </a:cubicBezTo>
                    <a:cubicBezTo>
                      <a:pt x="493" y="620"/>
                      <a:pt x="493" y="620"/>
                      <a:pt x="493" y="620"/>
                    </a:cubicBezTo>
                    <a:cubicBezTo>
                      <a:pt x="493" y="596"/>
                      <a:pt x="493" y="596"/>
                      <a:pt x="493" y="596"/>
                    </a:cubicBezTo>
                    <a:cubicBezTo>
                      <a:pt x="493" y="485"/>
                      <a:pt x="493" y="485"/>
                      <a:pt x="493" y="485"/>
                    </a:cubicBezTo>
                    <a:cubicBezTo>
                      <a:pt x="493" y="466"/>
                      <a:pt x="506" y="448"/>
                      <a:pt x="525" y="443"/>
                    </a:cubicBezTo>
                    <a:cubicBezTo>
                      <a:pt x="640" y="412"/>
                      <a:pt x="759" y="390"/>
                      <a:pt x="878" y="380"/>
                    </a:cubicBezTo>
                    <a:cubicBezTo>
                      <a:pt x="937" y="374"/>
                      <a:pt x="997" y="372"/>
                      <a:pt x="1057" y="372"/>
                    </a:cubicBezTo>
                    <a:cubicBezTo>
                      <a:pt x="1116" y="372"/>
                      <a:pt x="1176" y="374"/>
                      <a:pt x="1235" y="380"/>
                    </a:cubicBezTo>
                    <a:cubicBezTo>
                      <a:pt x="1354" y="390"/>
                      <a:pt x="1473" y="412"/>
                      <a:pt x="1588" y="443"/>
                    </a:cubicBezTo>
                    <a:cubicBezTo>
                      <a:pt x="1588" y="443"/>
                      <a:pt x="1588" y="443"/>
                      <a:pt x="1588" y="443"/>
                    </a:cubicBezTo>
                    <a:cubicBezTo>
                      <a:pt x="1607" y="448"/>
                      <a:pt x="1620" y="466"/>
                      <a:pt x="1620" y="485"/>
                    </a:cubicBezTo>
                    <a:cubicBezTo>
                      <a:pt x="1620" y="596"/>
                      <a:pt x="1620" y="596"/>
                      <a:pt x="1620" y="596"/>
                    </a:cubicBezTo>
                    <a:cubicBezTo>
                      <a:pt x="1620" y="620"/>
                      <a:pt x="1620" y="620"/>
                      <a:pt x="1620" y="620"/>
                    </a:cubicBezTo>
                    <a:cubicBezTo>
                      <a:pt x="1620" y="644"/>
                      <a:pt x="1620" y="644"/>
                      <a:pt x="1620" y="644"/>
                    </a:cubicBezTo>
                    <a:cubicBezTo>
                      <a:pt x="2100" y="442"/>
                      <a:pt x="2100" y="442"/>
                      <a:pt x="2100" y="442"/>
                    </a:cubicBezTo>
                    <a:cubicBezTo>
                      <a:pt x="2108" y="439"/>
                      <a:pt x="2113" y="431"/>
                      <a:pt x="2113" y="422"/>
                    </a:cubicBezTo>
                    <a:cubicBezTo>
                      <a:pt x="2113" y="413"/>
                      <a:pt x="2108" y="405"/>
                      <a:pt x="2099" y="402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65F7427-B320-4F4E-ACCE-11C14CB3E024}"/>
              </a:ext>
            </a:extLst>
          </p:cNvPr>
          <p:cNvGrpSpPr>
            <a:grpSpLocks noChangeAspect="1"/>
          </p:cNvGrpSpPr>
          <p:nvPr/>
        </p:nvGrpSpPr>
        <p:grpSpPr>
          <a:xfrm>
            <a:off x="5728752" y="1929104"/>
            <a:ext cx="575906" cy="576440"/>
            <a:chOff x="5273801" y="2606040"/>
            <a:chExt cx="1644396" cy="1645920"/>
          </a:xfrm>
        </p:grpSpPr>
        <p:sp>
          <p:nvSpPr>
            <p:cNvPr id="43" name="AutoShape 24">
              <a:extLst>
                <a:ext uri="{FF2B5EF4-FFF2-40B4-BE49-F238E27FC236}">
                  <a16:creationId xmlns:a16="http://schemas.microsoft.com/office/drawing/2014/main" id="{B8D735D6-2594-498F-9256-F8BD242C79E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C65DDDCE-1BA5-4A75-B7FA-EF9478DED975}"/>
                </a:ext>
              </a:extLst>
            </p:cNvPr>
            <p:cNvGrpSpPr/>
            <p:nvPr/>
          </p:nvGrpSpPr>
          <p:grpSpPr>
            <a:xfrm>
              <a:off x="5343905" y="2937510"/>
              <a:ext cx="1532763" cy="1001649"/>
              <a:chOff x="5343905" y="2937510"/>
              <a:chExt cx="1532763" cy="1001649"/>
            </a:xfrm>
          </p:grpSpPr>
          <p:sp>
            <p:nvSpPr>
              <p:cNvPr id="45" name="Freeform 26">
                <a:extLst>
                  <a:ext uri="{FF2B5EF4-FFF2-40B4-BE49-F238E27FC236}">
                    <a16:creationId xmlns:a16="http://schemas.microsoft.com/office/drawing/2014/main" id="{AD50E0F8-BDAA-4ED5-847B-315DEB8C78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6681" y="3173349"/>
                <a:ext cx="1304544" cy="300609"/>
              </a:xfrm>
              <a:custGeom>
                <a:avLst/>
                <a:gdLst>
                  <a:gd name="T0" fmla="*/ 100 w 1828"/>
                  <a:gd name="T1" fmla="*/ 22 h 421"/>
                  <a:gd name="T2" fmla="*/ 515 w 1828"/>
                  <a:gd name="T3" fmla="*/ 239 h 421"/>
                  <a:gd name="T4" fmla="*/ 507 w 1828"/>
                  <a:gd name="T5" fmla="*/ 309 h 421"/>
                  <a:gd name="T6" fmla="*/ 31 w 1828"/>
                  <a:gd name="T7" fmla="*/ 100 h 421"/>
                  <a:gd name="T8" fmla="*/ 63 w 1828"/>
                  <a:gd name="T9" fmla="*/ 6 h 421"/>
                  <a:gd name="T10" fmla="*/ 271 w 1828"/>
                  <a:gd name="T11" fmla="*/ 124 h 421"/>
                  <a:gd name="T12" fmla="*/ 123 w 1828"/>
                  <a:gd name="T13" fmla="*/ 0 h 421"/>
                  <a:gd name="T14" fmla="*/ 159 w 1828"/>
                  <a:gd name="T15" fmla="*/ 239 h 421"/>
                  <a:gd name="T16" fmla="*/ 148 w 1828"/>
                  <a:gd name="T17" fmla="*/ 233 h 421"/>
                  <a:gd name="T18" fmla="*/ 73 w 1828"/>
                  <a:gd name="T19" fmla="*/ 421 h 421"/>
                  <a:gd name="T20" fmla="*/ 320 w 1828"/>
                  <a:gd name="T21" fmla="*/ 287 h 421"/>
                  <a:gd name="T22" fmla="*/ 1355 w 1828"/>
                  <a:gd name="T23" fmla="*/ 6 h 421"/>
                  <a:gd name="T24" fmla="*/ 1323 w 1828"/>
                  <a:gd name="T25" fmla="*/ 100 h 421"/>
                  <a:gd name="T26" fmla="*/ 1799 w 1828"/>
                  <a:gd name="T27" fmla="*/ 309 h 421"/>
                  <a:gd name="T28" fmla="*/ 1807 w 1828"/>
                  <a:gd name="T29" fmla="*/ 239 h 421"/>
                  <a:gd name="T30" fmla="*/ 1392 w 1828"/>
                  <a:gd name="T31" fmla="*/ 22 h 421"/>
                  <a:gd name="T32" fmla="*/ 1526 w 1828"/>
                  <a:gd name="T33" fmla="*/ 112 h 421"/>
                  <a:gd name="T34" fmla="*/ 1563 w 1828"/>
                  <a:gd name="T35" fmla="*/ 123 h 421"/>
                  <a:gd name="T36" fmla="*/ 1526 w 1828"/>
                  <a:gd name="T37" fmla="*/ 112 h 421"/>
                  <a:gd name="T38" fmla="*/ 1445 w 1828"/>
                  <a:gd name="T39" fmla="*/ 237 h 421"/>
                  <a:gd name="T40" fmla="*/ 1311 w 1828"/>
                  <a:gd name="T41" fmla="*/ 131 h 421"/>
                  <a:gd name="T42" fmla="*/ 1631 w 1828"/>
                  <a:gd name="T43" fmla="*/ 350 h 421"/>
                  <a:gd name="T44" fmla="*/ 1451 w 1828"/>
                  <a:gd name="T45" fmla="*/ 239 h 421"/>
                  <a:gd name="T46" fmla="*/ 686 w 1828"/>
                  <a:gd name="T47" fmla="*/ 12 h 421"/>
                  <a:gd name="T48" fmla="*/ 814 w 1828"/>
                  <a:gd name="T49" fmla="*/ 208 h 421"/>
                  <a:gd name="T50" fmla="*/ 1173 w 1828"/>
                  <a:gd name="T51" fmla="*/ 277 h 421"/>
                  <a:gd name="T52" fmla="*/ 863 w 1828"/>
                  <a:gd name="T53" fmla="*/ 140 h 421"/>
                  <a:gd name="T54" fmla="*/ 709 w 1828"/>
                  <a:gd name="T55" fmla="*/ 6 h 421"/>
                  <a:gd name="T56" fmla="*/ 917 w 1828"/>
                  <a:gd name="T57" fmla="*/ 124 h 421"/>
                  <a:gd name="T58" fmla="*/ 769 w 1828"/>
                  <a:gd name="T59" fmla="*/ 0 h 421"/>
                  <a:gd name="T60" fmla="*/ 805 w 1828"/>
                  <a:gd name="T61" fmla="*/ 239 h 421"/>
                  <a:gd name="T62" fmla="*/ 794 w 1828"/>
                  <a:gd name="T63" fmla="*/ 233 h 421"/>
                  <a:gd name="T64" fmla="*/ 719 w 1828"/>
                  <a:gd name="T65" fmla="*/ 421 h 421"/>
                  <a:gd name="T66" fmla="*/ 966 w 1828"/>
                  <a:gd name="T67" fmla="*/ 287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28" h="421">
                    <a:moveTo>
                      <a:pt x="63" y="6"/>
                    </a:moveTo>
                    <a:cubicBezTo>
                      <a:pt x="77" y="6"/>
                      <a:pt x="90" y="12"/>
                      <a:pt x="100" y="22"/>
                    </a:cubicBezTo>
                    <a:cubicBezTo>
                      <a:pt x="217" y="140"/>
                      <a:pt x="217" y="140"/>
                      <a:pt x="217" y="140"/>
                    </a:cubicBezTo>
                    <a:cubicBezTo>
                      <a:pt x="515" y="239"/>
                      <a:pt x="515" y="239"/>
                      <a:pt x="515" y="239"/>
                    </a:cubicBezTo>
                    <a:cubicBezTo>
                      <a:pt x="530" y="245"/>
                      <a:pt x="536" y="263"/>
                      <a:pt x="527" y="277"/>
                    </a:cubicBezTo>
                    <a:cubicBezTo>
                      <a:pt x="507" y="309"/>
                      <a:pt x="507" y="309"/>
                      <a:pt x="507" y="309"/>
                    </a:cubicBezTo>
                    <a:cubicBezTo>
                      <a:pt x="168" y="208"/>
                      <a:pt x="168" y="208"/>
                      <a:pt x="168" y="208"/>
                    </a:cubicBezTo>
                    <a:cubicBezTo>
                      <a:pt x="31" y="100"/>
                      <a:pt x="31" y="100"/>
                      <a:pt x="31" y="100"/>
                    </a:cubicBezTo>
                    <a:cubicBezTo>
                      <a:pt x="0" y="76"/>
                      <a:pt x="5" y="29"/>
                      <a:pt x="40" y="12"/>
                    </a:cubicBezTo>
                    <a:cubicBezTo>
                      <a:pt x="47" y="8"/>
                      <a:pt x="55" y="6"/>
                      <a:pt x="63" y="6"/>
                    </a:cubicBezTo>
                    <a:moveTo>
                      <a:pt x="234" y="112"/>
                    </a:moveTo>
                    <a:cubicBezTo>
                      <a:pt x="271" y="124"/>
                      <a:pt x="271" y="124"/>
                      <a:pt x="271" y="124"/>
                    </a:cubicBezTo>
                    <a:cubicBezTo>
                      <a:pt x="271" y="123"/>
                      <a:pt x="271" y="123"/>
                      <a:pt x="271" y="123"/>
                    </a:cubicBezTo>
                    <a:cubicBezTo>
                      <a:pt x="250" y="55"/>
                      <a:pt x="191" y="8"/>
                      <a:pt x="123" y="0"/>
                    </a:cubicBezTo>
                    <a:lnTo>
                      <a:pt x="234" y="112"/>
                    </a:lnTo>
                    <a:close/>
                    <a:moveTo>
                      <a:pt x="159" y="239"/>
                    </a:moveTo>
                    <a:cubicBezTo>
                      <a:pt x="153" y="237"/>
                      <a:pt x="153" y="237"/>
                      <a:pt x="153" y="237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9" y="131"/>
                      <a:pt x="19" y="131"/>
                      <a:pt x="19" y="131"/>
                    </a:cubicBezTo>
                    <a:cubicBezTo>
                      <a:pt x="73" y="421"/>
                      <a:pt x="73" y="421"/>
                      <a:pt x="73" y="421"/>
                    </a:cubicBezTo>
                    <a:cubicBezTo>
                      <a:pt x="190" y="407"/>
                      <a:pt x="297" y="370"/>
                      <a:pt x="339" y="350"/>
                    </a:cubicBezTo>
                    <a:cubicBezTo>
                      <a:pt x="320" y="287"/>
                      <a:pt x="320" y="287"/>
                      <a:pt x="320" y="287"/>
                    </a:cubicBezTo>
                    <a:lnTo>
                      <a:pt x="159" y="239"/>
                    </a:lnTo>
                    <a:close/>
                    <a:moveTo>
                      <a:pt x="1355" y="6"/>
                    </a:moveTo>
                    <a:cubicBezTo>
                      <a:pt x="1347" y="6"/>
                      <a:pt x="1339" y="8"/>
                      <a:pt x="1332" y="12"/>
                    </a:cubicBezTo>
                    <a:cubicBezTo>
                      <a:pt x="1297" y="29"/>
                      <a:pt x="1292" y="76"/>
                      <a:pt x="1323" y="100"/>
                    </a:cubicBezTo>
                    <a:cubicBezTo>
                      <a:pt x="1460" y="208"/>
                      <a:pt x="1460" y="208"/>
                      <a:pt x="1460" y="208"/>
                    </a:cubicBezTo>
                    <a:cubicBezTo>
                      <a:pt x="1799" y="309"/>
                      <a:pt x="1799" y="309"/>
                      <a:pt x="1799" y="309"/>
                    </a:cubicBezTo>
                    <a:cubicBezTo>
                      <a:pt x="1819" y="277"/>
                      <a:pt x="1819" y="277"/>
                      <a:pt x="1819" y="277"/>
                    </a:cubicBezTo>
                    <a:cubicBezTo>
                      <a:pt x="1828" y="263"/>
                      <a:pt x="1822" y="245"/>
                      <a:pt x="1807" y="239"/>
                    </a:cubicBezTo>
                    <a:cubicBezTo>
                      <a:pt x="1509" y="140"/>
                      <a:pt x="1509" y="140"/>
                      <a:pt x="1509" y="140"/>
                    </a:cubicBezTo>
                    <a:cubicBezTo>
                      <a:pt x="1392" y="22"/>
                      <a:pt x="1392" y="22"/>
                      <a:pt x="1392" y="22"/>
                    </a:cubicBezTo>
                    <a:cubicBezTo>
                      <a:pt x="1382" y="12"/>
                      <a:pt x="1369" y="6"/>
                      <a:pt x="1355" y="6"/>
                    </a:cubicBezTo>
                    <a:moveTo>
                      <a:pt x="1526" y="112"/>
                    </a:moveTo>
                    <a:cubicBezTo>
                      <a:pt x="1563" y="124"/>
                      <a:pt x="1563" y="124"/>
                      <a:pt x="1563" y="124"/>
                    </a:cubicBezTo>
                    <a:cubicBezTo>
                      <a:pt x="1563" y="123"/>
                      <a:pt x="1563" y="123"/>
                      <a:pt x="1563" y="123"/>
                    </a:cubicBezTo>
                    <a:cubicBezTo>
                      <a:pt x="1542" y="55"/>
                      <a:pt x="1483" y="8"/>
                      <a:pt x="1415" y="0"/>
                    </a:cubicBezTo>
                    <a:lnTo>
                      <a:pt x="1526" y="112"/>
                    </a:lnTo>
                    <a:close/>
                    <a:moveTo>
                      <a:pt x="1451" y="239"/>
                    </a:moveTo>
                    <a:cubicBezTo>
                      <a:pt x="1445" y="237"/>
                      <a:pt x="1445" y="237"/>
                      <a:pt x="1445" y="237"/>
                    </a:cubicBezTo>
                    <a:cubicBezTo>
                      <a:pt x="1440" y="233"/>
                      <a:pt x="1440" y="233"/>
                      <a:pt x="1440" y="233"/>
                    </a:cubicBezTo>
                    <a:cubicBezTo>
                      <a:pt x="1311" y="131"/>
                      <a:pt x="1311" y="131"/>
                      <a:pt x="1311" y="131"/>
                    </a:cubicBezTo>
                    <a:cubicBezTo>
                      <a:pt x="1365" y="421"/>
                      <a:pt x="1365" y="421"/>
                      <a:pt x="1365" y="421"/>
                    </a:cubicBezTo>
                    <a:cubicBezTo>
                      <a:pt x="1482" y="407"/>
                      <a:pt x="1589" y="370"/>
                      <a:pt x="1631" y="350"/>
                    </a:cubicBezTo>
                    <a:cubicBezTo>
                      <a:pt x="1612" y="287"/>
                      <a:pt x="1612" y="287"/>
                      <a:pt x="1612" y="287"/>
                    </a:cubicBezTo>
                    <a:lnTo>
                      <a:pt x="1451" y="239"/>
                    </a:lnTo>
                    <a:close/>
                    <a:moveTo>
                      <a:pt x="709" y="6"/>
                    </a:moveTo>
                    <a:cubicBezTo>
                      <a:pt x="701" y="6"/>
                      <a:pt x="693" y="8"/>
                      <a:pt x="686" y="12"/>
                    </a:cubicBezTo>
                    <a:cubicBezTo>
                      <a:pt x="651" y="29"/>
                      <a:pt x="646" y="76"/>
                      <a:pt x="677" y="100"/>
                    </a:cubicBezTo>
                    <a:cubicBezTo>
                      <a:pt x="814" y="208"/>
                      <a:pt x="814" y="208"/>
                      <a:pt x="814" y="208"/>
                    </a:cubicBezTo>
                    <a:cubicBezTo>
                      <a:pt x="1153" y="309"/>
                      <a:pt x="1153" y="309"/>
                      <a:pt x="1153" y="309"/>
                    </a:cubicBezTo>
                    <a:cubicBezTo>
                      <a:pt x="1173" y="277"/>
                      <a:pt x="1173" y="277"/>
                      <a:pt x="1173" y="277"/>
                    </a:cubicBezTo>
                    <a:cubicBezTo>
                      <a:pt x="1182" y="263"/>
                      <a:pt x="1176" y="245"/>
                      <a:pt x="1161" y="239"/>
                    </a:cubicBezTo>
                    <a:cubicBezTo>
                      <a:pt x="863" y="140"/>
                      <a:pt x="863" y="140"/>
                      <a:pt x="863" y="140"/>
                    </a:cubicBezTo>
                    <a:cubicBezTo>
                      <a:pt x="746" y="22"/>
                      <a:pt x="746" y="22"/>
                      <a:pt x="746" y="22"/>
                    </a:cubicBezTo>
                    <a:cubicBezTo>
                      <a:pt x="736" y="12"/>
                      <a:pt x="723" y="6"/>
                      <a:pt x="709" y="6"/>
                    </a:cubicBezTo>
                    <a:moveTo>
                      <a:pt x="880" y="112"/>
                    </a:moveTo>
                    <a:cubicBezTo>
                      <a:pt x="917" y="124"/>
                      <a:pt x="917" y="124"/>
                      <a:pt x="917" y="124"/>
                    </a:cubicBezTo>
                    <a:cubicBezTo>
                      <a:pt x="917" y="123"/>
                      <a:pt x="917" y="123"/>
                      <a:pt x="917" y="123"/>
                    </a:cubicBezTo>
                    <a:cubicBezTo>
                      <a:pt x="896" y="55"/>
                      <a:pt x="837" y="8"/>
                      <a:pt x="769" y="0"/>
                    </a:cubicBezTo>
                    <a:lnTo>
                      <a:pt x="880" y="112"/>
                    </a:lnTo>
                    <a:close/>
                    <a:moveTo>
                      <a:pt x="805" y="239"/>
                    </a:moveTo>
                    <a:cubicBezTo>
                      <a:pt x="799" y="237"/>
                      <a:pt x="799" y="237"/>
                      <a:pt x="799" y="237"/>
                    </a:cubicBezTo>
                    <a:cubicBezTo>
                      <a:pt x="794" y="233"/>
                      <a:pt x="794" y="233"/>
                      <a:pt x="794" y="233"/>
                    </a:cubicBezTo>
                    <a:cubicBezTo>
                      <a:pt x="665" y="131"/>
                      <a:pt x="665" y="131"/>
                      <a:pt x="665" y="131"/>
                    </a:cubicBezTo>
                    <a:cubicBezTo>
                      <a:pt x="719" y="421"/>
                      <a:pt x="719" y="421"/>
                      <a:pt x="719" y="421"/>
                    </a:cubicBezTo>
                    <a:cubicBezTo>
                      <a:pt x="836" y="407"/>
                      <a:pt x="943" y="370"/>
                      <a:pt x="985" y="350"/>
                    </a:cubicBezTo>
                    <a:cubicBezTo>
                      <a:pt x="966" y="287"/>
                      <a:pt x="966" y="287"/>
                      <a:pt x="966" y="287"/>
                    </a:cubicBezTo>
                    <a:lnTo>
                      <a:pt x="805" y="239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27">
                <a:extLst>
                  <a:ext uri="{FF2B5EF4-FFF2-40B4-BE49-F238E27FC236}">
                    <a16:creationId xmlns:a16="http://schemas.microsoft.com/office/drawing/2014/main" id="{8EFDF16C-AD8F-4843-98B0-2813FED74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3905" y="2937510"/>
                <a:ext cx="1532763" cy="1001649"/>
              </a:xfrm>
              <a:custGeom>
                <a:avLst/>
                <a:gdLst>
                  <a:gd name="T0" fmla="*/ 744 w 2148"/>
                  <a:gd name="T1" fmla="*/ 1402 h 1402"/>
                  <a:gd name="T2" fmla="*/ 305 w 2148"/>
                  <a:gd name="T3" fmla="*/ 899 h 1402"/>
                  <a:gd name="T4" fmla="*/ 291 w 2148"/>
                  <a:gd name="T5" fmla="*/ 786 h 1402"/>
                  <a:gd name="T6" fmla="*/ 322 w 2148"/>
                  <a:gd name="T7" fmla="*/ 859 h 1402"/>
                  <a:gd name="T8" fmla="*/ 754 w 2148"/>
                  <a:gd name="T9" fmla="*/ 1350 h 1402"/>
                  <a:gd name="T10" fmla="*/ 648 w 2148"/>
                  <a:gd name="T11" fmla="*/ 944 h 1402"/>
                  <a:gd name="T12" fmla="*/ 683 w 2148"/>
                  <a:gd name="T13" fmla="*/ 917 h 1402"/>
                  <a:gd name="T14" fmla="*/ 805 w 2148"/>
                  <a:gd name="T15" fmla="*/ 1356 h 1402"/>
                  <a:gd name="T16" fmla="*/ 372 w 2148"/>
                  <a:gd name="T17" fmla="*/ 117 h 1402"/>
                  <a:gd name="T18" fmla="*/ 343 w 2148"/>
                  <a:gd name="T19" fmla="*/ 243 h 1402"/>
                  <a:gd name="T20" fmla="*/ 279 w 2148"/>
                  <a:gd name="T21" fmla="*/ 274 h 1402"/>
                  <a:gd name="T22" fmla="*/ 342 w 2148"/>
                  <a:gd name="T23" fmla="*/ 248 h 1402"/>
                  <a:gd name="T24" fmla="*/ 269 w 2148"/>
                  <a:gd name="T25" fmla="*/ 4 h 1402"/>
                  <a:gd name="T26" fmla="*/ 185 w 2148"/>
                  <a:gd name="T27" fmla="*/ 242 h 1402"/>
                  <a:gd name="T28" fmla="*/ 195 w 2148"/>
                  <a:gd name="T29" fmla="*/ 112 h 1402"/>
                  <a:gd name="T30" fmla="*/ 254 w 2148"/>
                  <a:gd name="T31" fmla="*/ 150 h 1402"/>
                  <a:gd name="T32" fmla="*/ 375 w 2148"/>
                  <a:gd name="T33" fmla="*/ 73 h 1402"/>
                  <a:gd name="T34" fmla="*/ 1980 w 2148"/>
                  <a:gd name="T35" fmla="*/ 925 h 1402"/>
                  <a:gd name="T36" fmla="*/ 1745 w 2148"/>
                  <a:gd name="T37" fmla="*/ 745 h 1402"/>
                  <a:gd name="T38" fmla="*/ 2057 w 2148"/>
                  <a:gd name="T39" fmla="*/ 1336 h 1402"/>
                  <a:gd name="T40" fmla="*/ 1863 w 2148"/>
                  <a:gd name="T41" fmla="*/ 993 h 1402"/>
                  <a:gd name="T42" fmla="*/ 1585 w 2148"/>
                  <a:gd name="T43" fmla="*/ 798 h 1402"/>
                  <a:gd name="T44" fmla="*/ 1542 w 2148"/>
                  <a:gd name="T45" fmla="*/ 804 h 1402"/>
                  <a:gd name="T46" fmla="*/ 2017 w 2148"/>
                  <a:gd name="T47" fmla="*/ 1390 h 1402"/>
                  <a:gd name="T48" fmla="*/ 2097 w 2148"/>
                  <a:gd name="T49" fmla="*/ 1356 h 1402"/>
                  <a:gd name="T50" fmla="*/ 1664 w 2148"/>
                  <a:gd name="T51" fmla="*/ 258 h 1402"/>
                  <a:gd name="T52" fmla="*/ 1636 w 2148"/>
                  <a:gd name="T53" fmla="*/ 133 h 1402"/>
                  <a:gd name="T54" fmla="*/ 1557 w 2148"/>
                  <a:gd name="T55" fmla="*/ 256 h 1402"/>
                  <a:gd name="T56" fmla="*/ 1652 w 2148"/>
                  <a:gd name="T57" fmla="*/ 273 h 1402"/>
                  <a:gd name="T58" fmla="*/ 1688 w 2148"/>
                  <a:gd name="T59" fmla="*/ 33 h 1402"/>
                  <a:gd name="T60" fmla="*/ 1475 w 2148"/>
                  <a:gd name="T61" fmla="*/ 243 h 1402"/>
                  <a:gd name="T62" fmla="*/ 1481 w 2148"/>
                  <a:gd name="T63" fmla="*/ 187 h 1402"/>
                  <a:gd name="T64" fmla="*/ 1525 w 2148"/>
                  <a:gd name="T65" fmla="*/ 150 h 1402"/>
                  <a:gd name="T66" fmla="*/ 1666 w 2148"/>
                  <a:gd name="T67" fmla="*/ 74 h 1402"/>
                  <a:gd name="T68" fmla="*/ 1456 w 2148"/>
                  <a:gd name="T69" fmla="*/ 1286 h 1402"/>
                  <a:gd name="T70" fmla="*/ 1144 w 2148"/>
                  <a:gd name="T71" fmla="*/ 728 h 1402"/>
                  <a:gd name="T72" fmla="*/ 1414 w 2148"/>
                  <a:gd name="T73" fmla="*/ 1300 h 1402"/>
                  <a:gd name="T74" fmla="*/ 1226 w 2148"/>
                  <a:gd name="T75" fmla="*/ 1002 h 1402"/>
                  <a:gd name="T76" fmla="*/ 940 w 2148"/>
                  <a:gd name="T77" fmla="*/ 802 h 1402"/>
                  <a:gd name="T78" fmla="*/ 894 w 2148"/>
                  <a:gd name="T79" fmla="*/ 793 h 1402"/>
                  <a:gd name="T80" fmla="*/ 1190 w 2148"/>
                  <a:gd name="T81" fmla="*/ 1028 h 1402"/>
                  <a:gd name="T82" fmla="*/ 1397 w 2148"/>
                  <a:gd name="T83" fmla="*/ 1401 h 1402"/>
                  <a:gd name="T84" fmla="*/ 1006 w 2148"/>
                  <a:gd name="T85" fmla="*/ 273 h 1402"/>
                  <a:gd name="T86" fmla="*/ 996 w 2148"/>
                  <a:gd name="T87" fmla="*/ 111 h 1402"/>
                  <a:gd name="T88" fmla="*/ 929 w 2148"/>
                  <a:gd name="T89" fmla="*/ 242 h 1402"/>
                  <a:gd name="T90" fmla="*/ 969 w 2148"/>
                  <a:gd name="T91" fmla="*/ 276 h 1402"/>
                  <a:gd name="T92" fmla="*/ 988 w 2148"/>
                  <a:gd name="T93" fmla="*/ 248 h 1402"/>
                  <a:gd name="T94" fmla="*/ 787 w 2148"/>
                  <a:gd name="T95" fmla="*/ 74 h 1402"/>
                  <a:gd name="T96" fmla="*/ 835 w 2148"/>
                  <a:gd name="T97" fmla="*/ 187 h 1402"/>
                  <a:gd name="T98" fmla="*/ 878 w 2148"/>
                  <a:gd name="T99" fmla="*/ 149 h 1402"/>
                  <a:gd name="T100" fmla="*/ 933 w 2148"/>
                  <a:gd name="T101" fmla="*/ 87 h 1402"/>
                  <a:gd name="T102" fmla="*/ 1042 w 2148"/>
                  <a:gd name="T103" fmla="*/ 33 h 1402"/>
                  <a:gd name="T104" fmla="*/ 0 w 2148"/>
                  <a:gd name="T105" fmla="*/ 1061 h 1402"/>
                  <a:gd name="T106" fmla="*/ 44 w 2148"/>
                  <a:gd name="T107" fmla="*/ 768 h 1402"/>
                  <a:gd name="T108" fmla="*/ 713 w 2148"/>
                  <a:gd name="T109" fmla="*/ 623 h 1402"/>
                  <a:gd name="T110" fmla="*/ 719 w 2148"/>
                  <a:gd name="T111" fmla="*/ 579 h 1402"/>
                  <a:gd name="T112" fmla="*/ 1454 w 2148"/>
                  <a:gd name="T113" fmla="*/ 623 h 1402"/>
                  <a:gd name="T114" fmla="*/ 1359 w 2148"/>
                  <a:gd name="T115" fmla="*/ 623 h 1402"/>
                  <a:gd name="T116" fmla="*/ 2005 w 2148"/>
                  <a:gd name="T117" fmla="*/ 623 h 1402"/>
                  <a:gd name="T118" fmla="*/ 2126 w 2148"/>
                  <a:gd name="T119" fmla="*/ 579 h 1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148" h="1402">
                    <a:moveTo>
                      <a:pt x="805" y="1356"/>
                    </a:moveTo>
                    <a:cubicBezTo>
                      <a:pt x="793" y="1378"/>
                      <a:pt x="774" y="1394"/>
                      <a:pt x="751" y="1401"/>
                    </a:cubicBezTo>
                    <a:cubicBezTo>
                      <a:pt x="749" y="1402"/>
                      <a:pt x="746" y="1402"/>
                      <a:pt x="744" y="1402"/>
                    </a:cubicBezTo>
                    <a:cubicBezTo>
                      <a:pt x="736" y="1402"/>
                      <a:pt x="728" y="1397"/>
                      <a:pt x="725" y="1390"/>
                    </a:cubicBezTo>
                    <a:cubicBezTo>
                      <a:pt x="544" y="1028"/>
                      <a:pt x="544" y="1028"/>
                      <a:pt x="544" y="1028"/>
                    </a:cubicBezTo>
                    <a:cubicBezTo>
                      <a:pt x="510" y="1009"/>
                      <a:pt x="343" y="916"/>
                      <a:pt x="305" y="899"/>
                    </a:cubicBezTo>
                    <a:cubicBezTo>
                      <a:pt x="254" y="877"/>
                      <a:pt x="250" y="817"/>
                      <a:pt x="250" y="804"/>
                    </a:cubicBezTo>
                    <a:cubicBezTo>
                      <a:pt x="248" y="793"/>
                      <a:pt x="248" y="793"/>
                      <a:pt x="248" y="793"/>
                    </a:cubicBezTo>
                    <a:cubicBezTo>
                      <a:pt x="262" y="791"/>
                      <a:pt x="277" y="789"/>
                      <a:pt x="291" y="786"/>
                    </a:cubicBezTo>
                    <a:cubicBezTo>
                      <a:pt x="293" y="798"/>
                      <a:pt x="293" y="798"/>
                      <a:pt x="293" y="798"/>
                    </a:cubicBezTo>
                    <a:cubicBezTo>
                      <a:pt x="293" y="799"/>
                      <a:pt x="294" y="801"/>
                      <a:pt x="294" y="802"/>
                    </a:cubicBezTo>
                    <a:cubicBezTo>
                      <a:pt x="294" y="803"/>
                      <a:pt x="293" y="846"/>
                      <a:pt x="322" y="859"/>
                    </a:cubicBezTo>
                    <a:cubicBezTo>
                      <a:pt x="367" y="878"/>
                      <a:pt x="563" y="988"/>
                      <a:pt x="571" y="993"/>
                    </a:cubicBezTo>
                    <a:cubicBezTo>
                      <a:pt x="575" y="995"/>
                      <a:pt x="578" y="998"/>
                      <a:pt x="580" y="1002"/>
                    </a:cubicBezTo>
                    <a:cubicBezTo>
                      <a:pt x="754" y="1350"/>
                      <a:pt x="754" y="1350"/>
                      <a:pt x="754" y="1350"/>
                    </a:cubicBezTo>
                    <a:cubicBezTo>
                      <a:pt x="759" y="1346"/>
                      <a:pt x="763" y="1342"/>
                      <a:pt x="765" y="1336"/>
                    </a:cubicBezTo>
                    <a:cubicBezTo>
                      <a:pt x="771" y="1325"/>
                      <a:pt x="772" y="1312"/>
                      <a:pt x="768" y="1300"/>
                    </a:cubicBezTo>
                    <a:cubicBezTo>
                      <a:pt x="648" y="944"/>
                      <a:pt x="648" y="944"/>
                      <a:pt x="648" y="944"/>
                    </a:cubicBezTo>
                    <a:cubicBezTo>
                      <a:pt x="453" y="745"/>
                      <a:pt x="453" y="745"/>
                      <a:pt x="453" y="745"/>
                    </a:cubicBezTo>
                    <a:cubicBezTo>
                      <a:pt x="470" y="739"/>
                      <a:pt x="485" y="733"/>
                      <a:pt x="498" y="728"/>
                    </a:cubicBezTo>
                    <a:cubicBezTo>
                      <a:pt x="683" y="917"/>
                      <a:pt x="683" y="917"/>
                      <a:pt x="683" y="917"/>
                    </a:cubicBezTo>
                    <a:cubicBezTo>
                      <a:pt x="685" y="919"/>
                      <a:pt x="687" y="922"/>
                      <a:pt x="688" y="925"/>
                    </a:cubicBezTo>
                    <a:cubicBezTo>
                      <a:pt x="810" y="1286"/>
                      <a:pt x="810" y="1286"/>
                      <a:pt x="810" y="1286"/>
                    </a:cubicBezTo>
                    <a:cubicBezTo>
                      <a:pt x="818" y="1310"/>
                      <a:pt x="816" y="1334"/>
                      <a:pt x="805" y="1356"/>
                    </a:cubicBezTo>
                    <a:close/>
                    <a:moveTo>
                      <a:pt x="360" y="273"/>
                    </a:moveTo>
                    <a:cubicBezTo>
                      <a:pt x="368" y="270"/>
                      <a:pt x="371" y="262"/>
                      <a:pt x="372" y="258"/>
                    </a:cubicBezTo>
                    <a:cubicBezTo>
                      <a:pt x="381" y="235"/>
                      <a:pt x="396" y="160"/>
                      <a:pt x="372" y="117"/>
                    </a:cubicBezTo>
                    <a:cubicBezTo>
                      <a:pt x="368" y="110"/>
                      <a:pt x="358" y="107"/>
                      <a:pt x="350" y="111"/>
                    </a:cubicBezTo>
                    <a:cubicBezTo>
                      <a:pt x="343" y="115"/>
                      <a:pt x="340" y="125"/>
                      <a:pt x="344" y="133"/>
                    </a:cubicBezTo>
                    <a:cubicBezTo>
                      <a:pt x="361" y="163"/>
                      <a:pt x="350" y="224"/>
                      <a:pt x="343" y="243"/>
                    </a:cubicBezTo>
                    <a:cubicBezTo>
                      <a:pt x="334" y="244"/>
                      <a:pt x="313" y="245"/>
                      <a:pt x="283" y="242"/>
                    </a:cubicBezTo>
                    <a:cubicBezTo>
                      <a:pt x="274" y="241"/>
                      <a:pt x="266" y="247"/>
                      <a:pt x="265" y="256"/>
                    </a:cubicBezTo>
                    <a:cubicBezTo>
                      <a:pt x="264" y="265"/>
                      <a:pt x="271" y="273"/>
                      <a:pt x="279" y="274"/>
                    </a:cubicBezTo>
                    <a:cubicBezTo>
                      <a:pt x="296" y="276"/>
                      <a:pt x="310" y="276"/>
                      <a:pt x="323" y="276"/>
                    </a:cubicBezTo>
                    <a:cubicBezTo>
                      <a:pt x="341" y="276"/>
                      <a:pt x="354" y="275"/>
                      <a:pt x="360" y="273"/>
                    </a:cubicBezTo>
                    <a:close/>
                    <a:moveTo>
                      <a:pt x="342" y="248"/>
                    </a:moveTo>
                    <a:cubicBezTo>
                      <a:pt x="342" y="248"/>
                      <a:pt x="342" y="248"/>
                      <a:pt x="342" y="248"/>
                    </a:cubicBezTo>
                    <a:close/>
                    <a:moveTo>
                      <a:pt x="396" y="33"/>
                    </a:moveTo>
                    <a:cubicBezTo>
                      <a:pt x="322" y="29"/>
                      <a:pt x="350" y="10"/>
                      <a:pt x="269" y="4"/>
                    </a:cubicBezTo>
                    <a:cubicBezTo>
                      <a:pt x="199" y="0"/>
                      <a:pt x="161" y="39"/>
                      <a:pt x="141" y="74"/>
                    </a:cubicBezTo>
                    <a:cubicBezTo>
                      <a:pt x="100" y="148"/>
                      <a:pt x="171" y="230"/>
                      <a:pt x="183" y="243"/>
                    </a:cubicBezTo>
                    <a:cubicBezTo>
                      <a:pt x="184" y="244"/>
                      <a:pt x="185" y="244"/>
                      <a:pt x="185" y="242"/>
                    </a:cubicBezTo>
                    <a:cubicBezTo>
                      <a:pt x="185" y="242"/>
                      <a:pt x="185" y="242"/>
                      <a:pt x="189" y="187"/>
                    </a:cubicBezTo>
                    <a:cubicBezTo>
                      <a:pt x="189" y="187"/>
                      <a:pt x="189" y="187"/>
                      <a:pt x="189" y="187"/>
                    </a:cubicBezTo>
                    <a:cubicBezTo>
                      <a:pt x="188" y="182"/>
                      <a:pt x="164" y="125"/>
                      <a:pt x="195" y="112"/>
                    </a:cubicBezTo>
                    <a:cubicBezTo>
                      <a:pt x="227" y="97"/>
                      <a:pt x="232" y="142"/>
                      <a:pt x="232" y="149"/>
                    </a:cubicBezTo>
                    <a:cubicBezTo>
                      <a:pt x="232" y="150"/>
                      <a:pt x="233" y="150"/>
                      <a:pt x="233" y="150"/>
                    </a:cubicBezTo>
                    <a:cubicBezTo>
                      <a:pt x="237" y="151"/>
                      <a:pt x="253" y="154"/>
                      <a:pt x="254" y="150"/>
                    </a:cubicBezTo>
                    <a:cubicBezTo>
                      <a:pt x="256" y="116"/>
                      <a:pt x="270" y="98"/>
                      <a:pt x="287" y="87"/>
                    </a:cubicBezTo>
                    <a:cubicBezTo>
                      <a:pt x="320" y="67"/>
                      <a:pt x="366" y="76"/>
                      <a:pt x="374" y="74"/>
                    </a:cubicBezTo>
                    <a:cubicBezTo>
                      <a:pt x="374" y="73"/>
                      <a:pt x="375" y="73"/>
                      <a:pt x="375" y="73"/>
                    </a:cubicBezTo>
                    <a:cubicBezTo>
                      <a:pt x="380" y="57"/>
                      <a:pt x="404" y="33"/>
                      <a:pt x="396" y="33"/>
                    </a:cubicBezTo>
                    <a:close/>
                    <a:moveTo>
                      <a:pt x="2102" y="1286"/>
                    </a:moveTo>
                    <a:cubicBezTo>
                      <a:pt x="1980" y="925"/>
                      <a:pt x="1980" y="925"/>
                      <a:pt x="1980" y="925"/>
                    </a:cubicBezTo>
                    <a:cubicBezTo>
                      <a:pt x="1979" y="922"/>
                      <a:pt x="1977" y="919"/>
                      <a:pt x="1975" y="917"/>
                    </a:cubicBezTo>
                    <a:cubicBezTo>
                      <a:pt x="1790" y="728"/>
                      <a:pt x="1790" y="728"/>
                      <a:pt x="1790" y="728"/>
                    </a:cubicBezTo>
                    <a:cubicBezTo>
                      <a:pt x="1777" y="733"/>
                      <a:pt x="1762" y="739"/>
                      <a:pt x="1745" y="745"/>
                    </a:cubicBezTo>
                    <a:cubicBezTo>
                      <a:pt x="1940" y="944"/>
                      <a:pt x="1940" y="944"/>
                      <a:pt x="1940" y="944"/>
                    </a:cubicBezTo>
                    <a:cubicBezTo>
                      <a:pt x="2060" y="1300"/>
                      <a:pt x="2060" y="1300"/>
                      <a:pt x="2060" y="1300"/>
                    </a:cubicBezTo>
                    <a:cubicBezTo>
                      <a:pt x="2064" y="1312"/>
                      <a:pt x="2063" y="1325"/>
                      <a:pt x="2057" y="1336"/>
                    </a:cubicBezTo>
                    <a:cubicBezTo>
                      <a:pt x="2055" y="1342"/>
                      <a:pt x="2051" y="1346"/>
                      <a:pt x="2046" y="1350"/>
                    </a:cubicBezTo>
                    <a:cubicBezTo>
                      <a:pt x="1872" y="1002"/>
                      <a:pt x="1872" y="1002"/>
                      <a:pt x="1872" y="1002"/>
                    </a:cubicBezTo>
                    <a:cubicBezTo>
                      <a:pt x="1870" y="998"/>
                      <a:pt x="1867" y="995"/>
                      <a:pt x="1863" y="993"/>
                    </a:cubicBezTo>
                    <a:cubicBezTo>
                      <a:pt x="1855" y="988"/>
                      <a:pt x="1659" y="878"/>
                      <a:pt x="1615" y="859"/>
                    </a:cubicBezTo>
                    <a:cubicBezTo>
                      <a:pt x="1585" y="846"/>
                      <a:pt x="1586" y="803"/>
                      <a:pt x="1586" y="802"/>
                    </a:cubicBezTo>
                    <a:cubicBezTo>
                      <a:pt x="1586" y="801"/>
                      <a:pt x="1585" y="799"/>
                      <a:pt x="1585" y="798"/>
                    </a:cubicBezTo>
                    <a:cubicBezTo>
                      <a:pt x="1583" y="786"/>
                      <a:pt x="1583" y="786"/>
                      <a:pt x="1583" y="786"/>
                    </a:cubicBezTo>
                    <a:cubicBezTo>
                      <a:pt x="1569" y="789"/>
                      <a:pt x="1554" y="791"/>
                      <a:pt x="1540" y="793"/>
                    </a:cubicBezTo>
                    <a:cubicBezTo>
                      <a:pt x="1542" y="804"/>
                      <a:pt x="1542" y="804"/>
                      <a:pt x="1542" y="804"/>
                    </a:cubicBezTo>
                    <a:cubicBezTo>
                      <a:pt x="1542" y="817"/>
                      <a:pt x="1546" y="877"/>
                      <a:pt x="1597" y="899"/>
                    </a:cubicBezTo>
                    <a:cubicBezTo>
                      <a:pt x="1635" y="916"/>
                      <a:pt x="1802" y="1009"/>
                      <a:pt x="1836" y="1028"/>
                    </a:cubicBezTo>
                    <a:cubicBezTo>
                      <a:pt x="2017" y="1390"/>
                      <a:pt x="2017" y="1390"/>
                      <a:pt x="2017" y="1390"/>
                    </a:cubicBezTo>
                    <a:cubicBezTo>
                      <a:pt x="2020" y="1397"/>
                      <a:pt x="2028" y="1402"/>
                      <a:pt x="2036" y="1402"/>
                    </a:cubicBezTo>
                    <a:cubicBezTo>
                      <a:pt x="2038" y="1402"/>
                      <a:pt x="2041" y="1402"/>
                      <a:pt x="2043" y="1401"/>
                    </a:cubicBezTo>
                    <a:cubicBezTo>
                      <a:pt x="2066" y="1394"/>
                      <a:pt x="2085" y="1378"/>
                      <a:pt x="2097" y="1356"/>
                    </a:cubicBezTo>
                    <a:cubicBezTo>
                      <a:pt x="2108" y="1334"/>
                      <a:pt x="2110" y="1310"/>
                      <a:pt x="2102" y="1286"/>
                    </a:cubicBezTo>
                    <a:close/>
                    <a:moveTo>
                      <a:pt x="1652" y="273"/>
                    </a:moveTo>
                    <a:cubicBezTo>
                      <a:pt x="1660" y="270"/>
                      <a:pt x="1663" y="262"/>
                      <a:pt x="1664" y="258"/>
                    </a:cubicBezTo>
                    <a:cubicBezTo>
                      <a:pt x="1673" y="235"/>
                      <a:pt x="1688" y="160"/>
                      <a:pt x="1664" y="117"/>
                    </a:cubicBezTo>
                    <a:cubicBezTo>
                      <a:pt x="1660" y="110"/>
                      <a:pt x="1650" y="107"/>
                      <a:pt x="1642" y="111"/>
                    </a:cubicBezTo>
                    <a:cubicBezTo>
                      <a:pt x="1635" y="115"/>
                      <a:pt x="1632" y="125"/>
                      <a:pt x="1636" y="133"/>
                    </a:cubicBezTo>
                    <a:cubicBezTo>
                      <a:pt x="1653" y="163"/>
                      <a:pt x="1642" y="224"/>
                      <a:pt x="1635" y="243"/>
                    </a:cubicBezTo>
                    <a:cubicBezTo>
                      <a:pt x="1626" y="244"/>
                      <a:pt x="1605" y="245"/>
                      <a:pt x="1575" y="242"/>
                    </a:cubicBezTo>
                    <a:cubicBezTo>
                      <a:pt x="1566" y="241"/>
                      <a:pt x="1558" y="247"/>
                      <a:pt x="1557" y="256"/>
                    </a:cubicBezTo>
                    <a:cubicBezTo>
                      <a:pt x="1556" y="265"/>
                      <a:pt x="1563" y="273"/>
                      <a:pt x="1571" y="274"/>
                    </a:cubicBezTo>
                    <a:cubicBezTo>
                      <a:pt x="1588" y="276"/>
                      <a:pt x="1602" y="276"/>
                      <a:pt x="1615" y="276"/>
                    </a:cubicBezTo>
                    <a:cubicBezTo>
                      <a:pt x="1633" y="276"/>
                      <a:pt x="1646" y="275"/>
                      <a:pt x="1652" y="273"/>
                    </a:cubicBezTo>
                    <a:close/>
                    <a:moveTo>
                      <a:pt x="1634" y="248"/>
                    </a:moveTo>
                    <a:cubicBezTo>
                      <a:pt x="1634" y="248"/>
                      <a:pt x="1634" y="248"/>
                      <a:pt x="1634" y="248"/>
                    </a:cubicBezTo>
                    <a:close/>
                    <a:moveTo>
                      <a:pt x="1688" y="33"/>
                    </a:moveTo>
                    <a:cubicBezTo>
                      <a:pt x="1614" y="29"/>
                      <a:pt x="1642" y="10"/>
                      <a:pt x="1561" y="4"/>
                    </a:cubicBezTo>
                    <a:cubicBezTo>
                      <a:pt x="1491" y="0"/>
                      <a:pt x="1453" y="39"/>
                      <a:pt x="1433" y="74"/>
                    </a:cubicBezTo>
                    <a:cubicBezTo>
                      <a:pt x="1392" y="148"/>
                      <a:pt x="1463" y="230"/>
                      <a:pt x="1475" y="243"/>
                    </a:cubicBezTo>
                    <a:cubicBezTo>
                      <a:pt x="1476" y="244"/>
                      <a:pt x="1477" y="244"/>
                      <a:pt x="1477" y="242"/>
                    </a:cubicBezTo>
                    <a:cubicBezTo>
                      <a:pt x="1477" y="242"/>
                      <a:pt x="1477" y="242"/>
                      <a:pt x="1481" y="187"/>
                    </a:cubicBezTo>
                    <a:cubicBezTo>
                      <a:pt x="1481" y="187"/>
                      <a:pt x="1481" y="187"/>
                      <a:pt x="1481" y="187"/>
                    </a:cubicBezTo>
                    <a:cubicBezTo>
                      <a:pt x="1480" y="182"/>
                      <a:pt x="1456" y="125"/>
                      <a:pt x="1487" y="112"/>
                    </a:cubicBezTo>
                    <a:cubicBezTo>
                      <a:pt x="1519" y="97"/>
                      <a:pt x="1524" y="142"/>
                      <a:pt x="1524" y="149"/>
                    </a:cubicBezTo>
                    <a:cubicBezTo>
                      <a:pt x="1524" y="150"/>
                      <a:pt x="1525" y="150"/>
                      <a:pt x="1525" y="150"/>
                    </a:cubicBezTo>
                    <a:cubicBezTo>
                      <a:pt x="1529" y="151"/>
                      <a:pt x="1545" y="154"/>
                      <a:pt x="1546" y="150"/>
                    </a:cubicBezTo>
                    <a:cubicBezTo>
                      <a:pt x="1548" y="116"/>
                      <a:pt x="1562" y="98"/>
                      <a:pt x="1579" y="87"/>
                    </a:cubicBezTo>
                    <a:cubicBezTo>
                      <a:pt x="1612" y="67"/>
                      <a:pt x="1658" y="76"/>
                      <a:pt x="1666" y="74"/>
                    </a:cubicBezTo>
                    <a:cubicBezTo>
                      <a:pt x="1666" y="73"/>
                      <a:pt x="1667" y="73"/>
                      <a:pt x="1667" y="73"/>
                    </a:cubicBezTo>
                    <a:cubicBezTo>
                      <a:pt x="1672" y="57"/>
                      <a:pt x="1696" y="33"/>
                      <a:pt x="1688" y="33"/>
                    </a:cubicBezTo>
                    <a:close/>
                    <a:moveTo>
                      <a:pt x="1456" y="1286"/>
                    </a:moveTo>
                    <a:cubicBezTo>
                      <a:pt x="1334" y="925"/>
                      <a:pt x="1334" y="925"/>
                      <a:pt x="1334" y="925"/>
                    </a:cubicBezTo>
                    <a:cubicBezTo>
                      <a:pt x="1333" y="922"/>
                      <a:pt x="1331" y="919"/>
                      <a:pt x="1329" y="917"/>
                    </a:cubicBezTo>
                    <a:cubicBezTo>
                      <a:pt x="1144" y="728"/>
                      <a:pt x="1144" y="728"/>
                      <a:pt x="1144" y="728"/>
                    </a:cubicBezTo>
                    <a:cubicBezTo>
                      <a:pt x="1131" y="733"/>
                      <a:pt x="1116" y="739"/>
                      <a:pt x="1099" y="745"/>
                    </a:cubicBezTo>
                    <a:cubicBezTo>
                      <a:pt x="1294" y="944"/>
                      <a:pt x="1294" y="944"/>
                      <a:pt x="1294" y="944"/>
                    </a:cubicBezTo>
                    <a:cubicBezTo>
                      <a:pt x="1414" y="1300"/>
                      <a:pt x="1414" y="1300"/>
                      <a:pt x="1414" y="1300"/>
                    </a:cubicBezTo>
                    <a:cubicBezTo>
                      <a:pt x="1418" y="1312"/>
                      <a:pt x="1417" y="1325"/>
                      <a:pt x="1411" y="1336"/>
                    </a:cubicBezTo>
                    <a:cubicBezTo>
                      <a:pt x="1409" y="1342"/>
                      <a:pt x="1405" y="1346"/>
                      <a:pt x="1400" y="1350"/>
                    </a:cubicBezTo>
                    <a:cubicBezTo>
                      <a:pt x="1226" y="1002"/>
                      <a:pt x="1226" y="1002"/>
                      <a:pt x="1226" y="1002"/>
                    </a:cubicBezTo>
                    <a:cubicBezTo>
                      <a:pt x="1224" y="998"/>
                      <a:pt x="1221" y="995"/>
                      <a:pt x="1217" y="993"/>
                    </a:cubicBezTo>
                    <a:cubicBezTo>
                      <a:pt x="1209" y="988"/>
                      <a:pt x="1013" y="878"/>
                      <a:pt x="969" y="859"/>
                    </a:cubicBezTo>
                    <a:cubicBezTo>
                      <a:pt x="939" y="846"/>
                      <a:pt x="940" y="803"/>
                      <a:pt x="940" y="802"/>
                    </a:cubicBezTo>
                    <a:cubicBezTo>
                      <a:pt x="940" y="801"/>
                      <a:pt x="939" y="799"/>
                      <a:pt x="939" y="798"/>
                    </a:cubicBezTo>
                    <a:cubicBezTo>
                      <a:pt x="937" y="786"/>
                      <a:pt x="937" y="786"/>
                      <a:pt x="937" y="786"/>
                    </a:cubicBezTo>
                    <a:cubicBezTo>
                      <a:pt x="923" y="789"/>
                      <a:pt x="908" y="791"/>
                      <a:pt x="894" y="793"/>
                    </a:cubicBezTo>
                    <a:cubicBezTo>
                      <a:pt x="896" y="804"/>
                      <a:pt x="896" y="804"/>
                      <a:pt x="896" y="804"/>
                    </a:cubicBezTo>
                    <a:cubicBezTo>
                      <a:pt x="896" y="817"/>
                      <a:pt x="900" y="877"/>
                      <a:pt x="951" y="899"/>
                    </a:cubicBezTo>
                    <a:cubicBezTo>
                      <a:pt x="989" y="916"/>
                      <a:pt x="1156" y="1009"/>
                      <a:pt x="1190" y="1028"/>
                    </a:cubicBezTo>
                    <a:cubicBezTo>
                      <a:pt x="1371" y="1390"/>
                      <a:pt x="1371" y="1390"/>
                      <a:pt x="1371" y="1390"/>
                    </a:cubicBezTo>
                    <a:cubicBezTo>
                      <a:pt x="1374" y="1397"/>
                      <a:pt x="1382" y="1402"/>
                      <a:pt x="1390" y="1402"/>
                    </a:cubicBezTo>
                    <a:cubicBezTo>
                      <a:pt x="1392" y="1402"/>
                      <a:pt x="1395" y="1402"/>
                      <a:pt x="1397" y="1401"/>
                    </a:cubicBezTo>
                    <a:cubicBezTo>
                      <a:pt x="1420" y="1394"/>
                      <a:pt x="1439" y="1378"/>
                      <a:pt x="1451" y="1356"/>
                    </a:cubicBezTo>
                    <a:cubicBezTo>
                      <a:pt x="1462" y="1334"/>
                      <a:pt x="1464" y="1310"/>
                      <a:pt x="1456" y="1286"/>
                    </a:cubicBezTo>
                    <a:close/>
                    <a:moveTo>
                      <a:pt x="1006" y="273"/>
                    </a:moveTo>
                    <a:cubicBezTo>
                      <a:pt x="1014" y="270"/>
                      <a:pt x="1017" y="262"/>
                      <a:pt x="1018" y="258"/>
                    </a:cubicBezTo>
                    <a:cubicBezTo>
                      <a:pt x="1027" y="235"/>
                      <a:pt x="1042" y="160"/>
                      <a:pt x="1018" y="117"/>
                    </a:cubicBezTo>
                    <a:cubicBezTo>
                      <a:pt x="1014" y="110"/>
                      <a:pt x="1004" y="107"/>
                      <a:pt x="996" y="111"/>
                    </a:cubicBezTo>
                    <a:cubicBezTo>
                      <a:pt x="989" y="115"/>
                      <a:pt x="986" y="125"/>
                      <a:pt x="990" y="133"/>
                    </a:cubicBezTo>
                    <a:cubicBezTo>
                      <a:pt x="1007" y="163"/>
                      <a:pt x="996" y="224"/>
                      <a:pt x="989" y="243"/>
                    </a:cubicBezTo>
                    <a:cubicBezTo>
                      <a:pt x="980" y="244"/>
                      <a:pt x="959" y="245"/>
                      <a:pt x="929" y="242"/>
                    </a:cubicBezTo>
                    <a:cubicBezTo>
                      <a:pt x="920" y="241"/>
                      <a:pt x="912" y="247"/>
                      <a:pt x="911" y="256"/>
                    </a:cubicBezTo>
                    <a:cubicBezTo>
                      <a:pt x="910" y="265"/>
                      <a:pt x="917" y="273"/>
                      <a:pt x="925" y="274"/>
                    </a:cubicBezTo>
                    <a:cubicBezTo>
                      <a:pt x="942" y="276"/>
                      <a:pt x="956" y="276"/>
                      <a:pt x="969" y="276"/>
                    </a:cubicBezTo>
                    <a:cubicBezTo>
                      <a:pt x="987" y="276"/>
                      <a:pt x="1000" y="275"/>
                      <a:pt x="1006" y="273"/>
                    </a:cubicBezTo>
                    <a:close/>
                    <a:moveTo>
                      <a:pt x="988" y="248"/>
                    </a:moveTo>
                    <a:cubicBezTo>
                      <a:pt x="988" y="248"/>
                      <a:pt x="988" y="248"/>
                      <a:pt x="988" y="248"/>
                    </a:cubicBezTo>
                    <a:close/>
                    <a:moveTo>
                      <a:pt x="1042" y="33"/>
                    </a:moveTo>
                    <a:cubicBezTo>
                      <a:pt x="968" y="29"/>
                      <a:pt x="996" y="10"/>
                      <a:pt x="915" y="4"/>
                    </a:cubicBezTo>
                    <a:cubicBezTo>
                      <a:pt x="845" y="0"/>
                      <a:pt x="807" y="39"/>
                      <a:pt x="787" y="74"/>
                    </a:cubicBezTo>
                    <a:cubicBezTo>
                      <a:pt x="746" y="148"/>
                      <a:pt x="817" y="230"/>
                      <a:pt x="829" y="243"/>
                    </a:cubicBezTo>
                    <a:cubicBezTo>
                      <a:pt x="830" y="244"/>
                      <a:pt x="831" y="244"/>
                      <a:pt x="831" y="242"/>
                    </a:cubicBezTo>
                    <a:cubicBezTo>
                      <a:pt x="831" y="242"/>
                      <a:pt x="831" y="242"/>
                      <a:pt x="835" y="187"/>
                    </a:cubicBezTo>
                    <a:cubicBezTo>
                      <a:pt x="835" y="187"/>
                      <a:pt x="835" y="187"/>
                      <a:pt x="835" y="187"/>
                    </a:cubicBezTo>
                    <a:cubicBezTo>
                      <a:pt x="834" y="182"/>
                      <a:pt x="810" y="125"/>
                      <a:pt x="841" y="112"/>
                    </a:cubicBezTo>
                    <a:cubicBezTo>
                      <a:pt x="873" y="97"/>
                      <a:pt x="878" y="142"/>
                      <a:pt x="878" y="149"/>
                    </a:cubicBezTo>
                    <a:cubicBezTo>
                      <a:pt x="878" y="150"/>
                      <a:pt x="879" y="150"/>
                      <a:pt x="879" y="150"/>
                    </a:cubicBezTo>
                    <a:cubicBezTo>
                      <a:pt x="883" y="151"/>
                      <a:pt x="899" y="154"/>
                      <a:pt x="900" y="150"/>
                    </a:cubicBezTo>
                    <a:cubicBezTo>
                      <a:pt x="902" y="116"/>
                      <a:pt x="916" y="98"/>
                      <a:pt x="933" y="87"/>
                    </a:cubicBezTo>
                    <a:cubicBezTo>
                      <a:pt x="966" y="67"/>
                      <a:pt x="1012" y="76"/>
                      <a:pt x="1020" y="74"/>
                    </a:cubicBezTo>
                    <a:cubicBezTo>
                      <a:pt x="1020" y="73"/>
                      <a:pt x="1021" y="73"/>
                      <a:pt x="1021" y="73"/>
                    </a:cubicBezTo>
                    <a:cubicBezTo>
                      <a:pt x="1026" y="57"/>
                      <a:pt x="1050" y="33"/>
                      <a:pt x="1042" y="33"/>
                    </a:cubicBezTo>
                    <a:close/>
                    <a:moveTo>
                      <a:pt x="155" y="582"/>
                    </a:moveTo>
                    <a:cubicBezTo>
                      <a:pt x="67" y="598"/>
                      <a:pt x="0" y="676"/>
                      <a:pt x="0" y="768"/>
                    </a:cubicBezTo>
                    <a:cubicBezTo>
                      <a:pt x="0" y="1061"/>
                      <a:pt x="0" y="1061"/>
                      <a:pt x="0" y="1061"/>
                    </a:cubicBezTo>
                    <a:cubicBezTo>
                      <a:pt x="0" y="1073"/>
                      <a:pt x="10" y="1083"/>
                      <a:pt x="22" y="1083"/>
                    </a:cubicBezTo>
                    <a:cubicBezTo>
                      <a:pt x="34" y="1083"/>
                      <a:pt x="44" y="1073"/>
                      <a:pt x="44" y="1061"/>
                    </a:cubicBezTo>
                    <a:cubicBezTo>
                      <a:pt x="44" y="768"/>
                      <a:pt x="44" y="768"/>
                      <a:pt x="44" y="768"/>
                    </a:cubicBezTo>
                    <a:cubicBezTo>
                      <a:pt x="44" y="697"/>
                      <a:pt x="95" y="638"/>
                      <a:pt x="163" y="625"/>
                    </a:cubicBezTo>
                    <a:lnTo>
                      <a:pt x="155" y="582"/>
                    </a:lnTo>
                    <a:close/>
                    <a:moveTo>
                      <a:pt x="713" y="623"/>
                    </a:moveTo>
                    <a:cubicBezTo>
                      <a:pt x="808" y="623"/>
                      <a:pt x="808" y="623"/>
                      <a:pt x="808" y="623"/>
                    </a:cubicBezTo>
                    <a:cubicBezTo>
                      <a:pt x="800" y="579"/>
                      <a:pt x="800" y="579"/>
                      <a:pt x="800" y="579"/>
                    </a:cubicBezTo>
                    <a:cubicBezTo>
                      <a:pt x="719" y="579"/>
                      <a:pt x="719" y="579"/>
                      <a:pt x="719" y="579"/>
                    </a:cubicBezTo>
                    <a:cubicBezTo>
                      <a:pt x="723" y="594"/>
                      <a:pt x="721" y="610"/>
                      <a:pt x="713" y="623"/>
                    </a:cubicBezTo>
                    <a:close/>
                    <a:moveTo>
                      <a:pt x="1359" y="623"/>
                    </a:moveTo>
                    <a:cubicBezTo>
                      <a:pt x="1454" y="623"/>
                      <a:pt x="1454" y="623"/>
                      <a:pt x="1454" y="623"/>
                    </a:cubicBezTo>
                    <a:cubicBezTo>
                      <a:pt x="1446" y="579"/>
                      <a:pt x="1446" y="579"/>
                      <a:pt x="1446" y="579"/>
                    </a:cubicBezTo>
                    <a:cubicBezTo>
                      <a:pt x="1365" y="579"/>
                      <a:pt x="1365" y="579"/>
                      <a:pt x="1365" y="579"/>
                    </a:cubicBezTo>
                    <a:cubicBezTo>
                      <a:pt x="1369" y="594"/>
                      <a:pt x="1367" y="610"/>
                      <a:pt x="1359" y="623"/>
                    </a:cubicBezTo>
                    <a:close/>
                    <a:moveTo>
                      <a:pt x="2126" y="579"/>
                    </a:moveTo>
                    <a:cubicBezTo>
                      <a:pt x="2011" y="579"/>
                      <a:pt x="2011" y="579"/>
                      <a:pt x="2011" y="579"/>
                    </a:cubicBezTo>
                    <a:cubicBezTo>
                      <a:pt x="2015" y="594"/>
                      <a:pt x="2013" y="610"/>
                      <a:pt x="2005" y="623"/>
                    </a:cubicBezTo>
                    <a:cubicBezTo>
                      <a:pt x="2126" y="623"/>
                      <a:pt x="2126" y="623"/>
                      <a:pt x="2126" y="623"/>
                    </a:cubicBezTo>
                    <a:cubicBezTo>
                      <a:pt x="2138" y="623"/>
                      <a:pt x="2148" y="613"/>
                      <a:pt x="2148" y="601"/>
                    </a:cubicBezTo>
                    <a:cubicBezTo>
                      <a:pt x="2148" y="589"/>
                      <a:pt x="2138" y="579"/>
                      <a:pt x="2126" y="57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9" name="Textfeld 1">
            <a:extLst>
              <a:ext uri="{FF2B5EF4-FFF2-40B4-BE49-F238E27FC236}">
                <a16:creationId xmlns:a16="http://schemas.microsoft.com/office/drawing/2014/main" id="{337BFAB5-B9CA-4034-A986-3C155F9D9BB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357579" y="2953047"/>
            <a:ext cx="3318250" cy="2062619"/>
          </a:xfrm>
          <a:prstGeom prst="roundRect">
            <a:avLst>
              <a:gd name="adj" fmla="val 9843"/>
            </a:avLst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Quasi-public organizations (Team MA)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ym typeface="Trebuchet MS" panose="020B0603020202020204" pitchFamily="34" charset="0"/>
              </a:rPr>
              <a:t>Industry-focused groups that help employers access grants and hire talent, including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err="1">
                <a:sym typeface="Trebuchet MS" panose="020B0603020202020204" pitchFamily="34" charset="0"/>
              </a:rPr>
              <a:t>MassCEC</a:t>
            </a:r>
            <a:endParaRPr lang="en-US" sz="1400">
              <a:sym typeface="Trebuchet MS" panose="020B0603020202020204" pitchFamily="34" charset="0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ym typeface="Trebuchet MS" panose="020B0603020202020204" pitchFamily="34" charset="0"/>
              </a:rPr>
              <a:t>MassTech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err="1">
                <a:sym typeface="Trebuchet MS" panose="020B0603020202020204" pitchFamily="34" charset="0"/>
              </a:rPr>
              <a:t>MassDevelopment</a:t>
            </a:r>
            <a:endParaRPr lang="en-US" sz="1400">
              <a:sym typeface="Trebuchet MS" panose="020B0603020202020204" pitchFamily="34" charset="0"/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 err="1">
                <a:sym typeface="Trebuchet MS" panose="020B0603020202020204" pitchFamily="34" charset="0"/>
              </a:rPr>
              <a:t>MLSC</a:t>
            </a:r>
            <a:endParaRPr lang="en-US" sz="1400">
              <a:sym typeface="Trebuchet MS" panose="020B0603020202020204" pitchFamily="34" charset="0"/>
            </a:endParaRPr>
          </a:p>
        </p:txBody>
      </p:sp>
      <p:sp>
        <p:nvSpPr>
          <p:cNvPr id="21" name="Textfeld 1">
            <a:extLst>
              <a:ext uri="{FF2B5EF4-FFF2-40B4-BE49-F238E27FC236}">
                <a16:creationId xmlns:a16="http://schemas.microsoft.com/office/drawing/2014/main" id="{EB3319C3-6C4F-4D46-888B-0F4A8D94BFC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36514" y="2953047"/>
            <a:ext cx="3318251" cy="2062619"/>
          </a:xfrm>
          <a:prstGeom prst="roundRect">
            <a:avLst>
              <a:gd name="adj" fmla="val 9843"/>
            </a:avLst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Industry groups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ym typeface="Trebuchet MS" panose="020B0603020202020204" pitchFamily="34" charset="0"/>
              </a:rPr>
              <a:t>Industry-focused associations of businesses supporting their industry interests, including</a:t>
            </a:r>
          </a:p>
          <a:p>
            <a:pPr marL="320040" lvl="1" indent="-219456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400" err="1">
                <a:sym typeface="Trebuchet MS" panose="020B0603020202020204" pitchFamily="34" charset="0"/>
              </a:rPr>
              <a:t>MassMEDIC</a:t>
            </a:r>
            <a:endParaRPr lang="en-US" sz="1400">
              <a:sym typeface="Trebuchet MS" panose="020B0603020202020204" pitchFamily="34" charset="0"/>
            </a:endParaRP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endParaRPr lang="en-US" sz="1400">
              <a:solidFill>
                <a:srgbClr val="000000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Textfeld 1">
            <a:extLst>
              <a:ext uri="{FF2B5EF4-FFF2-40B4-BE49-F238E27FC236}">
                <a16:creationId xmlns:a16="http://schemas.microsoft.com/office/drawing/2014/main" id="{ACC77209-4061-4982-94A9-1E5B4159A7A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62684" y="2953047"/>
            <a:ext cx="2856272" cy="2062619"/>
          </a:xfrm>
          <a:prstGeom prst="roundRect">
            <a:avLst>
              <a:gd name="adj" fmla="val 9843"/>
            </a:avLst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Massachusetts Association of Vocational Administrators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rgbClr val="000000"/>
                </a:solidFill>
                <a:sym typeface="Trebuchet MS" panose="020B0603020202020204" pitchFamily="34" charset="0"/>
              </a:rPr>
              <a:t>Association of educational leaders who administer career and technical programs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rgbClr val="000000"/>
                </a:solidFill>
                <a:sym typeface="Trebuchet MS" panose="020B0603020202020204" pitchFamily="34" charset="0"/>
              </a:rPr>
              <a:t>​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173A0DE-B24A-4C86-AC9D-9AE4661EFBA1}"/>
              </a:ext>
            </a:extLst>
          </p:cNvPr>
          <p:cNvCxnSpPr>
            <a:cxnSpLocks/>
          </p:cNvCxnSpPr>
          <p:nvPr/>
        </p:nvCxnSpPr>
        <p:spPr>
          <a:xfrm>
            <a:off x="4252186" y="2953047"/>
            <a:ext cx="0" cy="2062619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">
            <a:extLst>
              <a:ext uri="{FF2B5EF4-FFF2-40B4-BE49-F238E27FC236}">
                <a16:creationId xmlns:a16="http://schemas.microsoft.com/office/drawing/2014/main" id="{36C27B71-ECC7-4BC4-BFD5-0D8EFBC1763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57580" y="5131255"/>
            <a:ext cx="3318250" cy="1209434"/>
          </a:xfrm>
          <a:prstGeom prst="roundRect">
            <a:avLst>
              <a:gd name="adj" fmla="val 14523"/>
            </a:avLst>
          </a:prstGeom>
          <a:solidFill>
            <a:srgbClr val="99CC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MassHire (Workforce Boards)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ym typeface="Trebuchet MS" panose="020B0603020202020204" pitchFamily="34" charset="0"/>
              </a:rPr>
              <a:t>Region-focused groups that help employers access grants and hire talent. This is where Market Makers sit</a:t>
            </a:r>
          </a:p>
          <a:p>
            <a:pPr>
              <a:buFont typeface="Trebuchet MS" panose="020B0603020202020204" pitchFamily="34" charset="0"/>
              <a:buChar char="​"/>
            </a:pPr>
            <a:endParaRPr lang="en-US" sz="1400">
              <a:sym typeface="Trebuchet MS" panose="020B0603020202020204" pitchFamily="34" charset="0"/>
            </a:endParaRPr>
          </a:p>
        </p:txBody>
      </p:sp>
      <p:sp>
        <p:nvSpPr>
          <p:cNvPr id="22" name="Textfeld 1">
            <a:extLst>
              <a:ext uri="{FF2B5EF4-FFF2-40B4-BE49-F238E27FC236}">
                <a16:creationId xmlns:a16="http://schemas.microsoft.com/office/drawing/2014/main" id="{2741C7F5-E1B3-4593-99BA-0861008ECAD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036514" y="5131255"/>
            <a:ext cx="3318251" cy="1209434"/>
          </a:xfrm>
          <a:prstGeom prst="roundRect">
            <a:avLst>
              <a:gd name="adj" fmla="val 14523"/>
            </a:avLst>
          </a:prstGeom>
          <a:solidFill>
            <a:srgbClr val="FFFFFF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Chambers of commerce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ym typeface="Trebuchet MS" panose="020B0603020202020204" pitchFamily="34" charset="0"/>
              </a:rPr>
              <a:t>Region-focused associations </a:t>
            </a:r>
            <a:br>
              <a:rPr lang="en-US" sz="1400">
                <a:sym typeface="Trebuchet MS" panose="020B0603020202020204" pitchFamily="34" charset="0"/>
              </a:rPr>
            </a:br>
            <a:r>
              <a:rPr lang="en-US" sz="1400">
                <a:sym typeface="Trebuchet MS" panose="020B0603020202020204" pitchFamily="34" charset="0"/>
              </a:rPr>
              <a:t>of businesses supporting their community interests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B429BA3-29B3-4C8C-BEEA-44CC2950FDD1}"/>
              </a:ext>
            </a:extLst>
          </p:cNvPr>
          <p:cNvCxnSpPr>
            <a:cxnSpLocks/>
          </p:cNvCxnSpPr>
          <p:nvPr/>
        </p:nvCxnSpPr>
        <p:spPr>
          <a:xfrm>
            <a:off x="4252186" y="5131255"/>
            <a:ext cx="0" cy="1209434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feld 1">
            <a:extLst>
              <a:ext uri="{FF2B5EF4-FFF2-40B4-BE49-F238E27FC236}">
                <a16:creationId xmlns:a16="http://schemas.microsoft.com/office/drawing/2014/main" id="{7089F9F4-8B30-440A-93C0-D1BED0FE51A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3352216" y="5514373"/>
            <a:ext cx="1209434" cy="443198"/>
          </a:xfrm>
          <a:prstGeom prst="rect">
            <a:avLst/>
          </a:prstGeom>
          <a:noFill/>
          <a:ln w="9525" cap="rnd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pattFill>
                  <a:fgClr>
                    <a:srgbClr val="40FEFE"/>
                  </a:fgClr>
                  <a:bgClr>
                    <a:srgbClr val="40FEFE"/>
                  </a:bgClr>
                </a:patt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Regional</a:t>
            </a:r>
            <a:b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</a:b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focus</a:t>
            </a:r>
          </a:p>
        </p:txBody>
      </p:sp>
      <p:sp>
        <p:nvSpPr>
          <p:cNvPr id="32" name="Textfeld 1">
            <a:extLst>
              <a:ext uri="{FF2B5EF4-FFF2-40B4-BE49-F238E27FC236}">
                <a16:creationId xmlns:a16="http://schemas.microsoft.com/office/drawing/2014/main" id="{E022B249-914C-439B-827E-5D4643C355F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 rot="16200000">
            <a:off x="3200626" y="3762758"/>
            <a:ext cx="1512613" cy="443198"/>
          </a:xfrm>
          <a:prstGeom prst="rect">
            <a:avLst/>
          </a:prstGeom>
          <a:noFill/>
          <a:ln w="9525" cap="rnd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pattFill>
                  <a:fgClr>
                    <a:srgbClr val="40FEFE"/>
                  </a:fgClr>
                  <a:bgClr>
                    <a:srgbClr val="40FEFE"/>
                  </a:bgClr>
                </a:patt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square" lIns="0" tIns="0" rIns="0" bIns="0" rtlCol="0" anchor="ctr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Industry</a:t>
            </a:r>
            <a:b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</a:b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focus</a:t>
            </a:r>
          </a:p>
        </p:txBody>
      </p: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517066C7-4FFB-4443-9AE4-719B30D08AEE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9" name="Oval 20">
            <a:extLst>
              <a:ext uri="{FF2B5EF4-FFF2-40B4-BE49-F238E27FC236}">
                <a16:creationId xmlns:a16="http://schemas.microsoft.com/office/drawing/2014/main" id="{85CED630-489C-4A8B-836D-2A7DFEF3F73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6891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ED8A4E8A-F1A8-4ADB-8BC9-17091E720E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543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3" imgH="476" progId="TCLayout.ActiveDocument.1">
                  <p:embed/>
                </p:oleObj>
              </mc:Choice>
              <mc:Fallback>
                <p:oleObj name="think-cell Slide" r:id="rId18" imgW="473" imgH="47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ED8A4E8A-F1A8-4ADB-8BC9-17091E720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C040AF0-38F4-4170-BBF0-CBA61013E3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606425"/>
            <a:ext cx="10118725" cy="276999"/>
          </a:xfrm>
        </p:spPr>
        <p:txBody>
          <a:bodyPr vert="horz"/>
          <a:lstStyle/>
          <a:p>
            <a:r>
              <a:rPr lang="en-US" sz="2000"/>
              <a:t>Market Makers will interact with various internal workforce stakeholders regularly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E7CDD7E-787C-45CA-8ACA-61F5FD64EE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role within MassHire workforce system</a:t>
            </a:r>
          </a:p>
        </p:txBody>
      </p:sp>
      <p:sp>
        <p:nvSpPr>
          <p:cNvPr id="49" name="Textfeld 1">
            <a:extLst>
              <a:ext uri="{FF2B5EF4-FFF2-40B4-BE49-F238E27FC236}">
                <a16:creationId xmlns:a16="http://schemas.microsoft.com/office/drawing/2014/main" id="{FBB5D6EA-5346-4D63-AE0A-A65A214C1624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62846" y="12991"/>
            <a:ext cx="6085332" cy="26776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Not-exhaustive</a:t>
            </a:r>
          </a:p>
        </p:txBody>
      </p:sp>
      <p:sp>
        <p:nvSpPr>
          <p:cNvPr id="51" name="Isosceles Triangle 50">
            <a:extLst>
              <a:ext uri="{FF2B5EF4-FFF2-40B4-BE49-F238E27FC236}">
                <a16:creationId xmlns:a16="http://schemas.microsoft.com/office/drawing/2014/main" id="{93FC0FF2-077A-4001-8835-0BB7A74308E7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2" name="Oval 20">
            <a:extLst>
              <a:ext uri="{FF2B5EF4-FFF2-40B4-BE49-F238E27FC236}">
                <a16:creationId xmlns:a16="http://schemas.microsoft.com/office/drawing/2014/main" id="{A1CE4F82-A091-4C3A-A6A7-ECFA0C1CCDE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56" name="Textfeld 1">
            <a:extLst>
              <a:ext uri="{FF2B5EF4-FFF2-40B4-BE49-F238E27FC236}">
                <a16:creationId xmlns:a16="http://schemas.microsoft.com/office/drawing/2014/main" id="{54D556B1-6625-4FD2-AE2E-FBCC6C7F606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317899" y="1572958"/>
            <a:ext cx="9245451" cy="741617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0" rIns="0" bIns="0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 dirty="0" err="1">
                <a:solidFill>
                  <a:schemeClr val="tx2"/>
                </a:solidFill>
                <a:sym typeface="Trebuchet MS" panose="020B0603020202020204" pitchFamily="34" charset="0"/>
              </a:rPr>
              <a:t>CommCorp</a:t>
            </a:r>
            <a:endParaRPr lang="en-US" sz="1400" dirty="0">
              <a:solidFill>
                <a:schemeClr val="tx2"/>
              </a:solidFill>
              <a:sym typeface="Trebuchet MS" panose="020B0603020202020204" pitchFamily="34" charset="0"/>
            </a:endParaRP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State-level staff responsible for administering and delivering a wide range of publicly and privately funded program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sym typeface="Trebuchet MS" panose="020B0603020202020204" pitchFamily="34" charset="0"/>
              </a:rPr>
              <a:t>Oversee Market Maker role design &amp; strategy and support Market Makers via technical assistance</a:t>
            </a:r>
          </a:p>
        </p:txBody>
      </p:sp>
      <p:sp>
        <p:nvSpPr>
          <p:cNvPr id="63" name="Textfeld 1">
            <a:extLst>
              <a:ext uri="{FF2B5EF4-FFF2-40B4-BE49-F238E27FC236}">
                <a16:creationId xmlns:a16="http://schemas.microsoft.com/office/drawing/2014/main" id="{E3ACBB0C-2599-4852-B68A-A3826F2AD2A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272096" y="1832967"/>
            <a:ext cx="479298" cy="221599"/>
          </a:xfrm>
          <a:prstGeom prst="rect">
            <a:avLst/>
          </a:prstGeom>
          <a:noFill/>
          <a:ln w="9525" cap="rnd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pattFill>
                  <a:fgClr>
                    <a:srgbClr val="40FEFE"/>
                  </a:fgClr>
                  <a:bgClr>
                    <a:srgbClr val="40FEFE"/>
                  </a:bgClr>
                </a:patt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State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A5EF935D-A58F-46CC-8644-DC874573783B}"/>
              </a:ext>
            </a:extLst>
          </p:cNvPr>
          <p:cNvGrpSpPr/>
          <p:nvPr/>
        </p:nvGrpSpPr>
        <p:grpSpPr>
          <a:xfrm>
            <a:off x="636306" y="1666522"/>
            <a:ext cx="554490" cy="554490"/>
            <a:chOff x="384390" y="1922021"/>
            <a:chExt cx="825046" cy="825046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1D7C5CEB-2E63-4337-B6B2-AE69CAE7FAAB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384390" y="1922021"/>
              <a:ext cx="825046" cy="825046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sz="16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576ED5EA-2A8F-4E3D-8A42-15F9B2D98DA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5215" y="2042846"/>
              <a:ext cx="583396" cy="583396"/>
              <a:chOff x="5273675" y="2606675"/>
              <a:chExt cx="1644650" cy="1644650"/>
            </a:xfrm>
          </p:grpSpPr>
          <p:sp>
            <p:nvSpPr>
              <p:cNvPr id="68" name="AutoShape 3">
                <a:extLst>
                  <a:ext uri="{FF2B5EF4-FFF2-40B4-BE49-F238E27FC236}">
                    <a16:creationId xmlns:a16="http://schemas.microsoft.com/office/drawing/2014/main" id="{1DD17468-3A4F-45F5-B9CB-056E687815A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0E0689F2-57C5-4B34-94F4-9A6625CB36E5}"/>
                  </a:ext>
                </a:extLst>
              </p:cNvPr>
              <p:cNvGrpSpPr/>
              <p:nvPr/>
            </p:nvGrpSpPr>
            <p:grpSpPr>
              <a:xfrm>
                <a:off x="5480049" y="2773362"/>
                <a:ext cx="1233488" cy="1271588"/>
                <a:chOff x="5480049" y="2773362"/>
                <a:chExt cx="1233488" cy="1271588"/>
              </a:xfrm>
            </p:grpSpPr>
            <p:sp>
              <p:nvSpPr>
                <p:cNvPr id="70" name="Freeform 13">
                  <a:extLst>
                    <a:ext uri="{FF2B5EF4-FFF2-40B4-BE49-F238E27FC236}">
                      <a16:creationId xmlns:a16="http://schemas.microsoft.com/office/drawing/2014/main" id="{DFE64079-84EC-48F9-AD43-15A954FD02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0049" y="3109913"/>
                  <a:ext cx="1233488" cy="935037"/>
                </a:xfrm>
                <a:custGeom>
                  <a:avLst/>
                  <a:gdLst>
                    <a:gd name="connsiteX0" fmla="*/ 928688 w 1233488"/>
                    <a:gd name="connsiteY0" fmla="*/ 752475 h 935037"/>
                    <a:gd name="connsiteX1" fmla="*/ 928688 w 1233488"/>
                    <a:gd name="connsiteY1" fmla="*/ 903288 h 935037"/>
                    <a:gd name="connsiteX2" fmla="*/ 1201738 w 1233488"/>
                    <a:gd name="connsiteY2" fmla="*/ 903288 h 935037"/>
                    <a:gd name="connsiteX3" fmla="*/ 1201738 w 1233488"/>
                    <a:gd name="connsiteY3" fmla="*/ 752475 h 935037"/>
                    <a:gd name="connsiteX4" fmla="*/ 1065213 w 1233488"/>
                    <a:gd name="connsiteY4" fmla="*/ 752475 h 935037"/>
                    <a:gd name="connsiteX5" fmla="*/ 477838 w 1233488"/>
                    <a:gd name="connsiteY5" fmla="*/ 752475 h 935037"/>
                    <a:gd name="connsiteX6" fmla="*/ 477838 w 1233488"/>
                    <a:gd name="connsiteY6" fmla="*/ 903288 h 935037"/>
                    <a:gd name="connsiteX7" fmla="*/ 752476 w 1233488"/>
                    <a:gd name="connsiteY7" fmla="*/ 903288 h 935037"/>
                    <a:gd name="connsiteX8" fmla="*/ 752476 w 1233488"/>
                    <a:gd name="connsiteY8" fmla="*/ 752475 h 935037"/>
                    <a:gd name="connsiteX9" fmla="*/ 615951 w 1233488"/>
                    <a:gd name="connsiteY9" fmla="*/ 752475 h 935037"/>
                    <a:gd name="connsiteX10" fmla="*/ 31750 w 1233488"/>
                    <a:gd name="connsiteY10" fmla="*/ 752475 h 935037"/>
                    <a:gd name="connsiteX11" fmla="*/ 31750 w 1233488"/>
                    <a:gd name="connsiteY11" fmla="*/ 903288 h 935037"/>
                    <a:gd name="connsiteX12" fmla="*/ 304800 w 1233488"/>
                    <a:gd name="connsiteY12" fmla="*/ 903288 h 935037"/>
                    <a:gd name="connsiteX13" fmla="*/ 304800 w 1233488"/>
                    <a:gd name="connsiteY13" fmla="*/ 752475 h 935037"/>
                    <a:gd name="connsiteX14" fmla="*/ 168275 w 1233488"/>
                    <a:gd name="connsiteY14" fmla="*/ 752475 h 935037"/>
                    <a:gd name="connsiteX15" fmla="*/ 599612 w 1233488"/>
                    <a:gd name="connsiteY15" fmla="*/ 503237 h 935037"/>
                    <a:gd name="connsiteX16" fmla="*/ 631021 w 1233488"/>
                    <a:gd name="connsiteY16" fmla="*/ 503237 h 935037"/>
                    <a:gd name="connsiteX17" fmla="*/ 631021 w 1233488"/>
                    <a:gd name="connsiteY17" fmla="*/ 596021 h 935037"/>
                    <a:gd name="connsiteX18" fmla="*/ 1065740 w 1233488"/>
                    <a:gd name="connsiteY18" fmla="*/ 596021 h 935037"/>
                    <a:gd name="connsiteX19" fmla="*/ 1081444 w 1233488"/>
                    <a:gd name="connsiteY19" fmla="*/ 611722 h 935037"/>
                    <a:gd name="connsiteX20" fmla="*/ 1081444 w 1233488"/>
                    <a:gd name="connsiteY20" fmla="*/ 721635 h 935037"/>
                    <a:gd name="connsiteX21" fmla="*/ 1217784 w 1233488"/>
                    <a:gd name="connsiteY21" fmla="*/ 721635 h 935037"/>
                    <a:gd name="connsiteX22" fmla="*/ 1233488 w 1233488"/>
                    <a:gd name="connsiteY22" fmla="*/ 737337 h 935037"/>
                    <a:gd name="connsiteX23" fmla="*/ 1233488 w 1233488"/>
                    <a:gd name="connsiteY23" fmla="*/ 919335 h 935037"/>
                    <a:gd name="connsiteX24" fmla="*/ 1217784 w 1233488"/>
                    <a:gd name="connsiteY24" fmla="*/ 935037 h 935037"/>
                    <a:gd name="connsiteX25" fmla="*/ 912981 w 1233488"/>
                    <a:gd name="connsiteY25" fmla="*/ 935037 h 935037"/>
                    <a:gd name="connsiteX26" fmla="*/ 897277 w 1233488"/>
                    <a:gd name="connsiteY26" fmla="*/ 919335 h 935037"/>
                    <a:gd name="connsiteX27" fmla="*/ 897277 w 1233488"/>
                    <a:gd name="connsiteY27" fmla="*/ 737337 h 935037"/>
                    <a:gd name="connsiteX28" fmla="*/ 912981 w 1233488"/>
                    <a:gd name="connsiteY28" fmla="*/ 721635 h 935037"/>
                    <a:gd name="connsiteX29" fmla="*/ 1050035 w 1233488"/>
                    <a:gd name="connsiteY29" fmla="*/ 721635 h 935037"/>
                    <a:gd name="connsiteX30" fmla="*/ 1050035 w 1233488"/>
                    <a:gd name="connsiteY30" fmla="*/ 627424 h 935037"/>
                    <a:gd name="connsiteX31" fmla="*/ 631021 w 1233488"/>
                    <a:gd name="connsiteY31" fmla="*/ 627424 h 935037"/>
                    <a:gd name="connsiteX32" fmla="*/ 631021 w 1233488"/>
                    <a:gd name="connsiteY32" fmla="*/ 721635 h 935037"/>
                    <a:gd name="connsiteX33" fmla="*/ 767361 w 1233488"/>
                    <a:gd name="connsiteY33" fmla="*/ 721635 h 935037"/>
                    <a:gd name="connsiteX34" fmla="*/ 783065 w 1233488"/>
                    <a:gd name="connsiteY34" fmla="*/ 737337 h 935037"/>
                    <a:gd name="connsiteX35" fmla="*/ 783065 w 1233488"/>
                    <a:gd name="connsiteY35" fmla="*/ 919335 h 935037"/>
                    <a:gd name="connsiteX36" fmla="*/ 767361 w 1233488"/>
                    <a:gd name="connsiteY36" fmla="*/ 935037 h 935037"/>
                    <a:gd name="connsiteX37" fmla="*/ 462558 w 1233488"/>
                    <a:gd name="connsiteY37" fmla="*/ 935037 h 935037"/>
                    <a:gd name="connsiteX38" fmla="*/ 446854 w 1233488"/>
                    <a:gd name="connsiteY38" fmla="*/ 919335 h 935037"/>
                    <a:gd name="connsiteX39" fmla="*/ 446854 w 1233488"/>
                    <a:gd name="connsiteY39" fmla="*/ 737337 h 935037"/>
                    <a:gd name="connsiteX40" fmla="*/ 462558 w 1233488"/>
                    <a:gd name="connsiteY40" fmla="*/ 721635 h 935037"/>
                    <a:gd name="connsiteX41" fmla="*/ 599612 w 1233488"/>
                    <a:gd name="connsiteY41" fmla="*/ 721635 h 935037"/>
                    <a:gd name="connsiteX42" fmla="*/ 599612 w 1233488"/>
                    <a:gd name="connsiteY42" fmla="*/ 627424 h 935037"/>
                    <a:gd name="connsiteX43" fmla="*/ 183453 w 1233488"/>
                    <a:gd name="connsiteY43" fmla="*/ 627424 h 935037"/>
                    <a:gd name="connsiteX44" fmla="*/ 183453 w 1233488"/>
                    <a:gd name="connsiteY44" fmla="*/ 721635 h 935037"/>
                    <a:gd name="connsiteX45" fmla="*/ 320507 w 1233488"/>
                    <a:gd name="connsiteY45" fmla="*/ 721635 h 935037"/>
                    <a:gd name="connsiteX46" fmla="*/ 336211 w 1233488"/>
                    <a:gd name="connsiteY46" fmla="*/ 737337 h 935037"/>
                    <a:gd name="connsiteX47" fmla="*/ 336211 w 1233488"/>
                    <a:gd name="connsiteY47" fmla="*/ 919335 h 935037"/>
                    <a:gd name="connsiteX48" fmla="*/ 320507 w 1233488"/>
                    <a:gd name="connsiteY48" fmla="*/ 935037 h 935037"/>
                    <a:gd name="connsiteX49" fmla="*/ 15704 w 1233488"/>
                    <a:gd name="connsiteY49" fmla="*/ 935037 h 935037"/>
                    <a:gd name="connsiteX50" fmla="*/ 0 w 1233488"/>
                    <a:gd name="connsiteY50" fmla="*/ 919335 h 935037"/>
                    <a:gd name="connsiteX51" fmla="*/ 0 w 1233488"/>
                    <a:gd name="connsiteY51" fmla="*/ 737337 h 935037"/>
                    <a:gd name="connsiteX52" fmla="*/ 15704 w 1233488"/>
                    <a:gd name="connsiteY52" fmla="*/ 721635 h 935037"/>
                    <a:gd name="connsiteX53" fmla="*/ 152045 w 1233488"/>
                    <a:gd name="connsiteY53" fmla="*/ 721635 h 935037"/>
                    <a:gd name="connsiteX54" fmla="*/ 152045 w 1233488"/>
                    <a:gd name="connsiteY54" fmla="*/ 611722 h 935037"/>
                    <a:gd name="connsiteX55" fmla="*/ 167749 w 1233488"/>
                    <a:gd name="connsiteY55" fmla="*/ 596021 h 935037"/>
                    <a:gd name="connsiteX56" fmla="*/ 599612 w 1233488"/>
                    <a:gd name="connsiteY56" fmla="*/ 596021 h 935037"/>
                    <a:gd name="connsiteX57" fmla="*/ 599612 w 1233488"/>
                    <a:gd name="connsiteY57" fmla="*/ 503237 h 935037"/>
                    <a:gd name="connsiteX58" fmla="*/ 756510 w 1233488"/>
                    <a:gd name="connsiteY58" fmla="*/ 280987 h 935037"/>
                    <a:gd name="connsiteX59" fmla="*/ 932020 w 1233488"/>
                    <a:gd name="connsiteY59" fmla="*/ 311552 h 935037"/>
                    <a:gd name="connsiteX60" fmla="*/ 1032920 w 1233488"/>
                    <a:gd name="connsiteY60" fmla="*/ 457982 h 935037"/>
                    <a:gd name="connsiteX61" fmla="*/ 1022972 w 1233488"/>
                    <a:gd name="connsiteY61" fmla="*/ 471487 h 935037"/>
                    <a:gd name="connsiteX62" fmla="*/ 714587 w 1233488"/>
                    <a:gd name="connsiteY62" fmla="*/ 471487 h 935037"/>
                    <a:gd name="connsiteX63" fmla="*/ 710324 w 1233488"/>
                    <a:gd name="connsiteY63" fmla="*/ 465801 h 935037"/>
                    <a:gd name="connsiteX64" fmla="*/ 752247 w 1233488"/>
                    <a:gd name="connsiteY64" fmla="*/ 284541 h 935037"/>
                    <a:gd name="connsiteX65" fmla="*/ 756510 w 1233488"/>
                    <a:gd name="connsiteY65" fmla="*/ 280987 h 935037"/>
                    <a:gd name="connsiteX66" fmla="*/ 478337 w 1233488"/>
                    <a:gd name="connsiteY66" fmla="*/ 280987 h 935037"/>
                    <a:gd name="connsiteX67" fmla="*/ 482621 w 1233488"/>
                    <a:gd name="connsiteY67" fmla="*/ 284541 h 935037"/>
                    <a:gd name="connsiteX68" fmla="*/ 524749 w 1233488"/>
                    <a:gd name="connsiteY68" fmla="*/ 465801 h 935037"/>
                    <a:gd name="connsiteX69" fmla="*/ 520465 w 1233488"/>
                    <a:gd name="connsiteY69" fmla="*/ 471487 h 935037"/>
                    <a:gd name="connsiteX70" fmla="*/ 210576 w 1233488"/>
                    <a:gd name="connsiteY70" fmla="*/ 471487 h 935037"/>
                    <a:gd name="connsiteX71" fmla="*/ 200580 w 1233488"/>
                    <a:gd name="connsiteY71" fmla="*/ 457982 h 935037"/>
                    <a:gd name="connsiteX72" fmla="*/ 301972 w 1233488"/>
                    <a:gd name="connsiteY72" fmla="*/ 311552 h 935037"/>
                    <a:gd name="connsiteX73" fmla="*/ 478337 w 1233488"/>
                    <a:gd name="connsiteY73" fmla="*/ 280987 h 935037"/>
                    <a:gd name="connsiteX74" fmla="*/ 393700 w 1233488"/>
                    <a:gd name="connsiteY74" fmla="*/ 0 h 935037"/>
                    <a:gd name="connsiteX75" fmla="*/ 421526 w 1233488"/>
                    <a:gd name="connsiteY75" fmla="*/ 12851 h 935037"/>
                    <a:gd name="connsiteX76" fmla="*/ 440790 w 1233488"/>
                    <a:gd name="connsiteY76" fmla="*/ 33557 h 935037"/>
                    <a:gd name="connsiteX77" fmla="*/ 445784 w 1233488"/>
                    <a:gd name="connsiteY77" fmla="*/ 39269 h 935037"/>
                    <a:gd name="connsiteX78" fmla="*/ 512138 w 1233488"/>
                    <a:gd name="connsiteY78" fmla="*/ 179208 h 935037"/>
                    <a:gd name="connsiteX79" fmla="*/ 616306 w 1233488"/>
                    <a:gd name="connsiteY79" fmla="*/ 231329 h 935037"/>
                    <a:gd name="connsiteX80" fmla="*/ 720476 w 1233488"/>
                    <a:gd name="connsiteY80" fmla="*/ 179208 h 935037"/>
                    <a:gd name="connsiteX81" fmla="*/ 786829 w 1233488"/>
                    <a:gd name="connsiteY81" fmla="*/ 39269 h 935037"/>
                    <a:gd name="connsiteX82" fmla="*/ 791824 w 1233488"/>
                    <a:gd name="connsiteY82" fmla="*/ 33557 h 935037"/>
                    <a:gd name="connsiteX83" fmla="*/ 810374 w 1233488"/>
                    <a:gd name="connsiteY83" fmla="*/ 14279 h 935037"/>
                    <a:gd name="connsiteX84" fmla="*/ 838200 w 1233488"/>
                    <a:gd name="connsiteY84" fmla="*/ 714 h 935037"/>
                    <a:gd name="connsiteX85" fmla="*/ 806093 w 1233488"/>
                    <a:gd name="connsiteY85" fmla="*/ 51406 h 935037"/>
                    <a:gd name="connsiteX86" fmla="*/ 735459 w 1233488"/>
                    <a:gd name="connsiteY86" fmla="*/ 196344 h 935037"/>
                    <a:gd name="connsiteX87" fmla="*/ 726897 w 1233488"/>
                    <a:gd name="connsiteY87" fmla="*/ 202769 h 935037"/>
                    <a:gd name="connsiteX88" fmla="*/ 726897 w 1233488"/>
                    <a:gd name="connsiteY88" fmla="*/ 246322 h 935037"/>
                    <a:gd name="connsiteX89" fmla="*/ 726897 w 1233488"/>
                    <a:gd name="connsiteY89" fmla="*/ 262030 h 935037"/>
                    <a:gd name="connsiteX90" fmla="*/ 726183 w 1233488"/>
                    <a:gd name="connsiteY90" fmla="*/ 262744 h 935037"/>
                    <a:gd name="connsiteX91" fmla="*/ 704065 w 1233488"/>
                    <a:gd name="connsiteY91" fmla="*/ 284163 h 935037"/>
                    <a:gd name="connsiteX92" fmla="*/ 704065 w 1233488"/>
                    <a:gd name="connsiteY92" fmla="*/ 260602 h 935037"/>
                    <a:gd name="connsiteX93" fmla="*/ 704065 w 1233488"/>
                    <a:gd name="connsiteY93" fmla="*/ 219191 h 935037"/>
                    <a:gd name="connsiteX94" fmla="*/ 616306 w 1233488"/>
                    <a:gd name="connsiteY94" fmla="*/ 254176 h 935037"/>
                    <a:gd name="connsiteX95" fmla="*/ 528548 w 1233488"/>
                    <a:gd name="connsiteY95" fmla="*/ 219191 h 935037"/>
                    <a:gd name="connsiteX96" fmla="*/ 528548 w 1233488"/>
                    <a:gd name="connsiteY96" fmla="*/ 260602 h 935037"/>
                    <a:gd name="connsiteX97" fmla="*/ 528548 w 1233488"/>
                    <a:gd name="connsiteY97" fmla="*/ 284163 h 935037"/>
                    <a:gd name="connsiteX98" fmla="*/ 506430 w 1233488"/>
                    <a:gd name="connsiteY98" fmla="*/ 262744 h 935037"/>
                    <a:gd name="connsiteX99" fmla="*/ 505717 w 1233488"/>
                    <a:gd name="connsiteY99" fmla="*/ 262030 h 935037"/>
                    <a:gd name="connsiteX100" fmla="*/ 505717 w 1233488"/>
                    <a:gd name="connsiteY100" fmla="*/ 246322 h 935037"/>
                    <a:gd name="connsiteX101" fmla="*/ 505717 w 1233488"/>
                    <a:gd name="connsiteY101" fmla="*/ 202769 h 935037"/>
                    <a:gd name="connsiteX102" fmla="*/ 497155 w 1233488"/>
                    <a:gd name="connsiteY102" fmla="*/ 196344 h 935037"/>
                    <a:gd name="connsiteX103" fmla="*/ 426520 w 1233488"/>
                    <a:gd name="connsiteY103" fmla="*/ 51406 h 935037"/>
                    <a:gd name="connsiteX104" fmla="*/ 393700 w 1233488"/>
                    <a:gd name="connsiteY104" fmla="*/ 714 h 935037"/>
                    <a:gd name="connsiteX105" fmla="*/ 393700 w 1233488"/>
                    <a:gd name="connsiteY105" fmla="*/ 0 h 9350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1233488" h="935037">
                      <a:moveTo>
                        <a:pt x="928688" y="752475"/>
                      </a:moveTo>
                      <a:lnTo>
                        <a:pt x="928688" y="903288"/>
                      </a:lnTo>
                      <a:lnTo>
                        <a:pt x="1201738" y="903288"/>
                      </a:lnTo>
                      <a:lnTo>
                        <a:pt x="1201738" y="752475"/>
                      </a:lnTo>
                      <a:lnTo>
                        <a:pt x="1065213" y="752475"/>
                      </a:lnTo>
                      <a:close/>
                      <a:moveTo>
                        <a:pt x="477838" y="752475"/>
                      </a:moveTo>
                      <a:lnTo>
                        <a:pt x="477838" y="903288"/>
                      </a:lnTo>
                      <a:lnTo>
                        <a:pt x="752476" y="903288"/>
                      </a:lnTo>
                      <a:lnTo>
                        <a:pt x="752476" y="752475"/>
                      </a:lnTo>
                      <a:lnTo>
                        <a:pt x="615951" y="752475"/>
                      </a:lnTo>
                      <a:close/>
                      <a:moveTo>
                        <a:pt x="31750" y="752475"/>
                      </a:moveTo>
                      <a:lnTo>
                        <a:pt x="31750" y="903288"/>
                      </a:lnTo>
                      <a:lnTo>
                        <a:pt x="304800" y="903288"/>
                      </a:lnTo>
                      <a:lnTo>
                        <a:pt x="304800" y="752475"/>
                      </a:lnTo>
                      <a:lnTo>
                        <a:pt x="168275" y="752475"/>
                      </a:lnTo>
                      <a:close/>
                      <a:moveTo>
                        <a:pt x="599612" y="503237"/>
                      </a:moveTo>
                      <a:cubicBezTo>
                        <a:pt x="599612" y="503237"/>
                        <a:pt x="599612" y="503237"/>
                        <a:pt x="631021" y="503237"/>
                      </a:cubicBezTo>
                      <a:cubicBezTo>
                        <a:pt x="631021" y="503237"/>
                        <a:pt x="631021" y="503237"/>
                        <a:pt x="631021" y="596021"/>
                      </a:cubicBezTo>
                      <a:cubicBezTo>
                        <a:pt x="631021" y="596021"/>
                        <a:pt x="631021" y="596021"/>
                        <a:pt x="1065740" y="596021"/>
                      </a:cubicBezTo>
                      <a:cubicBezTo>
                        <a:pt x="1074305" y="596021"/>
                        <a:pt x="1081444" y="603158"/>
                        <a:pt x="1081444" y="611722"/>
                      </a:cubicBezTo>
                      <a:cubicBezTo>
                        <a:pt x="1081444" y="611722"/>
                        <a:pt x="1081444" y="611722"/>
                        <a:pt x="1081444" y="721635"/>
                      </a:cubicBezTo>
                      <a:cubicBezTo>
                        <a:pt x="1081444" y="721635"/>
                        <a:pt x="1081444" y="721635"/>
                        <a:pt x="1217784" y="721635"/>
                      </a:cubicBezTo>
                      <a:cubicBezTo>
                        <a:pt x="1226350" y="721635"/>
                        <a:pt x="1233488" y="728772"/>
                        <a:pt x="1233488" y="737337"/>
                      </a:cubicBezTo>
                      <a:cubicBezTo>
                        <a:pt x="1233488" y="737337"/>
                        <a:pt x="1233488" y="737337"/>
                        <a:pt x="1233488" y="919335"/>
                      </a:cubicBezTo>
                      <a:cubicBezTo>
                        <a:pt x="1233488" y="927900"/>
                        <a:pt x="1226350" y="935037"/>
                        <a:pt x="1217784" y="935037"/>
                      </a:cubicBezTo>
                      <a:cubicBezTo>
                        <a:pt x="1217784" y="935037"/>
                        <a:pt x="1217784" y="935037"/>
                        <a:pt x="912981" y="935037"/>
                      </a:cubicBezTo>
                      <a:cubicBezTo>
                        <a:pt x="904415" y="935037"/>
                        <a:pt x="897277" y="927900"/>
                        <a:pt x="897277" y="919335"/>
                      </a:cubicBezTo>
                      <a:cubicBezTo>
                        <a:pt x="897277" y="919335"/>
                        <a:pt x="897277" y="919335"/>
                        <a:pt x="897277" y="737337"/>
                      </a:cubicBezTo>
                      <a:cubicBezTo>
                        <a:pt x="897277" y="728772"/>
                        <a:pt x="904415" y="721635"/>
                        <a:pt x="912981" y="721635"/>
                      </a:cubicBezTo>
                      <a:cubicBezTo>
                        <a:pt x="912981" y="721635"/>
                        <a:pt x="912981" y="721635"/>
                        <a:pt x="1050035" y="721635"/>
                      </a:cubicBezTo>
                      <a:cubicBezTo>
                        <a:pt x="1050035" y="721635"/>
                        <a:pt x="1050035" y="721635"/>
                        <a:pt x="1050035" y="627424"/>
                      </a:cubicBezTo>
                      <a:cubicBezTo>
                        <a:pt x="1050035" y="627424"/>
                        <a:pt x="1050035" y="627424"/>
                        <a:pt x="631021" y="627424"/>
                      </a:cubicBezTo>
                      <a:cubicBezTo>
                        <a:pt x="631021" y="627424"/>
                        <a:pt x="631021" y="627424"/>
                        <a:pt x="631021" y="721635"/>
                      </a:cubicBezTo>
                      <a:cubicBezTo>
                        <a:pt x="631021" y="721635"/>
                        <a:pt x="631021" y="721635"/>
                        <a:pt x="767361" y="721635"/>
                      </a:cubicBezTo>
                      <a:cubicBezTo>
                        <a:pt x="775927" y="721635"/>
                        <a:pt x="783065" y="728772"/>
                        <a:pt x="783065" y="737337"/>
                      </a:cubicBezTo>
                      <a:cubicBezTo>
                        <a:pt x="783065" y="737337"/>
                        <a:pt x="783065" y="737337"/>
                        <a:pt x="783065" y="919335"/>
                      </a:cubicBezTo>
                      <a:cubicBezTo>
                        <a:pt x="783065" y="927900"/>
                        <a:pt x="775927" y="935037"/>
                        <a:pt x="767361" y="935037"/>
                      </a:cubicBezTo>
                      <a:cubicBezTo>
                        <a:pt x="767361" y="935037"/>
                        <a:pt x="767361" y="935037"/>
                        <a:pt x="462558" y="935037"/>
                      </a:cubicBezTo>
                      <a:cubicBezTo>
                        <a:pt x="453992" y="935037"/>
                        <a:pt x="446854" y="927900"/>
                        <a:pt x="446854" y="919335"/>
                      </a:cubicBezTo>
                      <a:cubicBezTo>
                        <a:pt x="446854" y="919335"/>
                        <a:pt x="446854" y="919335"/>
                        <a:pt x="446854" y="737337"/>
                      </a:cubicBezTo>
                      <a:cubicBezTo>
                        <a:pt x="446854" y="728772"/>
                        <a:pt x="453992" y="721635"/>
                        <a:pt x="462558" y="721635"/>
                      </a:cubicBezTo>
                      <a:cubicBezTo>
                        <a:pt x="462558" y="721635"/>
                        <a:pt x="462558" y="721635"/>
                        <a:pt x="599612" y="721635"/>
                      </a:cubicBezTo>
                      <a:cubicBezTo>
                        <a:pt x="599612" y="721635"/>
                        <a:pt x="599612" y="721635"/>
                        <a:pt x="599612" y="627424"/>
                      </a:cubicBezTo>
                      <a:cubicBezTo>
                        <a:pt x="599612" y="627424"/>
                        <a:pt x="599612" y="627424"/>
                        <a:pt x="183453" y="627424"/>
                      </a:cubicBezTo>
                      <a:cubicBezTo>
                        <a:pt x="183453" y="627424"/>
                        <a:pt x="183453" y="627424"/>
                        <a:pt x="183453" y="721635"/>
                      </a:cubicBezTo>
                      <a:cubicBezTo>
                        <a:pt x="183453" y="721635"/>
                        <a:pt x="183453" y="721635"/>
                        <a:pt x="320507" y="721635"/>
                      </a:cubicBezTo>
                      <a:cubicBezTo>
                        <a:pt x="329073" y="721635"/>
                        <a:pt x="336211" y="728772"/>
                        <a:pt x="336211" y="737337"/>
                      </a:cubicBezTo>
                      <a:cubicBezTo>
                        <a:pt x="336211" y="737337"/>
                        <a:pt x="336211" y="737337"/>
                        <a:pt x="336211" y="919335"/>
                      </a:cubicBezTo>
                      <a:cubicBezTo>
                        <a:pt x="336211" y="927900"/>
                        <a:pt x="329073" y="935037"/>
                        <a:pt x="320507" y="935037"/>
                      </a:cubicBezTo>
                      <a:cubicBezTo>
                        <a:pt x="320507" y="935037"/>
                        <a:pt x="320507" y="935037"/>
                        <a:pt x="15704" y="935037"/>
                      </a:cubicBezTo>
                      <a:cubicBezTo>
                        <a:pt x="7138" y="935037"/>
                        <a:pt x="0" y="927900"/>
                        <a:pt x="0" y="919335"/>
                      </a:cubicBezTo>
                      <a:cubicBezTo>
                        <a:pt x="0" y="919335"/>
                        <a:pt x="0" y="919335"/>
                        <a:pt x="0" y="737337"/>
                      </a:cubicBezTo>
                      <a:cubicBezTo>
                        <a:pt x="0" y="728772"/>
                        <a:pt x="7138" y="721635"/>
                        <a:pt x="15704" y="721635"/>
                      </a:cubicBezTo>
                      <a:cubicBezTo>
                        <a:pt x="15704" y="721635"/>
                        <a:pt x="15704" y="721635"/>
                        <a:pt x="152045" y="721635"/>
                      </a:cubicBezTo>
                      <a:cubicBezTo>
                        <a:pt x="152045" y="721635"/>
                        <a:pt x="152045" y="721635"/>
                        <a:pt x="152045" y="611722"/>
                      </a:cubicBezTo>
                      <a:cubicBezTo>
                        <a:pt x="152045" y="603158"/>
                        <a:pt x="159183" y="596021"/>
                        <a:pt x="167749" y="596021"/>
                      </a:cubicBezTo>
                      <a:cubicBezTo>
                        <a:pt x="167749" y="596021"/>
                        <a:pt x="167749" y="596021"/>
                        <a:pt x="599612" y="596021"/>
                      </a:cubicBezTo>
                      <a:cubicBezTo>
                        <a:pt x="599612" y="596021"/>
                        <a:pt x="599612" y="596021"/>
                        <a:pt x="599612" y="503237"/>
                      </a:cubicBezTo>
                      <a:close/>
                      <a:moveTo>
                        <a:pt x="756510" y="280987"/>
                      </a:moveTo>
                      <a:cubicBezTo>
                        <a:pt x="777117" y="281698"/>
                        <a:pt x="875885" y="285252"/>
                        <a:pt x="932020" y="311552"/>
                      </a:cubicBezTo>
                      <a:cubicBezTo>
                        <a:pt x="983180" y="334299"/>
                        <a:pt x="1020129" y="423862"/>
                        <a:pt x="1032920" y="457982"/>
                      </a:cubicBezTo>
                      <a:cubicBezTo>
                        <a:pt x="1035051" y="464379"/>
                        <a:pt x="1030077" y="471487"/>
                        <a:pt x="1022972" y="471487"/>
                      </a:cubicBezTo>
                      <a:cubicBezTo>
                        <a:pt x="1022972" y="471487"/>
                        <a:pt x="1022972" y="471487"/>
                        <a:pt x="714587" y="471487"/>
                      </a:cubicBezTo>
                      <a:cubicBezTo>
                        <a:pt x="711745" y="471487"/>
                        <a:pt x="709613" y="468644"/>
                        <a:pt x="710324" y="465801"/>
                      </a:cubicBezTo>
                      <a:cubicBezTo>
                        <a:pt x="710324" y="465801"/>
                        <a:pt x="710324" y="465801"/>
                        <a:pt x="752247" y="284541"/>
                      </a:cubicBezTo>
                      <a:cubicBezTo>
                        <a:pt x="752958" y="282409"/>
                        <a:pt x="754379" y="280987"/>
                        <a:pt x="756510" y="280987"/>
                      </a:cubicBezTo>
                      <a:close/>
                      <a:moveTo>
                        <a:pt x="478337" y="280987"/>
                      </a:moveTo>
                      <a:cubicBezTo>
                        <a:pt x="480479" y="280987"/>
                        <a:pt x="481907" y="282409"/>
                        <a:pt x="482621" y="284541"/>
                      </a:cubicBezTo>
                      <a:cubicBezTo>
                        <a:pt x="482621" y="284541"/>
                        <a:pt x="482621" y="284541"/>
                        <a:pt x="524749" y="465801"/>
                      </a:cubicBezTo>
                      <a:cubicBezTo>
                        <a:pt x="525463" y="468644"/>
                        <a:pt x="523321" y="471487"/>
                        <a:pt x="520465" y="471487"/>
                      </a:cubicBezTo>
                      <a:cubicBezTo>
                        <a:pt x="520465" y="471487"/>
                        <a:pt x="520465" y="471487"/>
                        <a:pt x="210576" y="471487"/>
                      </a:cubicBezTo>
                      <a:cubicBezTo>
                        <a:pt x="203436" y="471487"/>
                        <a:pt x="198438" y="464379"/>
                        <a:pt x="200580" y="457982"/>
                      </a:cubicBezTo>
                      <a:cubicBezTo>
                        <a:pt x="213432" y="423862"/>
                        <a:pt x="250562" y="334299"/>
                        <a:pt x="301972" y="311552"/>
                      </a:cubicBezTo>
                      <a:cubicBezTo>
                        <a:pt x="358380" y="285252"/>
                        <a:pt x="457630" y="281698"/>
                        <a:pt x="478337" y="280987"/>
                      </a:cubicBezTo>
                      <a:close/>
                      <a:moveTo>
                        <a:pt x="393700" y="0"/>
                      </a:moveTo>
                      <a:cubicBezTo>
                        <a:pt x="393700" y="0"/>
                        <a:pt x="393700" y="0"/>
                        <a:pt x="421526" y="12851"/>
                      </a:cubicBezTo>
                      <a:cubicBezTo>
                        <a:pt x="425093" y="20705"/>
                        <a:pt x="430801" y="28559"/>
                        <a:pt x="440790" y="33557"/>
                      </a:cubicBezTo>
                      <a:cubicBezTo>
                        <a:pt x="442930" y="34271"/>
                        <a:pt x="445071" y="36413"/>
                        <a:pt x="445784" y="39269"/>
                      </a:cubicBezTo>
                      <a:cubicBezTo>
                        <a:pt x="464335" y="87105"/>
                        <a:pt x="499295" y="167071"/>
                        <a:pt x="512138" y="179208"/>
                      </a:cubicBezTo>
                      <a:cubicBezTo>
                        <a:pt x="532115" y="196344"/>
                        <a:pt x="587054" y="231329"/>
                        <a:pt x="616306" y="231329"/>
                      </a:cubicBezTo>
                      <a:cubicBezTo>
                        <a:pt x="645559" y="231329"/>
                        <a:pt x="700498" y="196344"/>
                        <a:pt x="720476" y="179208"/>
                      </a:cubicBezTo>
                      <a:cubicBezTo>
                        <a:pt x="733318" y="167071"/>
                        <a:pt x="767565" y="87105"/>
                        <a:pt x="786829" y="39269"/>
                      </a:cubicBezTo>
                      <a:cubicBezTo>
                        <a:pt x="787543" y="36413"/>
                        <a:pt x="789683" y="34271"/>
                        <a:pt x="791824" y="33557"/>
                      </a:cubicBezTo>
                      <a:cubicBezTo>
                        <a:pt x="801099" y="28559"/>
                        <a:pt x="806807" y="21419"/>
                        <a:pt x="810374" y="14279"/>
                      </a:cubicBezTo>
                      <a:cubicBezTo>
                        <a:pt x="810374" y="14279"/>
                        <a:pt x="810374" y="14279"/>
                        <a:pt x="838200" y="714"/>
                      </a:cubicBezTo>
                      <a:cubicBezTo>
                        <a:pt x="836773" y="12137"/>
                        <a:pt x="829638" y="37127"/>
                        <a:pt x="806093" y="51406"/>
                      </a:cubicBezTo>
                      <a:cubicBezTo>
                        <a:pt x="795391" y="79965"/>
                        <a:pt x="755436" y="178494"/>
                        <a:pt x="735459" y="196344"/>
                      </a:cubicBezTo>
                      <a:cubicBezTo>
                        <a:pt x="732605" y="197772"/>
                        <a:pt x="730464" y="200628"/>
                        <a:pt x="726897" y="202769"/>
                      </a:cubicBezTo>
                      <a:cubicBezTo>
                        <a:pt x="726897" y="202769"/>
                        <a:pt x="726897" y="202769"/>
                        <a:pt x="726897" y="246322"/>
                      </a:cubicBezTo>
                      <a:cubicBezTo>
                        <a:pt x="726897" y="246322"/>
                        <a:pt x="726897" y="246322"/>
                        <a:pt x="726897" y="262030"/>
                      </a:cubicBezTo>
                      <a:cubicBezTo>
                        <a:pt x="726897" y="262030"/>
                        <a:pt x="726897" y="262030"/>
                        <a:pt x="726183" y="262744"/>
                      </a:cubicBezTo>
                      <a:cubicBezTo>
                        <a:pt x="725470" y="263458"/>
                        <a:pt x="718335" y="273453"/>
                        <a:pt x="704065" y="284163"/>
                      </a:cubicBezTo>
                      <a:cubicBezTo>
                        <a:pt x="704065" y="284163"/>
                        <a:pt x="704065" y="284163"/>
                        <a:pt x="704065" y="260602"/>
                      </a:cubicBezTo>
                      <a:cubicBezTo>
                        <a:pt x="704065" y="260602"/>
                        <a:pt x="704065" y="260602"/>
                        <a:pt x="704065" y="219191"/>
                      </a:cubicBezTo>
                      <a:cubicBezTo>
                        <a:pt x="676953" y="236326"/>
                        <a:pt x="641992" y="254176"/>
                        <a:pt x="616306" y="254176"/>
                      </a:cubicBezTo>
                      <a:cubicBezTo>
                        <a:pt x="590621" y="254176"/>
                        <a:pt x="555660" y="236326"/>
                        <a:pt x="528548" y="219191"/>
                      </a:cubicBezTo>
                      <a:cubicBezTo>
                        <a:pt x="528548" y="219191"/>
                        <a:pt x="528548" y="219191"/>
                        <a:pt x="528548" y="260602"/>
                      </a:cubicBezTo>
                      <a:cubicBezTo>
                        <a:pt x="528548" y="260602"/>
                        <a:pt x="528548" y="260602"/>
                        <a:pt x="528548" y="284163"/>
                      </a:cubicBezTo>
                      <a:cubicBezTo>
                        <a:pt x="514278" y="273453"/>
                        <a:pt x="507144" y="263458"/>
                        <a:pt x="506430" y="262744"/>
                      </a:cubicBezTo>
                      <a:cubicBezTo>
                        <a:pt x="506430" y="262744"/>
                        <a:pt x="506430" y="262744"/>
                        <a:pt x="505717" y="262030"/>
                      </a:cubicBezTo>
                      <a:cubicBezTo>
                        <a:pt x="505717" y="262030"/>
                        <a:pt x="505717" y="262030"/>
                        <a:pt x="505717" y="246322"/>
                      </a:cubicBezTo>
                      <a:cubicBezTo>
                        <a:pt x="505717" y="246322"/>
                        <a:pt x="505717" y="246322"/>
                        <a:pt x="505717" y="202769"/>
                      </a:cubicBezTo>
                      <a:cubicBezTo>
                        <a:pt x="502149" y="200628"/>
                        <a:pt x="499295" y="197772"/>
                        <a:pt x="497155" y="196344"/>
                      </a:cubicBezTo>
                      <a:cubicBezTo>
                        <a:pt x="477177" y="178494"/>
                        <a:pt x="437222" y="79965"/>
                        <a:pt x="426520" y="51406"/>
                      </a:cubicBezTo>
                      <a:cubicBezTo>
                        <a:pt x="402975" y="37841"/>
                        <a:pt x="395840" y="14279"/>
                        <a:pt x="393700" y="714"/>
                      </a:cubicBezTo>
                      <a:cubicBezTo>
                        <a:pt x="393700" y="714"/>
                        <a:pt x="393700" y="0"/>
                        <a:pt x="393700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600"/>
                </a:p>
              </p:txBody>
            </p:sp>
            <p:sp>
              <p:nvSpPr>
                <p:cNvPr id="71" name="Freeform 14">
                  <a:extLst>
                    <a:ext uri="{FF2B5EF4-FFF2-40B4-BE49-F238E27FC236}">
                      <a16:creationId xmlns:a16="http://schemas.microsoft.com/office/drawing/2014/main" id="{0F518AFE-4D17-4900-838E-F2AE136F9A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3550" y="2773362"/>
                  <a:ext cx="1106488" cy="1209676"/>
                </a:xfrm>
                <a:custGeom>
                  <a:avLst/>
                  <a:gdLst>
                    <a:gd name="connsiteX0" fmla="*/ 904042 w 1106488"/>
                    <a:gd name="connsiteY0" fmla="*/ 1120776 h 1209676"/>
                    <a:gd name="connsiteX1" fmla="*/ 1099385 w 1106488"/>
                    <a:gd name="connsiteY1" fmla="*/ 1120776 h 1209676"/>
                    <a:gd name="connsiteX2" fmla="*/ 1106488 w 1106488"/>
                    <a:gd name="connsiteY2" fmla="*/ 1128004 h 1209676"/>
                    <a:gd name="connsiteX3" fmla="*/ 1106488 w 1106488"/>
                    <a:gd name="connsiteY3" fmla="*/ 1202448 h 1209676"/>
                    <a:gd name="connsiteX4" fmla="*/ 1099385 w 1106488"/>
                    <a:gd name="connsiteY4" fmla="*/ 1209676 h 1209676"/>
                    <a:gd name="connsiteX5" fmla="*/ 904042 w 1106488"/>
                    <a:gd name="connsiteY5" fmla="*/ 1209676 h 1209676"/>
                    <a:gd name="connsiteX6" fmla="*/ 896938 w 1106488"/>
                    <a:gd name="connsiteY6" fmla="*/ 1202448 h 1209676"/>
                    <a:gd name="connsiteX7" fmla="*/ 896938 w 1106488"/>
                    <a:gd name="connsiteY7" fmla="*/ 1128004 h 1209676"/>
                    <a:gd name="connsiteX8" fmla="*/ 904042 w 1106488"/>
                    <a:gd name="connsiteY8" fmla="*/ 1120776 h 1209676"/>
                    <a:gd name="connsiteX9" fmla="*/ 453245 w 1106488"/>
                    <a:gd name="connsiteY9" fmla="*/ 1120776 h 1209676"/>
                    <a:gd name="connsiteX10" fmla="*/ 650069 w 1106488"/>
                    <a:gd name="connsiteY10" fmla="*/ 1120776 h 1209676"/>
                    <a:gd name="connsiteX11" fmla="*/ 657226 w 1106488"/>
                    <a:gd name="connsiteY11" fmla="*/ 1128004 h 1209676"/>
                    <a:gd name="connsiteX12" fmla="*/ 657226 w 1106488"/>
                    <a:gd name="connsiteY12" fmla="*/ 1202448 h 1209676"/>
                    <a:gd name="connsiteX13" fmla="*/ 650069 w 1106488"/>
                    <a:gd name="connsiteY13" fmla="*/ 1209676 h 1209676"/>
                    <a:gd name="connsiteX14" fmla="*/ 453245 w 1106488"/>
                    <a:gd name="connsiteY14" fmla="*/ 1209676 h 1209676"/>
                    <a:gd name="connsiteX15" fmla="*/ 446088 w 1106488"/>
                    <a:gd name="connsiteY15" fmla="*/ 1202448 h 1209676"/>
                    <a:gd name="connsiteX16" fmla="*/ 446088 w 1106488"/>
                    <a:gd name="connsiteY16" fmla="*/ 1128004 h 1209676"/>
                    <a:gd name="connsiteX17" fmla="*/ 453245 w 1106488"/>
                    <a:gd name="connsiteY17" fmla="*/ 1120776 h 1209676"/>
                    <a:gd name="connsiteX18" fmla="*/ 7104 w 1106488"/>
                    <a:gd name="connsiteY18" fmla="*/ 1120776 h 1209676"/>
                    <a:gd name="connsiteX19" fmla="*/ 202447 w 1106488"/>
                    <a:gd name="connsiteY19" fmla="*/ 1120776 h 1209676"/>
                    <a:gd name="connsiteX20" fmla="*/ 209550 w 1106488"/>
                    <a:gd name="connsiteY20" fmla="*/ 1128004 h 1209676"/>
                    <a:gd name="connsiteX21" fmla="*/ 209550 w 1106488"/>
                    <a:gd name="connsiteY21" fmla="*/ 1202448 h 1209676"/>
                    <a:gd name="connsiteX22" fmla="*/ 202447 w 1106488"/>
                    <a:gd name="connsiteY22" fmla="*/ 1209676 h 1209676"/>
                    <a:gd name="connsiteX23" fmla="*/ 7104 w 1106488"/>
                    <a:gd name="connsiteY23" fmla="*/ 1209676 h 1209676"/>
                    <a:gd name="connsiteX24" fmla="*/ 0 w 1106488"/>
                    <a:gd name="connsiteY24" fmla="*/ 1202448 h 1209676"/>
                    <a:gd name="connsiteX25" fmla="*/ 0 w 1106488"/>
                    <a:gd name="connsiteY25" fmla="*/ 1128004 h 1209676"/>
                    <a:gd name="connsiteX26" fmla="*/ 7104 w 1106488"/>
                    <a:gd name="connsiteY26" fmla="*/ 1120776 h 1209676"/>
                    <a:gd name="connsiteX27" fmla="*/ 554155 w 1106488"/>
                    <a:gd name="connsiteY27" fmla="*/ 644525 h 1209676"/>
                    <a:gd name="connsiteX28" fmla="*/ 579854 w 1106488"/>
                    <a:gd name="connsiteY28" fmla="*/ 647381 h 1209676"/>
                    <a:gd name="connsiteX29" fmla="*/ 599127 w 1106488"/>
                    <a:gd name="connsiteY29" fmla="*/ 650951 h 1209676"/>
                    <a:gd name="connsiteX30" fmla="*/ 601983 w 1106488"/>
                    <a:gd name="connsiteY30" fmla="*/ 657378 h 1209676"/>
                    <a:gd name="connsiteX31" fmla="*/ 572001 w 1106488"/>
                    <a:gd name="connsiteY31" fmla="*/ 704504 h 1209676"/>
                    <a:gd name="connsiteX32" fmla="*/ 572001 w 1106488"/>
                    <a:gd name="connsiteY32" fmla="*/ 708074 h 1209676"/>
                    <a:gd name="connsiteX33" fmla="*/ 604124 w 1106488"/>
                    <a:gd name="connsiteY33" fmla="*/ 802326 h 1209676"/>
                    <a:gd name="connsiteX34" fmla="*/ 599127 w 1106488"/>
                    <a:gd name="connsiteY34" fmla="*/ 808038 h 1209676"/>
                    <a:gd name="connsiteX35" fmla="*/ 567004 w 1106488"/>
                    <a:gd name="connsiteY35" fmla="*/ 808038 h 1209676"/>
                    <a:gd name="connsiteX36" fmla="*/ 535595 w 1106488"/>
                    <a:gd name="connsiteY36" fmla="*/ 808038 h 1209676"/>
                    <a:gd name="connsiteX37" fmla="*/ 503472 w 1106488"/>
                    <a:gd name="connsiteY37" fmla="*/ 808038 h 1209676"/>
                    <a:gd name="connsiteX38" fmla="*/ 499189 w 1106488"/>
                    <a:gd name="connsiteY38" fmla="*/ 802326 h 1209676"/>
                    <a:gd name="connsiteX39" fmla="*/ 534168 w 1106488"/>
                    <a:gd name="connsiteY39" fmla="*/ 708074 h 1209676"/>
                    <a:gd name="connsiteX40" fmla="*/ 533454 w 1106488"/>
                    <a:gd name="connsiteY40" fmla="*/ 704504 h 1209676"/>
                    <a:gd name="connsiteX41" fmla="*/ 504186 w 1106488"/>
                    <a:gd name="connsiteY41" fmla="*/ 658092 h 1209676"/>
                    <a:gd name="connsiteX42" fmla="*/ 507041 w 1106488"/>
                    <a:gd name="connsiteY42" fmla="*/ 650951 h 1209676"/>
                    <a:gd name="connsiteX43" fmla="*/ 526315 w 1106488"/>
                    <a:gd name="connsiteY43" fmla="*/ 647381 h 1209676"/>
                    <a:gd name="connsiteX44" fmla="*/ 554155 w 1106488"/>
                    <a:gd name="connsiteY44" fmla="*/ 644525 h 1209676"/>
                    <a:gd name="connsiteX45" fmla="*/ 552887 w 1106488"/>
                    <a:gd name="connsiteY45" fmla="*/ 0 h 1209676"/>
                    <a:gd name="connsiteX46" fmla="*/ 772398 w 1106488"/>
                    <a:gd name="connsiteY46" fmla="*/ 224261 h 1209676"/>
                    <a:gd name="connsiteX47" fmla="*/ 764533 w 1106488"/>
                    <a:gd name="connsiteY47" fmla="*/ 300681 h 1209676"/>
                    <a:gd name="connsiteX48" fmla="*/ 764533 w 1106488"/>
                    <a:gd name="connsiteY48" fmla="*/ 299967 h 1209676"/>
                    <a:gd name="connsiteX49" fmla="*/ 739507 w 1106488"/>
                    <a:gd name="connsiteY49" fmla="*/ 334963 h 1209676"/>
                    <a:gd name="connsiteX50" fmla="*/ 723062 w 1106488"/>
                    <a:gd name="connsiteY50" fmla="*/ 334963 h 1209676"/>
                    <a:gd name="connsiteX51" fmla="*/ 720917 w 1106488"/>
                    <a:gd name="connsiteY51" fmla="*/ 169981 h 1209676"/>
                    <a:gd name="connsiteX52" fmla="*/ 432763 w 1106488"/>
                    <a:gd name="connsiteY52" fmla="*/ 179980 h 1209676"/>
                    <a:gd name="connsiteX53" fmla="*/ 378421 w 1106488"/>
                    <a:gd name="connsiteY53" fmla="*/ 332106 h 1209676"/>
                    <a:gd name="connsiteX54" fmla="*/ 364121 w 1106488"/>
                    <a:gd name="connsiteY54" fmla="*/ 330678 h 1209676"/>
                    <a:gd name="connsiteX55" fmla="*/ 341955 w 1106488"/>
                    <a:gd name="connsiteY55" fmla="*/ 302824 h 1209676"/>
                    <a:gd name="connsiteX56" fmla="*/ 333375 w 1106488"/>
                    <a:gd name="connsiteY56" fmla="*/ 224261 h 1209676"/>
                    <a:gd name="connsiteX57" fmla="*/ 552887 w 1106488"/>
                    <a:gd name="connsiteY57" fmla="*/ 0 h 12096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1106488" h="1209676">
                      <a:moveTo>
                        <a:pt x="904042" y="1120776"/>
                      </a:moveTo>
                      <a:cubicBezTo>
                        <a:pt x="904042" y="1120776"/>
                        <a:pt x="904042" y="1120776"/>
                        <a:pt x="1099385" y="1120776"/>
                      </a:cubicBezTo>
                      <a:cubicBezTo>
                        <a:pt x="1103647" y="1120776"/>
                        <a:pt x="1106488" y="1124390"/>
                        <a:pt x="1106488" y="1128004"/>
                      </a:cubicBezTo>
                      <a:cubicBezTo>
                        <a:pt x="1106488" y="1128004"/>
                        <a:pt x="1106488" y="1128004"/>
                        <a:pt x="1106488" y="1202448"/>
                      </a:cubicBezTo>
                      <a:cubicBezTo>
                        <a:pt x="1106488" y="1206785"/>
                        <a:pt x="1103647" y="1209676"/>
                        <a:pt x="1099385" y="1209676"/>
                      </a:cubicBezTo>
                      <a:cubicBezTo>
                        <a:pt x="1099385" y="1209676"/>
                        <a:pt x="1099385" y="1209676"/>
                        <a:pt x="904042" y="1209676"/>
                      </a:cubicBezTo>
                      <a:cubicBezTo>
                        <a:pt x="899780" y="1209676"/>
                        <a:pt x="896938" y="1206785"/>
                        <a:pt x="896938" y="1202448"/>
                      </a:cubicBezTo>
                      <a:cubicBezTo>
                        <a:pt x="896938" y="1202448"/>
                        <a:pt x="896938" y="1202448"/>
                        <a:pt x="896938" y="1128004"/>
                      </a:cubicBezTo>
                      <a:cubicBezTo>
                        <a:pt x="896938" y="1124390"/>
                        <a:pt x="899780" y="1120776"/>
                        <a:pt x="904042" y="1120776"/>
                      </a:cubicBezTo>
                      <a:close/>
                      <a:moveTo>
                        <a:pt x="453245" y="1120776"/>
                      </a:moveTo>
                      <a:cubicBezTo>
                        <a:pt x="453245" y="1120776"/>
                        <a:pt x="453245" y="1120776"/>
                        <a:pt x="650069" y="1120776"/>
                      </a:cubicBezTo>
                      <a:cubicBezTo>
                        <a:pt x="654363" y="1120776"/>
                        <a:pt x="657226" y="1124390"/>
                        <a:pt x="657226" y="1128004"/>
                      </a:cubicBezTo>
                      <a:cubicBezTo>
                        <a:pt x="657226" y="1128004"/>
                        <a:pt x="657226" y="1128004"/>
                        <a:pt x="657226" y="1202448"/>
                      </a:cubicBezTo>
                      <a:cubicBezTo>
                        <a:pt x="657226" y="1206785"/>
                        <a:pt x="654363" y="1209676"/>
                        <a:pt x="650069" y="1209676"/>
                      </a:cubicBezTo>
                      <a:cubicBezTo>
                        <a:pt x="650069" y="1209676"/>
                        <a:pt x="650069" y="1209676"/>
                        <a:pt x="453245" y="1209676"/>
                      </a:cubicBezTo>
                      <a:cubicBezTo>
                        <a:pt x="448951" y="1209676"/>
                        <a:pt x="446088" y="1206785"/>
                        <a:pt x="446088" y="1202448"/>
                      </a:cubicBezTo>
                      <a:cubicBezTo>
                        <a:pt x="446088" y="1202448"/>
                        <a:pt x="446088" y="1202448"/>
                        <a:pt x="446088" y="1128004"/>
                      </a:cubicBezTo>
                      <a:cubicBezTo>
                        <a:pt x="446088" y="1124390"/>
                        <a:pt x="448951" y="1120776"/>
                        <a:pt x="453245" y="1120776"/>
                      </a:cubicBezTo>
                      <a:close/>
                      <a:moveTo>
                        <a:pt x="7104" y="1120776"/>
                      </a:moveTo>
                      <a:cubicBezTo>
                        <a:pt x="7104" y="1120776"/>
                        <a:pt x="7104" y="1120776"/>
                        <a:pt x="202447" y="1120776"/>
                      </a:cubicBezTo>
                      <a:cubicBezTo>
                        <a:pt x="206709" y="1120776"/>
                        <a:pt x="209550" y="1124390"/>
                        <a:pt x="209550" y="1128004"/>
                      </a:cubicBezTo>
                      <a:cubicBezTo>
                        <a:pt x="209550" y="1128004"/>
                        <a:pt x="209550" y="1128004"/>
                        <a:pt x="209550" y="1202448"/>
                      </a:cubicBezTo>
                      <a:cubicBezTo>
                        <a:pt x="209550" y="1206785"/>
                        <a:pt x="206709" y="1209676"/>
                        <a:pt x="202447" y="1209676"/>
                      </a:cubicBezTo>
                      <a:cubicBezTo>
                        <a:pt x="202447" y="1209676"/>
                        <a:pt x="202447" y="1209676"/>
                        <a:pt x="7104" y="1209676"/>
                      </a:cubicBezTo>
                      <a:cubicBezTo>
                        <a:pt x="2842" y="1209676"/>
                        <a:pt x="0" y="1206785"/>
                        <a:pt x="0" y="1202448"/>
                      </a:cubicBezTo>
                      <a:cubicBezTo>
                        <a:pt x="0" y="1202448"/>
                        <a:pt x="0" y="1202448"/>
                        <a:pt x="0" y="1128004"/>
                      </a:cubicBezTo>
                      <a:cubicBezTo>
                        <a:pt x="0" y="1124390"/>
                        <a:pt x="2842" y="1120776"/>
                        <a:pt x="7104" y="1120776"/>
                      </a:cubicBezTo>
                      <a:close/>
                      <a:moveTo>
                        <a:pt x="554155" y="644525"/>
                      </a:moveTo>
                      <a:cubicBezTo>
                        <a:pt x="562008" y="644525"/>
                        <a:pt x="571288" y="645953"/>
                        <a:pt x="579854" y="647381"/>
                      </a:cubicBezTo>
                      <a:cubicBezTo>
                        <a:pt x="587706" y="648809"/>
                        <a:pt x="594131" y="650237"/>
                        <a:pt x="599127" y="650951"/>
                      </a:cubicBezTo>
                      <a:cubicBezTo>
                        <a:pt x="601983" y="651665"/>
                        <a:pt x="603411" y="655236"/>
                        <a:pt x="601983" y="657378"/>
                      </a:cubicBezTo>
                      <a:cubicBezTo>
                        <a:pt x="601983" y="657378"/>
                        <a:pt x="601983" y="657378"/>
                        <a:pt x="572001" y="704504"/>
                      </a:cubicBezTo>
                      <a:cubicBezTo>
                        <a:pt x="571288" y="705218"/>
                        <a:pt x="571288" y="706646"/>
                        <a:pt x="572001" y="708074"/>
                      </a:cubicBezTo>
                      <a:cubicBezTo>
                        <a:pt x="572001" y="708074"/>
                        <a:pt x="572001" y="708074"/>
                        <a:pt x="604124" y="802326"/>
                      </a:cubicBezTo>
                      <a:cubicBezTo>
                        <a:pt x="604838" y="805182"/>
                        <a:pt x="602697" y="808038"/>
                        <a:pt x="599127" y="808038"/>
                      </a:cubicBezTo>
                      <a:cubicBezTo>
                        <a:pt x="599127" y="808038"/>
                        <a:pt x="599127" y="808038"/>
                        <a:pt x="567004" y="808038"/>
                      </a:cubicBezTo>
                      <a:cubicBezTo>
                        <a:pt x="567004" y="808038"/>
                        <a:pt x="567004" y="808038"/>
                        <a:pt x="535595" y="808038"/>
                      </a:cubicBezTo>
                      <a:cubicBezTo>
                        <a:pt x="535595" y="808038"/>
                        <a:pt x="535595" y="808038"/>
                        <a:pt x="503472" y="808038"/>
                      </a:cubicBezTo>
                      <a:cubicBezTo>
                        <a:pt x="500617" y="808038"/>
                        <a:pt x="498475" y="805182"/>
                        <a:pt x="499189" y="802326"/>
                      </a:cubicBezTo>
                      <a:lnTo>
                        <a:pt x="534168" y="708074"/>
                      </a:lnTo>
                      <a:cubicBezTo>
                        <a:pt x="534168" y="707360"/>
                        <a:pt x="534168" y="705932"/>
                        <a:pt x="533454" y="704504"/>
                      </a:cubicBezTo>
                      <a:cubicBezTo>
                        <a:pt x="533454" y="704504"/>
                        <a:pt x="533454" y="704504"/>
                        <a:pt x="504186" y="658092"/>
                      </a:cubicBezTo>
                      <a:cubicBezTo>
                        <a:pt x="502044" y="655236"/>
                        <a:pt x="503472" y="651665"/>
                        <a:pt x="507041" y="650951"/>
                      </a:cubicBezTo>
                      <a:cubicBezTo>
                        <a:pt x="511324" y="650237"/>
                        <a:pt x="518463" y="648809"/>
                        <a:pt x="526315" y="647381"/>
                      </a:cubicBezTo>
                      <a:cubicBezTo>
                        <a:pt x="535595" y="645953"/>
                        <a:pt x="545589" y="644525"/>
                        <a:pt x="554155" y="644525"/>
                      </a:cubicBezTo>
                      <a:close/>
                      <a:moveTo>
                        <a:pt x="552887" y="0"/>
                      </a:moveTo>
                      <a:cubicBezTo>
                        <a:pt x="677300" y="0"/>
                        <a:pt x="772398" y="99989"/>
                        <a:pt x="772398" y="224261"/>
                      </a:cubicBezTo>
                      <a:cubicBezTo>
                        <a:pt x="772398" y="250686"/>
                        <a:pt x="773113" y="276398"/>
                        <a:pt x="764533" y="300681"/>
                      </a:cubicBezTo>
                      <a:cubicBezTo>
                        <a:pt x="764533" y="299967"/>
                        <a:pt x="764533" y="299967"/>
                        <a:pt x="764533" y="299967"/>
                      </a:cubicBezTo>
                      <a:cubicBezTo>
                        <a:pt x="763818" y="299967"/>
                        <a:pt x="760243" y="311394"/>
                        <a:pt x="739507" y="334963"/>
                      </a:cubicBezTo>
                      <a:cubicBezTo>
                        <a:pt x="739507" y="334963"/>
                        <a:pt x="739507" y="334963"/>
                        <a:pt x="723062" y="334963"/>
                      </a:cubicBezTo>
                      <a:cubicBezTo>
                        <a:pt x="723062" y="334963"/>
                        <a:pt x="723062" y="327107"/>
                        <a:pt x="720917" y="169981"/>
                      </a:cubicBezTo>
                      <a:cubicBezTo>
                        <a:pt x="696606" y="295681"/>
                        <a:pt x="432763" y="179980"/>
                        <a:pt x="432763" y="179980"/>
                      </a:cubicBezTo>
                      <a:cubicBezTo>
                        <a:pt x="366981" y="199978"/>
                        <a:pt x="378421" y="332106"/>
                        <a:pt x="378421" y="332106"/>
                      </a:cubicBezTo>
                      <a:cubicBezTo>
                        <a:pt x="378421" y="332106"/>
                        <a:pt x="378421" y="332106"/>
                        <a:pt x="364121" y="330678"/>
                      </a:cubicBezTo>
                      <a:cubicBezTo>
                        <a:pt x="364121" y="330678"/>
                        <a:pt x="364121" y="322821"/>
                        <a:pt x="341955" y="302824"/>
                      </a:cubicBezTo>
                      <a:cubicBezTo>
                        <a:pt x="333375" y="278541"/>
                        <a:pt x="333375" y="252115"/>
                        <a:pt x="333375" y="224261"/>
                      </a:cubicBezTo>
                      <a:cubicBezTo>
                        <a:pt x="333375" y="99989"/>
                        <a:pt x="428473" y="0"/>
                        <a:pt x="552887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600"/>
                </a:p>
              </p:txBody>
            </p:sp>
          </p:grpSp>
        </p:grpSp>
      </p:grp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6BE38E86-1E7D-4B0B-945A-84EC7D32B45B}"/>
              </a:ext>
            </a:extLst>
          </p:cNvPr>
          <p:cNvCxnSpPr/>
          <p:nvPr/>
        </p:nvCxnSpPr>
        <p:spPr>
          <a:xfrm>
            <a:off x="2178190" y="1572958"/>
            <a:ext cx="0" cy="741617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1">
            <a:extLst>
              <a:ext uri="{FF2B5EF4-FFF2-40B4-BE49-F238E27FC236}">
                <a16:creationId xmlns:a16="http://schemas.microsoft.com/office/drawing/2014/main" id="{F5FFBB37-2155-4E11-AF5B-94126AF50AD7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271829" y="3784736"/>
            <a:ext cx="806311" cy="221599"/>
          </a:xfrm>
          <a:prstGeom prst="rect">
            <a:avLst/>
          </a:prstGeom>
          <a:noFill/>
          <a:ln w="9525" cap="rnd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pattFill>
                  <a:fgClr>
                    <a:srgbClr val="40FEFE"/>
                  </a:fgClr>
                  <a:bgClr>
                    <a:srgbClr val="40FEFE"/>
                  </a:bgClr>
                </a:patt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Regional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FBD5691D-2D28-47AD-B71A-BF35953CBD4E}"/>
              </a:ext>
            </a:extLst>
          </p:cNvPr>
          <p:cNvGrpSpPr/>
          <p:nvPr/>
        </p:nvGrpSpPr>
        <p:grpSpPr>
          <a:xfrm>
            <a:off x="636573" y="3618290"/>
            <a:ext cx="553956" cy="554490"/>
            <a:chOff x="384787" y="3427320"/>
            <a:chExt cx="824252" cy="825046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EFC675B6-B1D2-48D2-8FBF-CB0C9BE95694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384787" y="3427320"/>
              <a:ext cx="824252" cy="825046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sz="16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E0DE4BCB-B5C3-4F85-B3B4-1E6987D9353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5496" y="3548145"/>
              <a:ext cx="582834" cy="583396"/>
              <a:chOff x="5273675" y="2570163"/>
              <a:chExt cx="1644650" cy="1646237"/>
            </a:xfrm>
          </p:grpSpPr>
          <p:sp>
            <p:nvSpPr>
              <p:cNvPr id="75" name="AutoShape 35">
                <a:extLst>
                  <a:ext uri="{FF2B5EF4-FFF2-40B4-BE49-F238E27FC236}">
                    <a16:creationId xmlns:a16="http://schemas.microsoft.com/office/drawing/2014/main" id="{4A33CEAA-454F-488D-9218-C210DF296F2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70163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F7CDB04A-5E53-444C-B8E6-C0FC6B3D2E4E}"/>
                  </a:ext>
                </a:extLst>
              </p:cNvPr>
              <p:cNvGrpSpPr/>
              <p:nvPr/>
            </p:nvGrpSpPr>
            <p:grpSpPr>
              <a:xfrm>
                <a:off x="5443538" y="2844800"/>
                <a:ext cx="1304925" cy="1100137"/>
                <a:chOff x="5443538" y="2844800"/>
                <a:chExt cx="1304925" cy="1100137"/>
              </a:xfrm>
            </p:grpSpPr>
            <p:sp>
              <p:nvSpPr>
                <p:cNvPr id="77" name="Freeform 24">
                  <a:extLst>
                    <a:ext uri="{FF2B5EF4-FFF2-40B4-BE49-F238E27FC236}">
                      <a16:creationId xmlns:a16="http://schemas.microsoft.com/office/drawing/2014/main" id="{D71C7E01-F824-43A2-BE1A-0DD92866D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5450" y="2916238"/>
                  <a:ext cx="1179513" cy="954087"/>
                </a:xfrm>
                <a:custGeom>
                  <a:avLst/>
                  <a:gdLst>
                    <a:gd name="connsiteX0" fmla="*/ 1179513 w 1179513"/>
                    <a:gd name="connsiteY0" fmla="*/ 566737 h 954087"/>
                    <a:gd name="connsiteX1" fmla="*/ 1179513 w 1179513"/>
                    <a:gd name="connsiteY1" fmla="*/ 777875 h 954087"/>
                    <a:gd name="connsiteX2" fmla="*/ 841375 w 1179513"/>
                    <a:gd name="connsiteY2" fmla="*/ 950912 h 954087"/>
                    <a:gd name="connsiteX3" fmla="*/ 841375 w 1179513"/>
                    <a:gd name="connsiteY3" fmla="*/ 719137 h 954087"/>
                    <a:gd name="connsiteX4" fmla="*/ 417513 w 1179513"/>
                    <a:gd name="connsiteY4" fmla="*/ 550862 h 954087"/>
                    <a:gd name="connsiteX5" fmla="*/ 811213 w 1179513"/>
                    <a:gd name="connsiteY5" fmla="*/ 718873 h 954087"/>
                    <a:gd name="connsiteX6" fmla="*/ 811213 w 1179513"/>
                    <a:gd name="connsiteY6" fmla="*/ 954087 h 954087"/>
                    <a:gd name="connsiteX7" fmla="*/ 434692 w 1179513"/>
                    <a:gd name="connsiteY7" fmla="*/ 781787 h 954087"/>
                    <a:gd name="connsiteX8" fmla="*/ 417513 w 1179513"/>
                    <a:gd name="connsiteY8" fmla="*/ 776783 h 954087"/>
                    <a:gd name="connsiteX9" fmla="*/ 385763 w 1179513"/>
                    <a:gd name="connsiteY9" fmla="*/ 549275 h 954087"/>
                    <a:gd name="connsiteX10" fmla="*/ 385763 w 1179513"/>
                    <a:gd name="connsiteY10" fmla="*/ 775732 h 954087"/>
                    <a:gd name="connsiteX11" fmla="*/ 371502 w 1179513"/>
                    <a:gd name="connsiteY11" fmla="*/ 780018 h 954087"/>
                    <a:gd name="connsiteX12" fmla="*/ 0 w 1179513"/>
                    <a:gd name="connsiteY12" fmla="*/ 935037 h 954087"/>
                    <a:gd name="connsiteX13" fmla="*/ 0 w 1179513"/>
                    <a:gd name="connsiteY13" fmla="*/ 697151 h 954087"/>
                    <a:gd name="connsiteX14" fmla="*/ 385763 w 1179513"/>
                    <a:gd name="connsiteY14" fmla="*/ 549275 h 954087"/>
                    <a:gd name="connsiteX15" fmla="*/ 1179513 w 1179513"/>
                    <a:gd name="connsiteY15" fmla="*/ 279400 h 954087"/>
                    <a:gd name="connsiteX16" fmla="*/ 1179513 w 1179513"/>
                    <a:gd name="connsiteY16" fmla="*/ 531812 h 954087"/>
                    <a:gd name="connsiteX17" fmla="*/ 841375 w 1179513"/>
                    <a:gd name="connsiteY17" fmla="*/ 684212 h 954087"/>
                    <a:gd name="connsiteX18" fmla="*/ 841375 w 1179513"/>
                    <a:gd name="connsiteY18" fmla="*/ 407987 h 954087"/>
                    <a:gd name="connsiteX19" fmla="*/ 417513 w 1179513"/>
                    <a:gd name="connsiteY19" fmla="*/ 266700 h 954087"/>
                    <a:gd name="connsiteX20" fmla="*/ 550655 w 1179513"/>
                    <a:gd name="connsiteY20" fmla="*/ 314518 h 954087"/>
                    <a:gd name="connsiteX21" fmla="*/ 541349 w 1179513"/>
                    <a:gd name="connsiteY21" fmla="*/ 356626 h 954087"/>
                    <a:gd name="connsiteX22" fmla="*/ 574993 w 1179513"/>
                    <a:gd name="connsiteY22" fmla="*/ 454402 h 954087"/>
                    <a:gd name="connsiteX23" fmla="*/ 605057 w 1179513"/>
                    <a:gd name="connsiteY23" fmla="*/ 510784 h 954087"/>
                    <a:gd name="connsiteX24" fmla="*/ 612215 w 1179513"/>
                    <a:gd name="connsiteY24" fmla="*/ 522917 h 954087"/>
                    <a:gd name="connsiteX25" fmla="*/ 642280 w 1179513"/>
                    <a:gd name="connsiteY25" fmla="*/ 540046 h 954087"/>
                    <a:gd name="connsiteX26" fmla="*/ 672344 w 1179513"/>
                    <a:gd name="connsiteY26" fmla="*/ 522917 h 954087"/>
                    <a:gd name="connsiteX27" fmla="*/ 679502 w 1179513"/>
                    <a:gd name="connsiteY27" fmla="*/ 510070 h 954087"/>
                    <a:gd name="connsiteX28" fmla="*/ 709567 w 1179513"/>
                    <a:gd name="connsiteY28" fmla="*/ 454402 h 954087"/>
                    <a:gd name="connsiteX29" fmla="*/ 738915 w 1179513"/>
                    <a:gd name="connsiteY29" fmla="*/ 381605 h 954087"/>
                    <a:gd name="connsiteX30" fmla="*/ 811213 w 1179513"/>
                    <a:gd name="connsiteY30" fmla="*/ 408012 h 954087"/>
                    <a:gd name="connsiteX31" fmla="*/ 811213 w 1179513"/>
                    <a:gd name="connsiteY31" fmla="*/ 684212 h 954087"/>
                    <a:gd name="connsiteX32" fmla="*/ 417513 w 1179513"/>
                    <a:gd name="connsiteY32" fmla="*/ 516494 h 954087"/>
                    <a:gd name="connsiteX33" fmla="*/ 417513 w 1179513"/>
                    <a:gd name="connsiteY33" fmla="*/ 266700 h 954087"/>
                    <a:gd name="connsiteX34" fmla="*/ 385763 w 1179513"/>
                    <a:gd name="connsiteY34" fmla="*/ 266700 h 954087"/>
                    <a:gd name="connsiteX35" fmla="*/ 385763 w 1179513"/>
                    <a:gd name="connsiteY35" fmla="*/ 515938 h 954087"/>
                    <a:gd name="connsiteX36" fmla="*/ 0 w 1179513"/>
                    <a:gd name="connsiteY36" fmla="*/ 663575 h 954087"/>
                    <a:gd name="connsiteX37" fmla="*/ 0 w 1179513"/>
                    <a:gd name="connsiteY37" fmla="*/ 414338 h 954087"/>
                    <a:gd name="connsiteX38" fmla="*/ 1179513 w 1179513"/>
                    <a:gd name="connsiteY38" fmla="*/ 14287 h 954087"/>
                    <a:gd name="connsiteX39" fmla="*/ 1179513 w 1179513"/>
                    <a:gd name="connsiteY39" fmla="*/ 246409 h 954087"/>
                    <a:gd name="connsiteX40" fmla="*/ 841375 w 1179513"/>
                    <a:gd name="connsiteY40" fmla="*/ 374649 h 954087"/>
                    <a:gd name="connsiteX41" fmla="*/ 841375 w 1179513"/>
                    <a:gd name="connsiteY41" fmla="*/ 141811 h 954087"/>
                    <a:gd name="connsiteX42" fmla="*/ 854243 w 1179513"/>
                    <a:gd name="connsiteY42" fmla="*/ 138228 h 954087"/>
                    <a:gd name="connsiteX43" fmla="*/ 385763 w 1179513"/>
                    <a:gd name="connsiteY43" fmla="*/ 1587 h 954087"/>
                    <a:gd name="connsiteX44" fmla="*/ 385763 w 1179513"/>
                    <a:gd name="connsiteY44" fmla="*/ 233362 h 954087"/>
                    <a:gd name="connsiteX45" fmla="*/ 0 w 1179513"/>
                    <a:gd name="connsiteY45" fmla="*/ 380999 h 954087"/>
                    <a:gd name="connsiteX46" fmla="*/ 0 w 1179513"/>
                    <a:gd name="connsiteY46" fmla="*/ 149224 h 954087"/>
                    <a:gd name="connsiteX47" fmla="*/ 417513 w 1179513"/>
                    <a:gd name="connsiteY47" fmla="*/ 0 h 954087"/>
                    <a:gd name="connsiteX48" fmla="*/ 801191 w 1179513"/>
                    <a:gd name="connsiteY48" fmla="*/ 138255 h 954087"/>
                    <a:gd name="connsiteX49" fmla="*/ 811213 w 1179513"/>
                    <a:gd name="connsiteY49" fmla="*/ 141120 h 954087"/>
                    <a:gd name="connsiteX50" fmla="*/ 811213 w 1179513"/>
                    <a:gd name="connsiteY50" fmla="*/ 374650 h 954087"/>
                    <a:gd name="connsiteX51" fmla="*/ 742494 w 1179513"/>
                    <a:gd name="connsiteY51" fmla="*/ 349578 h 954087"/>
                    <a:gd name="connsiteX52" fmla="*/ 642280 w 1179513"/>
                    <a:gd name="connsiteY52" fmla="*/ 255020 h 954087"/>
                    <a:gd name="connsiteX53" fmla="*/ 568550 w 1179513"/>
                    <a:gd name="connsiteY53" fmla="*/ 287256 h 954087"/>
                    <a:gd name="connsiteX54" fmla="*/ 417513 w 1179513"/>
                    <a:gd name="connsiteY54" fmla="*/ 232813 h 954087"/>
                    <a:gd name="connsiteX55" fmla="*/ 417513 w 1179513"/>
                    <a:gd name="connsiteY55" fmla="*/ 0 h 9540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1179513" h="954087">
                      <a:moveTo>
                        <a:pt x="1179513" y="566737"/>
                      </a:moveTo>
                      <a:lnTo>
                        <a:pt x="1179513" y="777875"/>
                      </a:lnTo>
                      <a:lnTo>
                        <a:pt x="841375" y="950912"/>
                      </a:lnTo>
                      <a:lnTo>
                        <a:pt x="841375" y="719137"/>
                      </a:lnTo>
                      <a:close/>
                      <a:moveTo>
                        <a:pt x="417513" y="550862"/>
                      </a:moveTo>
                      <a:cubicBezTo>
                        <a:pt x="417513" y="550862"/>
                        <a:pt x="417513" y="550862"/>
                        <a:pt x="811213" y="718873"/>
                      </a:cubicBezTo>
                      <a:cubicBezTo>
                        <a:pt x="811213" y="718873"/>
                        <a:pt x="811213" y="718873"/>
                        <a:pt x="811213" y="954087"/>
                      </a:cubicBezTo>
                      <a:cubicBezTo>
                        <a:pt x="811213" y="954087"/>
                        <a:pt x="811213" y="954087"/>
                        <a:pt x="434692" y="781787"/>
                      </a:cubicBezTo>
                      <a:cubicBezTo>
                        <a:pt x="428966" y="779642"/>
                        <a:pt x="423239" y="777497"/>
                        <a:pt x="417513" y="776783"/>
                      </a:cubicBezTo>
                      <a:close/>
                      <a:moveTo>
                        <a:pt x="385763" y="549275"/>
                      </a:moveTo>
                      <a:cubicBezTo>
                        <a:pt x="385763" y="549275"/>
                        <a:pt x="385763" y="549275"/>
                        <a:pt x="385763" y="775732"/>
                      </a:cubicBezTo>
                      <a:cubicBezTo>
                        <a:pt x="380771" y="776446"/>
                        <a:pt x="375780" y="777875"/>
                        <a:pt x="371502" y="780018"/>
                      </a:cubicBezTo>
                      <a:cubicBezTo>
                        <a:pt x="371502" y="780018"/>
                        <a:pt x="371502" y="780018"/>
                        <a:pt x="0" y="935037"/>
                      </a:cubicBezTo>
                      <a:lnTo>
                        <a:pt x="0" y="697151"/>
                      </a:lnTo>
                      <a:cubicBezTo>
                        <a:pt x="0" y="697151"/>
                        <a:pt x="0" y="697151"/>
                        <a:pt x="385763" y="549275"/>
                      </a:cubicBezTo>
                      <a:close/>
                      <a:moveTo>
                        <a:pt x="1179513" y="279400"/>
                      </a:moveTo>
                      <a:lnTo>
                        <a:pt x="1179513" y="531812"/>
                      </a:lnTo>
                      <a:lnTo>
                        <a:pt x="841375" y="684212"/>
                      </a:lnTo>
                      <a:lnTo>
                        <a:pt x="841375" y="407987"/>
                      </a:lnTo>
                      <a:close/>
                      <a:moveTo>
                        <a:pt x="417513" y="266700"/>
                      </a:moveTo>
                      <a:cubicBezTo>
                        <a:pt x="417513" y="266700"/>
                        <a:pt x="417513" y="266700"/>
                        <a:pt x="550655" y="314518"/>
                      </a:cubicBezTo>
                      <a:cubicBezTo>
                        <a:pt x="544928" y="327364"/>
                        <a:pt x="541349" y="341638"/>
                        <a:pt x="541349" y="356626"/>
                      </a:cubicBezTo>
                      <a:cubicBezTo>
                        <a:pt x="541349" y="378037"/>
                        <a:pt x="551371" y="408012"/>
                        <a:pt x="574993" y="454402"/>
                      </a:cubicBezTo>
                      <a:cubicBezTo>
                        <a:pt x="590025" y="484377"/>
                        <a:pt x="605057" y="510070"/>
                        <a:pt x="605057" y="510784"/>
                      </a:cubicBezTo>
                      <a:cubicBezTo>
                        <a:pt x="605057" y="510784"/>
                        <a:pt x="605057" y="510784"/>
                        <a:pt x="612215" y="522917"/>
                      </a:cubicBezTo>
                      <a:cubicBezTo>
                        <a:pt x="618658" y="533622"/>
                        <a:pt x="630111" y="540046"/>
                        <a:pt x="642280" y="540046"/>
                      </a:cubicBezTo>
                      <a:cubicBezTo>
                        <a:pt x="654449" y="540046"/>
                        <a:pt x="665902" y="533622"/>
                        <a:pt x="672344" y="522917"/>
                      </a:cubicBezTo>
                      <a:cubicBezTo>
                        <a:pt x="672344" y="522917"/>
                        <a:pt x="672344" y="522917"/>
                        <a:pt x="679502" y="510070"/>
                      </a:cubicBezTo>
                      <a:cubicBezTo>
                        <a:pt x="679502" y="510070"/>
                        <a:pt x="694534" y="484377"/>
                        <a:pt x="709567" y="454402"/>
                      </a:cubicBezTo>
                      <a:cubicBezTo>
                        <a:pt x="724599" y="423713"/>
                        <a:pt x="733904" y="400161"/>
                        <a:pt x="738915" y="381605"/>
                      </a:cubicBezTo>
                      <a:cubicBezTo>
                        <a:pt x="738915" y="381605"/>
                        <a:pt x="738915" y="381605"/>
                        <a:pt x="811213" y="408012"/>
                      </a:cubicBezTo>
                      <a:cubicBezTo>
                        <a:pt x="811213" y="408012"/>
                        <a:pt x="811213" y="408012"/>
                        <a:pt x="811213" y="684212"/>
                      </a:cubicBezTo>
                      <a:cubicBezTo>
                        <a:pt x="811213" y="684212"/>
                        <a:pt x="811213" y="684212"/>
                        <a:pt x="417513" y="516494"/>
                      </a:cubicBezTo>
                      <a:cubicBezTo>
                        <a:pt x="417513" y="516494"/>
                        <a:pt x="417513" y="516494"/>
                        <a:pt x="417513" y="266700"/>
                      </a:cubicBezTo>
                      <a:close/>
                      <a:moveTo>
                        <a:pt x="385763" y="266700"/>
                      </a:moveTo>
                      <a:lnTo>
                        <a:pt x="385763" y="515938"/>
                      </a:lnTo>
                      <a:lnTo>
                        <a:pt x="0" y="663575"/>
                      </a:lnTo>
                      <a:lnTo>
                        <a:pt x="0" y="414338"/>
                      </a:lnTo>
                      <a:close/>
                      <a:moveTo>
                        <a:pt x="1179513" y="14287"/>
                      </a:moveTo>
                      <a:cubicBezTo>
                        <a:pt x="1179513" y="14287"/>
                        <a:pt x="1179513" y="14287"/>
                        <a:pt x="1179513" y="246409"/>
                      </a:cubicBezTo>
                      <a:cubicBezTo>
                        <a:pt x="1179513" y="246409"/>
                        <a:pt x="1179513" y="246409"/>
                        <a:pt x="841375" y="374649"/>
                      </a:cubicBezTo>
                      <a:cubicBezTo>
                        <a:pt x="841375" y="374649"/>
                        <a:pt x="841375" y="374649"/>
                        <a:pt x="841375" y="141811"/>
                      </a:cubicBezTo>
                      <a:cubicBezTo>
                        <a:pt x="846379" y="141094"/>
                        <a:pt x="850669" y="139661"/>
                        <a:pt x="854243" y="138228"/>
                      </a:cubicBezTo>
                      <a:close/>
                      <a:moveTo>
                        <a:pt x="385763" y="1587"/>
                      </a:moveTo>
                      <a:lnTo>
                        <a:pt x="385763" y="233362"/>
                      </a:lnTo>
                      <a:lnTo>
                        <a:pt x="0" y="380999"/>
                      </a:lnTo>
                      <a:lnTo>
                        <a:pt x="0" y="149224"/>
                      </a:lnTo>
                      <a:close/>
                      <a:moveTo>
                        <a:pt x="417513" y="0"/>
                      </a:moveTo>
                      <a:lnTo>
                        <a:pt x="801191" y="138255"/>
                      </a:lnTo>
                      <a:cubicBezTo>
                        <a:pt x="804770" y="139688"/>
                        <a:pt x="808349" y="140404"/>
                        <a:pt x="811213" y="141120"/>
                      </a:cubicBezTo>
                      <a:cubicBezTo>
                        <a:pt x="811213" y="141120"/>
                        <a:pt x="811213" y="141120"/>
                        <a:pt x="811213" y="374650"/>
                      </a:cubicBezTo>
                      <a:cubicBezTo>
                        <a:pt x="811213" y="374650"/>
                        <a:pt x="811213" y="374650"/>
                        <a:pt x="742494" y="349578"/>
                      </a:cubicBezTo>
                      <a:cubicBezTo>
                        <a:pt x="738915" y="296568"/>
                        <a:pt x="695250" y="255020"/>
                        <a:pt x="642280" y="255020"/>
                      </a:cubicBezTo>
                      <a:cubicBezTo>
                        <a:pt x="612931" y="255020"/>
                        <a:pt x="587162" y="267198"/>
                        <a:pt x="568550" y="287256"/>
                      </a:cubicBezTo>
                      <a:cubicBezTo>
                        <a:pt x="568550" y="287256"/>
                        <a:pt x="568550" y="287256"/>
                        <a:pt x="417513" y="232813"/>
                      </a:cubicBezTo>
                      <a:cubicBezTo>
                        <a:pt x="417513" y="232813"/>
                        <a:pt x="417513" y="232813"/>
                        <a:pt x="417513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600"/>
                </a:p>
              </p:txBody>
            </p:sp>
            <p:sp>
              <p:nvSpPr>
                <p:cNvPr id="78" name="Freeform 23">
                  <a:extLst>
                    <a:ext uri="{FF2B5EF4-FFF2-40B4-BE49-F238E27FC236}">
                      <a16:creationId xmlns:a16="http://schemas.microsoft.com/office/drawing/2014/main" id="{B2B050BD-EE1C-47A1-84FD-59BF8B181A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43538" y="2844800"/>
                  <a:ext cx="1304925" cy="1100137"/>
                </a:xfrm>
                <a:custGeom>
                  <a:avLst/>
                  <a:gdLst>
                    <a:gd name="connsiteX0" fmla="*/ 704410 w 1304925"/>
                    <a:gd name="connsiteY0" fmla="*/ 398463 h 1100137"/>
                    <a:gd name="connsiteX1" fmla="*/ 683870 w 1304925"/>
                    <a:gd name="connsiteY1" fmla="*/ 411212 h 1100137"/>
                    <a:gd name="connsiteX2" fmla="*/ 681037 w 1304925"/>
                    <a:gd name="connsiteY2" fmla="*/ 421836 h 1100137"/>
                    <a:gd name="connsiteX3" fmla="*/ 704410 w 1304925"/>
                    <a:gd name="connsiteY3" fmla="*/ 444500 h 1100137"/>
                    <a:gd name="connsiteX4" fmla="*/ 726367 w 1304925"/>
                    <a:gd name="connsiteY4" fmla="*/ 426794 h 1100137"/>
                    <a:gd name="connsiteX5" fmla="*/ 727075 w 1304925"/>
                    <a:gd name="connsiteY5" fmla="*/ 421836 h 1100137"/>
                    <a:gd name="connsiteX6" fmla="*/ 704410 w 1304925"/>
                    <a:gd name="connsiteY6" fmla="*/ 398463 h 1100137"/>
                    <a:gd name="connsiteX7" fmla="*/ 704415 w 1304925"/>
                    <a:gd name="connsiteY7" fmla="*/ 357188 h 1100137"/>
                    <a:gd name="connsiteX8" fmla="*/ 770251 w 1304925"/>
                    <a:gd name="connsiteY8" fmla="*/ 407927 h 1100137"/>
                    <a:gd name="connsiteX9" fmla="*/ 773113 w 1304925"/>
                    <a:gd name="connsiteY9" fmla="*/ 427222 h 1100137"/>
                    <a:gd name="connsiteX10" fmla="*/ 771682 w 1304925"/>
                    <a:gd name="connsiteY10" fmla="*/ 441514 h 1100137"/>
                    <a:gd name="connsiteX11" fmla="*/ 743058 w 1304925"/>
                    <a:gd name="connsiteY11" fmla="*/ 510834 h 1100137"/>
                    <a:gd name="connsiteX12" fmla="*/ 714433 w 1304925"/>
                    <a:gd name="connsiteY12" fmla="*/ 565146 h 1100137"/>
                    <a:gd name="connsiteX13" fmla="*/ 706561 w 1304925"/>
                    <a:gd name="connsiteY13" fmla="*/ 578009 h 1100137"/>
                    <a:gd name="connsiteX14" fmla="*/ 704415 w 1304925"/>
                    <a:gd name="connsiteY14" fmla="*/ 579438 h 1100137"/>
                    <a:gd name="connsiteX15" fmla="*/ 701552 w 1304925"/>
                    <a:gd name="connsiteY15" fmla="*/ 578009 h 1100137"/>
                    <a:gd name="connsiteX16" fmla="*/ 694396 w 1304925"/>
                    <a:gd name="connsiteY16" fmla="*/ 565146 h 1100137"/>
                    <a:gd name="connsiteX17" fmla="*/ 665056 w 1304925"/>
                    <a:gd name="connsiteY17" fmla="*/ 510834 h 1100137"/>
                    <a:gd name="connsiteX18" fmla="*/ 635000 w 1304925"/>
                    <a:gd name="connsiteY18" fmla="*/ 427222 h 1100137"/>
                    <a:gd name="connsiteX19" fmla="*/ 642872 w 1304925"/>
                    <a:gd name="connsiteY19" fmla="*/ 395778 h 1100137"/>
                    <a:gd name="connsiteX20" fmla="*/ 664340 w 1304925"/>
                    <a:gd name="connsiteY20" fmla="*/ 370051 h 1100137"/>
                    <a:gd name="connsiteX21" fmla="*/ 704415 w 1304925"/>
                    <a:gd name="connsiteY21" fmla="*/ 357188 h 1100137"/>
                    <a:gd name="connsiteX22" fmla="*/ 464502 w 1304925"/>
                    <a:gd name="connsiteY22" fmla="*/ 33338 h 1100137"/>
                    <a:gd name="connsiteX23" fmla="*/ 448072 w 1304925"/>
                    <a:gd name="connsiteY23" fmla="*/ 39770 h 1100137"/>
                    <a:gd name="connsiteX24" fmla="*/ 30162 w 1304925"/>
                    <a:gd name="connsiteY24" fmla="*/ 199149 h 1100137"/>
                    <a:gd name="connsiteX25" fmla="*/ 30162 w 1304925"/>
                    <a:gd name="connsiteY25" fmla="*/ 464305 h 1100137"/>
                    <a:gd name="connsiteX26" fmla="*/ 30162 w 1304925"/>
                    <a:gd name="connsiteY26" fmla="*/ 481458 h 1100137"/>
                    <a:gd name="connsiteX27" fmla="*/ 30162 w 1304925"/>
                    <a:gd name="connsiteY27" fmla="*/ 748042 h 1100137"/>
                    <a:gd name="connsiteX28" fmla="*/ 30162 w 1304925"/>
                    <a:gd name="connsiteY28" fmla="*/ 764480 h 1100137"/>
                    <a:gd name="connsiteX29" fmla="*/ 30162 w 1304925"/>
                    <a:gd name="connsiteY29" fmla="*/ 1054650 h 1100137"/>
                    <a:gd name="connsiteX30" fmla="*/ 445929 w 1304925"/>
                    <a:gd name="connsiteY30" fmla="*/ 880977 h 1100137"/>
                    <a:gd name="connsiteX31" fmla="*/ 459502 w 1304925"/>
                    <a:gd name="connsiteY31" fmla="*/ 878118 h 1100137"/>
                    <a:gd name="connsiteX32" fmla="*/ 460216 w 1304925"/>
                    <a:gd name="connsiteY32" fmla="*/ 878118 h 1100137"/>
                    <a:gd name="connsiteX33" fmla="*/ 463788 w 1304925"/>
                    <a:gd name="connsiteY33" fmla="*/ 877404 h 1100137"/>
                    <a:gd name="connsiteX34" fmla="*/ 478790 w 1304925"/>
                    <a:gd name="connsiteY34" fmla="*/ 880262 h 1100137"/>
                    <a:gd name="connsiteX35" fmla="*/ 483076 w 1304925"/>
                    <a:gd name="connsiteY35" fmla="*/ 881692 h 1100137"/>
                    <a:gd name="connsiteX36" fmla="*/ 872411 w 1304925"/>
                    <a:gd name="connsiteY36" fmla="*/ 1059653 h 1100137"/>
                    <a:gd name="connsiteX37" fmla="*/ 888127 w 1304925"/>
                    <a:gd name="connsiteY37" fmla="*/ 1066800 h 1100137"/>
                    <a:gd name="connsiteX38" fmla="*/ 903843 w 1304925"/>
                    <a:gd name="connsiteY38" fmla="*/ 1058938 h 1100137"/>
                    <a:gd name="connsiteX39" fmla="*/ 1273175 w 1304925"/>
                    <a:gd name="connsiteY39" fmla="*/ 868827 h 1100137"/>
                    <a:gd name="connsiteX40" fmla="*/ 1273175 w 1304925"/>
                    <a:gd name="connsiteY40" fmla="*/ 623684 h 1100137"/>
                    <a:gd name="connsiteX41" fmla="*/ 1273175 w 1304925"/>
                    <a:gd name="connsiteY41" fmla="*/ 606531 h 1100137"/>
                    <a:gd name="connsiteX42" fmla="*/ 1273175 w 1304925"/>
                    <a:gd name="connsiteY42" fmla="*/ 339946 h 1100137"/>
                    <a:gd name="connsiteX43" fmla="*/ 1273175 w 1304925"/>
                    <a:gd name="connsiteY43" fmla="*/ 322793 h 1100137"/>
                    <a:gd name="connsiteX44" fmla="*/ 1273175 w 1304925"/>
                    <a:gd name="connsiteY44" fmla="*/ 41200 h 1100137"/>
                    <a:gd name="connsiteX45" fmla="*/ 905986 w 1304925"/>
                    <a:gd name="connsiteY45" fmla="*/ 180567 h 1100137"/>
                    <a:gd name="connsiteX46" fmla="*/ 897414 w 1304925"/>
                    <a:gd name="connsiteY46" fmla="*/ 182711 h 1100137"/>
                    <a:gd name="connsiteX47" fmla="*/ 893128 w 1304925"/>
                    <a:gd name="connsiteY47" fmla="*/ 183426 h 1100137"/>
                    <a:gd name="connsiteX48" fmla="*/ 891699 w 1304925"/>
                    <a:gd name="connsiteY48" fmla="*/ 183426 h 1100137"/>
                    <a:gd name="connsiteX49" fmla="*/ 888841 w 1304925"/>
                    <a:gd name="connsiteY49" fmla="*/ 183426 h 1100137"/>
                    <a:gd name="connsiteX50" fmla="*/ 887413 w 1304925"/>
                    <a:gd name="connsiteY50" fmla="*/ 183426 h 1100137"/>
                    <a:gd name="connsiteX51" fmla="*/ 885984 w 1304925"/>
                    <a:gd name="connsiteY51" fmla="*/ 183426 h 1100137"/>
                    <a:gd name="connsiteX52" fmla="*/ 883841 w 1304925"/>
                    <a:gd name="connsiteY52" fmla="*/ 182711 h 1100137"/>
                    <a:gd name="connsiteX53" fmla="*/ 883126 w 1304925"/>
                    <a:gd name="connsiteY53" fmla="*/ 182711 h 1100137"/>
                    <a:gd name="connsiteX54" fmla="*/ 877411 w 1304925"/>
                    <a:gd name="connsiteY54" fmla="*/ 181997 h 1100137"/>
                    <a:gd name="connsiteX55" fmla="*/ 875983 w 1304925"/>
                    <a:gd name="connsiteY55" fmla="*/ 181282 h 1100137"/>
                    <a:gd name="connsiteX56" fmla="*/ 873125 w 1304925"/>
                    <a:gd name="connsiteY56" fmla="*/ 180567 h 1100137"/>
                    <a:gd name="connsiteX57" fmla="*/ 534511 w 1304925"/>
                    <a:gd name="connsiteY57" fmla="*/ 58353 h 1100137"/>
                    <a:gd name="connsiteX58" fmla="*/ 479504 w 1304925"/>
                    <a:gd name="connsiteY58" fmla="*/ 38341 h 1100137"/>
                    <a:gd name="connsiteX59" fmla="*/ 464502 w 1304925"/>
                    <a:gd name="connsiteY59" fmla="*/ 33338 h 1100137"/>
                    <a:gd name="connsiteX60" fmla="*/ 465433 w 1304925"/>
                    <a:gd name="connsiteY60" fmla="*/ 0 h 1100137"/>
                    <a:gd name="connsiteX61" fmla="*/ 470430 w 1304925"/>
                    <a:gd name="connsiteY61" fmla="*/ 1430 h 1100137"/>
                    <a:gd name="connsiteX62" fmla="*/ 884465 w 1304925"/>
                    <a:gd name="connsiteY62" fmla="*/ 150831 h 1100137"/>
                    <a:gd name="connsiteX63" fmla="*/ 889462 w 1304925"/>
                    <a:gd name="connsiteY63" fmla="*/ 151546 h 1100137"/>
                    <a:gd name="connsiteX64" fmla="*/ 895173 w 1304925"/>
                    <a:gd name="connsiteY64" fmla="*/ 150116 h 1100137"/>
                    <a:gd name="connsiteX65" fmla="*/ 1283510 w 1304925"/>
                    <a:gd name="connsiteY65" fmla="*/ 2859 h 1100137"/>
                    <a:gd name="connsiteX66" fmla="*/ 1289220 w 1304925"/>
                    <a:gd name="connsiteY66" fmla="*/ 2145 h 1100137"/>
                    <a:gd name="connsiteX67" fmla="*/ 1304925 w 1304925"/>
                    <a:gd name="connsiteY67" fmla="*/ 17871 h 1100137"/>
                    <a:gd name="connsiteX68" fmla="*/ 1304925 w 1304925"/>
                    <a:gd name="connsiteY68" fmla="*/ 877822 h 1100137"/>
                    <a:gd name="connsiteX69" fmla="*/ 1296359 w 1304925"/>
                    <a:gd name="connsiteY69" fmla="*/ 892119 h 1100137"/>
                    <a:gd name="connsiteX70" fmla="*/ 896601 w 1304925"/>
                    <a:gd name="connsiteY70" fmla="*/ 1097993 h 1100137"/>
                    <a:gd name="connsiteX71" fmla="*/ 889462 w 1304925"/>
                    <a:gd name="connsiteY71" fmla="*/ 1100137 h 1100137"/>
                    <a:gd name="connsiteX72" fmla="*/ 883038 w 1304925"/>
                    <a:gd name="connsiteY72" fmla="*/ 1098708 h 1100137"/>
                    <a:gd name="connsiteX73" fmla="*/ 471144 w 1304925"/>
                    <a:gd name="connsiteY73" fmla="*/ 909990 h 1100137"/>
                    <a:gd name="connsiteX74" fmla="*/ 464719 w 1304925"/>
                    <a:gd name="connsiteY74" fmla="*/ 908560 h 1100137"/>
                    <a:gd name="connsiteX75" fmla="*/ 459008 w 1304925"/>
                    <a:gd name="connsiteY75" fmla="*/ 909990 h 1100137"/>
                    <a:gd name="connsiteX76" fmla="*/ 21416 w 1304925"/>
                    <a:gd name="connsiteY76" fmla="*/ 1092274 h 1100137"/>
                    <a:gd name="connsiteX77" fmla="*/ 15705 w 1304925"/>
                    <a:gd name="connsiteY77" fmla="*/ 1093704 h 1100137"/>
                    <a:gd name="connsiteX78" fmla="*/ 0 w 1304925"/>
                    <a:gd name="connsiteY78" fmla="*/ 1077977 h 1100137"/>
                    <a:gd name="connsiteX79" fmla="*/ 0 w 1304925"/>
                    <a:gd name="connsiteY79" fmla="*/ 188003 h 1100137"/>
                    <a:gd name="connsiteX80" fmla="*/ 9994 w 1304925"/>
                    <a:gd name="connsiteY80" fmla="*/ 172991 h 1100137"/>
                    <a:gd name="connsiteX81" fmla="*/ 459722 w 1304925"/>
                    <a:gd name="connsiteY81" fmla="*/ 1430 h 1100137"/>
                    <a:gd name="connsiteX82" fmla="*/ 465433 w 1304925"/>
                    <a:gd name="connsiteY82" fmla="*/ 0 h 1100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</a:cxnLst>
                  <a:rect l="l" t="t" r="r" b="b"/>
                  <a:pathLst>
                    <a:path w="1304925" h="1100137">
                      <a:moveTo>
                        <a:pt x="704410" y="398463"/>
                      </a:moveTo>
                      <a:cubicBezTo>
                        <a:pt x="695203" y="398463"/>
                        <a:pt x="687412" y="403421"/>
                        <a:pt x="683870" y="411212"/>
                      </a:cubicBezTo>
                      <a:cubicBezTo>
                        <a:pt x="681746" y="414045"/>
                        <a:pt x="681037" y="417586"/>
                        <a:pt x="681037" y="421836"/>
                      </a:cubicBezTo>
                      <a:cubicBezTo>
                        <a:pt x="681037" y="434584"/>
                        <a:pt x="691661" y="444500"/>
                        <a:pt x="704410" y="444500"/>
                      </a:cubicBezTo>
                      <a:cubicBezTo>
                        <a:pt x="715035" y="444500"/>
                        <a:pt x="724242" y="437418"/>
                        <a:pt x="726367" y="426794"/>
                      </a:cubicBezTo>
                      <a:cubicBezTo>
                        <a:pt x="727075" y="425377"/>
                        <a:pt x="727075" y="423252"/>
                        <a:pt x="727075" y="421836"/>
                      </a:cubicBezTo>
                      <a:cubicBezTo>
                        <a:pt x="727075" y="409087"/>
                        <a:pt x="717159" y="398463"/>
                        <a:pt x="704410" y="398463"/>
                      </a:cubicBezTo>
                      <a:close/>
                      <a:moveTo>
                        <a:pt x="704415" y="357188"/>
                      </a:moveTo>
                      <a:cubicBezTo>
                        <a:pt x="735901" y="357188"/>
                        <a:pt x="762379" y="378627"/>
                        <a:pt x="770251" y="407927"/>
                      </a:cubicBezTo>
                      <a:cubicBezTo>
                        <a:pt x="772398" y="414359"/>
                        <a:pt x="773113" y="420790"/>
                        <a:pt x="773113" y="427222"/>
                      </a:cubicBezTo>
                      <a:cubicBezTo>
                        <a:pt x="773113" y="431510"/>
                        <a:pt x="772398" y="436512"/>
                        <a:pt x="771682" y="441514"/>
                      </a:cubicBezTo>
                      <a:cubicBezTo>
                        <a:pt x="767388" y="457951"/>
                        <a:pt x="758085" y="480819"/>
                        <a:pt x="743058" y="510834"/>
                      </a:cubicBezTo>
                      <a:cubicBezTo>
                        <a:pt x="728745" y="540133"/>
                        <a:pt x="714433" y="565146"/>
                        <a:pt x="714433" y="565146"/>
                      </a:cubicBezTo>
                      <a:cubicBezTo>
                        <a:pt x="714433" y="565146"/>
                        <a:pt x="714433" y="565146"/>
                        <a:pt x="706561" y="578009"/>
                      </a:cubicBezTo>
                      <a:cubicBezTo>
                        <a:pt x="706561" y="578724"/>
                        <a:pt x="705130" y="579438"/>
                        <a:pt x="704415" y="579438"/>
                      </a:cubicBezTo>
                      <a:cubicBezTo>
                        <a:pt x="703699" y="579438"/>
                        <a:pt x="702268" y="578724"/>
                        <a:pt x="701552" y="578009"/>
                      </a:cubicBezTo>
                      <a:cubicBezTo>
                        <a:pt x="701552" y="578009"/>
                        <a:pt x="701552" y="578009"/>
                        <a:pt x="694396" y="565146"/>
                      </a:cubicBezTo>
                      <a:cubicBezTo>
                        <a:pt x="694396" y="565146"/>
                        <a:pt x="679368" y="540133"/>
                        <a:pt x="665056" y="510834"/>
                      </a:cubicBezTo>
                      <a:cubicBezTo>
                        <a:pt x="645019" y="470100"/>
                        <a:pt x="635000" y="442944"/>
                        <a:pt x="635000" y="427222"/>
                      </a:cubicBezTo>
                      <a:cubicBezTo>
                        <a:pt x="635000" y="415788"/>
                        <a:pt x="637863" y="405068"/>
                        <a:pt x="642872" y="395778"/>
                      </a:cubicBezTo>
                      <a:cubicBezTo>
                        <a:pt x="647881" y="385059"/>
                        <a:pt x="655037" y="376483"/>
                        <a:pt x="664340" y="370051"/>
                      </a:cubicBezTo>
                      <a:cubicBezTo>
                        <a:pt x="675790" y="361476"/>
                        <a:pt x="689387" y="357188"/>
                        <a:pt x="704415" y="357188"/>
                      </a:cubicBezTo>
                      <a:close/>
                      <a:moveTo>
                        <a:pt x="464502" y="33338"/>
                      </a:moveTo>
                      <a:cubicBezTo>
                        <a:pt x="464502" y="33338"/>
                        <a:pt x="464502" y="33338"/>
                        <a:pt x="448072" y="39770"/>
                      </a:cubicBezTo>
                      <a:cubicBezTo>
                        <a:pt x="448072" y="39770"/>
                        <a:pt x="448072" y="39770"/>
                        <a:pt x="30162" y="199149"/>
                      </a:cubicBezTo>
                      <a:cubicBezTo>
                        <a:pt x="30162" y="199149"/>
                        <a:pt x="30162" y="199149"/>
                        <a:pt x="30162" y="464305"/>
                      </a:cubicBezTo>
                      <a:cubicBezTo>
                        <a:pt x="30162" y="464305"/>
                        <a:pt x="30162" y="464305"/>
                        <a:pt x="30162" y="481458"/>
                      </a:cubicBezTo>
                      <a:cubicBezTo>
                        <a:pt x="30162" y="481458"/>
                        <a:pt x="30162" y="481458"/>
                        <a:pt x="30162" y="748042"/>
                      </a:cubicBezTo>
                      <a:cubicBezTo>
                        <a:pt x="30162" y="748042"/>
                        <a:pt x="30162" y="748042"/>
                        <a:pt x="30162" y="764480"/>
                      </a:cubicBezTo>
                      <a:cubicBezTo>
                        <a:pt x="30162" y="764480"/>
                        <a:pt x="30162" y="764480"/>
                        <a:pt x="30162" y="1054650"/>
                      </a:cubicBezTo>
                      <a:cubicBezTo>
                        <a:pt x="30162" y="1054650"/>
                        <a:pt x="30162" y="1054650"/>
                        <a:pt x="445929" y="880977"/>
                      </a:cubicBezTo>
                      <a:cubicBezTo>
                        <a:pt x="450215" y="879548"/>
                        <a:pt x="454501" y="878118"/>
                        <a:pt x="459502" y="878118"/>
                      </a:cubicBezTo>
                      <a:cubicBezTo>
                        <a:pt x="459502" y="878118"/>
                        <a:pt x="460216" y="878118"/>
                        <a:pt x="460216" y="878118"/>
                      </a:cubicBezTo>
                      <a:cubicBezTo>
                        <a:pt x="461645" y="877404"/>
                        <a:pt x="463074" y="877404"/>
                        <a:pt x="463788" y="877404"/>
                      </a:cubicBezTo>
                      <a:cubicBezTo>
                        <a:pt x="468789" y="877404"/>
                        <a:pt x="473789" y="878118"/>
                        <a:pt x="478790" y="880262"/>
                      </a:cubicBezTo>
                      <a:cubicBezTo>
                        <a:pt x="480219" y="880262"/>
                        <a:pt x="481647" y="880977"/>
                        <a:pt x="483076" y="881692"/>
                      </a:cubicBezTo>
                      <a:cubicBezTo>
                        <a:pt x="483076" y="881692"/>
                        <a:pt x="483076" y="881692"/>
                        <a:pt x="872411" y="1059653"/>
                      </a:cubicBezTo>
                      <a:cubicBezTo>
                        <a:pt x="872411" y="1059653"/>
                        <a:pt x="872411" y="1059653"/>
                        <a:pt x="888127" y="1066800"/>
                      </a:cubicBezTo>
                      <a:cubicBezTo>
                        <a:pt x="888127" y="1066800"/>
                        <a:pt x="888127" y="1066800"/>
                        <a:pt x="903843" y="1058938"/>
                      </a:cubicBezTo>
                      <a:cubicBezTo>
                        <a:pt x="903843" y="1058938"/>
                        <a:pt x="903843" y="1058938"/>
                        <a:pt x="1273175" y="868827"/>
                      </a:cubicBezTo>
                      <a:lnTo>
                        <a:pt x="1273175" y="623684"/>
                      </a:lnTo>
                      <a:cubicBezTo>
                        <a:pt x="1273175" y="623684"/>
                        <a:pt x="1273175" y="623684"/>
                        <a:pt x="1273175" y="606531"/>
                      </a:cubicBezTo>
                      <a:cubicBezTo>
                        <a:pt x="1273175" y="606531"/>
                        <a:pt x="1273175" y="606531"/>
                        <a:pt x="1273175" y="339946"/>
                      </a:cubicBezTo>
                      <a:cubicBezTo>
                        <a:pt x="1273175" y="339946"/>
                        <a:pt x="1273175" y="339946"/>
                        <a:pt x="1273175" y="322793"/>
                      </a:cubicBezTo>
                      <a:cubicBezTo>
                        <a:pt x="1273175" y="322793"/>
                        <a:pt x="1273175" y="322793"/>
                        <a:pt x="1273175" y="41200"/>
                      </a:cubicBezTo>
                      <a:cubicBezTo>
                        <a:pt x="1273175" y="41200"/>
                        <a:pt x="1273175" y="41200"/>
                        <a:pt x="905986" y="180567"/>
                      </a:cubicBezTo>
                      <a:cubicBezTo>
                        <a:pt x="903129" y="181282"/>
                        <a:pt x="900271" y="181997"/>
                        <a:pt x="897414" y="182711"/>
                      </a:cubicBezTo>
                      <a:cubicBezTo>
                        <a:pt x="895985" y="182711"/>
                        <a:pt x="894556" y="182711"/>
                        <a:pt x="893128" y="183426"/>
                      </a:cubicBezTo>
                      <a:cubicBezTo>
                        <a:pt x="893128" y="183426"/>
                        <a:pt x="892413" y="183426"/>
                        <a:pt x="891699" y="183426"/>
                      </a:cubicBezTo>
                      <a:cubicBezTo>
                        <a:pt x="890984" y="183426"/>
                        <a:pt x="890270" y="183426"/>
                        <a:pt x="888841" y="183426"/>
                      </a:cubicBezTo>
                      <a:cubicBezTo>
                        <a:pt x="888841" y="183426"/>
                        <a:pt x="888127" y="183426"/>
                        <a:pt x="887413" y="183426"/>
                      </a:cubicBezTo>
                      <a:cubicBezTo>
                        <a:pt x="886698" y="183426"/>
                        <a:pt x="886698" y="183426"/>
                        <a:pt x="885984" y="183426"/>
                      </a:cubicBezTo>
                      <a:cubicBezTo>
                        <a:pt x="885269" y="183426"/>
                        <a:pt x="884555" y="182711"/>
                        <a:pt x="883841" y="182711"/>
                      </a:cubicBezTo>
                      <a:cubicBezTo>
                        <a:pt x="883841" y="182711"/>
                        <a:pt x="883126" y="182711"/>
                        <a:pt x="883126" y="182711"/>
                      </a:cubicBezTo>
                      <a:cubicBezTo>
                        <a:pt x="880983" y="182711"/>
                        <a:pt x="878840" y="181997"/>
                        <a:pt x="877411" y="181997"/>
                      </a:cubicBezTo>
                      <a:cubicBezTo>
                        <a:pt x="876697" y="181282"/>
                        <a:pt x="875983" y="181282"/>
                        <a:pt x="875983" y="181282"/>
                      </a:cubicBezTo>
                      <a:cubicBezTo>
                        <a:pt x="875268" y="181282"/>
                        <a:pt x="873839" y="180567"/>
                        <a:pt x="873125" y="180567"/>
                      </a:cubicBezTo>
                      <a:cubicBezTo>
                        <a:pt x="873125" y="180567"/>
                        <a:pt x="873125" y="180567"/>
                        <a:pt x="534511" y="58353"/>
                      </a:cubicBezTo>
                      <a:cubicBezTo>
                        <a:pt x="534511" y="58353"/>
                        <a:pt x="534511" y="58353"/>
                        <a:pt x="479504" y="38341"/>
                      </a:cubicBezTo>
                      <a:cubicBezTo>
                        <a:pt x="479504" y="38341"/>
                        <a:pt x="479504" y="38341"/>
                        <a:pt x="464502" y="33338"/>
                      </a:cubicBezTo>
                      <a:close/>
                      <a:moveTo>
                        <a:pt x="465433" y="0"/>
                      </a:moveTo>
                      <a:cubicBezTo>
                        <a:pt x="466861" y="0"/>
                        <a:pt x="469002" y="715"/>
                        <a:pt x="470430" y="1430"/>
                      </a:cubicBezTo>
                      <a:cubicBezTo>
                        <a:pt x="470430" y="1430"/>
                        <a:pt x="470430" y="1430"/>
                        <a:pt x="884465" y="150831"/>
                      </a:cubicBezTo>
                      <a:cubicBezTo>
                        <a:pt x="885893" y="150831"/>
                        <a:pt x="888035" y="151546"/>
                        <a:pt x="889462" y="151546"/>
                      </a:cubicBezTo>
                      <a:cubicBezTo>
                        <a:pt x="891604" y="151546"/>
                        <a:pt x="893745" y="150831"/>
                        <a:pt x="895173" y="150116"/>
                      </a:cubicBezTo>
                      <a:cubicBezTo>
                        <a:pt x="895173" y="150116"/>
                        <a:pt x="895173" y="150116"/>
                        <a:pt x="1283510" y="2859"/>
                      </a:cubicBezTo>
                      <a:cubicBezTo>
                        <a:pt x="1285651" y="2145"/>
                        <a:pt x="1287079" y="2145"/>
                        <a:pt x="1289220" y="2145"/>
                      </a:cubicBezTo>
                      <a:cubicBezTo>
                        <a:pt x="1297787" y="2145"/>
                        <a:pt x="1304925" y="8578"/>
                        <a:pt x="1304925" y="17871"/>
                      </a:cubicBezTo>
                      <a:cubicBezTo>
                        <a:pt x="1304925" y="17871"/>
                        <a:pt x="1304925" y="17871"/>
                        <a:pt x="1304925" y="877822"/>
                      </a:cubicBezTo>
                      <a:cubicBezTo>
                        <a:pt x="1304925" y="883541"/>
                        <a:pt x="1301356" y="889260"/>
                        <a:pt x="1296359" y="892119"/>
                      </a:cubicBezTo>
                      <a:cubicBezTo>
                        <a:pt x="1296359" y="892119"/>
                        <a:pt x="1296359" y="892119"/>
                        <a:pt x="896601" y="1097993"/>
                      </a:cubicBezTo>
                      <a:cubicBezTo>
                        <a:pt x="894459" y="1099422"/>
                        <a:pt x="892318" y="1100137"/>
                        <a:pt x="889462" y="1100137"/>
                      </a:cubicBezTo>
                      <a:cubicBezTo>
                        <a:pt x="887321" y="1100137"/>
                        <a:pt x="885179" y="1099422"/>
                        <a:pt x="883038" y="1098708"/>
                      </a:cubicBezTo>
                      <a:cubicBezTo>
                        <a:pt x="883038" y="1098708"/>
                        <a:pt x="883038" y="1098708"/>
                        <a:pt x="471144" y="909990"/>
                      </a:cubicBezTo>
                      <a:cubicBezTo>
                        <a:pt x="469002" y="909275"/>
                        <a:pt x="466861" y="908560"/>
                        <a:pt x="464719" y="908560"/>
                      </a:cubicBezTo>
                      <a:cubicBezTo>
                        <a:pt x="462578" y="908560"/>
                        <a:pt x="460436" y="909275"/>
                        <a:pt x="459008" y="909990"/>
                      </a:cubicBezTo>
                      <a:cubicBezTo>
                        <a:pt x="459008" y="909990"/>
                        <a:pt x="459008" y="909990"/>
                        <a:pt x="21416" y="1092274"/>
                      </a:cubicBezTo>
                      <a:cubicBezTo>
                        <a:pt x="19988" y="1093704"/>
                        <a:pt x="17847" y="1093704"/>
                        <a:pt x="15705" y="1093704"/>
                      </a:cubicBezTo>
                      <a:cubicBezTo>
                        <a:pt x="7139" y="1093704"/>
                        <a:pt x="0" y="1087270"/>
                        <a:pt x="0" y="1077977"/>
                      </a:cubicBezTo>
                      <a:cubicBezTo>
                        <a:pt x="0" y="1077977"/>
                        <a:pt x="0" y="1077977"/>
                        <a:pt x="0" y="188003"/>
                      </a:cubicBezTo>
                      <a:cubicBezTo>
                        <a:pt x="0" y="181569"/>
                        <a:pt x="4283" y="175850"/>
                        <a:pt x="9994" y="172991"/>
                      </a:cubicBezTo>
                      <a:cubicBezTo>
                        <a:pt x="9994" y="172991"/>
                        <a:pt x="9994" y="172991"/>
                        <a:pt x="459722" y="1430"/>
                      </a:cubicBezTo>
                      <a:cubicBezTo>
                        <a:pt x="461150" y="715"/>
                        <a:pt x="463291" y="0"/>
                        <a:pt x="46543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600"/>
                </a:p>
              </p:txBody>
            </p:sp>
          </p:grpSp>
        </p:grpSp>
      </p:grpSp>
      <p:sp>
        <p:nvSpPr>
          <p:cNvPr id="47" name="Textfeld 1">
            <a:extLst>
              <a:ext uri="{FF2B5EF4-FFF2-40B4-BE49-F238E27FC236}">
                <a16:creationId xmlns:a16="http://schemas.microsoft.com/office/drawing/2014/main" id="{ED1B2EB3-36E1-4C94-B430-9224A3146AA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67760" y="2481204"/>
            <a:ext cx="1673115" cy="2675258"/>
          </a:xfrm>
          <a:prstGeom prst="roundRect">
            <a:avLst>
              <a:gd name="adj" fmla="val 9710"/>
            </a:avLst>
          </a:prstGeom>
          <a:solidFill>
            <a:srgbClr val="99CCFF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" tIns="18288" rIns="18288" bIns="18288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Market Maker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Regional staff working at the workforce boards to help employers with pipeline training needs</a:t>
            </a:r>
          </a:p>
        </p:txBody>
      </p:sp>
      <p:sp>
        <p:nvSpPr>
          <p:cNvPr id="53" name="Textfeld 1">
            <a:extLst>
              <a:ext uri="{FF2B5EF4-FFF2-40B4-BE49-F238E27FC236}">
                <a16:creationId xmlns:a16="http://schemas.microsoft.com/office/drawing/2014/main" id="{26012C82-45E2-42EA-8BE1-4F3DA1EF4AE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317898" y="2481204"/>
            <a:ext cx="1748818" cy="2675258"/>
          </a:xfrm>
          <a:prstGeom prst="roundRect">
            <a:avLst>
              <a:gd name="adj" fmla="val 9710"/>
            </a:avLst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" tIns="18288" rIns="18288" bIns="18288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Workforce Board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Regional staff working to help employers navigate available resource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Provide Market Makers supervision and TA 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Source of referrals for Market Makers when employers reach out to them</a:t>
            </a:r>
          </a:p>
        </p:txBody>
      </p:sp>
      <p:sp>
        <p:nvSpPr>
          <p:cNvPr id="54" name="Textfeld 1">
            <a:extLst>
              <a:ext uri="{FF2B5EF4-FFF2-40B4-BE49-F238E27FC236}">
                <a16:creationId xmlns:a16="http://schemas.microsoft.com/office/drawing/2014/main" id="{D3704EBB-CE2B-46CD-9DB0-7FA39318065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141918" y="2481204"/>
            <a:ext cx="1673115" cy="2675258"/>
          </a:xfrm>
          <a:prstGeom prst="roundRect">
            <a:avLst>
              <a:gd name="adj" fmla="val 8714"/>
            </a:avLst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" tIns="18288" rIns="18288" bIns="18288" rtlCol="0" anchor="t" anchorCtr="0">
            <a:noAutofit/>
          </a:bodyPr>
          <a:lstStyle/>
          <a:p>
            <a:pPr marL="64800" lvl="1">
              <a:buClr>
                <a:srgbClr val="00269E"/>
              </a:buClr>
            </a:pPr>
            <a:r>
              <a:rPr lang="en-US" sz="1400" i="0" u="none" strike="noStrike" spc="-60">
                <a:solidFill>
                  <a:schemeClr val="tx2"/>
                </a:solidFill>
                <a:effectLst/>
              </a:rPr>
              <a:t>Healthcare/ Manufacturing Hubs</a:t>
            </a:r>
            <a:endParaRPr lang="en-US" sz="1400" i="0" u="none" strike="noStrike" kern="1200" spc="-60">
              <a:solidFill>
                <a:srgbClr val="000000"/>
              </a:solidFill>
              <a:effectLst/>
            </a:endParaRPr>
          </a:p>
          <a:p>
            <a:pPr marL="194400" lvl="1" indent="-129600">
              <a:lnSpc>
                <a:spcPct val="90000"/>
              </a:lnSpc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Regional staff supporting healthcare/manufacturing  employers to upskill, train, and/or hire workers</a:t>
            </a:r>
          </a:p>
          <a:p>
            <a:pPr marL="194400" lvl="1" indent="-129600">
              <a:lnSpc>
                <a:spcPct val="90000"/>
              </a:lnSpc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Can provide Market Makers with expertise on training grants related to their specific industries</a:t>
            </a:r>
          </a:p>
        </p:txBody>
      </p:sp>
      <p:sp>
        <p:nvSpPr>
          <p:cNvPr id="55" name="Textfeld 1">
            <a:extLst>
              <a:ext uri="{FF2B5EF4-FFF2-40B4-BE49-F238E27FC236}">
                <a16:creationId xmlns:a16="http://schemas.microsoft.com/office/drawing/2014/main" id="{2A98CC8F-6AAE-4575-B371-12EB1513779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8016076" y="2481204"/>
            <a:ext cx="1673115" cy="2675258"/>
          </a:xfrm>
          <a:prstGeom prst="roundRect">
            <a:avLst>
              <a:gd name="adj" fmla="val 9710"/>
            </a:avLst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" tIns="18288" rIns="18288" bIns="18288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Rapid Response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Regional staff working to coordinate employer engagement across regions via BizWork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Source of referrals for Market Makers and can connect Market Maker to other BizWorks resources</a:t>
            </a:r>
          </a:p>
        </p:txBody>
      </p:sp>
      <p:sp>
        <p:nvSpPr>
          <p:cNvPr id="57" name="Textfeld 1">
            <a:extLst>
              <a:ext uri="{FF2B5EF4-FFF2-40B4-BE49-F238E27FC236}">
                <a16:creationId xmlns:a16="http://schemas.microsoft.com/office/drawing/2014/main" id="{628E0299-B9FA-442C-B4DA-2285811F6311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9890235" y="2481204"/>
            <a:ext cx="1673115" cy="2675258"/>
          </a:xfrm>
          <a:prstGeom prst="roundRect">
            <a:avLst>
              <a:gd name="adj" fmla="val 9710"/>
            </a:avLst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" tIns="18288" rIns="18288" bIns="18288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MOBD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Regional staff assisting businesses relocating to MA as well as businesses wishing to expand current operation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Source of referrals for Market Makers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1038A5D2-3906-4EC0-9E47-7E9344EF89FE}"/>
              </a:ext>
            </a:extLst>
          </p:cNvPr>
          <p:cNvCxnSpPr>
            <a:cxnSpLocks/>
          </p:cNvCxnSpPr>
          <p:nvPr/>
        </p:nvCxnSpPr>
        <p:spPr>
          <a:xfrm>
            <a:off x="2178190" y="2481204"/>
            <a:ext cx="0" cy="2694111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feld 1">
            <a:extLst>
              <a:ext uri="{FF2B5EF4-FFF2-40B4-BE49-F238E27FC236}">
                <a16:creationId xmlns:a16="http://schemas.microsoft.com/office/drawing/2014/main" id="{A7A76484-CE45-43A8-906E-F670482C608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2317898" y="5269585"/>
            <a:ext cx="4488254" cy="942680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Business Service Representative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Career Center staff working to address employer's immediate hiring and incumbent training need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Source of referrals for Market Makers and vice versa</a:t>
            </a:r>
          </a:p>
        </p:txBody>
      </p:sp>
      <p:sp>
        <p:nvSpPr>
          <p:cNvPr id="64" name="Textfeld 1">
            <a:extLst>
              <a:ext uri="{FF2B5EF4-FFF2-40B4-BE49-F238E27FC236}">
                <a16:creationId xmlns:a16="http://schemas.microsoft.com/office/drawing/2014/main" id="{7A9330FE-22F3-4EF8-A61B-3439D7D8BA1D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1271840" y="5633858"/>
            <a:ext cx="488916" cy="221599"/>
          </a:xfrm>
          <a:prstGeom prst="rect">
            <a:avLst/>
          </a:prstGeom>
          <a:noFill/>
          <a:ln w="9525" cap="rnd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pattFill>
                  <a:fgClr>
                    <a:srgbClr val="40FEFE"/>
                  </a:fgClr>
                  <a:bgClr>
                    <a:srgbClr val="40FEFE"/>
                  </a:bgClr>
                </a:pattFill>
              </a14:hiddenFill>
            </a:ext>
            <a:ext uri="{91240B29-F687-4F45-9708-019B960494DF}">
              <a14:hiddenLine xmlns:a14="http://schemas.microsoft.com/office/drawing/2010/main" w="9525" cap="rnd">
                <a:solidFill>
                  <a:srgbClr val="575757"/>
                </a:solidFill>
                <a:prstDash val="solid"/>
              </a14:hiddenLine>
            </a:ext>
          </a:extLst>
        </p:spPr>
        <p:txBody>
          <a:bodyPr vert="horz" wrap="non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  <a:sym typeface="Trebuchet MS" panose="020B0603020202020204" pitchFamily="34" charset="0"/>
              </a:rPr>
              <a:t>Local</a:t>
            </a: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EF783B73-11B8-4F4F-B0DC-B21F0A52A1C0}"/>
              </a:ext>
            </a:extLst>
          </p:cNvPr>
          <p:cNvGrpSpPr/>
          <p:nvPr/>
        </p:nvGrpSpPr>
        <p:grpSpPr>
          <a:xfrm>
            <a:off x="636562" y="5467412"/>
            <a:ext cx="553978" cy="554490"/>
            <a:chOff x="384783" y="4903312"/>
            <a:chExt cx="824281" cy="825046"/>
          </a:xfrm>
        </p:grpSpPr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CCB773AC-B2C0-4F1B-B231-84951DDC4559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384783" y="4903312"/>
              <a:ext cx="824281" cy="825046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sz="16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1" name="bcgIcons_SocialLocalMobile">
              <a:extLst>
                <a:ext uri="{FF2B5EF4-FFF2-40B4-BE49-F238E27FC236}">
                  <a16:creationId xmlns:a16="http://schemas.microsoft.com/office/drawing/2014/main" id="{3BBF2241-3816-42B9-B8BF-674EDBB7F3B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05496" y="5024137"/>
              <a:ext cx="582855" cy="583396"/>
              <a:chOff x="1682" y="0"/>
              <a:chExt cx="4316" cy="4320"/>
            </a:xfrm>
          </p:grpSpPr>
          <p:sp>
            <p:nvSpPr>
              <p:cNvPr id="82" name="AutoShape 14">
                <a:extLst>
                  <a:ext uri="{FF2B5EF4-FFF2-40B4-BE49-F238E27FC236}">
                    <a16:creationId xmlns:a16="http://schemas.microsoft.com/office/drawing/2014/main" id="{49644A66-BB12-4ACB-B40B-A41E44BB8B1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83" name="Freeform 16">
                <a:extLst>
                  <a:ext uri="{FF2B5EF4-FFF2-40B4-BE49-F238E27FC236}">
                    <a16:creationId xmlns:a16="http://schemas.microsoft.com/office/drawing/2014/main" id="{D461AFAB-DD87-4E05-B5D4-F1E2995317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" y="626"/>
                <a:ext cx="2900" cy="3068"/>
              </a:xfrm>
              <a:custGeom>
                <a:avLst/>
                <a:gdLst>
                  <a:gd name="T0" fmla="*/ 1197 w 1548"/>
                  <a:gd name="T1" fmla="*/ 934 h 1636"/>
                  <a:gd name="T2" fmla="*/ 903 w 1548"/>
                  <a:gd name="T3" fmla="*/ 1093 h 1636"/>
                  <a:gd name="T4" fmla="*/ 736 w 1548"/>
                  <a:gd name="T5" fmla="*/ 1005 h 1636"/>
                  <a:gd name="T6" fmla="*/ 780 w 1548"/>
                  <a:gd name="T7" fmla="*/ 825 h 1636"/>
                  <a:gd name="T8" fmla="*/ 733 w 1548"/>
                  <a:gd name="T9" fmla="*/ 639 h 1636"/>
                  <a:gd name="T10" fmla="*/ 1056 w 1548"/>
                  <a:gd name="T11" fmla="*/ 451 h 1636"/>
                  <a:gd name="T12" fmla="*/ 1244 w 1548"/>
                  <a:gd name="T13" fmla="*/ 529 h 1636"/>
                  <a:gd name="T14" fmla="*/ 1509 w 1548"/>
                  <a:gd name="T15" fmla="*/ 265 h 1636"/>
                  <a:gd name="T16" fmla="*/ 1244 w 1548"/>
                  <a:gd name="T17" fmla="*/ 0 h 1636"/>
                  <a:gd name="T18" fmla="*/ 979 w 1548"/>
                  <a:gd name="T19" fmla="*/ 265 h 1636"/>
                  <a:gd name="T20" fmla="*/ 1027 w 1548"/>
                  <a:gd name="T21" fmla="*/ 417 h 1636"/>
                  <a:gd name="T22" fmla="*/ 710 w 1548"/>
                  <a:gd name="T23" fmla="*/ 602 h 1636"/>
                  <a:gd name="T24" fmla="*/ 390 w 1548"/>
                  <a:gd name="T25" fmla="*/ 435 h 1636"/>
                  <a:gd name="T26" fmla="*/ 0 w 1548"/>
                  <a:gd name="T27" fmla="*/ 825 h 1636"/>
                  <a:gd name="T28" fmla="*/ 390 w 1548"/>
                  <a:gd name="T29" fmla="*/ 1215 h 1636"/>
                  <a:gd name="T30" fmla="*/ 714 w 1548"/>
                  <a:gd name="T31" fmla="*/ 1043 h 1636"/>
                  <a:gd name="T32" fmla="*/ 881 w 1548"/>
                  <a:gd name="T33" fmla="*/ 1132 h 1636"/>
                  <a:gd name="T34" fmla="*/ 846 w 1548"/>
                  <a:gd name="T35" fmla="*/ 1285 h 1636"/>
                  <a:gd name="T36" fmla="*/ 1197 w 1548"/>
                  <a:gd name="T37" fmla="*/ 1636 h 1636"/>
                  <a:gd name="T38" fmla="*/ 1548 w 1548"/>
                  <a:gd name="T39" fmla="*/ 1285 h 1636"/>
                  <a:gd name="T40" fmla="*/ 1197 w 1548"/>
                  <a:gd name="T41" fmla="*/ 934 h 1636"/>
                  <a:gd name="T42" fmla="*/ 1244 w 1548"/>
                  <a:gd name="T43" fmla="*/ 44 h 1636"/>
                  <a:gd name="T44" fmla="*/ 1465 w 1548"/>
                  <a:gd name="T45" fmla="*/ 265 h 1636"/>
                  <a:gd name="T46" fmla="*/ 1244 w 1548"/>
                  <a:gd name="T47" fmla="*/ 485 h 1636"/>
                  <a:gd name="T48" fmla="*/ 1023 w 1548"/>
                  <a:gd name="T49" fmla="*/ 265 h 1636"/>
                  <a:gd name="T50" fmla="*/ 1244 w 1548"/>
                  <a:gd name="T51" fmla="*/ 44 h 1636"/>
                  <a:gd name="T52" fmla="*/ 390 w 1548"/>
                  <a:gd name="T53" fmla="*/ 1171 h 1636"/>
                  <a:gd name="T54" fmla="*/ 44 w 1548"/>
                  <a:gd name="T55" fmla="*/ 825 h 1636"/>
                  <a:gd name="T56" fmla="*/ 390 w 1548"/>
                  <a:gd name="T57" fmla="*/ 479 h 1636"/>
                  <a:gd name="T58" fmla="*/ 736 w 1548"/>
                  <a:gd name="T59" fmla="*/ 825 h 1636"/>
                  <a:gd name="T60" fmla="*/ 390 w 1548"/>
                  <a:gd name="T61" fmla="*/ 1171 h 1636"/>
                  <a:gd name="T62" fmla="*/ 1197 w 1548"/>
                  <a:gd name="T63" fmla="*/ 1592 h 1636"/>
                  <a:gd name="T64" fmla="*/ 890 w 1548"/>
                  <a:gd name="T65" fmla="*/ 1285 h 1636"/>
                  <a:gd name="T66" fmla="*/ 1197 w 1548"/>
                  <a:gd name="T67" fmla="*/ 978 h 1636"/>
                  <a:gd name="T68" fmla="*/ 1504 w 1548"/>
                  <a:gd name="T69" fmla="*/ 1285 h 1636"/>
                  <a:gd name="T70" fmla="*/ 1197 w 1548"/>
                  <a:gd name="T71" fmla="*/ 1592 h 1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48" h="1636">
                    <a:moveTo>
                      <a:pt x="1197" y="934"/>
                    </a:moveTo>
                    <a:cubicBezTo>
                      <a:pt x="1074" y="934"/>
                      <a:pt x="966" y="998"/>
                      <a:pt x="903" y="1093"/>
                    </a:cubicBezTo>
                    <a:cubicBezTo>
                      <a:pt x="736" y="1005"/>
                      <a:pt x="736" y="1005"/>
                      <a:pt x="736" y="1005"/>
                    </a:cubicBezTo>
                    <a:cubicBezTo>
                      <a:pt x="765" y="951"/>
                      <a:pt x="780" y="890"/>
                      <a:pt x="780" y="825"/>
                    </a:cubicBezTo>
                    <a:cubicBezTo>
                      <a:pt x="780" y="758"/>
                      <a:pt x="763" y="694"/>
                      <a:pt x="733" y="639"/>
                    </a:cubicBezTo>
                    <a:cubicBezTo>
                      <a:pt x="1056" y="451"/>
                      <a:pt x="1056" y="451"/>
                      <a:pt x="1056" y="451"/>
                    </a:cubicBezTo>
                    <a:cubicBezTo>
                      <a:pt x="1104" y="499"/>
                      <a:pt x="1171" y="529"/>
                      <a:pt x="1244" y="529"/>
                    </a:cubicBezTo>
                    <a:cubicBezTo>
                      <a:pt x="1390" y="529"/>
                      <a:pt x="1509" y="411"/>
                      <a:pt x="1509" y="265"/>
                    </a:cubicBezTo>
                    <a:cubicBezTo>
                      <a:pt x="1509" y="119"/>
                      <a:pt x="1390" y="0"/>
                      <a:pt x="1244" y="0"/>
                    </a:cubicBezTo>
                    <a:cubicBezTo>
                      <a:pt x="1098" y="0"/>
                      <a:pt x="979" y="119"/>
                      <a:pt x="979" y="265"/>
                    </a:cubicBezTo>
                    <a:cubicBezTo>
                      <a:pt x="979" y="321"/>
                      <a:pt x="997" y="374"/>
                      <a:pt x="1027" y="417"/>
                    </a:cubicBezTo>
                    <a:cubicBezTo>
                      <a:pt x="710" y="602"/>
                      <a:pt x="710" y="602"/>
                      <a:pt x="710" y="602"/>
                    </a:cubicBezTo>
                    <a:cubicBezTo>
                      <a:pt x="640" y="501"/>
                      <a:pt x="523" y="435"/>
                      <a:pt x="390" y="435"/>
                    </a:cubicBezTo>
                    <a:cubicBezTo>
                      <a:pt x="175" y="435"/>
                      <a:pt x="0" y="610"/>
                      <a:pt x="0" y="825"/>
                    </a:cubicBezTo>
                    <a:cubicBezTo>
                      <a:pt x="0" y="1040"/>
                      <a:pt x="175" y="1215"/>
                      <a:pt x="390" y="1215"/>
                    </a:cubicBezTo>
                    <a:cubicBezTo>
                      <a:pt x="525" y="1215"/>
                      <a:pt x="644" y="1146"/>
                      <a:pt x="714" y="1043"/>
                    </a:cubicBezTo>
                    <a:cubicBezTo>
                      <a:pt x="881" y="1132"/>
                      <a:pt x="881" y="1132"/>
                      <a:pt x="881" y="1132"/>
                    </a:cubicBezTo>
                    <a:cubicBezTo>
                      <a:pt x="859" y="1178"/>
                      <a:pt x="846" y="1230"/>
                      <a:pt x="846" y="1285"/>
                    </a:cubicBezTo>
                    <a:cubicBezTo>
                      <a:pt x="846" y="1479"/>
                      <a:pt x="1003" y="1636"/>
                      <a:pt x="1197" y="1636"/>
                    </a:cubicBezTo>
                    <a:cubicBezTo>
                      <a:pt x="1390" y="1636"/>
                      <a:pt x="1548" y="1479"/>
                      <a:pt x="1548" y="1285"/>
                    </a:cubicBezTo>
                    <a:cubicBezTo>
                      <a:pt x="1548" y="1092"/>
                      <a:pt x="1390" y="934"/>
                      <a:pt x="1197" y="934"/>
                    </a:cubicBezTo>
                    <a:close/>
                    <a:moveTo>
                      <a:pt x="1244" y="44"/>
                    </a:moveTo>
                    <a:cubicBezTo>
                      <a:pt x="1366" y="44"/>
                      <a:pt x="1465" y="143"/>
                      <a:pt x="1465" y="265"/>
                    </a:cubicBezTo>
                    <a:cubicBezTo>
                      <a:pt x="1465" y="386"/>
                      <a:pt x="1366" y="485"/>
                      <a:pt x="1244" y="485"/>
                    </a:cubicBezTo>
                    <a:cubicBezTo>
                      <a:pt x="1122" y="485"/>
                      <a:pt x="1023" y="386"/>
                      <a:pt x="1023" y="265"/>
                    </a:cubicBezTo>
                    <a:cubicBezTo>
                      <a:pt x="1023" y="143"/>
                      <a:pt x="1122" y="44"/>
                      <a:pt x="1244" y="44"/>
                    </a:cubicBezTo>
                    <a:close/>
                    <a:moveTo>
                      <a:pt x="390" y="1171"/>
                    </a:moveTo>
                    <a:cubicBezTo>
                      <a:pt x="199" y="1171"/>
                      <a:pt x="44" y="1016"/>
                      <a:pt x="44" y="825"/>
                    </a:cubicBezTo>
                    <a:cubicBezTo>
                      <a:pt x="44" y="634"/>
                      <a:pt x="199" y="479"/>
                      <a:pt x="390" y="479"/>
                    </a:cubicBezTo>
                    <a:cubicBezTo>
                      <a:pt x="581" y="479"/>
                      <a:pt x="736" y="634"/>
                      <a:pt x="736" y="825"/>
                    </a:cubicBezTo>
                    <a:cubicBezTo>
                      <a:pt x="736" y="1016"/>
                      <a:pt x="581" y="1171"/>
                      <a:pt x="390" y="1171"/>
                    </a:cubicBezTo>
                    <a:close/>
                    <a:moveTo>
                      <a:pt x="1197" y="1592"/>
                    </a:moveTo>
                    <a:cubicBezTo>
                      <a:pt x="1028" y="1592"/>
                      <a:pt x="890" y="1454"/>
                      <a:pt x="890" y="1285"/>
                    </a:cubicBezTo>
                    <a:cubicBezTo>
                      <a:pt x="890" y="1116"/>
                      <a:pt x="1028" y="978"/>
                      <a:pt x="1197" y="978"/>
                    </a:cubicBezTo>
                    <a:cubicBezTo>
                      <a:pt x="1366" y="978"/>
                      <a:pt x="1504" y="1116"/>
                      <a:pt x="1504" y="1285"/>
                    </a:cubicBezTo>
                    <a:cubicBezTo>
                      <a:pt x="1504" y="1454"/>
                      <a:pt x="1366" y="1592"/>
                      <a:pt x="1197" y="159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  <p:sp>
            <p:nvSpPr>
              <p:cNvPr id="84" name="Freeform 17">
                <a:extLst>
                  <a:ext uri="{FF2B5EF4-FFF2-40B4-BE49-F238E27FC236}">
                    <a16:creationId xmlns:a16="http://schemas.microsoft.com/office/drawing/2014/main" id="{8D1F469E-9058-42D8-9C24-F5D37B25F9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55" y="791"/>
                <a:ext cx="2570" cy="2738"/>
              </a:xfrm>
              <a:custGeom>
                <a:avLst/>
                <a:gdLst>
                  <a:gd name="T0" fmla="*/ 1156 w 1372"/>
                  <a:gd name="T1" fmla="*/ 353 h 1460"/>
                  <a:gd name="T2" fmla="*/ 979 w 1372"/>
                  <a:gd name="T3" fmla="*/ 177 h 1460"/>
                  <a:gd name="T4" fmla="*/ 1156 w 1372"/>
                  <a:gd name="T5" fmla="*/ 0 h 1460"/>
                  <a:gd name="T6" fmla="*/ 1333 w 1372"/>
                  <a:gd name="T7" fmla="*/ 177 h 1460"/>
                  <a:gd name="T8" fmla="*/ 1156 w 1372"/>
                  <a:gd name="T9" fmla="*/ 353 h 1460"/>
                  <a:gd name="T10" fmla="*/ 1372 w 1372"/>
                  <a:gd name="T11" fmla="*/ 1197 h 1460"/>
                  <a:gd name="T12" fmla="*/ 1109 w 1372"/>
                  <a:gd name="T13" fmla="*/ 934 h 1460"/>
                  <a:gd name="T14" fmla="*/ 846 w 1372"/>
                  <a:gd name="T15" fmla="*/ 1197 h 1460"/>
                  <a:gd name="T16" fmla="*/ 1109 w 1372"/>
                  <a:gd name="T17" fmla="*/ 1460 h 1460"/>
                  <a:gd name="T18" fmla="*/ 1372 w 1372"/>
                  <a:gd name="T19" fmla="*/ 1197 h 1460"/>
                  <a:gd name="T20" fmla="*/ 604 w 1372"/>
                  <a:gd name="T21" fmla="*/ 737 h 1460"/>
                  <a:gd name="T22" fmla="*/ 302 w 1372"/>
                  <a:gd name="T23" fmla="*/ 435 h 1460"/>
                  <a:gd name="T24" fmla="*/ 0 w 1372"/>
                  <a:gd name="T25" fmla="*/ 737 h 1460"/>
                  <a:gd name="T26" fmla="*/ 302 w 1372"/>
                  <a:gd name="T27" fmla="*/ 1039 h 1460"/>
                  <a:gd name="T28" fmla="*/ 604 w 1372"/>
                  <a:gd name="T29" fmla="*/ 737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72" h="1460">
                    <a:moveTo>
                      <a:pt x="1156" y="353"/>
                    </a:moveTo>
                    <a:cubicBezTo>
                      <a:pt x="1059" y="353"/>
                      <a:pt x="979" y="274"/>
                      <a:pt x="979" y="177"/>
                    </a:cubicBezTo>
                    <a:cubicBezTo>
                      <a:pt x="979" y="79"/>
                      <a:pt x="1059" y="0"/>
                      <a:pt x="1156" y="0"/>
                    </a:cubicBezTo>
                    <a:cubicBezTo>
                      <a:pt x="1254" y="0"/>
                      <a:pt x="1333" y="79"/>
                      <a:pt x="1333" y="177"/>
                    </a:cubicBezTo>
                    <a:cubicBezTo>
                      <a:pt x="1333" y="274"/>
                      <a:pt x="1254" y="353"/>
                      <a:pt x="1156" y="353"/>
                    </a:cubicBezTo>
                    <a:close/>
                    <a:moveTo>
                      <a:pt x="1372" y="1197"/>
                    </a:moveTo>
                    <a:cubicBezTo>
                      <a:pt x="1372" y="1052"/>
                      <a:pt x="1254" y="934"/>
                      <a:pt x="1109" y="934"/>
                    </a:cubicBezTo>
                    <a:cubicBezTo>
                      <a:pt x="964" y="934"/>
                      <a:pt x="846" y="1052"/>
                      <a:pt x="846" y="1197"/>
                    </a:cubicBezTo>
                    <a:cubicBezTo>
                      <a:pt x="846" y="1342"/>
                      <a:pt x="964" y="1460"/>
                      <a:pt x="1109" y="1460"/>
                    </a:cubicBezTo>
                    <a:cubicBezTo>
                      <a:pt x="1254" y="1460"/>
                      <a:pt x="1372" y="1342"/>
                      <a:pt x="1372" y="1197"/>
                    </a:cubicBezTo>
                    <a:close/>
                    <a:moveTo>
                      <a:pt x="604" y="737"/>
                    </a:moveTo>
                    <a:cubicBezTo>
                      <a:pt x="604" y="570"/>
                      <a:pt x="469" y="435"/>
                      <a:pt x="302" y="435"/>
                    </a:cubicBezTo>
                    <a:cubicBezTo>
                      <a:pt x="136" y="435"/>
                      <a:pt x="0" y="570"/>
                      <a:pt x="0" y="737"/>
                    </a:cubicBezTo>
                    <a:cubicBezTo>
                      <a:pt x="0" y="903"/>
                      <a:pt x="136" y="1039"/>
                      <a:pt x="302" y="1039"/>
                    </a:cubicBezTo>
                    <a:cubicBezTo>
                      <a:pt x="469" y="1039"/>
                      <a:pt x="604" y="903"/>
                      <a:pt x="604" y="73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/>
              </a:p>
            </p:txBody>
          </p:sp>
        </p:grpSp>
      </p:grp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92100EB-40CB-4869-A946-3FF2AA5CFA80}"/>
              </a:ext>
            </a:extLst>
          </p:cNvPr>
          <p:cNvCxnSpPr/>
          <p:nvPr/>
        </p:nvCxnSpPr>
        <p:spPr>
          <a:xfrm>
            <a:off x="2178190" y="5373850"/>
            <a:ext cx="0" cy="741617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1">
            <a:extLst>
              <a:ext uri="{FF2B5EF4-FFF2-40B4-BE49-F238E27FC236}">
                <a16:creationId xmlns:a16="http://schemas.microsoft.com/office/drawing/2014/main" id="{60E0DE6C-EADB-4E79-976C-9687CB87DC8A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144422" y="5279011"/>
            <a:ext cx="4488254" cy="942680"/>
          </a:xfrm>
          <a:prstGeom prst="roundRect">
            <a:avLst/>
          </a:prstGeom>
          <a:solidFill>
            <a:srgbClr val="FFFFFF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576" tIns="36576" rIns="36576" bIns="36576" rtlCol="0" anchor="t" anchorCtr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chemeClr val="tx2"/>
                </a:solidFill>
                <a:sym typeface="Trebuchet MS" panose="020B0603020202020204" pitchFamily="34" charset="0"/>
              </a:rPr>
              <a:t>Upskilling Navigator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Career Center staff helping MassHire customers enroll in training programs</a:t>
            </a:r>
          </a:p>
          <a:p>
            <a:pPr marL="194400" lvl="1" indent="-1296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sym typeface="Trebuchet MS" panose="020B0603020202020204" pitchFamily="34" charset="0"/>
              </a:rPr>
              <a:t>Help Market Makers by driving training enrollment </a:t>
            </a:r>
          </a:p>
        </p:txBody>
      </p:sp>
    </p:spTree>
    <p:extLst>
      <p:ext uri="{BB962C8B-B14F-4D97-AF65-F5344CB8AC3E}">
        <p14:creationId xmlns:p14="http://schemas.microsoft.com/office/powerpoint/2010/main" val="280251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79E39C9-259E-474D-83AC-A65A3B7DD1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457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79E39C9-259E-474D-83AC-A65A3B7DD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29D8CA14-2260-49D2-8B30-0E498514A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4" y="622800"/>
            <a:ext cx="7288451" cy="914096"/>
          </a:xfrm>
        </p:spPr>
        <p:txBody>
          <a:bodyPr vert="horz"/>
          <a:lstStyle/>
          <a:p>
            <a:r>
              <a:rPr lang="en-US" sz="2200" u="sng">
                <a:solidFill>
                  <a:srgbClr val="00269E"/>
                </a:solidFill>
              </a:rPr>
              <a:t>Ecosystem of employer-facing workforce roles</a:t>
            </a:r>
            <a:r>
              <a:rPr lang="en-US" sz="2200">
                <a:solidFill>
                  <a:srgbClr val="00269E"/>
                </a:solidFill>
              </a:rPr>
              <a:t>:</a:t>
            </a:r>
            <a:r>
              <a:rPr lang="en-US" sz="2200"/>
              <a:t> Market Makers may partner with quasi-public organizations to support employer engagemen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2D285A-875F-4C23-9D8D-1961E4BFC605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/>
              <a:t>Market Maker role within MassHire workforce syste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840AC37-3518-4995-B6B9-511F1B13B578}"/>
              </a:ext>
            </a:extLst>
          </p:cNvPr>
          <p:cNvSpPr/>
          <p:nvPr/>
        </p:nvSpPr>
        <p:spPr>
          <a:xfrm>
            <a:off x="462684" y="1865769"/>
            <a:ext cx="7136408" cy="2154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>
                <a:solidFill>
                  <a:schemeClr val="tx2"/>
                </a:solidFill>
              </a:rPr>
              <a:t>Purpose</a:t>
            </a:r>
            <a:r>
              <a:rPr lang="en-US" sz="1600">
                <a:solidFill>
                  <a:schemeClr val="tx2"/>
                </a:solidFill>
              </a:rPr>
              <a:t>: </a:t>
            </a:r>
            <a:r>
              <a:rPr lang="en-US" sz="1600">
                <a:solidFill>
                  <a:srgbClr val="000000"/>
                </a:solidFill>
              </a:rPr>
              <a:t>Industry partners are valuable sources of referrals for Market Makers.</a:t>
            </a:r>
          </a:p>
        </p:txBody>
      </p:sp>
      <p:sp>
        <p:nvSpPr>
          <p:cNvPr id="13" name="ee4pHeader1">
            <a:extLst>
              <a:ext uri="{FF2B5EF4-FFF2-40B4-BE49-F238E27FC236}">
                <a16:creationId xmlns:a16="http://schemas.microsoft.com/office/drawing/2014/main" id="{5441F417-302F-4777-AE07-FBCA7B5743CA}"/>
              </a:ext>
            </a:extLst>
          </p:cNvPr>
          <p:cNvSpPr txBox="1"/>
          <p:nvPr/>
        </p:nvSpPr>
        <p:spPr>
          <a:xfrm>
            <a:off x="462684" y="2331262"/>
            <a:ext cx="7029571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E71C5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 anchor="b" anchorCtr="0">
            <a:spAutoFit/>
          </a:bodyPr>
          <a:lstStyle/>
          <a:p>
            <a:pPr marL="0" lvl="3"/>
            <a:r>
              <a:rPr lang="en-US">
                <a:solidFill>
                  <a:schemeClr val="tx2"/>
                </a:solidFill>
              </a:rPr>
              <a:t>Industry-focused quasi-public organizations (Team MA affiliates)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ABCC11B-F5D3-4806-8339-05E4161CDD53}"/>
              </a:ext>
            </a:extLst>
          </p:cNvPr>
          <p:cNvCxnSpPr>
            <a:cxnSpLocks/>
          </p:cNvCxnSpPr>
          <p:nvPr/>
        </p:nvCxnSpPr>
        <p:spPr>
          <a:xfrm flipH="1">
            <a:off x="487017" y="2662736"/>
            <a:ext cx="7157284" cy="0"/>
          </a:xfrm>
          <a:prstGeom prst="line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E37CE568-D33A-4C0D-B16F-2888F1B1F60B}"/>
              </a:ext>
            </a:extLst>
          </p:cNvPr>
          <p:cNvSpPr txBox="1"/>
          <p:nvPr/>
        </p:nvSpPr>
        <p:spPr>
          <a:xfrm>
            <a:off x="8804910" y="2947305"/>
            <a:ext cx="2758440" cy="258532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0" algn="l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2400" kern="1200"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Market Makers should make contact periodically with industry partner representatives to support lead referrals</a:t>
            </a:r>
            <a:endParaRPr lang="en-US" sz="2400">
              <a:solidFill>
                <a:srgbClr val="FFFFFF"/>
              </a:solidFill>
              <a:effectLst/>
            </a:endParaRPr>
          </a:p>
        </p:txBody>
      </p:sp>
      <p:grpSp>
        <p:nvGrpSpPr>
          <p:cNvPr id="51" name="bcgIcons_GoToMarket">
            <a:extLst>
              <a:ext uri="{FF2B5EF4-FFF2-40B4-BE49-F238E27FC236}">
                <a16:creationId xmlns:a16="http://schemas.microsoft.com/office/drawing/2014/main" id="{DB8F1913-401E-4F0A-9353-4DF6F65192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66683" y="1771447"/>
            <a:ext cx="913555" cy="914400"/>
            <a:chOff x="1682" y="0"/>
            <a:chExt cx="4316" cy="4320"/>
          </a:xfrm>
        </p:grpSpPr>
        <p:sp>
          <p:nvSpPr>
            <p:cNvPr id="52" name="AutoShape 14">
              <a:extLst>
                <a:ext uri="{FF2B5EF4-FFF2-40B4-BE49-F238E27FC236}">
                  <a16:creationId xmlns:a16="http://schemas.microsoft.com/office/drawing/2014/main" id="{A971073A-4EE7-4C70-9FF1-4187E92C50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6">
              <a:extLst>
                <a:ext uri="{FF2B5EF4-FFF2-40B4-BE49-F238E27FC236}">
                  <a16:creationId xmlns:a16="http://schemas.microsoft.com/office/drawing/2014/main" id="{ED013A35-07B3-4BFB-A6D5-6E21E796A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296"/>
              <a:ext cx="2605" cy="2697"/>
            </a:xfrm>
            <a:custGeom>
              <a:avLst/>
              <a:gdLst>
                <a:gd name="T0" fmla="*/ 540 w 1391"/>
                <a:gd name="T1" fmla="*/ 461 h 1438"/>
                <a:gd name="T2" fmla="*/ 144 w 1391"/>
                <a:gd name="T3" fmla="*/ 866 h 1438"/>
                <a:gd name="T4" fmla="*/ 204 w 1391"/>
                <a:gd name="T5" fmla="*/ 1230 h 1438"/>
                <a:gd name="T6" fmla="*/ 235 w 1391"/>
                <a:gd name="T7" fmla="*/ 1261 h 1438"/>
                <a:gd name="T8" fmla="*/ 122 w 1391"/>
                <a:gd name="T9" fmla="*/ 1364 h 1438"/>
                <a:gd name="T10" fmla="*/ 121 w 1391"/>
                <a:gd name="T11" fmla="*/ 1364 h 1438"/>
                <a:gd name="T12" fmla="*/ 8 w 1391"/>
                <a:gd name="T13" fmla="*/ 1258 h 1438"/>
                <a:gd name="T14" fmla="*/ 40 w 1391"/>
                <a:gd name="T15" fmla="*/ 1228 h 1438"/>
                <a:gd name="T16" fmla="*/ 100 w 1391"/>
                <a:gd name="T17" fmla="*/ 857 h 1438"/>
                <a:gd name="T18" fmla="*/ 496 w 1391"/>
                <a:gd name="T19" fmla="*/ 452 h 1438"/>
                <a:gd name="T20" fmla="*/ 518 w 1391"/>
                <a:gd name="T21" fmla="*/ 0 h 1438"/>
                <a:gd name="T22" fmla="*/ 758 w 1391"/>
                <a:gd name="T23" fmla="*/ 746 h 1438"/>
                <a:gd name="T24" fmla="*/ 699 w 1391"/>
                <a:gd name="T25" fmla="*/ 22 h 1438"/>
                <a:gd name="T26" fmla="*/ 655 w 1391"/>
                <a:gd name="T27" fmla="*/ 22 h 1438"/>
                <a:gd name="T28" fmla="*/ 594 w 1391"/>
                <a:gd name="T29" fmla="*/ 744 h 1438"/>
                <a:gd name="T30" fmla="*/ 562 w 1391"/>
                <a:gd name="T31" fmla="*/ 775 h 1438"/>
                <a:gd name="T32" fmla="*/ 674 w 1391"/>
                <a:gd name="T33" fmla="*/ 880 h 1438"/>
                <a:gd name="T34" fmla="*/ 690 w 1391"/>
                <a:gd name="T35" fmla="*/ 874 h 1438"/>
                <a:gd name="T36" fmla="*/ 790 w 1391"/>
                <a:gd name="T37" fmla="*/ 747 h 1438"/>
                <a:gd name="T38" fmla="*/ 1111 w 1391"/>
                <a:gd name="T39" fmla="*/ 886 h 1438"/>
                <a:gd name="T40" fmla="*/ 1051 w 1391"/>
                <a:gd name="T41" fmla="*/ 726 h 1438"/>
                <a:gd name="T42" fmla="*/ 858 w 1391"/>
                <a:gd name="T43" fmla="*/ 524 h 1438"/>
                <a:gd name="T44" fmla="*/ 836 w 1391"/>
                <a:gd name="T45" fmla="*/ 0 h 1438"/>
                <a:gd name="T46" fmla="*/ 814 w 1391"/>
                <a:gd name="T47" fmla="*/ 533 h 1438"/>
                <a:gd name="T48" fmla="*/ 1007 w 1391"/>
                <a:gd name="T49" fmla="*/ 735 h 1438"/>
                <a:gd name="T50" fmla="*/ 947 w 1391"/>
                <a:gd name="T51" fmla="*/ 884 h 1438"/>
                <a:gd name="T52" fmla="*/ 915 w 1391"/>
                <a:gd name="T53" fmla="*/ 915 h 1438"/>
                <a:gd name="T54" fmla="*/ 1027 w 1391"/>
                <a:gd name="T55" fmla="*/ 1021 h 1438"/>
                <a:gd name="T56" fmla="*/ 1043 w 1391"/>
                <a:gd name="T57" fmla="*/ 1014 h 1438"/>
                <a:gd name="T58" fmla="*/ 1142 w 1391"/>
                <a:gd name="T59" fmla="*/ 887 h 1438"/>
                <a:gd name="T60" fmla="*/ 1383 w 1391"/>
                <a:gd name="T61" fmla="*/ 1304 h 1438"/>
                <a:gd name="T62" fmla="*/ 1291 w 1391"/>
                <a:gd name="T63" fmla="*/ 1362 h 1438"/>
                <a:gd name="T64" fmla="*/ 1285 w 1391"/>
                <a:gd name="T65" fmla="*/ 618 h 1438"/>
                <a:gd name="T66" fmla="*/ 1016 w 1391"/>
                <a:gd name="T67" fmla="*/ 22 h 1438"/>
                <a:gd name="T68" fmla="*/ 972 w 1391"/>
                <a:gd name="T69" fmla="*/ 22 h 1438"/>
                <a:gd name="T70" fmla="*/ 979 w 1391"/>
                <a:gd name="T71" fmla="*/ 373 h 1438"/>
                <a:gd name="T72" fmla="*/ 1247 w 1391"/>
                <a:gd name="T73" fmla="*/ 1363 h 1438"/>
                <a:gd name="T74" fmla="*/ 1156 w 1391"/>
                <a:gd name="T75" fmla="*/ 1301 h 1438"/>
                <a:gd name="T76" fmla="*/ 1252 w 1391"/>
                <a:gd name="T77" fmla="*/ 1431 h 1438"/>
                <a:gd name="T78" fmla="*/ 1268 w 1391"/>
                <a:gd name="T79" fmla="*/ 1438 h 1438"/>
                <a:gd name="T80" fmla="*/ 1288 w 1391"/>
                <a:gd name="T81" fmla="*/ 1427 h 1438"/>
                <a:gd name="T82" fmla="*/ 1383 w 1391"/>
                <a:gd name="T83" fmla="*/ 130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1" h="1438">
                  <a:moveTo>
                    <a:pt x="540" y="22"/>
                  </a:moveTo>
                  <a:cubicBezTo>
                    <a:pt x="540" y="461"/>
                    <a:pt x="540" y="461"/>
                    <a:pt x="540" y="461"/>
                  </a:cubicBezTo>
                  <a:cubicBezTo>
                    <a:pt x="540" y="467"/>
                    <a:pt x="538" y="472"/>
                    <a:pt x="534" y="476"/>
                  </a:cubicBezTo>
                  <a:cubicBezTo>
                    <a:pt x="144" y="866"/>
                    <a:pt x="144" y="866"/>
                    <a:pt x="144" y="866"/>
                  </a:cubicBezTo>
                  <a:cubicBezTo>
                    <a:pt x="144" y="1289"/>
                    <a:pt x="144" y="1289"/>
                    <a:pt x="144" y="1289"/>
                  </a:cubicBezTo>
                  <a:cubicBezTo>
                    <a:pt x="204" y="1230"/>
                    <a:pt x="204" y="1230"/>
                    <a:pt x="204" y="1230"/>
                  </a:cubicBezTo>
                  <a:cubicBezTo>
                    <a:pt x="213" y="1221"/>
                    <a:pt x="227" y="1221"/>
                    <a:pt x="235" y="1230"/>
                  </a:cubicBezTo>
                  <a:cubicBezTo>
                    <a:pt x="244" y="1239"/>
                    <a:pt x="244" y="1253"/>
                    <a:pt x="235" y="1261"/>
                  </a:cubicBezTo>
                  <a:cubicBezTo>
                    <a:pt x="141" y="1353"/>
                    <a:pt x="141" y="1353"/>
                    <a:pt x="141" y="1353"/>
                  </a:cubicBezTo>
                  <a:cubicBezTo>
                    <a:pt x="137" y="1360"/>
                    <a:pt x="130" y="1364"/>
                    <a:pt x="122" y="1364"/>
                  </a:cubicBezTo>
                  <a:cubicBezTo>
                    <a:pt x="122" y="1364"/>
                    <a:pt x="121" y="1364"/>
                    <a:pt x="121" y="1364"/>
                  </a:cubicBezTo>
                  <a:cubicBezTo>
                    <a:pt x="121" y="1364"/>
                    <a:pt x="121" y="1364"/>
                    <a:pt x="121" y="1364"/>
                  </a:cubicBezTo>
                  <a:cubicBezTo>
                    <a:pt x="115" y="1364"/>
                    <a:pt x="109" y="1362"/>
                    <a:pt x="105" y="1357"/>
                  </a:cubicBezTo>
                  <a:cubicBezTo>
                    <a:pt x="8" y="1258"/>
                    <a:pt x="8" y="1258"/>
                    <a:pt x="8" y="1258"/>
                  </a:cubicBezTo>
                  <a:cubicBezTo>
                    <a:pt x="0" y="1250"/>
                    <a:pt x="0" y="1236"/>
                    <a:pt x="9" y="1227"/>
                  </a:cubicBezTo>
                  <a:cubicBezTo>
                    <a:pt x="18" y="1219"/>
                    <a:pt x="31" y="1219"/>
                    <a:pt x="40" y="1228"/>
                  </a:cubicBezTo>
                  <a:cubicBezTo>
                    <a:pt x="100" y="1289"/>
                    <a:pt x="100" y="1289"/>
                    <a:pt x="100" y="1289"/>
                  </a:cubicBezTo>
                  <a:cubicBezTo>
                    <a:pt x="100" y="857"/>
                    <a:pt x="100" y="857"/>
                    <a:pt x="100" y="857"/>
                  </a:cubicBezTo>
                  <a:cubicBezTo>
                    <a:pt x="100" y="851"/>
                    <a:pt x="102" y="846"/>
                    <a:pt x="106" y="842"/>
                  </a:cubicBezTo>
                  <a:cubicBezTo>
                    <a:pt x="496" y="452"/>
                    <a:pt x="496" y="452"/>
                    <a:pt x="496" y="452"/>
                  </a:cubicBezTo>
                  <a:cubicBezTo>
                    <a:pt x="496" y="22"/>
                    <a:pt x="496" y="22"/>
                    <a:pt x="496" y="22"/>
                  </a:cubicBezTo>
                  <a:cubicBezTo>
                    <a:pt x="496" y="10"/>
                    <a:pt x="506" y="0"/>
                    <a:pt x="518" y="0"/>
                  </a:cubicBezTo>
                  <a:cubicBezTo>
                    <a:pt x="531" y="0"/>
                    <a:pt x="540" y="10"/>
                    <a:pt x="540" y="22"/>
                  </a:cubicBezTo>
                  <a:close/>
                  <a:moveTo>
                    <a:pt x="758" y="746"/>
                  </a:moveTo>
                  <a:cubicBezTo>
                    <a:pt x="699" y="804"/>
                    <a:pt x="699" y="804"/>
                    <a:pt x="699" y="804"/>
                  </a:cubicBezTo>
                  <a:cubicBezTo>
                    <a:pt x="699" y="22"/>
                    <a:pt x="699" y="22"/>
                    <a:pt x="699" y="22"/>
                  </a:cubicBezTo>
                  <a:cubicBezTo>
                    <a:pt x="699" y="10"/>
                    <a:pt x="689" y="0"/>
                    <a:pt x="677" y="0"/>
                  </a:cubicBezTo>
                  <a:cubicBezTo>
                    <a:pt x="665" y="0"/>
                    <a:pt x="655" y="10"/>
                    <a:pt x="655" y="22"/>
                  </a:cubicBezTo>
                  <a:cubicBezTo>
                    <a:pt x="655" y="807"/>
                    <a:pt x="655" y="807"/>
                    <a:pt x="655" y="807"/>
                  </a:cubicBezTo>
                  <a:cubicBezTo>
                    <a:pt x="594" y="744"/>
                    <a:pt x="594" y="744"/>
                    <a:pt x="594" y="744"/>
                  </a:cubicBezTo>
                  <a:cubicBezTo>
                    <a:pt x="586" y="735"/>
                    <a:pt x="572" y="735"/>
                    <a:pt x="563" y="744"/>
                  </a:cubicBezTo>
                  <a:cubicBezTo>
                    <a:pt x="554" y="752"/>
                    <a:pt x="554" y="766"/>
                    <a:pt x="562" y="775"/>
                  </a:cubicBezTo>
                  <a:cubicBezTo>
                    <a:pt x="659" y="874"/>
                    <a:pt x="659" y="874"/>
                    <a:pt x="659" y="874"/>
                  </a:cubicBezTo>
                  <a:cubicBezTo>
                    <a:pt x="663" y="878"/>
                    <a:pt x="669" y="880"/>
                    <a:pt x="674" y="880"/>
                  </a:cubicBezTo>
                  <a:cubicBezTo>
                    <a:pt x="675" y="880"/>
                    <a:pt x="675" y="880"/>
                    <a:pt x="675" y="880"/>
                  </a:cubicBezTo>
                  <a:cubicBezTo>
                    <a:pt x="680" y="880"/>
                    <a:pt x="686" y="878"/>
                    <a:pt x="690" y="874"/>
                  </a:cubicBezTo>
                  <a:cubicBezTo>
                    <a:pt x="789" y="778"/>
                    <a:pt x="789" y="778"/>
                    <a:pt x="789" y="778"/>
                  </a:cubicBezTo>
                  <a:cubicBezTo>
                    <a:pt x="798" y="769"/>
                    <a:pt x="798" y="755"/>
                    <a:pt x="790" y="747"/>
                  </a:cubicBezTo>
                  <a:cubicBezTo>
                    <a:pt x="781" y="738"/>
                    <a:pt x="767" y="738"/>
                    <a:pt x="758" y="746"/>
                  </a:cubicBezTo>
                  <a:close/>
                  <a:moveTo>
                    <a:pt x="1111" y="886"/>
                  </a:moveTo>
                  <a:cubicBezTo>
                    <a:pt x="1051" y="945"/>
                    <a:pt x="1051" y="945"/>
                    <a:pt x="1051" y="945"/>
                  </a:cubicBezTo>
                  <a:cubicBezTo>
                    <a:pt x="1051" y="726"/>
                    <a:pt x="1051" y="726"/>
                    <a:pt x="1051" y="726"/>
                  </a:cubicBezTo>
                  <a:cubicBezTo>
                    <a:pt x="1051" y="720"/>
                    <a:pt x="1048" y="715"/>
                    <a:pt x="1044" y="710"/>
                  </a:cubicBezTo>
                  <a:cubicBezTo>
                    <a:pt x="858" y="524"/>
                    <a:pt x="858" y="524"/>
                    <a:pt x="858" y="524"/>
                  </a:cubicBezTo>
                  <a:cubicBezTo>
                    <a:pt x="858" y="22"/>
                    <a:pt x="858" y="22"/>
                    <a:pt x="858" y="22"/>
                  </a:cubicBezTo>
                  <a:cubicBezTo>
                    <a:pt x="858" y="10"/>
                    <a:pt x="848" y="0"/>
                    <a:pt x="836" y="0"/>
                  </a:cubicBezTo>
                  <a:cubicBezTo>
                    <a:pt x="823" y="0"/>
                    <a:pt x="814" y="10"/>
                    <a:pt x="814" y="22"/>
                  </a:cubicBezTo>
                  <a:cubicBezTo>
                    <a:pt x="814" y="533"/>
                    <a:pt x="814" y="533"/>
                    <a:pt x="814" y="533"/>
                  </a:cubicBezTo>
                  <a:cubicBezTo>
                    <a:pt x="814" y="539"/>
                    <a:pt x="816" y="545"/>
                    <a:pt x="820" y="549"/>
                  </a:cubicBezTo>
                  <a:cubicBezTo>
                    <a:pt x="1007" y="735"/>
                    <a:pt x="1007" y="735"/>
                    <a:pt x="1007" y="735"/>
                  </a:cubicBezTo>
                  <a:cubicBezTo>
                    <a:pt x="1007" y="946"/>
                    <a:pt x="1007" y="946"/>
                    <a:pt x="1007" y="946"/>
                  </a:cubicBezTo>
                  <a:cubicBezTo>
                    <a:pt x="947" y="884"/>
                    <a:pt x="947" y="884"/>
                    <a:pt x="947" y="884"/>
                  </a:cubicBezTo>
                  <a:cubicBezTo>
                    <a:pt x="938" y="875"/>
                    <a:pt x="924" y="875"/>
                    <a:pt x="916" y="884"/>
                  </a:cubicBezTo>
                  <a:cubicBezTo>
                    <a:pt x="907" y="892"/>
                    <a:pt x="907" y="906"/>
                    <a:pt x="915" y="915"/>
                  </a:cubicBezTo>
                  <a:cubicBezTo>
                    <a:pt x="1012" y="1014"/>
                    <a:pt x="1012" y="1014"/>
                    <a:pt x="1012" y="1014"/>
                  </a:cubicBezTo>
                  <a:cubicBezTo>
                    <a:pt x="1016" y="1018"/>
                    <a:pt x="1021" y="1020"/>
                    <a:pt x="1027" y="1021"/>
                  </a:cubicBezTo>
                  <a:cubicBezTo>
                    <a:pt x="1027" y="1021"/>
                    <a:pt x="1027" y="1021"/>
                    <a:pt x="1027" y="1021"/>
                  </a:cubicBezTo>
                  <a:cubicBezTo>
                    <a:pt x="1033" y="1021"/>
                    <a:pt x="1039" y="1018"/>
                    <a:pt x="1043" y="1014"/>
                  </a:cubicBezTo>
                  <a:cubicBezTo>
                    <a:pt x="1142" y="918"/>
                    <a:pt x="1142" y="918"/>
                    <a:pt x="1142" y="918"/>
                  </a:cubicBezTo>
                  <a:cubicBezTo>
                    <a:pt x="1151" y="909"/>
                    <a:pt x="1151" y="895"/>
                    <a:pt x="1142" y="887"/>
                  </a:cubicBezTo>
                  <a:cubicBezTo>
                    <a:pt x="1134" y="878"/>
                    <a:pt x="1120" y="878"/>
                    <a:pt x="1111" y="886"/>
                  </a:cubicBezTo>
                  <a:close/>
                  <a:moveTo>
                    <a:pt x="1383" y="1304"/>
                  </a:moveTo>
                  <a:cubicBezTo>
                    <a:pt x="1374" y="1295"/>
                    <a:pt x="1360" y="1295"/>
                    <a:pt x="1351" y="1304"/>
                  </a:cubicBezTo>
                  <a:cubicBezTo>
                    <a:pt x="1291" y="1362"/>
                    <a:pt x="1291" y="1362"/>
                    <a:pt x="1291" y="1362"/>
                  </a:cubicBezTo>
                  <a:cubicBezTo>
                    <a:pt x="1291" y="634"/>
                    <a:pt x="1291" y="634"/>
                    <a:pt x="1291" y="634"/>
                  </a:cubicBezTo>
                  <a:cubicBezTo>
                    <a:pt x="1291" y="628"/>
                    <a:pt x="1289" y="623"/>
                    <a:pt x="1285" y="618"/>
                  </a:cubicBezTo>
                  <a:cubicBezTo>
                    <a:pt x="1016" y="348"/>
                    <a:pt x="1016" y="348"/>
                    <a:pt x="1016" y="348"/>
                  </a:cubicBezTo>
                  <a:cubicBezTo>
                    <a:pt x="1016" y="22"/>
                    <a:pt x="1016" y="22"/>
                    <a:pt x="1016" y="22"/>
                  </a:cubicBezTo>
                  <a:cubicBezTo>
                    <a:pt x="1016" y="10"/>
                    <a:pt x="1006" y="0"/>
                    <a:pt x="994" y="0"/>
                  </a:cubicBezTo>
                  <a:cubicBezTo>
                    <a:pt x="982" y="0"/>
                    <a:pt x="972" y="10"/>
                    <a:pt x="972" y="22"/>
                  </a:cubicBezTo>
                  <a:cubicBezTo>
                    <a:pt x="972" y="357"/>
                    <a:pt x="972" y="357"/>
                    <a:pt x="972" y="357"/>
                  </a:cubicBezTo>
                  <a:cubicBezTo>
                    <a:pt x="972" y="363"/>
                    <a:pt x="975" y="368"/>
                    <a:pt x="979" y="373"/>
                  </a:cubicBezTo>
                  <a:cubicBezTo>
                    <a:pt x="1247" y="643"/>
                    <a:pt x="1247" y="643"/>
                    <a:pt x="1247" y="643"/>
                  </a:cubicBezTo>
                  <a:cubicBezTo>
                    <a:pt x="1247" y="1363"/>
                    <a:pt x="1247" y="1363"/>
                    <a:pt x="1247" y="1363"/>
                  </a:cubicBezTo>
                  <a:cubicBezTo>
                    <a:pt x="1187" y="1301"/>
                    <a:pt x="1187" y="1301"/>
                    <a:pt x="1187" y="1301"/>
                  </a:cubicBezTo>
                  <a:cubicBezTo>
                    <a:pt x="1179" y="1293"/>
                    <a:pt x="1165" y="1293"/>
                    <a:pt x="1156" y="1301"/>
                  </a:cubicBezTo>
                  <a:cubicBezTo>
                    <a:pt x="1147" y="1310"/>
                    <a:pt x="1147" y="1323"/>
                    <a:pt x="1155" y="1332"/>
                  </a:cubicBezTo>
                  <a:cubicBezTo>
                    <a:pt x="1252" y="1431"/>
                    <a:pt x="1252" y="1431"/>
                    <a:pt x="1252" y="1431"/>
                  </a:cubicBezTo>
                  <a:cubicBezTo>
                    <a:pt x="1256" y="1436"/>
                    <a:pt x="1262" y="1438"/>
                    <a:pt x="1268" y="1438"/>
                  </a:cubicBezTo>
                  <a:cubicBezTo>
                    <a:pt x="1268" y="1438"/>
                    <a:pt x="1268" y="1438"/>
                    <a:pt x="1268" y="1438"/>
                  </a:cubicBezTo>
                  <a:cubicBezTo>
                    <a:pt x="1268" y="1438"/>
                    <a:pt x="1269" y="1438"/>
                    <a:pt x="1269" y="1438"/>
                  </a:cubicBezTo>
                  <a:cubicBezTo>
                    <a:pt x="1277" y="1438"/>
                    <a:pt x="1284" y="1433"/>
                    <a:pt x="1288" y="1427"/>
                  </a:cubicBezTo>
                  <a:cubicBezTo>
                    <a:pt x="1382" y="1335"/>
                    <a:pt x="1382" y="1335"/>
                    <a:pt x="1382" y="1335"/>
                  </a:cubicBezTo>
                  <a:cubicBezTo>
                    <a:pt x="1391" y="1327"/>
                    <a:pt x="1391" y="1313"/>
                    <a:pt x="1383" y="13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7">
              <a:extLst>
                <a:ext uri="{FF2B5EF4-FFF2-40B4-BE49-F238E27FC236}">
                  <a16:creationId xmlns:a16="http://schemas.microsoft.com/office/drawing/2014/main" id="{BC790AB1-DA43-4672-B816-BFE094D593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7" y="2081"/>
              <a:ext cx="3125" cy="1986"/>
            </a:xfrm>
            <a:custGeom>
              <a:avLst/>
              <a:gdLst>
                <a:gd name="T0" fmla="*/ 554 w 1668"/>
                <a:gd name="T1" fmla="*/ 259 h 1059"/>
                <a:gd name="T2" fmla="*/ 1072 w 1668"/>
                <a:gd name="T3" fmla="*/ 259 h 1059"/>
                <a:gd name="T4" fmla="*/ 956 w 1668"/>
                <a:gd name="T5" fmla="*/ 273 h 1059"/>
                <a:gd name="T6" fmla="*/ 927 w 1668"/>
                <a:gd name="T7" fmla="*/ 331 h 1059"/>
                <a:gd name="T8" fmla="*/ 917 w 1668"/>
                <a:gd name="T9" fmla="*/ 367 h 1059"/>
                <a:gd name="T10" fmla="*/ 856 w 1668"/>
                <a:gd name="T11" fmla="*/ 423 h 1059"/>
                <a:gd name="T12" fmla="*/ 848 w 1668"/>
                <a:gd name="T13" fmla="*/ 431 h 1059"/>
                <a:gd name="T14" fmla="*/ 724 w 1668"/>
                <a:gd name="T15" fmla="*/ 403 h 1059"/>
                <a:gd name="T16" fmla="*/ 679 w 1668"/>
                <a:gd name="T17" fmla="*/ 168 h 1059"/>
                <a:gd name="T18" fmla="*/ 940 w 1668"/>
                <a:gd name="T19" fmla="*/ 107 h 1059"/>
                <a:gd name="T20" fmla="*/ 918 w 1668"/>
                <a:gd name="T21" fmla="*/ 152 h 1059"/>
                <a:gd name="T22" fmla="*/ 919 w 1668"/>
                <a:gd name="T23" fmla="*/ 186 h 1059"/>
                <a:gd name="T24" fmla="*/ 927 w 1668"/>
                <a:gd name="T25" fmla="*/ 218 h 1059"/>
                <a:gd name="T26" fmla="*/ 942 w 1668"/>
                <a:gd name="T27" fmla="*/ 246 h 1059"/>
                <a:gd name="T28" fmla="*/ 1409 w 1668"/>
                <a:gd name="T29" fmla="*/ 542 h 1059"/>
                <a:gd name="T30" fmla="*/ 1409 w 1668"/>
                <a:gd name="T31" fmla="*/ 1059 h 1059"/>
                <a:gd name="T32" fmla="*/ 1409 w 1668"/>
                <a:gd name="T33" fmla="*/ 542 h 1059"/>
                <a:gd name="T34" fmla="*/ 1498 w 1668"/>
                <a:gd name="T35" fmla="*/ 944 h 1059"/>
                <a:gd name="T36" fmla="*/ 1374 w 1668"/>
                <a:gd name="T37" fmla="*/ 972 h 1059"/>
                <a:gd name="T38" fmla="*/ 1366 w 1668"/>
                <a:gd name="T39" fmla="*/ 965 h 1059"/>
                <a:gd name="T40" fmla="*/ 1305 w 1668"/>
                <a:gd name="T41" fmla="*/ 909 h 1059"/>
                <a:gd name="T42" fmla="*/ 1295 w 1668"/>
                <a:gd name="T43" fmla="*/ 873 h 1059"/>
                <a:gd name="T44" fmla="*/ 1266 w 1668"/>
                <a:gd name="T45" fmla="*/ 815 h 1059"/>
                <a:gd name="T46" fmla="*/ 1282 w 1668"/>
                <a:gd name="T47" fmla="*/ 785 h 1059"/>
                <a:gd name="T48" fmla="*/ 1298 w 1668"/>
                <a:gd name="T49" fmla="*/ 747 h 1059"/>
                <a:gd name="T50" fmla="*/ 1307 w 1668"/>
                <a:gd name="T51" fmla="*/ 692 h 1059"/>
                <a:gd name="T52" fmla="*/ 1303 w 1668"/>
                <a:gd name="T53" fmla="*/ 692 h 1059"/>
                <a:gd name="T54" fmla="*/ 1417 w 1668"/>
                <a:gd name="T55" fmla="*/ 629 h 1059"/>
                <a:gd name="T56" fmla="*/ 1498 w 1668"/>
                <a:gd name="T57" fmla="*/ 868 h 1059"/>
                <a:gd name="T58" fmla="*/ 0 w 1668"/>
                <a:gd name="T59" fmla="*/ 721 h 1059"/>
                <a:gd name="T60" fmla="*/ 518 w 1668"/>
                <a:gd name="T61" fmla="*/ 721 h 1059"/>
                <a:gd name="T62" fmla="*/ 406 w 1668"/>
                <a:gd name="T63" fmla="*/ 737 h 1059"/>
                <a:gd name="T64" fmla="*/ 376 w 1668"/>
                <a:gd name="T65" fmla="*/ 775 h 1059"/>
                <a:gd name="T66" fmla="*/ 327 w 1668"/>
                <a:gd name="T67" fmla="*/ 826 h 1059"/>
                <a:gd name="T68" fmla="*/ 304 w 1668"/>
                <a:gd name="T69" fmla="*/ 882 h 1059"/>
                <a:gd name="T70" fmla="*/ 289 w 1668"/>
                <a:gd name="T71" fmla="*/ 890 h 1059"/>
                <a:gd name="T72" fmla="*/ 202 w 1668"/>
                <a:gd name="T73" fmla="*/ 863 h 1059"/>
                <a:gd name="T74" fmla="*/ 132 w 1668"/>
                <a:gd name="T75" fmla="*/ 627 h 1059"/>
                <a:gd name="T76" fmla="*/ 371 w 1668"/>
                <a:gd name="T77" fmla="*/ 606 h 1059"/>
                <a:gd name="T78" fmla="*/ 377 w 1668"/>
                <a:gd name="T79" fmla="*/ 654 h 1059"/>
                <a:gd name="T80" fmla="*/ 394 w 1668"/>
                <a:gd name="T81" fmla="*/ 709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8" h="1059">
                  <a:moveTo>
                    <a:pt x="813" y="0"/>
                  </a:moveTo>
                  <a:cubicBezTo>
                    <a:pt x="670" y="0"/>
                    <a:pt x="554" y="116"/>
                    <a:pt x="554" y="259"/>
                  </a:cubicBezTo>
                  <a:cubicBezTo>
                    <a:pt x="554" y="402"/>
                    <a:pt x="670" y="518"/>
                    <a:pt x="813" y="518"/>
                  </a:cubicBezTo>
                  <a:cubicBezTo>
                    <a:pt x="956" y="518"/>
                    <a:pt x="1072" y="402"/>
                    <a:pt x="1072" y="259"/>
                  </a:cubicBezTo>
                  <a:cubicBezTo>
                    <a:pt x="1072" y="116"/>
                    <a:pt x="956" y="0"/>
                    <a:pt x="813" y="0"/>
                  </a:cubicBezTo>
                  <a:close/>
                  <a:moveTo>
                    <a:pt x="956" y="273"/>
                  </a:moveTo>
                  <a:cubicBezTo>
                    <a:pt x="955" y="277"/>
                    <a:pt x="949" y="290"/>
                    <a:pt x="925" y="290"/>
                  </a:cubicBezTo>
                  <a:cubicBezTo>
                    <a:pt x="927" y="301"/>
                    <a:pt x="928" y="319"/>
                    <a:pt x="927" y="331"/>
                  </a:cubicBezTo>
                  <a:cubicBezTo>
                    <a:pt x="927" y="334"/>
                    <a:pt x="927" y="334"/>
                    <a:pt x="927" y="334"/>
                  </a:cubicBezTo>
                  <a:cubicBezTo>
                    <a:pt x="926" y="353"/>
                    <a:pt x="925" y="363"/>
                    <a:pt x="917" y="367"/>
                  </a:cubicBezTo>
                  <a:cubicBezTo>
                    <a:pt x="910" y="371"/>
                    <a:pt x="887" y="374"/>
                    <a:pt x="856" y="371"/>
                  </a:cubicBezTo>
                  <a:cubicBezTo>
                    <a:pt x="856" y="423"/>
                    <a:pt x="856" y="423"/>
                    <a:pt x="856" y="423"/>
                  </a:cubicBezTo>
                  <a:cubicBezTo>
                    <a:pt x="856" y="427"/>
                    <a:pt x="853" y="431"/>
                    <a:pt x="848" y="431"/>
                  </a:cubicBezTo>
                  <a:cubicBezTo>
                    <a:pt x="848" y="431"/>
                    <a:pt x="848" y="431"/>
                    <a:pt x="848" y="431"/>
                  </a:cubicBezTo>
                  <a:cubicBezTo>
                    <a:pt x="843" y="431"/>
                    <a:pt x="779" y="430"/>
                    <a:pt x="729" y="410"/>
                  </a:cubicBezTo>
                  <a:cubicBezTo>
                    <a:pt x="726" y="409"/>
                    <a:pt x="724" y="406"/>
                    <a:pt x="724" y="403"/>
                  </a:cubicBezTo>
                  <a:cubicBezTo>
                    <a:pt x="724" y="327"/>
                    <a:pt x="724" y="327"/>
                    <a:pt x="724" y="327"/>
                  </a:cubicBezTo>
                  <a:cubicBezTo>
                    <a:pt x="699" y="300"/>
                    <a:pt x="648" y="234"/>
                    <a:pt x="679" y="168"/>
                  </a:cubicBezTo>
                  <a:cubicBezTo>
                    <a:pt x="697" y="131"/>
                    <a:pt x="733" y="87"/>
                    <a:pt x="805" y="87"/>
                  </a:cubicBezTo>
                  <a:cubicBezTo>
                    <a:pt x="887" y="87"/>
                    <a:pt x="863" y="108"/>
                    <a:pt x="940" y="107"/>
                  </a:cubicBezTo>
                  <a:cubicBezTo>
                    <a:pt x="948" y="107"/>
                    <a:pt x="923" y="134"/>
                    <a:pt x="919" y="151"/>
                  </a:cubicBezTo>
                  <a:cubicBezTo>
                    <a:pt x="919" y="151"/>
                    <a:pt x="919" y="152"/>
                    <a:pt x="918" y="152"/>
                  </a:cubicBezTo>
                  <a:cubicBezTo>
                    <a:pt x="918" y="152"/>
                    <a:pt x="916" y="151"/>
                    <a:pt x="914" y="151"/>
                  </a:cubicBezTo>
                  <a:cubicBezTo>
                    <a:pt x="915" y="161"/>
                    <a:pt x="917" y="180"/>
                    <a:pt x="919" y="186"/>
                  </a:cubicBezTo>
                  <a:cubicBezTo>
                    <a:pt x="921" y="192"/>
                    <a:pt x="922" y="199"/>
                    <a:pt x="924" y="205"/>
                  </a:cubicBezTo>
                  <a:cubicBezTo>
                    <a:pt x="925" y="210"/>
                    <a:pt x="926" y="215"/>
                    <a:pt x="927" y="218"/>
                  </a:cubicBezTo>
                  <a:cubicBezTo>
                    <a:pt x="931" y="230"/>
                    <a:pt x="935" y="239"/>
                    <a:pt x="939" y="243"/>
                  </a:cubicBezTo>
                  <a:cubicBezTo>
                    <a:pt x="940" y="244"/>
                    <a:pt x="941" y="245"/>
                    <a:pt x="942" y="246"/>
                  </a:cubicBezTo>
                  <a:cubicBezTo>
                    <a:pt x="951" y="256"/>
                    <a:pt x="959" y="265"/>
                    <a:pt x="956" y="273"/>
                  </a:cubicBezTo>
                  <a:close/>
                  <a:moveTo>
                    <a:pt x="1409" y="542"/>
                  </a:moveTo>
                  <a:cubicBezTo>
                    <a:pt x="1266" y="542"/>
                    <a:pt x="1150" y="658"/>
                    <a:pt x="1150" y="800"/>
                  </a:cubicBezTo>
                  <a:cubicBezTo>
                    <a:pt x="1150" y="943"/>
                    <a:pt x="1266" y="1059"/>
                    <a:pt x="1409" y="1059"/>
                  </a:cubicBezTo>
                  <a:cubicBezTo>
                    <a:pt x="1552" y="1059"/>
                    <a:pt x="1668" y="943"/>
                    <a:pt x="1668" y="800"/>
                  </a:cubicBezTo>
                  <a:cubicBezTo>
                    <a:pt x="1668" y="658"/>
                    <a:pt x="1552" y="542"/>
                    <a:pt x="1409" y="542"/>
                  </a:cubicBezTo>
                  <a:close/>
                  <a:moveTo>
                    <a:pt x="1498" y="868"/>
                  </a:moveTo>
                  <a:cubicBezTo>
                    <a:pt x="1498" y="944"/>
                    <a:pt x="1498" y="944"/>
                    <a:pt x="1498" y="944"/>
                  </a:cubicBezTo>
                  <a:cubicBezTo>
                    <a:pt x="1498" y="947"/>
                    <a:pt x="1496" y="950"/>
                    <a:pt x="1493" y="951"/>
                  </a:cubicBezTo>
                  <a:cubicBezTo>
                    <a:pt x="1443" y="972"/>
                    <a:pt x="1379" y="972"/>
                    <a:pt x="1374" y="972"/>
                  </a:cubicBezTo>
                  <a:cubicBezTo>
                    <a:pt x="1373" y="972"/>
                    <a:pt x="1373" y="972"/>
                    <a:pt x="1373" y="972"/>
                  </a:cubicBezTo>
                  <a:cubicBezTo>
                    <a:pt x="1369" y="972"/>
                    <a:pt x="1366" y="969"/>
                    <a:pt x="1366" y="965"/>
                  </a:cubicBezTo>
                  <a:cubicBezTo>
                    <a:pt x="1366" y="912"/>
                    <a:pt x="1366" y="912"/>
                    <a:pt x="1366" y="912"/>
                  </a:cubicBezTo>
                  <a:cubicBezTo>
                    <a:pt x="1335" y="916"/>
                    <a:pt x="1311" y="912"/>
                    <a:pt x="1305" y="909"/>
                  </a:cubicBezTo>
                  <a:cubicBezTo>
                    <a:pt x="1297" y="905"/>
                    <a:pt x="1296" y="894"/>
                    <a:pt x="1295" y="875"/>
                  </a:cubicBezTo>
                  <a:cubicBezTo>
                    <a:pt x="1295" y="873"/>
                    <a:pt x="1295" y="873"/>
                    <a:pt x="1295" y="873"/>
                  </a:cubicBezTo>
                  <a:cubicBezTo>
                    <a:pt x="1294" y="861"/>
                    <a:pt x="1295" y="842"/>
                    <a:pt x="1296" y="832"/>
                  </a:cubicBezTo>
                  <a:cubicBezTo>
                    <a:pt x="1273" y="831"/>
                    <a:pt x="1267" y="819"/>
                    <a:pt x="1266" y="815"/>
                  </a:cubicBezTo>
                  <a:cubicBezTo>
                    <a:pt x="1263" y="806"/>
                    <a:pt x="1271" y="797"/>
                    <a:pt x="1280" y="788"/>
                  </a:cubicBezTo>
                  <a:cubicBezTo>
                    <a:pt x="1281" y="787"/>
                    <a:pt x="1282" y="786"/>
                    <a:pt x="1282" y="785"/>
                  </a:cubicBezTo>
                  <a:cubicBezTo>
                    <a:pt x="1286" y="780"/>
                    <a:pt x="1291" y="771"/>
                    <a:pt x="1295" y="760"/>
                  </a:cubicBezTo>
                  <a:cubicBezTo>
                    <a:pt x="1296" y="757"/>
                    <a:pt x="1297" y="752"/>
                    <a:pt x="1298" y="747"/>
                  </a:cubicBezTo>
                  <a:cubicBezTo>
                    <a:pt x="1300" y="740"/>
                    <a:pt x="1301" y="733"/>
                    <a:pt x="1303" y="728"/>
                  </a:cubicBezTo>
                  <a:cubicBezTo>
                    <a:pt x="1305" y="721"/>
                    <a:pt x="1307" y="702"/>
                    <a:pt x="1307" y="692"/>
                  </a:cubicBezTo>
                  <a:cubicBezTo>
                    <a:pt x="1306" y="692"/>
                    <a:pt x="1304" y="693"/>
                    <a:pt x="1303" y="693"/>
                  </a:cubicBezTo>
                  <a:cubicBezTo>
                    <a:pt x="1303" y="693"/>
                    <a:pt x="1303" y="693"/>
                    <a:pt x="1303" y="692"/>
                  </a:cubicBezTo>
                  <a:cubicBezTo>
                    <a:pt x="1299" y="675"/>
                    <a:pt x="1274" y="648"/>
                    <a:pt x="1282" y="648"/>
                  </a:cubicBezTo>
                  <a:cubicBezTo>
                    <a:pt x="1358" y="650"/>
                    <a:pt x="1334" y="629"/>
                    <a:pt x="1417" y="629"/>
                  </a:cubicBezTo>
                  <a:cubicBezTo>
                    <a:pt x="1489" y="629"/>
                    <a:pt x="1525" y="672"/>
                    <a:pt x="1543" y="709"/>
                  </a:cubicBezTo>
                  <a:cubicBezTo>
                    <a:pt x="1574" y="776"/>
                    <a:pt x="1523" y="842"/>
                    <a:pt x="1498" y="868"/>
                  </a:cubicBezTo>
                  <a:close/>
                  <a:moveTo>
                    <a:pt x="259" y="462"/>
                  </a:moveTo>
                  <a:cubicBezTo>
                    <a:pt x="116" y="462"/>
                    <a:pt x="0" y="578"/>
                    <a:pt x="0" y="721"/>
                  </a:cubicBezTo>
                  <a:cubicBezTo>
                    <a:pt x="0" y="864"/>
                    <a:pt x="116" y="980"/>
                    <a:pt x="259" y="980"/>
                  </a:cubicBezTo>
                  <a:cubicBezTo>
                    <a:pt x="402" y="980"/>
                    <a:pt x="518" y="864"/>
                    <a:pt x="518" y="721"/>
                  </a:cubicBezTo>
                  <a:cubicBezTo>
                    <a:pt x="518" y="578"/>
                    <a:pt x="402" y="462"/>
                    <a:pt x="259" y="462"/>
                  </a:cubicBezTo>
                  <a:close/>
                  <a:moveTo>
                    <a:pt x="406" y="737"/>
                  </a:moveTo>
                  <a:cubicBezTo>
                    <a:pt x="404" y="743"/>
                    <a:pt x="394" y="752"/>
                    <a:pt x="375" y="752"/>
                  </a:cubicBezTo>
                  <a:cubicBezTo>
                    <a:pt x="376" y="758"/>
                    <a:pt x="376" y="767"/>
                    <a:pt x="376" y="775"/>
                  </a:cubicBezTo>
                  <a:cubicBezTo>
                    <a:pt x="376" y="806"/>
                    <a:pt x="372" y="815"/>
                    <a:pt x="368" y="818"/>
                  </a:cubicBezTo>
                  <a:cubicBezTo>
                    <a:pt x="365" y="822"/>
                    <a:pt x="357" y="827"/>
                    <a:pt x="327" y="826"/>
                  </a:cubicBezTo>
                  <a:cubicBezTo>
                    <a:pt x="322" y="826"/>
                    <a:pt x="312" y="826"/>
                    <a:pt x="304" y="825"/>
                  </a:cubicBezTo>
                  <a:cubicBezTo>
                    <a:pt x="304" y="882"/>
                    <a:pt x="304" y="882"/>
                    <a:pt x="304" y="882"/>
                  </a:cubicBezTo>
                  <a:cubicBezTo>
                    <a:pt x="304" y="886"/>
                    <a:pt x="301" y="889"/>
                    <a:pt x="297" y="889"/>
                  </a:cubicBezTo>
                  <a:cubicBezTo>
                    <a:pt x="297" y="889"/>
                    <a:pt x="294" y="890"/>
                    <a:pt x="289" y="890"/>
                  </a:cubicBezTo>
                  <a:cubicBezTo>
                    <a:pt x="273" y="890"/>
                    <a:pt x="236" y="887"/>
                    <a:pt x="206" y="869"/>
                  </a:cubicBezTo>
                  <a:cubicBezTo>
                    <a:pt x="204" y="868"/>
                    <a:pt x="202" y="866"/>
                    <a:pt x="202" y="863"/>
                  </a:cubicBezTo>
                  <a:cubicBezTo>
                    <a:pt x="200" y="826"/>
                    <a:pt x="200" y="826"/>
                    <a:pt x="200" y="826"/>
                  </a:cubicBezTo>
                  <a:cubicBezTo>
                    <a:pt x="151" y="806"/>
                    <a:pt x="73" y="749"/>
                    <a:pt x="132" y="627"/>
                  </a:cubicBezTo>
                  <a:cubicBezTo>
                    <a:pt x="150" y="591"/>
                    <a:pt x="192" y="553"/>
                    <a:pt x="262" y="553"/>
                  </a:cubicBezTo>
                  <a:cubicBezTo>
                    <a:pt x="342" y="553"/>
                    <a:pt x="375" y="590"/>
                    <a:pt x="371" y="606"/>
                  </a:cubicBezTo>
                  <a:cubicBezTo>
                    <a:pt x="370" y="609"/>
                    <a:pt x="368" y="612"/>
                    <a:pt x="366" y="615"/>
                  </a:cubicBezTo>
                  <a:cubicBezTo>
                    <a:pt x="370" y="620"/>
                    <a:pt x="379" y="633"/>
                    <a:pt x="377" y="654"/>
                  </a:cubicBezTo>
                  <a:cubicBezTo>
                    <a:pt x="377" y="664"/>
                    <a:pt x="378" y="683"/>
                    <a:pt x="379" y="686"/>
                  </a:cubicBezTo>
                  <a:cubicBezTo>
                    <a:pt x="382" y="693"/>
                    <a:pt x="388" y="703"/>
                    <a:pt x="394" y="709"/>
                  </a:cubicBezTo>
                  <a:cubicBezTo>
                    <a:pt x="400" y="715"/>
                    <a:pt x="410" y="729"/>
                    <a:pt x="406" y="7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B43010FE-D80F-4FB2-A9BC-B5CBBDAB7629}"/>
              </a:ext>
            </a:extLst>
          </p:cNvPr>
          <p:cNvSpPr/>
          <p:nvPr/>
        </p:nvSpPr>
        <p:spPr>
          <a:xfrm>
            <a:off x="4358634" y="3397108"/>
            <a:ext cx="3372216" cy="1072634"/>
          </a:xfrm>
          <a:prstGeom prst="roundRect">
            <a:avLst/>
          </a:prstGeom>
          <a:noFill/>
          <a:ln w="1905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rgbClr val="00269E"/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MLSC</a:t>
            </a:r>
          </a:p>
          <a:p>
            <a:r>
              <a:rPr lang="en-US" sz="1400">
                <a:solidFill>
                  <a:schemeClr val="tx1"/>
                </a:solidFill>
              </a:rPr>
              <a:t>Support the growth and development of the life sciences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E46FFB28-9F4C-4C5C-B115-BE688BF8725E}"/>
              </a:ext>
            </a:extLst>
          </p:cNvPr>
          <p:cNvSpPr/>
          <p:nvPr/>
        </p:nvSpPr>
        <p:spPr>
          <a:xfrm>
            <a:off x="4358634" y="5080031"/>
            <a:ext cx="3372216" cy="1345049"/>
          </a:xfrm>
          <a:prstGeom prst="roundRect">
            <a:avLst/>
          </a:prstGeom>
          <a:noFill/>
          <a:ln w="1905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rgbClr val="00269E"/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spc="-30">
                <a:solidFill>
                  <a:schemeClr val="tx2"/>
                </a:solidFill>
              </a:rPr>
              <a:t>MassTech, incl. MassCyber and </a:t>
            </a:r>
            <a:br>
              <a:rPr lang="en-US" sz="1600" spc="-30">
                <a:solidFill>
                  <a:schemeClr val="tx2"/>
                </a:solidFill>
              </a:rPr>
            </a:br>
            <a:r>
              <a:rPr lang="en-US" sz="1600" spc="-30">
                <a:solidFill>
                  <a:schemeClr val="tx2"/>
                </a:solidFill>
              </a:rPr>
              <a:t>Centers for Advanced Manufacturing</a:t>
            </a:r>
          </a:p>
          <a:p>
            <a:r>
              <a:rPr lang="en-US" sz="1400">
                <a:solidFill>
                  <a:schemeClr val="tx1"/>
                </a:solidFill>
              </a:rPr>
              <a:t>Drive economic growth through tech,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cybersecurity, and manufacturing innovation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F16E01D7-F8BC-4482-AC78-8CE530329661}"/>
              </a:ext>
            </a:extLst>
          </p:cNvPr>
          <p:cNvSpPr/>
          <p:nvPr/>
        </p:nvSpPr>
        <p:spPr>
          <a:xfrm>
            <a:off x="629400" y="3397108"/>
            <a:ext cx="3372216" cy="1072634"/>
          </a:xfrm>
          <a:prstGeom prst="roundRect">
            <a:avLst/>
          </a:prstGeom>
          <a:noFill/>
          <a:ln w="1905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rgbClr val="00269E"/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>
                <a:solidFill>
                  <a:schemeClr val="tx2"/>
                </a:solidFill>
              </a:rPr>
              <a:t>MassCEC</a:t>
            </a:r>
          </a:p>
          <a:p>
            <a:r>
              <a:rPr lang="en-US" sz="1400">
                <a:solidFill>
                  <a:schemeClr val="tx1"/>
                </a:solidFill>
              </a:rPr>
              <a:t>Works to accelerate growth of the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clean energy sector across the Commonwealth</a:t>
            </a:r>
            <a:r>
              <a:rPr lang="en-US" sz="1200">
                <a:solidFill>
                  <a:schemeClr val="tx1"/>
                </a:solidFill>
              </a:rPr>
              <a:t> 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02ECC2BE-137E-42B8-B00D-474135920D5A}"/>
              </a:ext>
            </a:extLst>
          </p:cNvPr>
          <p:cNvSpPr/>
          <p:nvPr/>
        </p:nvSpPr>
        <p:spPr>
          <a:xfrm>
            <a:off x="629400" y="5080031"/>
            <a:ext cx="3372216" cy="1345049"/>
          </a:xfrm>
          <a:prstGeom prst="roundRect">
            <a:avLst/>
          </a:prstGeom>
          <a:noFill/>
          <a:ln w="19050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rgbClr val="00269E"/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err="1">
                <a:solidFill>
                  <a:schemeClr val="tx2"/>
                </a:solidFill>
              </a:rPr>
              <a:t>MassDevelopment</a:t>
            </a:r>
            <a:endParaRPr lang="en-US" sz="1600">
              <a:solidFill>
                <a:schemeClr val="tx2"/>
              </a:solidFill>
            </a:endParaRPr>
          </a:p>
          <a:p>
            <a:r>
              <a:rPr lang="en-US" sz="1400">
                <a:solidFill>
                  <a:schemeClr val="tx1"/>
                </a:solidFill>
              </a:rPr>
              <a:t>Offers financing and real estate solutions to support companies and nonprofits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62E143F-59B1-436C-BDBA-1E87F5505681}"/>
              </a:ext>
            </a:extLst>
          </p:cNvPr>
          <p:cNvGrpSpPr>
            <a:grpSpLocks noChangeAspect="1"/>
          </p:cNvGrpSpPr>
          <p:nvPr/>
        </p:nvGrpSpPr>
        <p:grpSpPr>
          <a:xfrm>
            <a:off x="560269" y="2766311"/>
            <a:ext cx="640080" cy="640080"/>
            <a:chOff x="5272088" y="2605088"/>
            <a:chExt cx="1646237" cy="1646237"/>
          </a:xfrm>
        </p:grpSpPr>
        <p:sp>
          <p:nvSpPr>
            <p:cNvPr id="66" name="AutoShape 3">
              <a:extLst>
                <a:ext uri="{FF2B5EF4-FFF2-40B4-BE49-F238E27FC236}">
                  <a16:creationId xmlns:a16="http://schemas.microsoft.com/office/drawing/2014/main" id="{5D97AFB2-5604-4C67-B941-3CED5C9DC96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135D2ED9-8D1B-4BE0-B240-E5535BF0D6DC}"/>
                </a:ext>
              </a:extLst>
            </p:cNvPr>
            <p:cNvGrpSpPr/>
            <p:nvPr/>
          </p:nvGrpSpPr>
          <p:grpSpPr>
            <a:xfrm>
              <a:off x="5459412" y="2813975"/>
              <a:ext cx="1273068" cy="1184937"/>
              <a:chOff x="5459412" y="2813975"/>
              <a:chExt cx="1273068" cy="1184937"/>
            </a:xfrm>
          </p:grpSpPr>
          <p:sp>
            <p:nvSpPr>
              <p:cNvPr id="68" name="Freeform 14">
                <a:extLst>
                  <a:ext uri="{FF2B5EF4-FFF2-40B4-BE49-F238E27FC236}">
                    <a16:creationId xmlns:a16="http://schemas.microsoft.com/office/drawing/2014/main" id="{D4A8EBE1-14AC-4E5E-BEB4-BF5826147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2" y="2813975"/>
                <a:ext cx="1273068" cy="1184937"/>
              </a:xfrm>
              <a:custGeom>
                <a:avLst/>
                <a:gdLst>
                  <a:gd name="connsiteX0" fmla="*/ 292217 w 1273068"/>
                  <a:gd name="connsiteY0" fmla="*/ 516600 h 1184937"/>
                  <a:gd name="connsiteX1" fmla="*/ 390099 w 1273068"/>
                  <a:gd name="connsiteY1" fmla="*/ 711180 h 1184937"/>
                  <a:gd name="connsiteX2" fmla="*/ 326511 w 1273068"/>
                  <a:gd name="connsiteY2" fmla="*/ 673265 h 1184937"/>
                  <a:gd name="connsiteX3" fmla="*/ 193621 w 1273068"/>
                  <a:gd name="connsiteY3" fmla="*/ 913628 h 1184937"/>
                  <a:gd name="connsiteX4" fmla="*/ 608012 w 1273068"/>
                  <a:gd name="connsiteY4" fmla="*/ 913628 h 1184937"/>
                  <a:gd name="connsiteX5" fmla="*/ 608012 w 1273068"/>
                  <a:gd name="connsiteY5" fmla="*/ 1146837 h 1184937"/>
                  <a:gd name="connsiteX6" fmla="*/ 254350 w 1273068"/>
                  <a:gd name="connsiteY6" fmla="*/ 1146837 h 1184937"/>
                  <a:gd name="connsiteX7" fmla="*/ 166471 w 1273068"/>
                  <a:gd name="connsiteY7" fmla="*/ 1084600 h 1184937"/>
                  <a:gd name="connsiteX8" fmla="*/ 0 w 1273068"/>
                  <a:gd name="connsiteY8" fmla="*/ 798454 h 1184937"/>
                  <a:gd name="connsiteX9" fmla="*/ 0 w 1273068"/>
                  <a:gd name="connsiteY9" fmla="*/ 797739 h 1184937"/>
                  <a:gd name="connsiteX10" fmla="*/ 130033 w 1273068"/>
                  <a:gd name="connsiteY10" fmla="*/ 556661 h 1184937"/>
                  <a:gd name="connsiteX11" fmla="*/ 73590 w 1273068"/>
                  <a:gd name="connsiteY11" fmla="*/ 523038 h 1184937"/>
                  <a:gd name="connsiteX12" fmla="*/ 292217 w 1273068"/>
                  <a:gd name="connsiteY12" fmla="*/ 516600 h 1184937"/>
                  <a:gd name="connsiteX13" fmla="*/ 1096373 w 1273068"/>
                  <a:gd name="connsiteY13" fmla="*/ 418175 h 1184937"/>
                  <a:gd name="connsiteX14" fmla="*/ 1264501 w 1273068"/>
                  <a:gd name="connsiteY14" fmla="*/ 729025 h 1184937"/>
                  <a:gd name="connsiteX15" fmla="*/ 1251623 w 1273068"/>
                  <a:gd name="connsiteY15" fmla="*/ 836929 h 1184937"/>
                  <a:gd name="connsiteX16" fmla="*/ 1079202 w 1273068"/>
                  <a:gd name="connsiteY16" fmla="*/ 1118480 h 1184937"/>
                  <a:gd name="connsiteX17" fmla="*/ 1078487 w 1273068"/>
                  <a:gd name="connsiteY17" fmla="*/ 1119194 h 1184937"/>
                  <a:gd name="connsiteX18" fmla="*/ 804474 w 1273068"/>
                  <a:gd name="connsiteY18" fmla="*/ 1119194 h 1184937"/>
                  <a:gd name="connsiteX19" fmla="*/ 802328 w 1273068"/>
                  <a:gd name="connsiteY19" fmla="*/ 1184937 h 1184937"/>
                  <a:gd name="connsiteX20" fmla="*/ 692150 w 1273068"/>
                  <a:gd name="connsiteY20" fmla="*/ 995569 h 1184937"/>
                  <a:gd name="connsiteX21" fmla="*/ 815921 w 1273068"/>
                  <a:gd name="connsiteY21" fmla="*/ 826210 h 1184937"/>
                  <a:gd name="connsiteX22" fmla="*/ 813775 w 1273068"/>
                  <a:gd name="connsiteY22" fmla="*/ 891238 h 1184937"/>
                  <a:gd name="connsiteX23" fmla="*/ 1088503 w 1273068"/>
                  <a:gd name="connsiteY23" fmla="*/ 894096 h 1184937"/>
                  <a:gd name="connsiteX24" fmla="*/ 891042 w 1273068"/>
                  <a:gd name="connsiteY24" fmla="*/ 528938 h 1184937"/>
                  <a:gd name="connsiteX25" fmla="*/ 1096373 w 1273068"/>
                  <a:gd name="connsiteY25" fmla="*/ 418175 h 1184937"/>
                  <a:gd name="connsiteX26" fmla="*/ 725819 w 1273068"/>
                  <a:gd name="connsiteY26" fmla="*/ 45 h 1184937"/>
                  <a:gd name="connsiteX27" fmla="*/ 787768 w 1273068"/>
                  <a:gd name="connsiteY27" fmla="*/ 58 h 1184937"/>
                  <a:gd name="connsiteX28" fmla="*/ 844393 w 1273068"/>
                  <a:gd name="connsiteY28" fmla="*/ 505 h 1184937"/>
                  <a:gd name="connsiteX29" fmla="*/ 845107 w 1273068"/>
                  <a:gd name="connsiteY29" fmla="*/ 1219 h 1184937"/>
                  <a:gd name="connsiteX30" fmla="*/ 990667 w 1273068"/>
                  <a:gd name="connsiteY30" fmla="*/ 232832 h 1184937"/>
                  <a:gd name="connsiteX31" fmla="*/ 1047749 w 1273068"/>
                  <a:gd name="connsiteY31" fmla="*/ 199948 h 1184937"/>
                  <a:gd name="connsiteX32" fmla="*/ 945714 w 1273068"/>
                  <a:gd name="connsiteY32" fmla="*/ 393673 h 1184937"/>
                  <a:gd name="connsiteX33" fmla="*/ 733082 w 1273068"/>
                  <a:gd name="connsiteY33" fmla="*/ 380806 h 1184937"/>
                  <a:gd name="connsiteX34" fmla="*/ 793019 w 1273068"/>
                  <a:gd name="connsiteY34" fmla="*/ 345778 h 1184937"/>
                  <a:gd name="connsiteX35" fmla="*/ 649599 w 1273068"/>
                  <a:gd name="connsiteY35" fmla="*/ 112022 h 1184937"/>
                  <a:gd name="connsiteX36" fmla="*/ 445529 w 1273068"/>
                  <a:gd name="connsiteY36" fmla="*/ 473737 h 1184937"/>
                  <a:gd name="connsiteX37" fmla="*/ 242887 w 1273068"/>
                  <a:gd name="connsiteY37" fmla="*/ 358646 h 1184937"/>
                  <a:gd name="connsiteX38" fmla="*/ 416988 w 1273068"/>
                  <a:gd name="connsiteY38" fmla="*/ 50544 h 1184937"/>
                  <a:gd name="connsiteX39" fmla="*/ 514742 w 1273068"/>
                  <a:gd name="connsiteY39" fmla="*/ 4079 h 1184937"/>
                  <a:gd name="connsiteX40" fmla="*/ 725819 w 1273068"/>
                  <a:gd name="connsiteY40" fmla="*/ 45 h 1184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273068" h="1184937">
                    <a:moveTo>
                      <a:pt x="292217" y="516600"/>
                    </a:moveTo>
                    <a:cubicBezTo>
                      <a:pt x="292217" y="516600"/>
                      <a:pt x="292217" y="516600"/>
                      <a:pt x="390099" y="711180"/>
                    </a:cubicBezTo>
                    <a:cubicBezTo>
                      <a:pt x="390099" y="711180"/>
                      <a:pt x="390099" y="711180"/>
                      <a:pt x="326511" y="673265"/>
                    </a:cubicBezTo>
                    <a:lnTo>
                      <a:pt x="193621" y="913628"/>
                    </a:lnTo>
                    <a:cubicBezTo>
                      <a:pt x="193621" y="913628"/>
                      <a:pt x="193621" y="913628"/>
                      <a:pt x="608012" y="913628"/>
                    </a:cubicBezTo>
                    <a:cubicBezTo>
                      <a:pt x="608012" y="913628"/>
                      <a:pt x="608012" y="913628"/>
                      <a:pt x="608012" y="1146837"/>
                    </a:cubicBezTo>
                    <a:cubicBezTo>
                      <a:pt x="608012" y="1146837"/>
                      <a:pt x="608012" y="1146837"/>
                      <a:pt x="254350" y="1146837"/>
                    </a:cubicBezTo>
                    <a:cubicBezTo>
                      <a:pt x="223628" y="1146837"/>
                      <a:pt x="190763" y="1123945"/>
                      <a:pt x="166471" y="1084600"/>
                    </a:cubicBezTo>
                    <a:cubicBezTo>
                      <a:pt x="106455" y="990172"/>
                      <a:pt x="24292" y="842091"/>
                      <a:pt x="0" y="798454"/>
                    </a:cubicBezTo>
                    <a:cubicBezTo>
                      <a:pt x="0" y="798454"/>
                      <a:pt x="0" y="798454"/>
                      <a:pt x="0" y="797739"/>
                    </a:cubicBezTo>
                    <a:cubicBezTo>
                      <a:pt x="0" y="797739"/>
                      <a:pt x="0" y="797739"/>
                      <a:pt x="130033" y="556661"/>
                    </a:cubicBezTo>
                    <a:cubicBezTo>
                      <a:pt x="130033" y="556661"/>
                      <a:pt x="130033" y="556661"/>
                      <a:pt x="73590" y="523038"/>
                    </a:cubicBezTo>
                    <a:cubicBezTo>
                      <a:pt x="73590" y="523038"/>
                      <a:pt x="73590" y="523038"/>
                      <a:pt x="292217" y="516600"/>
                    </a:cubicBezTo>
                    <a:close/>
                    <a:moveTo>
                      <a:pt x="1096373" y="418175"/>
                    </a:moveTo>
                    <a:cubicBezTo>
                      <a:pt x="1096373" y="418175"/>
                      <a:pt x="1096373" y="418175"/>
                      <a:pt x="1264501" y="729025"/>
                    </a:cubicBezTo>
                    <a:cubicBezTo>
                      <a:pt x="1279525" y="756179"/>
                      <a:pt x="1274517" y="796197"/>
                      <a:pt x="1251623" y="836929"/>
                    </a:cubicBezTo>
                    <a:cubicBezTo>
                      <a:pt x="1196534" y="934114"/>
                      <a:pt x="1105674" y="1077033"/>
                      <a:pt x="1079202" y="1118480"/>
                    </a:cubicBezTo>
                    <a:cubicBezTo>
                      <a:pt x="1079202" y="1119194"/>
                      <a:pt x="1079202" y="1119194"/>
                      <a:pt x="1078487" y="1119194"/>
                    </a:cubicBezTo>
                    <a:cubicBezTo>
                      <a:pt x="1078487" y="1119194"/>
                      <a:pt x="1078487" y="1119194"/>
                      <a:pt x="804474" y="1119194"/>
                    </a:cubicBezTo>
                    <a:cubicBezTo>
                      <a:pt x="804474" y="1119194"/>
                      <a:pt x="804474" y="1119194"/>
                      <a:pt x="802328" y="1184937"/>
                    </a:cubicBezTo>
                    <a:cubicBezTo>
                      <a:pt x="802328" y="1184937"/>
                      <a:pt x="802328" y="1184937"/>
                      <a:pt x="692150" y="995569"/>
                    </a:cubicBezTo>
                    <a:cubicBezTo>
                      <a:pt x="692150" y="995569"/>
                      <a:pt x="692150" y="995569"/>
                      <a:pt x="815921" y="826210"/>
                    </a:cubicBezTo>
                    <a:cubicBezTo>
                      <a:pt x="815921" y="826210"/>
                      <a:pt x="815921" y="826210"/>
                      <a:pt x="813775" y="891238"/>
                    </a:cubicBezTo>
                    <a:cubicBezTo>
                      <a:pt x="813775" y="891238"/>
                      <a:pt x="813775" y="891238"/>
                      <a:pt x="1088503" y="894096"/>
                    </a:cubicBezTo>
                    <a:cubicBezTo>
                      <a:pt x="1088503" y="894096"/>
                      <a:pt x="1088503" y="894096"/>
                      <a:pt x="891042" y="528938"/>
                    </a:cubicBezTo>
                    <a:cubicBezTo>
                      <a:pt x="891042" y="528938"/>
                      <a:pt x="891042" y="528938"/>
                      <a:pt x="1096373" y="418175"/>
                    </a:cubicBezTo>
                    <a:close/>
                    <a:moveTo>
                      <a:pt x="725819" y="45"/>
                    </a:moveTo>
                    <a:cubicBezTo>
                      <a:pt x="748340" y="-26"/>
                      <a:pt x="769380" y="-9"/>
                      <a:pt x="787768" y="58"/>
                    </a:cubicBezTo>
                    <a:cubicBezTo>
                      <a:pt x="812284" y="147"/>
                      <a:pt x="832085" y="326"/>
                      <a:pt x="844393" y="505"/>
                    </a:cubicBezTo>
                    <a:cubicBezTo>
                      <a:pt x="845107" y="505"/>
                      <a:pt x="845107" y="505"/>
                      <a:pt x="845107" y="1219"/>
                    </a:cubicBezTo>
                    <a:cubicBezTo>
                      <a:pt x="845107" y="1219"/>
                      <a:pt x="845107" y="1219"/>
                      <a:pt x="990667" y="232832"/>
                    </a:cubicBezTo>
                    <a:cubicBezTo>
                      <a:pt x="990667" y="232832"/>
                      <a:pt x="990667" y="232832"/>
                      <a:pt x="1047749" y="199948"/>
                    </a:cubicBezTo>
                    <a:cubicBezTo>
                      <a:pt x="1047749" y="199948"/>
                      <a:pt x="1047749" y="199948"/>
                      <a:pt x="945714" y="393673"/>
                    </a:cubicBezTo>
                    <a:cubicBezTo>
                      <a:pt x="945714" y="393673"/>
                      <a:pt x="945714" y="393673"/>
                      <a:pt x="733082" y="380806"/>
                    </a:cubicBezTo>
                    <a:lnTo>
                      <a:pt x="793019" y="345778"/>
                    </a:lnTo>
                    <a:cubicBezTo>
                      <a:pt x="793019" y="345778"/>
                      <a:pt x="793019" y="345778"/>
                      <a:pt x="649599" y="112022"/>
                    </a:cubicBezTo>
                    <a:cubicBezTo>
                      <a:pt x="649599" y="112022"/>
                      <a:pt x="649599" y="112022"/>
                      <a:pt x="445529" y="473737"/>
                    </a:cubicBezTo>
                    <a:cubicBezTo>
                      <a:pt x="445529" y="473737"/>
                      <a:pt x="445529" y="473737"/>
                      <a:pt x="242887" y="358646"/>
                    </a:cubicBezTo>
                    <a:cubicBezTo>
                      <a:pt x="242887" y="358646"/>
                      <a:pt x="242887" y="358646"/>
                      <a:pt x="416988" y="50544"/>
                    </a:cubicBezTo>
                    <a:cubicBezTo>
                      <a:pt x="431972" y="24095"/>
                      <a:pt x="469076" y="6938"/>
                      <a:pt x="514742" y="4079"/>
                    </a:cubicBezTo>
                    <a:cubicBezTo>
                      <a:pt x="577354" y="1264"/>
                      <a:pt x="658253" y="259"/>
                      <a:pt x="725819" y="4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9" name="Freeform 8">
                <a:extLst>
                  <a:ext uri="{FF2B5EF4-FFF2-40B4-BE49-F238E27FC236}">
                    <a16:creationId xmlns:a16="http://schemas.microsoft.com/office/drawing/2014/main" id="{1B1D984A-688D-4B2A-8834-15C5AAF61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4875" y="3249613"/>
                <a:ext cx="222250" cy="407987"/>
              </a:xfrm>
              <a:custGeom>
                <a:avLst/>
                <a:gdLst>
                  <a:gd name="T0" fmla="*/ 91 w 312"/>
                  <a:gd name="T1" fmla="*/ 572 h 572"/>
                  <a:gd name="T2" fmla="*/ 312 w 312"/>
                  <a:gd name="T3" fmla="*/ 256 h 572"/>
                  <a:gd name="T4" fmla="*/ 171 w 312"/>
                  <a:gd name="T5" fmla="*/ 219 h 572"/>
                  <a:gd name="T6" fmla="*/ 221 w 312"/>
                  <a:gd name="T7" fmla="*/ 0 h 572"/>
                  <a:gd name="T8" fmla="*/ 0 w 312"/>
                  <a:gd name="T9" fmla="*/ 316 h 572"/>
                  <a:gd name="T10" fmla="*/ 141 w 312"/>
                  <a:gd name="T11" fmla="*/ 353 h 572"/>
                  <a:gd name="T12" fmla="*/ 91 w 312"/>
                  <a:gd name="T13" fmla="*/ 572 h 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2" h="572">
                    <a:moveTo>
                      <a:pt x="91" y="572"/>
                    </a:moveTo>
                    <a:cubicBezTo>
                      <a:pt x="312" y="256"/>
                      <a:pt x="312" y="256"/>
                      <a:pt x="312" y="256"/>
                    </a:cubicBezTo>
                    <a:cubicBezTo>
                      <a:pt x="171" y="219"/>
                      <a:pt x="171" y="219"/>
                      <a:pt x="171" y="219"/>
                    </a:cubicBezTo>
                    <a:cubicBezTo>
                      <a:pt x="221" y="0"/>
                      <a:pt x="221" y="0"/>
                      <a:pt x="221" y="0"/>
                    </a:cubicBezTo>
                    <a:cubicBezTo>
                      <a:pt x="221" y="0"/>
                      <a:pt x="221" y="0"/>
                      <a:pt x="0" y="316"/>
                    </a:cubicBezTo>
                    <a:cubicBezTo>
                      <a:pt x="141" y="353"/>
                      <a:pt x="141" y="353"/>
                      <a:pt x="141" y="353"/>
                    </a:cubicBezTo>
                    <a:cubicBezTo>
                      <a:pt x="91" y="572"/>
                      <a:pt x="91" y="572"/>
                      <a:pt x="91" y="57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2" name="bcgIcons_Technologies">
            <a:extLst>
              <a:ext uri="{FF2B5EF4-FFF2-40B4-BE49-F238E27FC236}">
                <a16:creationId xmlns:a16="http://schemas.microsoft.com/office/drawing/2014/main" id="{FE0DB9EC-2C56-4AE3-AC56-8ACAC98AB3F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33196" y="4508573"/>
            <a:ext cx="639488" cy="640080"/>
            <a:chOff x="1682" y="0"/>
            <a:chExt cx="4316" cy="4320"/>
          </a:xfrm>
        </p:grpSpPr>
        <p:sp>
          <p:nvSpPr>
            <p:cNvPr id="73" name="AutoShape 3">
              <a:extLst>
                <a:ext uri="{FF2B5EF4-FFF2-40B4-BE49-F238E27FC236}">
                  <a16:creationId xmlns:a16="http://schemas.microsoft.com/office/drawing/2014/main" id="{B3E35271-6C26-46DD-A65F-5AA84BEB7A0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5">
              <a:extLst>
                <a:ext uri="{FF2B5EF4-FFF2-40B4-BE49-F238E27FC236}">
                  <a16:creationId xmlns:a16="http://schemas.microsoft.com/office/drawing/2014/main" id="{7B2B914F-BC9E-4AEA-9CAE-AB74D4D86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7" y="463"/>
              <a:ext cx="3386" cy="3390"/>
            </a:xfrm>
            <a:custGeom>
              <a:avLst/>
              <a:gdLst>
                <a:gd name="T0" fmla="*/ 280 w 1808"/>
                <a:gd name="T1" fmla="*/ 1550 h 1808"/>
                <a:gd name="T2" fmla="*/ 258 w 1808"/>
                <a:gd name="T3" fmla="*/ 280 h 1808"/>
                <a:gd name="T4" fmla="*/ 1528 w 1808"/>
                <a:gd name="T5" fmla="*/ 258 h 1808"/>
                <a:gd name="T6" fmla="*/ 1550 w 1808"/>
                <a:gd name="T7" fmla="*/ 1528 h 1808"/>
                <a:gd name="T8" fmla="*/ 302 w 1808"/>
                <a:gd name="T9" fmla="*/ 1506 h 1808"/>
                <a:gd name="T10" fmla="*/ 1506 w 1808"/>
                <a:gd name="T11" fmla="*/ 302 h 1808"/>
                <a:gd name="T12" fmla="*/ 302 w 1808"/>
                <a:gd name="T13" fmla="*/ 1506 h 1808"/>
                <a:gd name="T14" fmla="*/ 550 w 1808"/>
                <a:gd name="T15" fmla="*/ 22 h 1808"/>
                <a:gd name="T16" fmla="*/ 506 w 1808"/>
                <a:gd name="T17" fmla="*/ 22 h 1808"/>
                <a:gd name="T18" fmla="*/ 528 w 1808"/>
                <a:gd name="T19" fmla="*/ 202 h 1808"/>
                <a:gd name="T20" fmla="*/ 801 w 1808"/>
                <a:gd name="T21" fmla="*/ 180 h 1808"/>
                <a:gd name="T22" fmla="*/ 779 w 1808"/>
                <a:gd name="T23" fmla="*/ 0 h 1808"/>
                <a:gd name="T24" fmla="*/ 757 w 1808"/>
                <a:gd name="T25" fmla="*/ 180 h 1808"/>
                <a:gd name="T26" fmla="*/ 801 w 1808"/>
                <a:gd name="T27" fmla="*/ 180 h 1808"/>
                <a:gd name="T28" fmla="*/ 1051 w 1808"/>
                <a:gd name="T29" fmla="*/ 22 h 1808"/>
                <a:gd name="T30" fmla="*/ 1007 w 1808"/>
                <a:gd name="T31" fmla="*/ 22 h 1808"/>
                <a:gd name="T32" fmla="*/ 1029 w 1808"/>
                <a:gd name="T33" fmla="*/ 202 h 1808"/>
                <a:gd name="T34" fmla="*/ 1302 w 1808"/>
                <a:gd name="T35" fmla="*/ 180 h 1808"/>
                <a:gd name="T36" fmla="*/ 1280 w 1808"/>
                <a:gd name="T37" fmla="*/ 0 h 1808"/>
                <a:gd name="T38" fmla="*/ 1258 w 1808"/>
                <a:gd name="T39" fmla="*/ 180 h 1808"/>
                <a:gd name="T40" fmla="*/ 1302 w 1808"/>
                <a:gd name="T41" fmla="*/ 180 h 1808"/>
                <a:gd name="T42" fmla="*/ 550 w 1808"/>
                <a:gd name="T43" fmla="*/ 1628 h 1808"/>
                <a:gd name="T44" fmla="*/ 506 w 1808"/>
                <a:gd name="T45" fmla="*/ 1628 h 1808"/>
                <a:gd name="T46" fmla="*/ 528 w 1808"/>
                <a:gd name="T47" fmla="*/ 1808 h 1808"/>
                <a:gd name="T48" fmla="*/ 801 w 1808"/>
                <a:gd name="T49" fmla="*/ 1786 h 1808"/>
                <a:gd name="T50" fmla="*/ 779 w 1808"/>
                <a:gd name="T51" fmla="*/ 1606 h 1808"/>
                <a:gd name="T52" fmla="*/ 757 w 1808"/>
                <a:gd name="T53" fmla="*/ 1786 h 1808"/>
                <a:gd name="T54" fmla="*/ 801 w 1808"/>
                <a:gd name="T55" fmla="*/ 1786 h 1808"/>
                <a:gd name="T56" fmla="*/ 1051 w 1808"/>
                <a:gd name="T57" fmla="*/ 1628 h 1808"/>
                <a:gd name="T58" fmla="*/ 1007 w 1808"/>
                <a:gd name="T59" fmla="*/ 1628 h 1808"/>
                <a:gd name="T60" fmla="*/ 1029 w 1808"/>
                <a:gd name="T61" fmla="*/ 1808 h 1808"/>
                <a:gd name="T62" fmla="*/ 1302 w 1808"/>
                <a:gd name="T63" fmla="*/ 1786 h 1808"/>
                <a:gd name="T64" fmla="*/ 1280 w 1808"/>
                <a:gd name="T65" fmla="*/ 1606 h 1808"/>
                <a:gd name="T66" fmla="*/ 1258 w 1808"/>
                <a:gd name="T67" fmla="*/ 1786 h 1808"/>
                <a:gd name="T68" fmla="*/ 1302 w 1808"/>
                <a:gd name="T69" fmla="*/ 1786 h 1808"/>
                <a:gd name="T70" fmla="*/ 1786 w 1808"/>
                <a:gd name="T71" fmla="*/ 506 h 1808"/>
                <a:gd name="T72" fmla="*/ 1606 w 1808"/>
                <a:gd name="T73" fmla="*/ 528 h 1808"/>
                <a:gd name="T74" fmla="*/ 1786 w 1808"/>
                <a:gd name="T75" fmla="*/ 550 h 1808"/>
                <a:gd name="T76" fmla="*/ 1808 w 1808"/>
                <a:gd name="T77" fmla="*/ 779 h 1808"/>
                <a:gd name="T78" fmla="*/ 1628 w 1808"/>
                <a:gd name="T79" fmla="*/ 757 h 1808"/>
                <a:gd name="T80" fmla="*/ 1628 w 1808"/>
                <a:gd name="T81" fmla="*/ 801 h 1808"/>
                <a:gd name="T82" fmla="*/ 1808 w 1808"/>
                <a:gd name="T83" fmla="*/ 779 h 1808"/>
                <a:gd name="T84" fmla="*/ 1786 w 1808"/>
                <a:gd name="T85" fmla="*/ 1007 h 1808"/>
                <a:gd name="T86" fmla="*/ 1606 w 1808"/>
                <a:gd name="T87" fmla="*/ 1029 h 1808"/>
                <a:gd name="T88" fmla="*/ 1786 w 1808"/>
                <a:gd name="T89" fmla="*/ 1051 h 1808"/>
                <a:gd name="T90" fmla="*/ 1808 w 1808"/>
                <a:gd name="T91" fmla="*/ 1280 h 1808"/>
                <a:gd name="T92" fmla="*/ 1628 w 1808"/>
                <a:gd name="T93" fmla="*/ 1258 h 1808"/>
                <a:gd name="T94" fmla="*/ 1628 w 1808"/>
                <a:gd name="T95" fmla="*/ 1302 h 1808"/>
                <a:gd name="T96" fmla="*/ 1808 w 1808"/>
                <a:gd name="T97" fmla="*/ 1280 h 1808"/>
                <a:gd name="T98" fmla="*/ 180 w 1808"/>
                <a:gd name="T99" fmla="*/ 506 h 1808"/>
                <a:gd name="T100" fmla="*/ 0 w 1808"/>
                <a:gd name="T101" fmla="*/ 528 h 1808"/>
                <a:gd name="T102" fmla="*/ 180 w 1808"/>
                <a:gd name="T103" fmla="*/ 550 h 1808"/>
                <a:gd name="T104" fmla="*/ 202 w 1808"/>
                <a:gd name="T105" fmla="*/ 779 h 1808"/>
                <a:gd name="T106" fmla="*/ 22 w 1808"/>
                <a:gd name="T107" fmla="*/ 757 h 1808"/>
                <a:gd name="T108" fmla="*/ 22 w 1808"/>
                <a:gd name="T109" fmla="*/ 801 h 1808"/>
                <a:gd name="T110" fmla="*/ 202 w 1808"/>
                <a:gd name="T111" fmla="*/ 779 h 1808"/>
                <a:gd name="T112" fmla="*/ 180 w 1808"/>
                <a:gd name="T113" fmla="*/ 1007 h 1808"/>
                <a:gd name="T114" fmla="*/ 0 w 1808"/>
                <a:gd name="T115" fmla="*/ 1029 h 1808"/>
                <a:gd name="T116" fmla="*/ 180 w 1808"/>
                <a:gd name="T117" fmla="*/ 1051 h 1808"/>
                <a:gd name="T118" fmla="*/ 202 w 1808"/>
                <a:gd name="T119" fmla="*/ 1280 h 1808"/>
                <a:gd name="T120" fmla="*/ 22 w 1808"/>
                <a:gd name="T121" fmla="*/ 1258 h 1808"/>
                <a:gd name="T122" fmla="*/ 22 w 1808"/>
                <a:gd name="T123" fmla="*/ 1302 h 1808"/>
                <a:gd name="T124" fmla="*/ 202 w 1808"/>
                <a:gd name="T125" fmla="*/ 1280 h 1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08" h="1808">
                  <a:moveTo>
                    <a:pt x="1528" y="1550"/>
                  </a:moveTo>
                  <a:cubicBezTo>
                    <a:pt x="280" y="1550"/>
                    <a:pt x="280" y="1550"/>
                    <a:pt x="280" y="1550"/>
                  </a:cubicBezTo>
                  <a:cubicBezTo>
                    <a:pt x="268" y="1550"/>
                    <a:pt x="258" y="1540"/>
                    <a:pt x="258" y="1528"/>
                  </a:cubicBezTo>
                  <a:cubicBezTo>
                    <a:pt x="258" y="280"/>
                    <a:pt x="258" y="280"/>
                    <a:pt x="258" y="280"/>
                  </a:cubicBezTo>
                  <a:cubicBezTo>
                    <a:pt x="258" y="268"/>
                    <a:pt x="268" y="258"/>
                    <a:pt x="280" y="258"/>
                  </a:cubicBezTo>
                  <a:cubicBezTo>
                    <a:pt x="1528" y="258"/>
                    <a:pt x="1528" y="258"/>
                    <a:pt x="1528" y="258"/>
                  </a:cubicBezTo>
                  <a:cubicBezTo>
                    <a:pt x="1540" y="258"/>
                    <a:pt x="1550" y="268"/>
                    <a:pt x="1550" y="280"/>
                  </a:cubicBezTo>
                  <a:cubicBezTo>
                    <a:pt x="1550" y="1528"/>
                    <a:pt x="1550" y="1528"/>
                    <a:pt x="1550" y="1528"/>
                  </a:cubicBezTo>
                  <a:cubicBezTo>
                    <a:pt x="1550" y="1540"/>
                    <a:pt x="1540" y="1550"/>
                    <a:pt x="1528" y="1550"/>
                  </a:cubicBezTo>
                  <a:close/>
                  <a:moveTo>
                    <a:pt x="302" y="1506"/>
                  </a:moveTo>
                  <a:cubicBezTo>
                    <a:pt x="1506" y="1506"/>
                    <a:pt x="1506" y="1506"/>
                    <a:pt x="1506" y="1506"/>
                  </a:cubicBezTo>
                  <a:cubicBezTo>
                    <a:pt x="1506" y="302"/>
                    <a:pt x="1506" y="302"/>
                    <a:pt x="1506" y="302"/>
                  </a:cubicBezTo>
                  <a:cubicBezTo>
                    <a:pt x="302" y="302"/>
                    <a:pt x="302" y="302"/>
                    <a:pt x="302" y="302"/>
                  </a:cubicBezTo>
                  <a:lnTo>
                    <a:pt x="302" y="1506"/>
                  </a:lnTo>
                  <a:close/>
                  <a:moveTo>
                    <a:pt x="550" y="180"/>
                  </a:moveTo>
                  <a:cubicBezTo>
                    <a:pt x="550" y="22"/>
                    <a:pt x="550" y="22"/>
                    <a:pt x="550" y="22"/>
                  </a:cubicBezTo>
                  <a:cubicBezTo>
                    <a:pt x="550" y="10"/>
                    <a:pt x="540" y="0"/>
                    <a:pt x="528" y="0"/>
                  </a:cubicBezTo>
                  <a:cubicBezTo>
                    <a:pt x="516" y="0"/>
                    <a:pt x="506" y="10"/>
                    <a:pt x="506" y="22"/>
                  </a:cubicBezTo>
                  <a:cubicBezTo>
                    <a:pt x="506" y="180"/>
                    <a:pt x="506" y="180"/>
                    <a:pt x="506" y="180"/>
                  </a:cubicBezTo>
                  <a:cubicBezTo>
                    <a:pt x="506" y="192"/>
                    <a:pt x="516" y="202"/>
                    <a:pt x="528" y="202"/>
                  </a:cubicBezTo>
                  <a:cubicBezTo>
                    <a:pt x="540" y="202"/>
                    <a:pt x="550" y="192"/>
                    <a:pt x="550" y="180"/>
                  </a:cubicBezTo>
                  <a:close/>
                  <a:moveTo>
                    <a:pt x="801" y="180"/>
                  </a:moveTo>
                  <a:cubicBezTo>
                    <a:pt x="801" y="22"/>
                    <a:pt x="801" y="22"/>
                    <a:pt x="801" y="22"/>
                  </a:cubicBezTo>
                  <a:cubicBezTo>
                    <a:pt x="801" y="10"/>
                    <a:pt x="791" y="0"/>
                    <a:pt x="779" y="0"/>
                  </a:cubicBezTo>
                  <a:cubicBezTo>
                    <a:pt x="766" y="0"/>
                    <a:pt x="757" y="10"/>
                    <a:pt x="757" y="22"/>
                  </a:cubicBezTo>
                  <a:cubicBezTo>
                    <a:pt x="757" y="180"/>
                    <a:pt x="757" y="180"/>
                    <a:pt x="757" y="180"/>
                  </a:cubicBezTo>
                  <a:cubicBezTo>
                    <a:pt x="757" y="192"/>
                    <a:pt x="766" y="202"/>
                    <a:pt x="779" y="202"/>
                  </a:cubicBezTo>
                  <a:cubicBezTo>
                    <a:pt x="791" y="202"/>
                    <a:pt x="801" y="192"/>
                    <a:pt x="801" y="180"/>
                  </a:cubicBezTo>
                  <a:close/>
                  <a:moveTo>
                    <a:pt x="1051" y="180"/>
                  </a:moveTo>
                  <a:cubicBezTo>
                    <a:pt x="1051" y="22"/>
                    <a:pt x="1051" y="22"/>
                    <a:pt x="1051" y="22"/>
                  </a:cubicBezTo>
                  <a:cubicBezTo>
                    <a:pt x="1051" y="10"/>
                    <a:pt x="1042" y="0"/>
                    <a:pt x="1029" y="0"/>
                  </a:cubicBezTo>
                  <a:cubicBezTo>
                    <a:pt x="1017" y="0"/>
                    <a:pt x="1007" y="10"/>
                    <a:pt x="1007" y="22"/>
                  </a:cubicBezTo>
                  <a:cubicBezTo>
                    <a:pt x="1007" y="180"/>
                    <a:pt x="1007" y="180"/>
                    <a:pt x="1007" y="180"/>
                  </a:cubicBezTo>
                  <a:cubicBezTo>
                    <a:pt x="1007" y="192"/>
                    <a:pt x="1017" y="202"/>
                    <a:pt x="1029" y="202"/>
                  </a:cubicBezTo>
                  <a:cubicBezTo>
                    <a:pt x="1042" y="202"/>
                    <a:pt x="1051" y="192"/>
                    <a:pt x="1051" y="180"/>
                  </a:cubicBezTo>
                  <a:close/>
                  <a:moveTo>
                    <a:pt x="1302" y="180"/>
                  </a:moveTo>
                  <a:cubicBezTo>
                    <a:pt x="1302" y="22"/>
                    <a:pt x="1302" y="22"/>
                    <a:pt x="1302" y="22"/>
                  </a:cubicBezTo>
                  <a:cubicBezTo>
                    <a:pt x="1302" y="10"/>
                    <a:pt x="1292" y="0"/>
                    <a:pt x="1280" y="0"/>
                  </a:cubicBezTo>
                  <a:cubicBezTo>
                    <a:pt x="1268" y="0"/>
                    <a:pt x="1258" y="10"/>
                    <a:pt x="1258" y="22"/>
                  </a:cubicBezTo>
                  <a:cubicBezTo>
                    <a:pt x="1258" y="180"/>
                    <a:pt x="1258" y="180"/>
                    <a:pt x="1258" y="180"/>
                  </a:cubicBezTo>
                  <a:cubicBezTo>
                    <a:pt x="1258" y="192"/>
                    <a:pt x="1268" y="202"/>
                    <a:pt x="1280" y="202"/>
                  </a:cubicBezTo>
                  <a:cubicBezTo>
                    <a:pt x="1292" y="202"/>
                    <a:pt x="1302" y="192"/>
                    <a:pt x="1302" y="180"/>
                  </a:cubicBezTo>
                  <a:close/>
                  <a:moveTo>
                    <a:pt x="550" y="1786"/>
                  </a:moveTo>
                  <a:cubicBezTo>
                    <a:pt x="550" y="1628"/>
                    <a:pt x="550" y="1628"/>
                    <a:pt x="550" y="1628"/>
                  </a:cubicBezTo>
                  <a:cubicBezTo>
                    <a:pt x="550" y="1616"/>
                    <a:pt x="540" y="1606"/>
                    <a:pt x="528" y="1606"/>
                  </a:cubicBezTo>
                  <a:cubicBezTo>
                    <a:pt x="516" y="1606"/>
                    <a:pt x="506" y="1616"/>
                    <a:pt x="506" y="1628"/>
                  </a:cubicBezTo>
                  <a:cubicBezTo>
                    <a:pt x="506" y="1786"/>
                    <a:pt x="506" y="1786"/>
                    <a:pt x="506" y="1786"/>
                  </a:cubicBezTo>
                  <a:cubicBezTo>
                    <a:pt x="506" y="1798"/>
                    <a:pt x="516" y="1808"/>
                    <a:pt x="528" y="1808"/>
                  </a:cubicBezTo>
                  <a:cubicBezTo>
                    <a:pt x="540" y="1808"/>
                    <a:pt x="550" y="1798"/>
                    <a:pt x="550" y="1786"/>
                  </a:cubicBezTo>
                  <a:close/>
                  <a:moveTo>
                    <a:pt x="801" y="1786"/>
                  </a:moveTo>
                  <a:cubicBezTo>
                    <a:pt x="801" y="1628"/>
                    <a:pt x="801" y="1628"/>
                    <a:pt x="801" y="1628"/>
                  </a:cubicBezTo>
                  <a:cubicBezTo>
                    <a:pt x="801" y="1616"/>
                    <a:pt x="791" y="1606"/>
                    <a:pt x="779" y="1606"/>
                  </a:cubicBezTo>
                  <a:cubicBezTo>
                    <a:pt x="766" y="1606"/>
                    <a:pt x="757" y="1616"/>
                    <a:pt x="757" y="1628"/>
                  </a:cubicBezTo>
                  <a:cubicBezTo>
                    <a:pt x="757" y="1786"/>
                    <a:pt x="757" y="1786"/>
                    <a:pt x="757" y="1786"/>
                  </a:cubicBezTo>
                  <a:cubicBezTo>
                    <a:pt x="757" y="1798"/>
                    <a:pt x="766" y="1808"/>
                    <a:pt x="779" y="1808"/>
                  </a:cubicBezTo>
                  <a:cubicBezTo>
                    <a:pt x="791" y="1808"/>
                    <a:pt x="801" y="1798"/>
                    <a:pt x="801" y="1786"/>
                  </a:cubicBezTo>
                  <a:close/>
                  <a:moveTo>
                    <a:pt x="1051" y="1786"/>
                  </a:moveTo>
                  <a:cubicBezTo>
                    <a:pt x="1051" y="1628"/>
                    <a:pt x="1051" y="1628"/>
                    <a:pt x="1051" y="1628"/>
                  </a:cubicBezTo>
                  <a:cubicBezTo>
                    <a:pt x="1051" y="1616"/>
                    <a:pt x="1042" y="1606"/>
                    <a:pt x="1029" y="1606"/>
                  </a:cubicBezTo>
                  <a:cubicBezTo>
                    <a:pt x="1017" y="1606"/>
                    <a:pt x="1007" y="1616"/>
                    <a:pt x="1007" y="1628"/>
                  </a:cubicBezTo>
                  <a:cubicBezTo>
                    <a:pt x="1007" y="1786"/>
                    <a:pt x="1007" y="1786"/>
                    <a:pt x="1007" y="1786"/>
                  </a:cubicBezTo>
                  <a:cubicBezTo>
                    <a:pt x="1007" y="1798"/>
                    <a:pt x="1017" y="1808"/>
                    <a:pt x="1029" y="1808"/>
                  </a:cubicBezTo>
                  <a:cubicBezTo>
                    <a:pt x="1042" y="1808"/>
                    <a:pt x="1051" y="1798"/>
                    <a:pt x="1051" y="1786"/>
                  </a:cubicBezTo>
                  <a:close/>
                  <a:moveTo>
                    <a:pt x="1302" y="1786"/>
                  </a:moveTo>
                  <a:cubicBezTo>
                    <a:pt x="1302" y="1628"/>
                    <a:pt x="1302" y="1628"/>
                    <a:pt x="1302" y="1628"/>
                  </a:cubicBezTo>
                  <a:cubicBezTo>
                    <a:pt x="1302" y="1616"/>
                    <a:pt x="1292" y="1606"/>
                    <a:pt x="1280" y="1606"/>
                  </a:cubicBezTo>
                  <a:cubicBezTo>
                    <a:pt x="1268" y="1606"/>
                    <a:pt x="1258" y="1616"/>
                    <a:pt x="1258" y="1628"/>
                  </a:cubicBezTo>
                  <a:cubicBezTo>
                    <a:pt x="1258" y="1786"/>
                    <a:pt x="1258" y="1786"/>
                    <a:pt x="1258" y="1786"/>
                  </a:cubicBezTo>
                  <a:cubicBezTo>
                    <a:pt x="1258" y="1798"/>
                    <a:pt x="1268" y="1808"/>
                    <a:pt x="1280" y="1808"/>
                  </a:cubicBezTo>
                  <a:cubicBezTo>
                    <a:pt x="1292" y="1808"/>
                    <a:pt x="1302" y="1798"/>
                    <a:pt x="1302" y="1786"/>
                  </a:cubicBezTo>
                  <a:close/>
                  <a:moveTo>
                    <a:pt x="1808" y="528"/>
                  </a:moveTo>
                  <a:cubicBezTo>
                    <a:pt x="1808" y="516"/>
                    <a:pt x="1798" y="506"/>
                    <a:pt x="1786" y="506"/>
                  </a:cubicBezTo>
                  <a:cubicBezTo>
                    <a:pt x="1628" y="506"/>
                    <a:pt x="1628" y="506"/>
                    <a:pt x="1628" y="506"/>
                  </a:cubicBezTo>
                  <a:cubicBezTo>
                    <a:pt x="1616" y="506"/>
                    <a:pt x="1606" y="516"/>
                    <a:pt x="1606" y="528"/>
                  </a:cubicBezTo>
                  <a:cubicBezTo>
                    <a:pt x="1606" y="540"/>
                    <a:pt x="1616" y="550"/>
                    <a:pt x="1628" y="550"/>
                  </a:cubicBezTo>
                  <a:cubicBezTo>
                    <a:pt x="1786" y="550"/>
                    <a:pt x="1786" y="550"/>
                    <a:pt x="1786" y="550"/>
                  </a:cubicBezTo>
                  <a:cubicBezTo>
                    <a:pt x="1798" y="550"/>
                    <a:pt x="1808" y="540"/>
                    <a:pt x="1808" y="528"/>
                  </a:cubicBezTo>
                  <a:close/>
                  <a:moveTo>
                    <a:pt x="1808" y="779"/>
                  </a:moveTo>
                  <a:cubicBezTo>
                    <a:pt x="1808" y="766"/>
                    <a:pt x="1798" y="757"/>
                    <a:pt x="1786" y="757"/>
                  </a:cubicBezTo>
                  <a:cubicBezTo>
                    <a:pt x="1628" y="757"/>
                    <a:pt x="1628" y="757"/>
                    <a:pt x="1628" y="757"/>
                  </a:cubicBezTo>
                  <a:cubicBezTo>
                    <a:pt x="1616" y="757"/>
                    <a:pt x="1606" y="766"/>
                    <a:pt x="1606" y="779"/>
                  </a:cubicBezTo>
                  <a:cubicBezTo>
                    <a:pt x="1606" y="791"/>
                    <a:pt x="1616" y="801"/>
                    <a:pt x="1628" y="801"/>
                  </a:cubicBezTo>
                  <a:cubicBezTo>
                    <a:pt x="1786" y="801"/>
                    <a:pt x="1786" y="801"/>
                    <a:pt x="1786" y="801"/>
                  </a:cubicBezTo>
                  <a:cubicBezTo>
                    <a:pt x="1798" y="801"/>
                    <a:pt x="1808" y="791"/>
                    <a:pt x="1808" y="779"/>
                  </a:cubicBezTo>
                  <a:close/>
                  <a:moveTo>
                    <a:pt x="1808" y="1029"/>
                  </a:moveTo>
                  <a:cubicBezTo>
                    <a:pt x="1808" y="1017"/>
                    <a:pt x="1798" y="1007"/>
                    <a:pt x="1786" y="1007"/>
                  </a:cubicBezTo>
                  <a:cubicBezTo>
                    <a:pt x="1628" y="1007"/>
                    <a:pt x="1628" y="1007"/>
                    <a:pt x="1628" y="1007"/>
                  </a:cubicBezTo>
                  <a:cubicBezTo>
                    <a:pt x="1616" y="1007"/>
                    <a:pt x="1606" y="1017"/>
                    <a:pt x="1606" y="1029"/>
                  </a:cubicBezTo>
                  <a:cubicBezTo>
                    <a:pt x="1606" y="1042"/>
                    <a:pt x="1616" y="1051"/>
                    <a:pt x="1628" y="1051"/>
                  </a:cubicBezTo>
                  <a:cubicBezTo>
                    <a:pt x="1786" y="1051"/>
                    <a:pt x="1786" y="1051"/>
                    <a:pt x="1786" y="1051"/>
                  </a:cubicBezTo>
                  <a:cubicBezTo>
                    <a:pt x="1798" y="1051"/>
                    <a:pt x="1808" y="1042"/>
                    <a:pt x="1808" y="1029"/>
                  </a:cubicBezTo>
                  <a:close/>
                  <a:moveTo>
                    <a:pt x="1808" y="1280"/>
                  </a:moveTo>
                  <a:cubicBezTo>
                    <a:pt x="1808" y="1268"/>
                    <a:pt x="1798" y="1258"/>
                    <a:pt x="1786" y="1258"/>
                  </a:cubicBezTo>
                  <a:cubicBezTo>
                    <a:pt x="1628" y="1258"/>
                    <a:pt x="1628" y="1258"/>
                    <a:pt x="1628" y="1258"/>
                  </a:cubicBezTo>
                  <a:cubicBezTo>
                    <a:pt x="1616" y="1258"/>
                    <a:pt x="1606" y="1268"/>
                    <a:pt x="1606" y="1280"/>
                  </a:cubicBezTo>
                  <a:cubicBezTo>
                    <a:pt x="1606" y="1292"/>
                    <a:pt x="1616" y="1302"/>
                    <a:pt x="1628" y="1302"/>
                  </a:cubicBezTo>
                  <a:cubicBezTo>
                    <a:pt x="1786" y="1302"/>
                    <a:pt x="1786" y="1302"/>
                    <a:pt x="1786" y="1302"/>
                  </a:cubicBezTo>
                  <a:cubicBezTo>
                    <a:pt x="1798" y="1302"/>
                    <a:pt x="1808" y="1292"/>
                    <a:pt x="1808" y="1280"/>
                  </a:cubicBezTo>
                  <a:close/>
                  <a:moveTo>
                    <a:pt x="202" y="528"/>
                  </a:moveTo>
                  <a:cubicBezTo>
                    <a:pt x="202" y="516"/>
                    <a:pt x="192" y="506"/>
                    <a:pt x="180" y="506"/>
                  </a:cubicBezTo>
                  <a:cubicBezTo>
                    <a:pt x="22" y="506"/>
                    <a:pt x="22" y="506"/>
                    <a:pt x="22" y="506"/>
                  </a:cubicBezTo>
                  <a:cubicBezTo>
                    <a:pt x="10" y="506"/>
                    <a:pt x="0" y="516"/>
                    <a:pt x="0" y="528"/>
                  </a:cubicBezTo>
                  <a:cubicBezTo>
                    <a:pt x="0" y="540"/>
                    <a:pt x="10" y="550"/>
                    <a:pt x="22" y="550"/>
                  </a:cubicBezTo>
                  <a:cubicBezTo>
                    <a:pt x="180" y="550"/>
                    <a:pt x="180" y="550"/>
                    <a:pt x="180" y="550"/>
                  </a:cubicBezTo>
                  <a:cubicBezTo>
                    <a:pt x="192" y="550"/>
                    <a:pt x="202" y="540"/>
                    <a:pt x="202" y="528"/>
                  </a:cubicBezTo>
                  <a:close/>
                  <a:moveTo>
                    <a:pt x="202" y="779"/>
                  </a:moveTo>
                  <a:cubicBezTo>
                    <a:pt x="202" y="766"/>
                    <a:pt x="192" y="757"/>
                    <a:pt x="180" y="757"/>
                  </a:cubicBezTo>
                  <a:cubicBezTo>
                    <a:pt x="22" y="757"/>
                    <a:pt x="22" y="757"/>
                    <a:pt x="22" y="757"/>
                  </a:cubicBezTo>
                  <a:cubicBezTo>
                    <a:pt x="10" y="757"/>
                    <a:pt x="0" y="766"/>
                    <a:pt x="0" y="779"/>
                  </a:cubicBezTo>
                  <a:cubicBezTo>
                    <a:pt x="0" y="791"/>
                    <a:pt x="10" y="801"/>
                    <a:pt x="22" y="801"/>
                  </a:cubicBezTo>
                  <a:cubicBezTo>
                    <a:pt x="180" y="801"/>
                    <a:pt x="180" y="801"/>
                    <a:pt x="180" y="801"/>
                  </a:cubicBezTo>
                  <a:cubicBezTo>
                    <a:pt x="192" y="801"/>
                    <a:pt x="202" y="791"/>
                    <a:pt x="202" y="779"/>
                  </a:cubicBezTo>
                  <a:close/>
                  <a:moveTo>
                    <a:pt x="202" y="1029"/>
                  </a:moveTo>
                  <a:cubicBezTo>
                    <a:pt x="202" y="1017"/>
                    <a:pt x="192" y="1007"/>
                    <a:pt x="180" y="1007"/>
                  </a:cubicBezTo>
                  <a:cubicBezTo>
                    <a:pt x="22" y="1007"/>
                    <a:pt x="22" y="1007"/>
                    <a:pt x="22" y="1007"/>
                  </a:cubicBezTo>
                  <a:cubicBezTo>
                    <a:pt x="10" y="1007"/>
                    <a:pt x="0" y="1017"/>
                    <a:pt x="0" y="1029"/>
                  </a:cubicBezTo>
                  <a:cubicBezTo>
                    <a:pt x="0" y="1042"/>
                    <a:pt x="10" y="1051"/>
                    <a:pt x="22" y="1051"/>
                  </a:cubicBezTo>
                  <a:cubicBezTo>
                    <a:pt x="180" y="1051"/>
                    <a:pt x="180" y="1051"/>
                    <a:pt x="180" y="1051"/>
                  </a:cubicBezTo>
                  <a:cubicBezTo>
                    <a:pt x="192" y="1051"/>
                    <a:pt x="202" y="1042"/>
                    <a:pt x="202" y="1029"/>
                  </a:cubicBezTo>
                  <a:close/>
                  <a:moveTo>
                    <a:pt x="202" y="1280"/>
                  </a:moveTo>
                  <a:cubicBezTo>
                    <a:pt x="202" y="1268"/>
                    <a:pt x="192" y="1258"/>
                    <a:pt x="180" y="1258"/>
                  </a:cubicBezTo>
                  <a:cubicBezTo>
                    <a:pt x="22" y="1258"/>
                    <a:pt x="22" y="1258"/>
                    <a:pt x="22" y="1258"/>
                  </a:cubicBezTo>
                  <a:cubicBezTo>
                    <a:pt x="10" y="1258"/>
                    <a:pt x="0" y="1268"/>
                    <a:pt x="0" y="1280"/>
                  </a:cubicBezTo>
                  <a:cubicBezTo>
                    <a:pt x="0" y="1292"/>
                    <a:pt x="10" y="1302"/>
                    <a:pt x="22" y="1302"/>
                  </a:cubicBezTo>
                  <a:cubicBezTo>
                    <a:pt x="180" y="1302"/>
                    <a:pt x="180" y="1302"/>
                    <a:pt x="180" y="1302"/>
                  </a:cubicBezTo>
                  <a:cubicBezTo>
                    <a:pt x="192" y="1302"/>
                    <a:pt x="202" y="1292"/>
                    <a:pt x="202" y="128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">
              <a:extLst>
                <a:ext uri="{FF2B5EF4-FFF2-40B4-BE49-F238E27FC236}">
                  <a16:creationId xmlns:a16="http://schemas.microsoft.com/office/drawing/2014/main" id="{06AB861A-67D3-480D-9133-08C4D20D5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9" y="1166"/>
              <a:ext cx="1982" cy="1984"/>
            </a:xfrm>
            <a:custGeom>
              <a:avLst/>
              <a:gdLst>
                <a:gd name="T0" fmla="*/ 1048 w 1058"/>
                <a:gd name="T1" fmla="*/ 0 h 1058"/>
                <a:gd name="T2" fmla="*/ 10 w 1058"/>
                <a:gd name="T3" fmla="*/ 0 h 1058"/>
                <a:gd name="T4" fmla="*/ 0 w 1058"/>
                <a:gd name="T5" fmla="*/ 10 h 1058"/>
                <a:gd name="T6" fmla="*/ 0 w 1058"/>
                <a:gd name="T7" fmla="*/ 1048 h 1058"/>
                <a:gd name="T8" fmla="*/ 10 w 1058"/>
                <a:gd name="T9" fmla="*/ 1058 h 1058"/>
                <a:gd name="T10" fmla="*/ 1048 w 1058"/>
                <a:gd name="T11" fmla="*/ 1058 h 1058"/>
                <a:gd name="T12" fmla="*/ 1058 w 1058"/>
                <a:gd name="T13" fmla="*/ 1048 h 1058"/>
                <a:gd name="T14" fmla="*/ 1058 w 1058"/>
                <a:gd name="T15" fmla="*/ 10 h 1058"/>
                <a:gd name="T16" fmla="*/ 1048 w 1058"/>
                <a:gd name="T17" fmla="*/ 0 h 1058"/>
                <a:gd name="T18" fmla="*/ 819 w 1058"/>
                <a:gd name="T19" fmla="*/ 809 h 1058"/>
                <a:gd name="T20" fmla="*/ 809 w 1058"/>
                <a:gd name="T21" fmla="*/ 819 h 1058"/>
                <a:gd name="T22" fmla="*/ 249 w 1058"/>
                <a:gd name="T23" fmla="*/ 819 h 1058"/>
                <a:gd name="T24" fmla="*/ 239 w 1058"/>
                <a:gd name="T25" fmla="*/ 809 h 1058"/>
                <a:gd name="T26" fmla="*/ 239 w 1058"/>
                <a:gd name="T27" fmla="*/ 249 h 1058"/>
                <a:gd name="T28" fmla="*/ 249 w 1058"/>
                <a:gd name="T29" fmla="*/ 239 h 1058"/>
                <a:gd name="T30" fmla="*/ 809 w 1058"/>
                <a:gd name="T31" fmla="*/ 239 h 1058"/>
                <a:gd name="T32" fmla="*/ 819 w 1058"/>
                <a:gd name="T33" fmla="*/ 249 h 1058"/>
                <a:gd name="T34" fmla="*/ 819 w 1058"/>
                <a:gd name="T35" fmla="*/ 809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8" h="1058">
                  <a:moveTo>
                    <a:pt x="104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054"/>
                    <a:pt x="4" y="1058"/>
                    <a:pt x="10" y="1058"/>
                  </a:cubicBezTo>
                  <a:cubicBezTo>
                    <a:pt x="1048" y="1058"/>
                    <a:pt x="1048" y="1058"/>
                    <a:pt x="1048" y="1058"/>
                  </a:cubicBezTo>
                  <a:cubicBezTo>
                    <a:pt x="1054" y="1058"/>
                    <a:pt x="1058" y="1054"/>
                    <a:pt x="1058" y="1048"/>
                  </a:cubicBezTo>
                  <a:cubicBezTo>
                    <a:pt x="1058" y="10"/>
                    <a:pt x="1058" y="10"/>
                    <a:pt x="1058" y="10"/>
                  </a:cubicBezTo>
                  <a:cubicBezTo>
                    <a:pt x="1058" y="4"/>
                    <a:pt x="1054" y="0"/>
                    <a:pt x="1048" y="0"/>
                  </a:cubicBezTo>
                  <a:close/>
                  <a:moveTo>
                    <a:pt x="819" y="809"/>
                  </a:moveTo>
                  <a:cubicBezTo>
                    <a:pt x="819" y="814"/>
                    <a:pt x="814" y="819"/>
                    <a:pt x="809" y="819"/>
                  </a:cubicBezTo>
                  <a:cubicBezTo>
                    <a:pt x="249" y="819"/>
                    <a:pt x="249" y="819"/>
                    <a:pt x="249" y="819"/>
                  </a:cubicBezTo>
                  <a:cubicBezTo>
                    <a:pt x="244" y="819"/>
                    <a:pt x="239" y="814"/>
                    <a:pt x="239" y="809"/>
                  </a:cubicBezTo>
                  <a:cubicBezTo>
                    <a:pt x="239" y="249"/>
                    <a:pt x="239" y="249"/>
                    <a:pt x="239" y="249"/>
                  </a:cubicBezTo>
                  <a:cubicBezTo>
                    <a:pt x="239" y="244"/>
                    <a:pt x="244" y="239"/>
                    <a:pt x="249" y="239"/>
                  </a:cubicBezTo>
                  <a:cubicBezTo>
                    <a:pt x="809" y="239"/>
                    <a:pt x="809" y="239"/>
                    <a:pt x="809" y="239"/>
                  </a:cubicBezTo>
                  <a:cubicBezTo>
                    <a:pt x="814" y="239"/>
                    <a:pt x="819" y="244"/>
                    <a:pt x="819" y="249"/>
                  </a:cubicBezTo>
                  <a:lnTo>
                    <a:pt x="819" y="80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1826A2A1-0172-4F29-931A-5AB7C23E146B}"/>
              </a:ext>
            </a:extLst>
          </p:cNvPr>
          <p:cNvGrpSpPr>
            <a:grpSpLocks noChangeAspect="1"/>
          </p:cNvGrpSpPr>
          <p:nvPr/>
        </p:nvGrpSpPr>
        <p:grpSpPr>
          <a:xfrm>
            <a:off x="624238" y="4508573"/>
            <a:ext cx="640698" cy="640080"/>
            <a:chOff x="6464300" y="2606675"/>
            <a:chExt cx="1646238" cy="1644650"/>
          </a:xfrm>
        </p:grpSpPr>
        <p:sp>
          <p:nvSpPr>
            <p:cNvPr id="79" name="AutoShape 3">
              <a:extLst>
                <a:ext uri="{FF2B5EF4-FFF2-40B4-BE49-F238E27FC236}">
                  <a16:creationId xmlns:a16="http://schemas.microsoft.com/office/drawing/2014/main" id="{88EE27DF-4BFF-454A-9386-EE7A457A976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4480AAAC-734A-4BEC-8AFB-0A1655480F69}"/>
                </a:ext>
              </a:extLst>
            </p:cNvPr>
            <p:cNvGrpSpPr/>
            <p:nvPr/>
          </p:nvGrpSpPr>
          <p:grpSpPr>
            <a:xfrm>
              <a:off x="6729413" y="2881312"/>
              <a:ext cx="1146175" cy="1125538"/>
              <a:chOff x="6729413" y="2881312"/>
              <a:chExt cx="1146175" cy="1125538"/>
            </a:xfrm>
          </p:grpSpPr>
          <p:sp>
            <p:nvSpPr>
              <p:cNvPr id="81" name="Freeform 10">
                <a:extLst>
                  <a:ext uri="{FF2B5EF4-FFF2-40B4-BE49-F238E27FC236}">
                    <a16:creationId xmlns:a16="http://schemas.microsoft.com/office/drawing/2014/main" id="{72F82773-DCAE-4C80-8A0E-D31DE4E7A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89763" y="2944813"/>
                <a:ext cx="822325" cy="336550"/>
              </a:xfrm>
              <a:custGeom>
                <a:avLst/>
                <a:gdLst>
                  <a:gd name="connsiteX0" fmla="*/ 485775 w 822325"/>
                  <a:gd name="connsiteY0" fmla="*/ 0 h 336550"/>
                  <a:gd name="connsiteX1" fmla="*/ 779453 w 822325"/>
                  <a:gd name="connsiteY1" fmla="*/ 0 h 336550"/>
                  <a:gd name="connsiteX2" fmla="*/ 822325 w 822325"/>
                  <a:gd name="connsiteY2" fmla="*/ 39134 h 336550"/>
                  <a:gd name="connsiteX3" fmla="*/ 822325 w 822325"/>
                  <a:gd name="connsiteY3" fmla="*/ 300974 h 336550"/>
                  <a:gd name="connsiteX4" fmla="*/ 780167 w 822325"/>
                  <a:gd name="connsiteY4" fmla="*/ 336550 h 336550"/>
                  <a:gd name="connsiteX5" fmla="*/ 487919 w 822325"/>
                  <a:gd name="connsiteY5" fmla="*/ 336550 h 336550"/>
                  <a:gd name="connsiteX6" fmla="*/ 552228 w 822325"/>
                  <a:gd name="connsiteY6" fmla="*/ 169342 h 336550"/>
                  <a:gd name="connsiteX7" fmla="*/ 485775 w 822325"/>
                  <a:gd name="connsiteY7" fmla="*/ 0 h 336550"/>
                  <a:gd name="connsiteX8" fmla="*/ 41444 w 822325"/>
                  <a:gd name="connsiteY8" fmla="*/ 0 h 336550"/>
                  <a:gd name="connsiteX9" fmla="*/ 336550 w 822325"/>
                  <a:gd name="connsiteY9" fmla="*/ 0 h 336550"/>
                  <a:gd name="connsiteX10" fmla="*/ 269383 w 822325"/>
                  <a:gd name="connsiteY10" fmla="*/ 169342 h 336550"/>
                  <a:gd name="connsiteX11" fmla="*/ 334407 w 822325"/>
                  <a:gd name="connsiteY11" fmla="*/ 336550 h 336550"/>
                  <a:gd name="connsiteX12" fmla="*/ 40729 w 822325"/>
                  <a:gd name="connsiteY12" fmla="*/ 336550 h 336550"/>
                  <a:gd name="connsiteX13" fmla="*/ 0 w 822325"/>
                  <a:gd name="connsiteY13" fmla="*/ 301686 h 336550"/>
                  <a:gd name="connsiteX14" fmla="*/ 0 w 822325"/>
                  <a:gd name="connsiteY14" fmla="*/ 39134 h 336550"/>
                  <a:gd name="connsiteX15" fmla="*/ 41444 w 822325"/>
                  <a:gd name="connsiteY15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22325" h="336550">
                    <a:moveTo>
                      <a:pt x="485775" y="0"/>
                    </a:moveTo>
                    <a:cubicBezTo>
                      <a:pt x="485775" y="0"/>
                      <a:pt x="485775" y="0"/>
                      <a:pt x="779453" y="0"/>
                    </a:cubicBezTo>
                    <a:cubicBezTo>
                      <a:pt x="782311" y="21346"/>
                      <a:pt x="800174" y="38422"/>
                      <a:pt x="822325" y="39134"/>
                    </a:cubicBezTo>
                    <a:cubicBezTo>
                      <a:pt x="822325" y="39134"/>
                      <a:pt x="822325" y="39134"/>
                      <a:pt x="822325" y="300974"/>
                    </a:cubicBezTo>
                    <a:cubicBezTo>
                      <a:pt x="801603" y="301686"/>
                      <a:pt x="784454" y="316628"/>
                      <a:pt x="780167" y="336550"/>
                    </a:cubicBezTo>
                    <a:cubicBezTo>
                      <a:pt x="780167" y="336550"/>
                      <a:pt x="780167" y="336550"/>
                      <a:pt x="487919" y="336550"/>
                    </a:cubicBezTo>
                    <a:cubicBezTo>
                      <a:pt x="522932" y="298839"/>
                      <a:pt x="552228" y="237649"/>
                      <a:pt x="552228" y="169342"/>
                    </a:cubicBezTo>
                    <a:cubicBezTo>
                      <a:pt x="552228" y="99613"/>
                      <a:pt x="522217" y="37711"/>
                      <a:pt x="485775" y="0"/>
                    </a:cubicBezTo>
                    <a:close/>
                    <a:moveTo>
                      <a:pt x="41444" y="0"/>
                    </a:moveTo>
                    <a:lnTo>
                      <a:pt x="336550" y="0"/>
                    </a:lnTo>
                    <a:cubicBezTo>
                      <a:pt x="300109" y="37711"/>
                      <a:pt x="269383" y="99613"/>
                      <a:pt x="269383" y="169342"/>
                    </a:cubicBezTo>
                    <a:cubicBezTo>
                      <a:pt x="269383" y="237649"/>
                      <a:pt x="299394" y="298839"/>
                      <a:pt x="334407" y="336550"/>
                    </a:cubicBezTo>
                    <a:cubicBezTo>
                      <a:pt x="334407" y="336550"/>
                      <a:pt x="334407" y="336550"/>
                      <a:pt x="40729" y="336550"/>
                    </a:cubicBezTo>
                    <a:cubicBezTo>
                      <a:pt x="37157" y="317339"/>
                      <a:pt x="20007" y="303109"/>
                      <a:pt x="0" y="301686"/>
                    </a:cubicBezTo>
                    <a:cubicBezTo>
                      <a:pt x="0" y="301686"/>
                      <a:pt x="0" y="301686"/>
                      <a:pt x="0" y="39134"/>
                    </a:cubicBezTo>
                    <a:cubicBezTo>
                      <a:pt x="21437" y="37711"/>
                      <a:pt x="38586" y="20634"/>
                      <a:pt x="4144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82" name="Freeform 11">
                <a:extLst>
                  <a:ext uri="{FF2B5EF4-FFF2-40B4-BE49-F238E27FC236}">
                    <a16:creationId xmlns:a16="http://schemas.microsoft.com/office/drawing/2014/main" id="{EAA119EC-1795-42D0-8781-DD4C0C6AF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29413" y="2881312"/>
                <a:ext cx="1146175" cy="1125538"/>
              </a:xfrm>
              <a:custGeom>
                <a:avLst/>
                <a:gdLst>
                  <a:gd name="connsiteX0" fmla="*/ 409739 w 1146175"/>
                  <a:gd name="connsiteY0" fmla="*/ 615791 h 1125538"/>
                  <a:gd name="connsiteX1" fmla="*/ 326138 w 1146175"/>
                  <a:gd name="connsiteY1" fmla="*/ 635801 h 1125538"/>
                  <a:gd name="connsiteX2" fmla="*/ 31750 w 1146175"/>
                  <a:gd name="connsiteY2" fmla="*/ 803020 h 1125538"/>
                  <a:gd name="connsiteX3" fmla="*/ 31750 w 1146175"/>
                  <a:gd name="connsiteY3" fmla="*/ 1087437 h 1125538"/>
                  <a:gd name="connsiteX4" fmla="*/ 368296 w 1146175"/>
                  <a:gd name="connsiteY4" fmla="*/ 957377 h 1125538"/>
                  <a:gd name="connsiteX5" fmla="*/ 419028 w 1146175"/>
                  <a:gd name="connsiteY5" fmla="*/ 949516 h 1125538"/>
                  <a:gd name="connsiteX6" fmla="*/ 568366 w 1146175"/>
                  <a:gd name="connsiteY6" fmla="*/ 960236 h 1125538"/>
                  <a:gd name="connsiteX7" fmla="*/ 797017 w 1146175"/>
                  <a:gd name="connsiteY7" fmla="*/ 933795 h 1125538"/>
                  <a:gd name="connsiteX8" fmla="*/ 1047818 w 1146175"/>
                  <a:gd name="connsiteY8" fmla="*/ 767290 h 1125538"/>
                  <a:gd name="connsiteX9" fmla="*/ 1079972 w 1146175"/>
                  <a:gd name="connsiteY9" fmla="*/ 730130 h 1125538"/>
                  <a:gd name="connsiteX10" fmla="*/ 1074971 w 1146175"/>
                  <a:gd name="connsiteY10" fmla="*/ 655810 h 1125538"/>
                  <a:gd name="connsiteX11" fmla="*/ 1036386 w 1146175"/>
                  <a:gd name="connsiteY11" fmla="*/ 642232 h 1125538"/>
                  <a:gd name="connsiteX12" fmla="*/ 999230 w 1146175"/>
                  <a:gd name="connsiteY12" fmla="*/ 660097 h 1125538"/>
                  <a:gd name="connsiteX13" fmla="*/ 951356 w 1146175"/>
                  <a:gd name="connsiteY13" fmla="*/ 713694 h 1125538"/>
                  <a:gd name="connsiteX14" fmla="*/ 805591 w 1146175"/>
                  <a:gd name="connsiteY14" fmla="*/ 805164 h 1125538"/>
                  <a:gd name="connsiteX15" fmla="*/ 608380 w 1146175"/>
                  <a:gd name="connsiteY15" fmla="*/ 794445 h 1125538"/>
                  <a:gd name="connsiteX16" fmla="*/ 553360 w 1146175"/>
                  <a:gd name="connsiteY16" fmla="*/ 772292 h 1125538"/>
                  <a:gd name="connsiteX17" fmla="*/ 544071 w 1146175"/>
                  <a:gd name="connsiteY17" fmla="*/ 755856 h 1125538"/>
                  <a:gd name="connsiteX18" fmla="*/ 557648 w 1146175"/>
                  <a:gd name="connsiteY18" fmla="*/ 742278 h 1125538"/>
                  <a:gd name="connsiteX19" fmla="*/ 715560 w 1146175"/>
                  <a:gd name="connsiteY19" fmla="*/ 726557 h 1125538"/>
                  <a:gd name="connsiteX20" fmla="*/ 759146 w 1146175"/>
                  <a:gd name="connsiteY20" fmla="*/ 679392 h 1125538"/>
                  <a:gd name="connsiteX21" fmla="*/ 713416 w 1146175"/>
                  <a:gd name="connsiteY21" fmla="*/ 631513 h 1125538"/>
                  <a:gd name="connsiteX22" fmla="*/ 409739 w 1146175"/>
                  <a:gd name="connsiteY22" fmla="*/ 615791 h 1125538"/>
                  <a:gd name="connsiteX23" fmla="*/ 390213 w 1146175"/>
                  <a:gd name="connsiteY23" fmla="*/ 584200 h 1125538"/>
                  <a:gd name="connsiteX24" fmla="*/ 393786 w 1146175"/>
                  <a:gd name="connsiteY24" fmla="*/ 584200 h 1125538"/>
                  <a:gd name="connsiteX25" fmla="*/ 396645 w 1146175"/>
                  <a:gd name="connsiteY25" fmla="*/ 584200 h 1125538"/>
                  <a:gd name="connsiteX26" fmla="*/ 399504 w 1146175"/>
                  <a:gd name="connsiteY26" fmla="*/ 584200 h 1125538"/>
                  <a:gd name="connsiteX27" fmla="*/ 403077 w 1146175"/>
                  <a:gd name="connsiteY27" fmla="*/ 584200 h 1125538"/>
                  <a:gd name="connsiteX28" fmla="*/ 410939 w 1146175"/>
                  <a:gd name="connsiteY28" fmla="*/ 584200 h 1125538"/>
                  <a:gd name="connsiteX29" fmla="*/ 715390 w 1146175"/>
                  <a:gd name="connsiteY29" fmla="*/ 599912 h 1125538"/>
                  <a:gd name="connsiteX30" fmla="*/ 780426 w 1146175"/>
                  <a:gd name="connsiteY30" fmla="*/ 640619 h 1125538"/>
                  <a:gd name="connsiteX31" fmla="*/ 782570 w 1146175"/>
                  <a:gd name="connsiteY31" fmla="*/ 644904 h 1125538"/>
                  <a:gd name="connsiteX32" fmla="*/ 789002 w 1146175"/>
                  <a:gd name="connsiteY32" fmla="*/ 663473 h 1125538"/>
                  <a:gd name="connsiteX33" fmla="*/ 790431 w 1146175"/>
                  <a:gd name="connsiteY33" fmla="*/ 679184 h 1125538"/>
                  <a:gd name="connsiteX34" fmla="*/ 789716 w 1146175"/>
                  <a:gd name="connsiteY34" fmla="*/ 684898 h 1125538"/>
                  <a:gd name="connsiteX35" fmla="*/ 789716 w 1146175"/>
                  <a:gd name="connsiteY35" fmla="*/ 685612 h 1125538"/>
                  <a:gd name="connsiteX36" fmla="*/ 789002 w 1146175"/>
                  <a:gd name="connsiteY36" fmla="*/ 691325 h 1125538"/>
                  <a:gd name="connsiteX37" fmla="*/ 763988 w 1146175"/>
                  <a:gd name="connsiteY37" fmla="*/ 738460 h 1125538"/>
                  <a:gd name="connsiteX38" fmla="*/ 763273 w 1146175"/>
                  <a:gd name="connsiteY38" fmla="*/ 738460 h 1125538"/>
                  <a:gd name="connsiteX39" fmla="*/ 758985 w 1146175"/>
                  <a:gd name="connsiteY39" fmla="*/ 742031 h 1125538"/>
                  <a:gd name="connsiteX40" fmla="*/ 754697 w 1146175"/>
                  <a:gd name="connsiteY40" fmla="*/ 744888 h 1125538"/>
                  <a:gd name="connsiteX41" fmla="*/ 753983 w 1146175"/>
                  <a:gd name="connsiteY41" fmla="*/ 745602 h 1125538"/>
                  <a:gd name="connsiteX42" fmla="*/ 749695 w 1146175"/>
                  <a:gd name="connsiteY42" fmla="*/ 748458 h 1125538"/>
                  <a:gd name="connsiteX43" fmla="*/ 748265 w 1146175"/>
                  <a:gd name="connsiteY43" fmla="*/ 749173 h 1125538"/>
                  <a:gd name="connsiteX44" fmla="*/ 743263 w 1146175"/>
                  <a:gd name="connsiteY44" fmla="*/ 751315 h 1125538"/>
                  <a:gd name="connsiteX45" fmla="*/ 742548 w 1146175"/>
                  <a:gd name="connsiteY45" fmla="*/ 752029 h 1125538"/>
                  <a:gd name="connsiteX46" fmla="*/ 738260 w 1146175"/>
                  <a:gd name="connsiteY46" fmla="*/ 753458 h 1125538"/>
                  <a:gd name="connsiteX47" fmla="*/ 718964 w 1146175"/>
                  <a:gd name="connsiteY47" fmla="*/ 757743 h 1125538"/>
                  <a:gd name="connsiteX48" fmla="*/ 624626 w 1146175"/>
                  <a:gd name="connsiteY48" fmla="*/ 767027 h 1125538"/>
                  <a:gd name="connsiteX49" fmla="*/ 743263 w 1146175"/>
                  <a:gd name="connsiteY49" fmla="*/ 784167 h 1125538"/>
                  <a:gd name="connsiteX50" fmla="*/ 775423 w 1146175"/>
                  <a:gd name="connsiteY50" fmla="*/ 779882 h 1125538"/>
                  <a:gd name="connsiteX51" fmla="*/ 785428 w 1146175"/>
                  <a:gd name="connsiteY51" fmla="*/ 777739 h 1125538"/>
                  <a:gd name="connsiteX52" fmla="*/ 786858 w 1146175"/>
                  <a:gd name="connsiteY52" fmla="*/ 777025 h 1125538"/>
                  <a:gd name="connsiteX53" fmla="*/ 796863 w 1146175"/>
                  <a:gd name="connsiteY53" fmla="*/ 774883 h 1125538"/>
                  <a:gd name="connsiteX54" fmla="*/ 826880 w 1146175"/>
                  <a:gd name="connsiteY54" fmla="*/ 764170 h 1125538"/>
                  <a:gd name="connsiteX55" fmla="*/ 909782 w 1146175"/>
                  <a:gd name="connsiteY55" fmla="*/ 711322 h 1125538"/>
                  <a:gd name="connsiteX56" fmla="*/ 928363 w 1146175"/>
                  <a:gd name="connsiteY56" fmla="*/ 692753 h 1125538"/>
                  <a:gd name="connsiteX57" fmla="*/ 975532 w 1146175"/>
                  <a:gd name="connsiteY57" fmla="*/ 639191 h 1125538"/>
                  <a:gd name="connsiteX58" fmla="*/ 978391 w 1146175"/>
                  <a:gd name="connsiteY58" fmla="*/ 635620 h 1125538"/>
                  <a:gd name="connsiteX59" fmla="*/ 979105 w 1146175"/>
                  <a:gd name="connsiteY59" fmla="*/ 635620 h 1125538"/>
                  <a:gd name="connsiteX60" fmla="*/ 1034135 w 1146175"/>
                  <a:gd name="connsiteY60" fmla="*/ 610624 h 1125538"/>
                  <a:gd name="connsiteX61" fmla="*/ 1034850 w 1146175"/>
                  <a:gd name="connsiteY61" fmla="*/ 610624 h 1125538"/>
                  <a:gd name="connsiteX62" fmla="*/ 1039138 w 1146175"/>
                  <a:gd name="connsiteY62" fmla="*/ 610624 h 1125538"/>
                  <a:gd name="connsiteX63" fmla="*/ 1040567 w 1146175"/>
                  <a:gd name="connsiteY63" fmla="*/ 610624 h 1125538"/>
                  <a:gd name="connsiteX64" fmla="*/ 1079875 w 1146175"/>
                  <a:gd name="connsiteY64" fmla="*/ 621337 h 1125538"/>
                  <a:gd name="connsiteX65" fmla="*/ 1083448 w 1146175"/>
                  <a:gd name="connsiteY65" fmla="*/ 623479 h 1125538"/>
                  <a:gd name="connsiteX66" fmla="*/ 1086307 w 1146175"/>
                  <a:gd name="connsiteY66" fmla="*/ 624908 h 1125538"/>
                  <a:gd name="connsiteX67" fmla="*/ 1087021 w 1146175"/>
                  <a:gd name="connsiteY67" fmla="*/ 625622 h 1125538"/>
                  <a:gd name="connsiteX68" fmla="*/ 1089880 w 1146175"/>
                  <a:gd name="connsiteY68" fmla="*/ 627764 h 1125538"/>
                  <a:gd name="connsiteX69" fmla="*/ 1090595 w 1146175"/>
                  <a:gd name="connsiteY69" fmla="*/ 628478 h 1125538"/>
                  <a:gd name="connsiteX70" fmla="*/ 1092739 w 1146175"/>
                  <a:gd name="connsiteY70" fmla="*/ 629907 h 1125538"/>
                  <a:gd name="connsiteX71" fmla="*/ 1095597 w 1146175"/>
                  <a:gd name="connsiteY71" fmla="*/ 632049 h 1125538"/>
                  <a:gd name="connsiteX72" fmla="*/ 1095597 w 1146175"/>
                  <a:gd name="connsiteY72" fmla="*/ 632763 h 1125538"/>
                  <a:gd name="connsiteX73" fmla="*/ 1103459 w 1146175"/>
                  <a:gd name="connsiteY73" fmla="*/ 749887 h 1125538"/>
                  <a:gd name="connsiteX74" fmla="*/ 1072013 w 1146175"/>
                  <a:gd name="connsiteY74" fmla="*/ 787738 h 1125538"/>
                  <a:gd name="connsiteX75" fmla="*/ 966241 w 1146175"/>
                  <a:gd name="connsiteY75" fmla="*/ 884150 h 1125538"/>
                  <a:gd name="connsiteX76" fmla="*/ 956950 w 1146175"/>
                  <a:gd name="connsiteY76" fmla="*/ 890577 h 1125538"/>
                  <a:gd name="connsiteX77" fmla="*/ 948374 w 1146175"/>
                  <a:gd name="connsiteY77" fmla="*/ 896291 h 1125538"/>
                  <a:gd name="connsiteX78" fmla="*/ 806154 w 1146175"/>
                  <a:gd name="connsiteY78" fmla="*/ 963422 h 1125538"/>
                  <a:gd name="connsiteX79" fmla="*/ 792575 w 1146175"/>
                  <a:gd name="connsiteY79" fmla="*/ 967707 h 1125538"/>
                  <a:gd name="connsiteX80" fmla="*/ 788287 w 1146175"/>
                  <a:gd name="connsiteY80" fmla="*/ 968422 h 1125538"/>
                  <a:gd name="connsiteX81" fmla="*/ 779711 w 1146175"/>
                  <a:gd name="connsiteY81" fmla="*/ 971278 h 1125538"/>
                  <a:gd name="connsiteX82" fmla="*/ 773994 w 1146175"/>
                  <a:gd name="connsiteY82" fmla="*/ 972707 h 1125538"/>
                  <a:gd name="connsiteX83" fmla="*/ 766132 w 1146175"/>
                  <a:gd name="connsiteY83" fmla="*/ 974135 h 1125538"/>
                  <a:gd name="connsiteX84" fmla="*/ 759700 w 1146175"/>
                  <a:gd name="connsiteY84" fmla="*/ 976277 h 1125538"/>
                  <a:gd name="connsiteX85" fmla="*/ 753983 w 1146175"/>
                  <a:gd name="connsiteY85" fmla="*/ 976992 h 1125538"/>
                  <a:gd name="connsiteX86" fmla="*/ 724681 w 1146175"/>
                  <a:gd name="connsiteY86" fmla="*/ 983419 h 1125538"/>
                  <a:gd name="connsiteX87" fmla="*/ 721822 w 1146175"/>
                  <a:gd name="connsiteY87" fmla="*/ 983419 h 1125538"/>
                  <a:gd name="connsiteX88" fmla="*/ 711102 w 1146175"/>
                  <a:gd name="connsiteY88" fmla="*/ 985562 h 1125538"/>
                  <a:gd name="connsiteX89" fmla="*/ 709673 w 1146175"/>
                  <a:gd name="connsiteY89" fmla="*/ 985562 h 1125538"/>
                  <a:gd name="connsiteX90" fmla="*/ 650355 w 1146175"/>
                  <a:gd name="connsiteY90" fmla="*/ 991989 h 1125538"/>
                  <a:gd name="connsiteX91" fmla="*/ 648211 w 1146175"/>
                  <a:gd name="connsiteY91" fmla="*/ 991989 h 1125538"/>
                  <a:gd name="connsiteX92" fmla="*/ 637491 w 1146175"/>
                  <a:gd name="connsiteY92" fmla="*/ 992703 h 1125538"/>
                  <a:gd name="connsiteX93" fmla="*/ 635347 w 1146175"/>
                  <a:gd name="connsiteY93" fmla="*/ 992703 h 1125538"/>
                  <a:gd name="connsiteX94" fmla="*/ 621053 w 1146175"/>
                  <a:gd name="connsiteY94" fmla="*/ 992703 h 1125538"/>
                  <a:gd name="connsiteX95" fmla="*/ 620338 w 1146175"/>
                  <a:gd name="connsiteY95" fmla="*/ 992703 h 1125538"/>
                  <a:gd name="connsiteX96" fmla="*/ 612477 w 1146175"/>
                  <a:gd name="connsiteY96" fmla="*/ 992703 h 1125538"/>
                  <a:gd name="connsiteX97" fmla="*/ 606045 w 1146175"/>
                  <a:gd name="connsiteY97" fmla="*/ 992703 h 1125538"/>
                  <a:gd name="connsiteX98" fmla="*/ 598898 w 1146175"/>
                  <a:gd name="connsiteY98" fmla="*/ 992703 h 1125538"/>
                  <a:gd name="connsiteX99" fmla="*/ 592466 w 1146175"/>
                  <a:gd name="connsiteY99" fmla="*/ 992703 h 1125538"/>
                  <a:gd name="connsiteX100" fmla="*/ 584605 w 1146175"/>
                  <a:gd name="connsiteY100" fmla="*/ 991989 h 1125538"/>
                  <a:gd name="connsiteX101" fmla="*/ 578887 w 1146175"/>
                  <a:gd name="connsiteY101" fmla="*/ 991989 h 1125538"/>
                  <a:gd name="connsiteX102" fmla="*/ 566738 w 1146175"/>
                  <a:gd name="connsiteY102" fmla="*/ 991275 h 1125538"/>
                  <a:gd name="connsiteX103" fmla="*/ 566023 w 1146175"/>
                  <a:gd name="connsiteY103" fmla="*/ 991275 h 1125538"/>
                  <a:gd name="connsiteX104" fmla="*/ 485265 w 1146175"/>
                  <a:gd name="connsiteY104" fmla="*/ 985562 h 1125538"/>
                  <a:gd name="connsiteX105" fmla="*/ 416656 w 1146175"/>
                  <a:gd name="connsiteY105" fmla="*/ 980562 h 1125538"/>
                  <a:gd name="connsiteX106" fmla="*/ 410939 w 1146175"/>
                  <a:gd name="connsiteY106" fmla="*/ 980562 h 1125538"/>
                  <a:gd name="connsiteX107" fmla="*/ 407365 w 1146175"/>
                  <a:gd name="connsiteY107" fmla="*/ 980562 h 1125538"/>
                  <a:gd name="connsiteX108" fmla="*/ 393072 w 1146175"/>
                  <a:gd name="connsiteY108" fmla="*/ 981991 h 1125538"/>
                  <a:gd name="connsiteX109" fmla="*/ 388784 w 1146175"/>
                  <a:gd name="connsiteY109" fmla="*/ 982705 h 1125538"/>
                  <a:gd name="connsiteX110" fmla="*/ 388784 w 1146175"/>
                  <a:gd name="connsiteY110" fmla="*/ 983419 h 1125538"/>
                  <a:gd name="connsiteX111" fmla="*/ 384496 w 1146175"/>
                  <a:gd name="connsiteY111" fmla="*/ 984133 h 1125538"/>
                  <a:gd name="connsiteX112" fmla="*/ 383781 w 1146175"/>
                  <a:gd name="connsiteY112" fmla="*/ 984847 h 1125538"/>
                  <a:gd name="connsiteX113" fmla="*/ 379493 w 1146175"/>
                  <a:gd name="connsiteY113" fmla="*/ 986276 h 1125538"/>
                  <a:gd name="connsiteX114" fmla="*/ 21441 w 1146175"/>
                  <a:gd name="connsiteY114" fmla="*/ 1124824 h 1125538"/>
                  <a:gd name="connsiteX115" fmla="*/ 15723 w 1146175"/>
                  <a:gd name="connsiteY115" fmla="*/ 1125538 h 1125538"/>
                  <a:gd name="connsiteX116" fmla="*/ 7147 w 1146175"/>
                  <a:gd name="connsiteY116" fmla="*/ 1122681 h 1125538"/>
                  <a:gd name="connsiteX117" fmla="*/ 0 w 1146175"/>
                  <a:gd name="connsiteY117" fmla="*/ 1109826 h 1125538"/>
                  <a:gd name="connsiteX118" fmla="*/ 0 w 1146175"/>
                  <a:gd name="connsiteY118" fmla="*/ 793451 h 1125538"/>
                  <a:gd name="connsiteX119" fmla="*/ 7862 w 1146175"/>
                  <a:gd name="connsiteY119" fmla="*/ 779882 h 1125538"/>
                  <a:gd name="connsiteX120" fmla="*/ 310169 w 1146175"/>
                  <a:gd name="connsiteY120" fmla="*/ 608482 h 1125538"/>
                  <a:gd name="connsiteX121" fmla="*/ 315887 w 1146175"/>
                  <a:gd name="connsiteY121" fmla="*/ 605625 h 1125538"/>
                  <a:gd name="connsiteX122" fmla="*/ 318031 w 1146175"/>
                  <a:gd name="connsiteY122" fmla="*/ 604197 h 1125538"/>
                  <a:gd name="connsiteX123" fmla="*/ 320889 w 1146175"/>
                  <a:gd name="connsiteY123" fmla="*/ 602768 h 1125538"/>
                  <a:gd name="connsiteX124" fmla="*/ 324463 w 1146175"/>
                  <a:gd name="connsiteY124" fmla="*/ 601340 h 1125538"/>
                  <a:gd name="connsiteX125" fmla="*/ 326607 w 1146175"/>
                  <a:gd name="connsiteY125" fmla="*/ 599912 h 1125538"/>
                  <a:gd name="connsiteX126" fmla="*/ 330180 w 1146175"/>
                  <a:gd name="connsiteY126" fmla="*/ 598483 h 1125538"/>
                  <a:gd name="connsiteX127" fmla="*/ 332324 w 1146175"/>
                  <a:gd name="connsiteY127" fmla="*/ 597769 h 1125538"/>
                  <a:gd name="connsiteX128" fmla="*/ 336612 w 1146175"/>
                  <a:gd name="connsiteY128" fmla="*/ 596341 h 1125538"/>
                  <a:gd name="connsiteX129" fmla="*/ 338042 w 1146175"/>
                  <a:gd name="connsiteY129" fmla="*/ 595627 h 1125538"/>
                  <a:gd name="connsiteX130" fmla="*/ 342330 w 1146175"/>
                  <a:gd name="connsiteY130" fmla="*/ 594198 h 1125538"/>
                  <a:gd name="connsiteX131" fmla="*/ 343044 w 1146175"/>
                  <a:gd name="connsiteY131" fmla="*/ 593484 h 1125538"/>
                  <a:gd name="connsiteX132" fmla="*/ 348047 w 1146175"/>
                  <a:gd name="connsiteY132" fmla="*/ 592056 h 1125538"/>
                  <a:gd name="connsiteX133" fmla="*/ 348762 w 1146175"/>
                  <a:gd name="connsiteY133" fmla="*/ 592056 h 1125538"/>
                  <a:gd name="connsiteX134" fmla="*/ 382352 w 1146175"/>
                  <a:gd name="connsiteY134" fmla="*/ 584914 h 1125538"/>
                  <a:gd name="connsiteX135" fmla="*/ 383781 w 1146175"/>
                  <a:gd name="connsiteY135" fmla="*/ 584914 h 1125538"/>
                  <a:gd name="connsiteX136" fmla="*/ 387354 w 1146175"/>
                  <a:gd name="connsiteY136" fmla="*/ 584914 h 1125538"/>
                  <a:gd name="connsiteX137" fmla="*/ 390213 w 1146175"/>
                  <a:gd name="connsiteY137" fmla="*/ 584200 h 1125538"/>
                  <a:gd name="connsiteX138" fmla="*/ 654433 w 1146175"/>
                  <a:gd name="connsiteY138" fmla="*/ 103187 h 1125538"/>
                  <a:gd name="connsiteX139" fmla="*/ 686457 w 1146175"/>
                  <a:gd name="connsiteY139" fmla="*/ 103187 h 1125538"/>
                  <a:gd name="connsiteX140" fmla="*/ 686457 w 1146175"/>
                  <a:gd name="connsiteY140" fmla="*/ 126776 h 1125538"/>
                  <a:gd name="connsiteX141" fmla="*/ 724174 w 1146175"/>
                  <a:gd name="connsiteY141" fmla="*/ 139643 h 1125538"/>
                  <a:gd name="connsiteX142" fmla="*/ 714211 w 1146175"/>
                  <a:gd name="connsiteY142" fmla="*/ 169665 h 1125538"/>
                  <a:gd name="connsiteX143" fmla="*/ 672936 w 1146175"/>
                  <a:gd name="connsiteY143" fmla="*/ 156083 h 1125538"/>
                  <a:gd name="connsiteX144" fmla="*/ 653722 w 1146175"/>
                  <a:gd name="connsiteY144" fmla="*/ 162517 h 1125538"/>
                  <a:gd name="connsiteX145" fmla="*/ 646605 w 1146175"/>
                  <a:gd name="connsiteY145" fmla="*/ 179672 h 1125538"/>
                  <a:gd name="connsiteX146" fmla="*/ 685034 w 1146175"/>
                  <a:gd name="connsiteY146" fmla="*/ 215413 h 1125538"/>
                  <a:gd name="connsiteX147" fmla="*/ 715634 w 1146175"/>
                  <a:gd name="connsiteY147" fmla="*/ 233998 h 1125538"/>
                  <a:gd name="connsiteX148" fmla="*/ 729155 w 1146175"/>
                  <a:gd name="connsiteY148" fmla="*/ 253298 h 1125538"/>
                  <a:gd name="connsiteX149" fmla="*/ 733425 w 1146175"/>
                  <a:gd name="connsiteY149" fmla="*/ 278317 h 1125538"/>
                  <a:gd name="connsiteX150" fmla="*/ 721327 w 1146175"/>
                  <a:gd name="connsiteY150" fmla="*/ 311198 h 1125538"/>
                  <a:gd name="connsiteX151" fmla="*/ 686457 w 1146175"/>
                  <a:gd name="connsiteY151" fmla="*/ 331213 h 1125538"/>
                  <a:gd name="connsiteX152" fmla="*/ 686457 w 1146175"/>
                  <a:gd name="connsiteY152" fmla="*/ 361950 h 1125538"/>
                  <a:gd name="connsiteX153" fmla="*/ 654433 w 1146175"/>
                  <a:gd name="connsiteY153" fmla="*/ 361950 h 1125538"/>
                  <a:gd name="connsiteX154" fmla="*/ 654433 w 1146175"/>
                  <a:gd name="connsiteY154" fmla="*/ 332643 h 1125538"/>
                  <a:gd name="connsiteX155" fmla="*/ 609600 w 1146175"/>
                  <a:gd name="connsiteY155" fmla="*/ 319061 h 1125538"/>
                  <a:gd name="connsiteX156" fmla="*/ 623833 w 1146175"/>
                  <a:gd name="connsiteY156" fmla="*/ 287609 h 1125538"/>
                  <a:gd name="connsiteX157" fmla="*/ 665820 w 1146175"/>
                  <a:gd name="connsiteY157" fmla="*/ 301906 h 1125538"/>
                  <a:gd name="connsiteX158" fmla="*/ 697132 w 1146175"/>
                  <a:gd name="connsiteY158" fmla="*/ 280461 h 1125538"/>
                  <a:gd name="connsiteX159" fmla="*/ 689304 w 1146175"/>
                  <a:gd name="connsiteY159" fmla="*/ 259732 h 1125538"/>
                  <a:gd name="connsiteX160" fmla="*/ 658703 w 1146175"/>
                  <a:gd name="connsiteY160" fmla="*/ 239002 h 1125538"/>
                  <a:gd name="connsiteX161" fmla="*/ 627391 w 1146175"/>
                  <a:gd name="connsiteY161" fmla="*/ 220417 h 1125538"/>
                  <a:gd name="connsiteX162" fmla="*/ 613870 w 1146175"/>
                  <a:gd name="connsiteY162" fmla="*/ 202546 h 1125538"/>
                  <a:gd name="connsiteX163" fmla="*/ 610312 w 1146175"/>
                  <a:gd name="connsiteY163" fmla="*/ 179672 h 1125538"/>
                  <a:gd name="connsiteX164" fmla="*/ 623121 w 1146175"/>
                  <a:gd name="connsiteY164" fmla="*/ 147506 h 1125538"/>
                  <a:gd name="connsiteX165" fmla="*/ 654433 w 1146175"/>
                  <a:gd name="connsiteY165" fmla="*/ 128920 h 1125538"/>
                  <a:gd name="connsiteX166" fmla="*/ 654433 w 1146175"/>
                  <a:gd name="connsiteY166" fmla="*/ 103187 h 1125538"/>
                  <a:gd name="connsiteX167" fmla="*/ 228600 w 1146175"/>
                  <a:gd name="connsiteY167" fmla="*/ 31750 h 1125538"/>
                  <a:gd name="connsiteX168" fmla="*/ 228600 w 1146175"/>
                  <a:gd name="connsiteY168" fmla="*/ 431800 h 1125538"/>
                  <a:gd name="connsiteX169" fmla="*/ 1114425 w 1146175"/>
                  <a:gd name="connsiteY169" fmla="*/ 431800 h 1125538"/>
                  <a:gd name="connsiteX170" fmla="*/ 1114425 w 1146175"/>
                  <a:gd name="connsiteY170" fmla="*/ 31750 h 1125538"/>
                  <a:gd name="connsiteX171" fmla="*/ 209003 w 1146175"/>
                  <a:gd name="connsiteY171" fmla="*/ 0 h 1125538"/>
                  <a:gd name="connsiteX172" fmla="*/ 1134023 w 1146175"/>
                  <a:gd name="connsiteY172" fmla="*/ 0 h 1125538"/>
                  <a:gd name="connsiteX173" fmla="*/ 1146175 w 1146175"/>
                  <a:gd name="connsiteY173" fmla="*/ 11428 h 1125538"/>
                  <a:gd name="connsiteX174" fmla="*/ 1146175 w 1146175"/>
                  <a:gd name="connsiteY174" fmla="*/ 451408 h 1125538"/>
                  <a:gd name="connsiteX175" fmla="*/ 1134023 w 1146175"/>
                  <a:gd name="connsiteY175" fmla="*/ 463550 h 1125538"/>
                  <a:gd name="connsiteX176" fmla="*/ 209003 w 1146175"/>
                  <a:gd name="connsiteY176" fmla="*/ 463550 h 1125538"/>
                  <a:gd name="connsiteX177" fmla="*/ 196850 w 1146175"/>
                  <a:gd name="connsiteY177" fmla="*/ 451408 h 1125538"/>
                  <a:gd name="connsiteX178" fmla="*/ 196850 w 1146175"/>
                  <a:gd name="connsiteY178" fmla="*/ 11428 h 1125538"/>
                  <a:gd name="connsiteX179" fmla="*/ 209003 w 1146175"/>
                  <a:gd name="connsiteY179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46175" h="1125538">
                    <a:moveTo>
                      <a:pt x="409739" y="615791"/>
                    </a:moveTo>
                    <a:cubicBezTo>
                      <a:pt x="380443" y="614362"/>
                      <a:pt x="351147" y="621508"/>
                      <a:pt x="326138" y="635801"/>
                    </a:cubicBezTo>
                    <a:cubicBezTo>
                      <a:pt x="326138" y="635801"/>
                      <a:pt x="326138" y="635801"/>
                      <a:pt x="31750" y="803020"/>
                    </a:cubicBezTo>
                    <a:cubicBezTo>
                      <a:pt x="31750" y="803020"/>
                      <a:pt x="31750" y="803020"/>
                      <a:pt x="31750" y="1087437"/>
                    </a:cubicBezTo>
                    <a:cubicBezTo>
                      <a:pt x="31750" y="1087437"/>
                      <a:pt x="31750" y="1087437"/>
                      <a:pt x="368296" y="957377"/>
                    </a:cubicBezTo>
                    <a:cubicBezTo>
                      <a:pt x="384730" y="950946"/>
                      <a:pt x="401879" y="948087"/>
                      <a:pt x="419028" y="949516"/>
                    </a:cubicBezTo>
                    <a:cubicBezTo>
                      <a:pt x="419028" y="949516"/>
                      <a:pt x="419028" y="949516"/>
                      <a:pt x="568366" y="960236"/>
                    </a:cubicBezTo>
                    <a:cubicBezTo>
                      <a:pt x="645535" y="965953"/>
                      <a:pt x="722705" y="956663"/>
                      <a:pt x="797017" y="933795"/>
                    </a:cubicBezTo>
                    <a:cubicBezTo>
                      <a:pt x="894908" y="903067"/>
                      <a:pt x="981367" y="845897"/>
                      <a:pt x="1047818" y="767290"/>
                    </a:cubicBezTo>
                    <a:cubicBezTo>
                      <a:pt x="1047818" y="767290"/>
                      <a:pt x="1047818" y="767290"/>
                      <a:pt x="1079972" y="730130"/>
                    </a:cubicBezTo>
                    <a:cubicBezTo>
                      <a:pt x="1098550" y="707977"/>
                      <a:pt x="1096407" y="675104"/>
                      <a:pt x="1074971" y="655810"/>
                    </a:cubicBezTo>
                    <a:cubicBezTo>
                      <a:pt x="1064253" y="646520"/>
                      <a:pt x="1050676" y="641517"/>
                      <a:pt x="1036386" y="642232"/>
                    </a:cubicBezTo>
                    <a:cubicBezTo>
                      <a:pt x="1022095" y="642947"/>
                      <a:pt x="1008519" y="649378"/>
                      <a:pt x="999230" y="660097"/>
                    </a:cubicBezTo>
                    <a:cubicBezTo>
                      <a:pt x="999230" y="660097"/>
                      <a:pt x="999230" y="660097"/>
                      <a:pt x="951356" y="713694"/>
                    </a:cubicBezTo>
                    <a:cubicBezTo>
                      <a:pt x="912771" y="758000"/>
                      <a:pt x="862039" y="789443"/>
                      <a:pt x="805591" y="805164"/>
                    </a:cubicBezTo>
                    <a:cubicBezTo>
                      <a:pt x="740568" y="823744"/>
                      <a:pt x="670544" y="819457"/>
                      <a:pt x="608380" y="794445"/>
                    </a:cubicBezTo>
                    <a:cubicBezTo>
                      <a:pt x="608380" y="794445"/>
                      <a:pt x="608380" y="794445"/>
                      <a:pt x="553360" y="772292"/>
                    </a:cubicBezTo>
                    <a:cubicBezTo>
                      <a:pt x="546930" y="769434"/>
                      <a:pt x="542642" y="763002"/>
                      <a:pt x="544071" y="755856"/>
                    </a:cubicBezTo>
                    <a:cubicBezTo>
                      <a:pt x="544786" y="748710"/>
                      <a:pt x="550502" y="742993"/>
                      <a:pt x="557648" y="742278"/>
                    </a:cubicBezTo>
                    <a:cubicBezTo>
                      <a:pt x="557648" y="742278"/>
                      <a:pt x="557648" y="742278"/>
                      <a:pt x="715560" y="726557"/>
                    </a:cubicBezTo>
                    <a:cubicBezTo>
                      <a:pt x="740568" y="724413"/>
                      <a:pt x="759146" y="703689"/>
                      <a:pt x="759146" y="679392"/>
                    </a:cubicBezTo>
                    <a:cubicBezTo>
                      <a:pt x="759146" y="653666"/>
                      <a:pt x="739139" y="632942"/>
                      <a:pt x="713416" y="631513"/>
                    </a:cubicBezTo>
                    <a:cubicBezTo>
                      <a:pt x="713416" y="631513"/>
                      <a:pt x="713416" y="631513"/>
                      <a:pt x="409739" y="615791"/>
                    </a:cubicBezTo>
                    <a:close/>
                    <a:moveTo>
                      <a:pt x="390213" y="584200"/>
                    </a:moveTo>
                    <a:cubicBezTo>
                      <a:pt x="391642" y="584200"/>
                      <a:pt x="392357" y="584200"/>
                      <a:pt x="393786" y="584200"/>
                    </a:cubicBezTo>
                    <a:cubicBezTo>
                      <a:pt x="394501" y="584200"/>
                      <a:pt x="395930" y="584200"/>
                      <a:pt x="396645" y="584200"/>
                    </a:cubicBezTo>
                    <a:cubicBezTo>
                      <a:pt x="398074" y="584200"/>
                      <a:pt x="398789" y="584200"/>
                      <a:pt x="399504" y="584200"/>
                    </a:cubicBezTo>
                    <a:cubicBezTo>
                      <a:pt x="400933" y="584200"/>
                      <a:pt x="401648" y="584200"/>
                      <a:pt x="403077" y="584200"/>
                    </a:cubicBezTo>
                    <a:cubicBezTo>
                      <a:pt x="405221" y="584200"/>
                      <a:pt x="408080" y="584200"/>
                      <a:pt x="410939" y="584200"/>
                    </a:cubicBezTo>
                    <a:cubicBezTo>
                      <a:pt x="410939" y="584200"/>
                      <a:pt x="410939" y="584200"/>
                      <a:pt x="715390" y="599912"/>
                    </a:cubicBezTo>
                    <a:cubicBezTo>
                      <a:pt x="743263" y="601340"/>
                      <a:pt x="766847" y="617766"/>
                      <a:pt x="780426" y="640619"/>
                    </a:cubicBezTo>
                    <a:cubicBezTo>
                      <a:pt x="781140" y="642048"/>
                      <a:pt x="781855" y="643476"/>
                      <a:pt x="782570" y="644904"/>
                    </a:cubicBezTo>
                    <a:cubicBezTo>
                      <a:pt x="785428" y="650618"/>
                      <a:pt x="787572" y="657045"/>
                      <a:pt x="789002" y="663473"/>
                    </a:cubicBezTo>
                    <a:cubicBezTo>
                      <a:pt x="789716" y="668472"/>
                      <a:pt x="790431" y="673471"/>
                      <a:pt x="790431" y="679184"/>
                    </a:cubicBezTo>
                    <a:cubicBezTo>
                      <a:pt x="790431" y="681327"/>
                      <a:pt x="790431" y="682755"/>
                      <a:pt x="789716" y="684898"/>
                    </a:cubicBezTo>
                    <a:cubicBezTo>
                      <a:pt x="789716" y="684898"/>
                      <a:pt x="789716" y="685612"/>
                      <a:pt x="789716" y="685612"/>
                    </a:cubicBezTo>
                    <a:cubicBezTo>
                      <a:pt x="789716" y="687754"/>
                      <a:pt x="789716" y="689183"/>
                      <a:pt x="789002" y="691325"/>
                    </a:cubicBezTo>
                    <a:cubicBezTo>
                      <a:pt x="786143" y="709893"/>
                      <a:pt x="776852" y="726319"/>
                      <a:pt x="763988" y="738460"/>
                    </a:cubicBezTo>
                    <a:cubicBezTo>
                      <a:pt x="763988" y="738460"/>
                      <a:pt x="763273" y="738460"/>
                      <a:pt x="763273" y="738460"/>
                    </a:cubicBezTo>
                    <a:cubicBezTo>
                      <a:pt x="761844" y="739888"/>
                      <a:pt x="760415" y="740603"/>
                      <a:pt x="758985" y="742031"/>
                    </a:cubicBezTo>
                    <a:cubicBezTo>
                      <a:pt x="757556" y="743459"/>
                      <a:pt x="756127" y="744173"/>
                      <a:pt x="754697" y="744888"/>
                    </a:cubicBezTo>
                    <a:cubicBezTo>
                      <a:pt x="753983" y="745602"/>
                      <a:pt x="753983" y="745602"/>
                      <a:pt x="753983" y="745602"/>
                    </a:cubicBezTo>
                    <a:cubicBezTo>
                      <a:pt x="752553" y="746316"/>
                      <a:pt x="751124" y="747744"/>
                      <a:pt x="749695" y="748458"/>
                    </a:cubicBezTo>
                    <a:cubicBezTo>
                      <a:pt x="748980" y="748458"/>
                      <a:pt x="748265" y="748458"/>
                      <a:pt x="748265" y="749173"/>
                    </a:cubicBezTo>
                    <a:cubicBezTo>
                      <a:pt x="746836" y="749887"/>
                      <a:pt x="745407" y="750601"/>
                      <a:pt x="743263" y="751315"/>
                    </a:cubicBezTo>
                    <a:cubicBezTo>
                      <a:pt x="743263" y="751315"/>
                      <a:pt x="742548" y="751315"/>
                      <a:pt x="742548" y="752029"/>
                    </a:cubicBezTo>
                    <a:cubicBezTo>
                      <a:pt x="741118" y="752029"/>
                      <a:pt x="739689" y="752743"/>
                      <a:pt x="738260" y="753458"/>
                    </a:cubicBezTo>
                    <a:cubicBezTo>
                      <a:pt x="731828" y="755600"/>
                      <a:pt x="725396" y="757028"/>
                      <a:pt x="718964" y="757743"/>
                    </a:cubicBezTo>
                    <a:cubicBezTo>
                      <a:pt x="718964" y="757743"/>
                      <a:pt x="718964" y="757743"/>
                      <a:pt x="624626" y="767027"/>
                    </a:cubicBezTo>
                    <a:cubicBezTo>
                      <a:pt x="662504" y="781310"/>
                      <a:pt x="703241" y="787023"/>
                      <a:pt x="743263" y="784167"/>
                    </a:cubicBezTo>
                    <a:cubicBezTo>
                      <a:pt x="753983" y="783453"/>
                      <a:pt x="764703" y="782024"/>
                      <a:pt x="775423" y="779882"/>
                    </a:cubicBezTo>
                    <a:cubicBezTo>
                      <a:pt x="778996" y="779168"/>
                      <a:pt x="781855" y="778453"/>
                      <a:pt x="785428" y="777739"/>
                    </a:cubicBezTo>
                    <a:cubicBezTo>
                      <a:pt x="786143" y="777739"/>
                      <a:pt x="786143" y="777739"/>
                      <a:pt x="786858" y="777025"/>
                    </a:cubicBezTo>
                    <a:cubicBezTo>
                      <a:pt x="790431" y="776311"/>
                      <a:pt x="793290" y="775597"/>
                      <a:pt x="796863" y="774883"/>
                    </a:cubicBezTo>
                    <a:cubicBezTo>
                      <a:pt x="806869" y="772026"/>
                      <a:pt x="816874" y="768455"/>
                      <a:pt x="826880" y="764170"/>
                    </a:cubicBezTo>
                    <a:cubicBezTo>
                      <a:pt x="857611" y="752029"/>
                      <a:pt x="885483" y="734175"/>
                      <a:pt x="909782" y="711322"/>
                    </a:cubicBezTo>
                    <a:cubicBezTo>
                      <a:pt x="916214" y="705608"/>
                      <a:pt x="921931" y="699181"/>
                      <a:pt x="928363" y="692753"/>
                    </a:cubicBezTo>
                    <a:cubicBezTo>
                      <a:pt x="928363" y="692753"/>
                      <a:pt x="928363" y="692753"/>
                      <a:pt x="975532" y="639191"/>
                    </a:cubicBezTo>
                    <a:cubicBezTo>
                      <a:pt x="976961" y="637763"/>
                      <a:pt x="977676" y="637048"/>
                      <a:pt x="978391" y="635620"/>
                    </a:cubicBezTo>
                    <a:cubicBezTo>
                      <a:pt x="979105" y="635620"/>
                      <a:pt x="979105" y="635620"/>
                      <a:pt x="979105" y="635620"/>
                    </a:cubicBezTo>
                    <a:cubicBezTo>
                      <a:pt x="994114" y="620623"/>
                      <a:pt x="1013410" y="612053"/>
                      <a:pt x="1034135" y="610624"/>
                    </a:cubicBezTo>
                    <a:cubicBezTo>
                      <a:pt x="1034850" y="610624"/>
                      <a:pt x="1034850" y="610624"/>
                      <a:pt x="1034850" y="610624"/>
                    </a:cubicBezTo>
                    <a:cubicBezTo>
                      <a:pt x="1036279" y="610624"/>
                      <a:pt x="1037709" y="610624"/>
                      <a:pt x="1039138" y="610624"/>
                    </a:cubicBezTo>
                    <a:cubicBezTo>
                      <a:pt x="1039138" y="610624"/>
                      <a:pt x="1039853" y="610624"/>
                      <a:pt x="1040567" y="610624"/>
                    </a:cubicBezTo>
                    <a:cubicBezTo>
                      <a:pt x="1054146" y="610624"/>
                      <a:pt x="1067725" y="614909"/>
                      <a:pt x="1079875" y="621337"/>
                    </a:cubicBezTo>
                    <a:cubicBezTo>
                      <a:pt x="1081304" y="622051"/>
                      <a:pt x="1082019" y="622765"/>
                      <a:pt x="1083448" y="623479"/>
                    </a:cubicBezTo>
                    <a:cubicBezTo>
                      <a:pt x="1084877" y="624193"/>
                      <a:pt x="1085592" y="624908"/>
                      <a:pt x="1086307" y="624908"/>
                    </a:cubicBezTo>
                    <a:cubicBezTo>
                      <a:pt x="1087021" y="625622"/>
                      <a:pt x="1087021" y="625622"/>
                      <a:pt x="1087021" y="625622"/>
                    </a:cubicBezTo>
                    <a:cubicBezTo>
                      <a:pt x="1087736" y="626336"/>
                      <a:pt x="1089165" y="627050"/>
                      <a:pt x="1089880" y="627764"/>
                    </a:cubicBezTo>
                    <a:cubicBezTo>
                      <a:pt x="1089880" y="627764"/>
                      <a:pt x="1090595" y="628478"/>
                      <a:pt x="1090595" y="628478"/>
                    </a:cubicBezTo>
                    <a:cubicBezTo>
                      <a:pt x="1091309" y="629193"/>
                      <a:pt x="1092024" y="629193"/>
                      <a:pt x="1092739" y="629907"/>
                    </a:cubicBezTo>
                    <a:cubicBezTo>
                      <a:pt x="1093453" y="630621"/>
                      <a:pt x="1094168" y="631335"/>
                      <a:pt x="1095597" y="632049"/>
                    </a:cubicBezTo>
                    <a:cubicBezTo>
                      <a:pt x="1095597" y="632049"/>
                      <a:pt x="1095597" y="632763"/>
                      <a:pt x="1095597" y="632763"/>
                    </a:cubicBezTo>
                    <a:cubicBezTo>
                      <a:pt x="1129902" y="663473"/>
                      <a:pt x="1133475" y="714893"/>
                      <a:pt x="1103459" y="749887"/>
                    </a:cubicBezTo>
                    <a:cubicBezTo>
                      <a:pt x="1103459" y="749887"/>
                      <a:pt x="1103459" y="749887"/>
                      <a:pt x="1072013" y="787738"/>
                    </a:cubicBezTo>
                    <a:cubicBezTo>
                      <a:pt x="1040567" y="824160"/>
                      <a:pt x="1004834" y="857012"/>
                      <a:pt x="966241" y="884150"/>
                    </a:cubicBezTo>
                    <a:cubicBezTo>
                      <a:pt x="963383" y="886292"/>
                      <a:pt x="959809" y="888435"/>
                      <a:pt x="956950" y="890577"/>
                    </a:cubicBezTo>
                    <a:cubicBezTo>
                      <a:pt x="954092" y="892720"/>
                      <a:pt x="951233" y="894862"/>
                      <a:pt x="948374" y="896291"/>
                    </a:cubicBezTo>
                    <a:cubicBezTo>
                      <a:pt x="904779" y="924857"/>
                      <a:pt x="856896" y="947711"/>
                      <a:pt x="806154" y="963422"/>
                    </a:cubicBezTo>
                    <a:cubicBezTo>
                      <a:pt x="801866" y="964851"/>
                      <a:pt x="797578" y="966279"/>
                      <a:pt x="792575" y="967707"/>
                    </a:cubicBezTo>
                    <a:cubicBezTo>
                      <a:pt x="791146" y="967707"/>
                      <a:pt x="789716" y="968422"/>
                      <a:pt x="788287" y="968422"/>
                    </a:cubicBezTo>
                    <a:cubicBezTo>
                      <a:pt x="785428" y="969136"/>
                      <a:pt x="782570" y="970564"/>
                      <a:pt x="779711" y="971278"/>
                    </a:cubicBezTo>
                    <a:cubicBezTo>
                      <a:pt x="777567" y="971278"/>
                      <a:pt x="775423" y="971992"/>
                      <a:pt x="773994" y="972707"/>
                    </a:cubicBezTo>
                    <a:cubicBezTo>
                      <a:pt x="771135" y="973421"/>
                      <a:pt x="768991" y="973421"/>
                      <a:pt x="766132" y="974135"/>
                    </a:cubicBezTo>
                    <a:cubicBezTo>
                      <a:pt x="763988" y="974849"/>
                      <a:pt x="761844" y="975563"/>
                      <a:pt x="759700" y="976277"/>
                    </a:cubicBezTo>
                    <a:cubicBezTo>
                      <a:pt x="757556" y="976277"/>
                      <a:pt x="756127" y="976992"/>
                      <a:pt x="753983" y="976992"/>
                    </a:cubicBezTo>
                    <a:cubicBezTo>
                      <a:pt x="743977" y="979134"/>
                      <a:pt x="733972" y="981277"/>
                      <a:pt x="724681" y="983419"/>
                    </a:cubicBezTo>
                    <a:cubicBezTo>
                      <a:pt x="723252" y="983419"/>
                      <a:pt x="722537" y="983419"/>
                      <a:pt x="721822" y="983419"/>
                    </a:cubicBezTo>
                    <a:cubicBezTo>
                      <a:pt x="718249" y="984133"/>
                      <a:pt x="714676" y="984847"/>
                      <a:pt x="711102" y="985562"/>
                    </a:cubicBezTo>
                    <a:cubicBezTo>
                      <a:pt x="710387" y="985562"/>
                      <a:pt x="710387" y="985562"/>
                      <a:pt x="709673" y="985562"/>
                    </a:cubicBezTo>
                    <a:cubicBezTo>
                      <a:pt x="689662" y="988418"/>
                      <a:pt x="670366" y="990561"/>
                      <a:pt x="650355" y="991989"/>
                    </a:cubicBezTo>
                    <a:cubicBezTo>
                      <a:pt x="649640" y="991989"/>
                      <a:pt x="648925" y="991989"/>
                      <a:pt x="648211" y="991989"/>
                    </a:cubicBezTo>
                    <a:cubicBezTo>
                      <a:pt x="644637" y="991989"/>
                      <a:pt x="641064" y="991989"/>
                      <a:pt x="637491" y="992703"/>
                    </a:cubicBezTo>
                    <a:cubicBezTo>
                      <a:pt x="636776" y="992703"/>
                      <a:pt x="636061" y="992703"/>
                      <a:pt x="635347" y="992703"/>
                    </a:cubicBezTo>
                    <a:cubicBezTo>
                      <a:pt x="630344" y="992703"/>
                      <a:pt x="626056" y="992703"/>
                      <a:pt x="621053" y="992703"/>
                    </a:cubicBezTo>
                    <a:cubicBezTo>
                      <a:pt x="621053" y="992703"/>
                      <a:pt x="620338" y="992703"/>
                      <a:pt x="620338" y="992703"/>
                    </a:cubicBezTo>
                    <a:cubicBezTo>
                      <a:pt x="617480" y="992703"/>
                      <a:pt x="614621" y="992703"/>
                      <a:pt x="612477" y="992703"/>
                    </a:cubicBezTo>
                    <a:cubicBezTo>
                      <a:pt x="610333" y="992703"/>
                      <a:pt x="608189" y="992703"/>
                      <a:pt x="606045" y="992703"/>
                    </a:cubicBezTo>
                    <a:cubicBezTo>
                      <a:pt x="603901" y="992703"/>
                      <a:pt x="601042" y="992703"/>
                      <a:pt x="598898" y="992703"/>
                    </a:cubicBezTo>
                    <a:cubicBezTo>
                      <a:pt x="596754" y="992703"/>
                      <a:pt x="594610" y="992703"/>
                      <a:pt x="592466" y="992703"/>
                    </a:cubicBezTo>
                    <a:cubicBezTo>
                      <a:pt x="589607" y="992703"/>
                      <a:pt x="587463" y="992703"/>
                      <a:pt x="584605" y="991989"/>
                    </a:cubicBezTo>
                    <a:cubicBezTo>
                      <a:pt x="582461" y="991989"/>
                      <a:pt x="581031" y="991989"/>
                      <a:pt x="578887" y="991989"/>
                    </a:cubicBezTo>
                    <a:cubicBezTo>
                      <a:pt x="575314" y="991989"/>
                      <a:pt x="571026" y="991275"/>
                      <a:pt x="566738" y="991275"/>
                    </a:cubicBezTo>
                    <a:cubicBezTo>
                      <a:pt x="566738" y="991275"/>
                      <a:pt x="566023" y="991275"/>
                      <a:pt x="566023" y="991275"/>
                    </a:cubicBezTo>
                    <a:cubicBezTo>
                      <a:pt x="566023" y="991275"/>
                      <a:pt x="566023" y="991275"/>
                      <a:pt x="485265" y="985562"/>
                    </a:cubicBezTo>
                    <a:cubicBezTo>
                      <a:pt x="485265" y="985562"/>
                      <a:pt x="485265" y="985562"/>
                      <a:pt x="416656" y="980562"/>
                    </a:cubicBezTo>
                    <a:cubicBezTo>
                      <a:pt x="415227" y="980562"/>
                      <a:pt x="413083" y="980562"/>
                      <a:pt x="410939" y="980562"/>
                    </a:cubicBezTo>
                    <a:cubicBezTo>
                      <a:pt x="410224" y="980562"/>
                      <a:pt x="408794" y="980562"/>
                      <a:pt x="407365" y="980562"/>
                    </a:cubicBezTo>
                    <a:cubicBezTo>
                      <a:pt x="402362" y="980562"/>
                      <a:pt x="398074" y="981277"/>
                      <a:pt x="393072" y="981991"/>
                    </a:cubicBezTo>
                    <a:cubicBezTo>
                      <a:pt x="391642" y="982705"/>
                      <a:pt x="390213" y="982705"/>
                      <a:pt x="388784" y="982705"/>
                    </a:cubicBezTo>
                    <a:cubicBezTo>
                      <a:pt x="388784" y="983419"/>
                      <a:pt x="388784" y="983419"/>
                      <a:pt x="388784" y="983419"/>
                    </a:cubicBezTo>
                    <a:cubicBezTo>
                      <a:pt x="387354" y="983419"/>
                      <a:pt x="385925" y="984133"/>
                      <a:pt x="384496" y="984133"/>
                    </a:cubicBezTo>
                    <a:cubicBezTo>
                      <a:pt x="384496" y="984133"/>
                      <a:pt x="384496" y="984133"/>
                      <a:pt x="383781" y="984847"/>
                    </a:cubicBezTo>
                    <a:cubicBezTo>
                      <a:pt x="382352" y="984847"/>
                      <a:pt x="380922" y="985562"/>
                      <a:pt x="379493" y="986276"/>
                    </a:cubicBezTo>
                    <a:cubicBezTo>
                      <a:pt x="379493" y="986276"/>
                      <a:pt x="379493" y="986276"/>
                      <a:pt x="21441" y="1124824"/>
                    </a:cubicBezTo>
                    <a:cubicBezTo>
                      <a:pt x="20011" y="1125538"/>
                      <a:pt x="17867" y="1125538"/>
                      <a:pt x="15723" y="1125538"/>
                    </a:cubicBezTo>
                    <a:cubicBezTo>
                      <a:pt x="12864" y="1125538"/>
                      <a:pt x="10006" y="1124824"/>
                      <a:pt x="7147" y="1122681"/>
                    </a:cubicBezTo>
                    <a:cubicBezTo>
                      <a:pt x="2859" y="1119825"/>
                      <a:pt x="0" y="1114826"/>
                      <a:pt x="0" y="1109826"/>
                    </a:cubicBezTo>
                    <a:cubicBezTo>
                      <a:pt x="0" y="1109826"/>
                      <a:pt x="0" y="1109826"/>
                      <a:pt x="0" y="793451"/>
                    </a:cubicBezTo>
                    <a:cubicBezTo>
                      <a:pt x="0" y="787738"/>
                      <a:pt x="3574" y="782738"/>
                      <a:pt x="7862" y="779882"/>
                    </a:cubicBezTo>
                    <a:cubicBezTo>
                      <a:pt x="7862" y="779882"/>
                      <a:pt x="7862" y="779882"/>
                      <a:pt x="310169" y="608482"/>
                    </a:cubicBezTo>
                    <a:cubicBezTo>
                      <a:pt x="311599" y="607053"/>
                      <a:pt x="313743" y="606339"/>
                      <a:pt x="315887" y="605625"/>
                    </a:cubicBezTo>
                    <a:cubicBezTo>
                      <a:pt x="316601" y="604911"/>
                      <a:pt x="317316" y="604911"/>
                      <a:pt x="318031" y="604197"/>
                    </a:cubicBezTo>
                    <a:cubicBezTo>
                      <a:pt x="318745" y="603483"/>
                      <a:pt x="320175" y="602768"/>
                      <a:pt x="320889" y="602768"/>
                    </a:cubicBezTo>
                    <a:cubicBezTo>
                      <a:pt x="322319" y="602054"/>
                      <a:pt x="323033" y="601340"/>
                      <a:pt x="324463" y="601340"/>
                    </a:cubicBezTo>
                    <a:cubicBezTo>
                      <a:pt x="325177" y="600626"/>
                      <a:pt x="325892" y="600626"/>
                      <a:pt x="326607" y="599912"/>
                    </a:cubicBezTo>
                    <a:cubicBezTo>
                      <a:pt x="328036" y="599198"/>
                      <a:pt x="329466" y="599198"/>
                      <a:pt x="330180" y="598483"/>
                    </a:cubicBezTo>
                    <a:cubicBezTo>
                      <a:pt x="330895" y="598483"/>
                      <a:pt x="331610" y="597769"/>
                      <a:pt x="332324" y="597769"/>
                    </a:cubicBezTo>
                    <a:cubicBezTo>
                      <a:pt x="333754" y="597055"/>
                      <a:pt x="335183" y="596341"/>
                      <a:pt x="336612" y="596341"/>
                    </a:cubicBezTo>
                    <a:cubicBezTo>
                      <a:pt x="336612" y="595627"/>
                      <a:pt x="337327" y="595627"/>
                      <a:pt x="338042" y="595627"/>
                    </a:cubicBezTo>
                    <a:cubicBezTo>
                      <a:pt x="339471" y="594913"/>
                      <a:pt x="340900" y="594198"/>
                      <a:pt x="342330" y="594198"/>
                    </a:cubicBezTo>
                    <a:cubicBezTo>
                      <a:pt x="343044" y="593484"/>
                      <a:pt x="343044" y="593484"/>
                      <a:pt x="343044" y="593484"/>
                    </a:cubicBezTo>
                    <a:cubicBezTo>
                      <a:pt x="345188" y="592770"/>
                      <a:pt x="346618" y="592770"/>
                      <a:pt x="348047" y="592056"/>
                    </a:cubicBezTo>
                    <a:cubicBezTo>
                      <a:pt x="348762" y="592056"/>
                      <a:pt x="348762" y="592056"/>
                      <a:pt x="348762" y="592056"/>
                    </a:cubicBezTo>
                    <a:cubicBezTo>
                      <a:pt x="360197" y="588485"/>
                      <a:pt x="370917" y="586343"/>
                      <a:pt x="382352" y="584914"/>
                    </a:cubicBezTo>
                    <a:cubicBezTo>
                      <a:pt x="383066" y="584914"/>
                      <a:pt x="383781" y="584914"/>
                      <a:pt x="383781" y="584914"/>
                    </a:cubicBezTo>
                    <a:cubicBezTo>
                      <a:pt x="385210" y="584914"/>
                      <a:pt x="386640" y="584914"/>
                      <a:pt x="387354" y="584914"/>
                    </a:cubicBezTo>
                    <a:cubicBezTo>
                      <a:pt x="388784" y="584914"/>
                      <a:pt x="389498" y="584914"/>
                      <a:pt x="390213" y="584200"/>
                    </a:cubicBezTo>
                    <a:close/>
                    <a:moveTo>
                      <a:pt x="654433" y="103187"/>
                    </a:moveTo>
                    <a:cubicBezTo>
                      <a:pt x="686457" y="103187"/>
                      <a:pt x="686457" y="103187"/>
                      <a:pt x="686457" y="103187"/>
                    </a:cubicBezTo>
                    <a:cubicBezTo>
                      <a:pt x="686457" y="126776"/>
                      <a:pt x="686457" y="126776"/>
                      <a:pt x="686457" y="126776"/>
                    </a:cubicBezTo>
                    <a:cubicBezTo>
                      <a:pt x="702825" y="128920"/>
                      <a:pt x="716346" y="132495"/>
                      <a:pt x="724174" y="139643"/>
                    </a:cubicBezTo>
                    <a:cubicBezTo>
                      <a:pt x="714211" y="169665"/>
                      <a:pt x="714211" y="169665"/>
                      <a:pt x="714211" y="169665"/>
                    </a:cubicBezTo>
                    <a:cubicBezTo>
                      <a:pt x="700690" y="161087"/>
                      <a:pt x="687169" y="156083"/>
                      <a:pt x="672936" y="156083"/>
                    </a:cubicBezTo>
                    <a:cubicBezTo>
                      <a:pt x="665108" y="156083"/>
                      <a:pt x="658703" y="158228"/>
                      <a:pt x="653722" y="162517"/>
                    </a:cubicBezTo>
                    <a:cubicBezTo>
                      <a:pt x="648740" y="167520"/>
                      <a:pt x="646605" y="172524"/>
                      <a:pt x="646605" y="179672"/>
                    </a:cubicBezTo>
                    <a:cubicBezTo>
                      <a:pt x="646605" y="191109"/>
                      <a:pt x="659415" y="203261"/>
                      <a:pt x="685034" y="215413"/>
                    </a:cubicBezTo>
                    <a:cubicBezTo>
                      <a:pt x="698555" y="222561"/>
                      <a:pt x="709230" y="228280"/>
                      <a:pt x="715634" y="233998"/>
                    </a:cubicBezTo>
                    <a:cubicBezTo>
                      <a:pt x="722039" y="239717"/>
                      <a:pt x="725597" y="246150"/>
                      <a:pt x="729155" y="253298"/>
                    </a:cubicBezTo>
                    <a:cubicBezTo>
                      <a:pt x="732002" y="261161"/>
                      <a:pt x="733425" y="269024"/>
                      <a:pt x="733425" y="278317"/>
                    </a:cubicBezTo>
                    <a:cubicBezTo>
                      <a:pt x="733425" y="290469"/>
                      <a:pt x="729867" y="301906"/>
                      <a:pt x="721327" y="311198"/>
                    </a:cubicBezTo>
                    <a:cubicBezTo>
                      <a:pt x="712788" y="320491"/>
                      <a:pt x="700690" y="327639"/>
                      <a:pt x="686457" y="331213"/>
                    </a:cubicBezTo>
                    <a:cubicBezTo>
                      <a:pt x="686457" y="361950"/>
                      <a:pt x="686457" y="361950"/>
                      <a:pt x="686457" y="361950"/>
                    </a:cubicBezTo>
                    <a:cubicBezTo>
                      <a:pt x="654433" y="361950"/>
                      <a:pt x="654433" y="361950"/>
                      <a:pt x="654433" y="361950"/>
                    </a:cubicBezTo>
                    <a:cubicBezTo>
                      <a:pt x="654433" y="332643"/>
                      <a:pt x="654433" y="332643"/>
                      <a:pt x="654433" y="332643"/>
                    </a:cubicBezTo>
                    <a:cubicBezTo>
                      <a:pt x="638777" y="332643"/>
                      <a:pt x="623833" y="327639"/>
                      <a:pt x="609600" y="319061"/>
                    </a:cubicBezTo>
                    <a:cubicBezTo>
                      <a:pt x="623833" y="287609"/>
                      <a:pt x="623833" y="287609"/>
                      <a:pt x="623833" y="287609"/>
                    </a:cubicBezTo>
                    <a:cubicBezTo>
                      <a:pt x="638066" y="296902"/>
                      <a:pt x="652299" y="301906"/>
                      <a:pt x="665820" y="301906"/>
                    </a:cubicBezTo>
                    <a:cubicBezTo>
                      <a:pt x="687169" y="301906"/>
                      <a:pt x="697132" y="294758"/>
                      <a:pt x="697132" y="280461"/>
                    </a:cubicBezTo>
                    <a:cubicBezTo>
                      <a:pt x="697132" y="273313"/>
                      <a:pt x="694997" y="266165"/>
                      <a:pt x="689304" y="259732"/>
                    </a:cubicBezTo>
                    <a:cubicBezTo>
                      <a:pt x="683611" y="254013"/>
                      <a:pt x="673648" y="246865"/>
                      <a:pt x="658703" y="239002"/>
                    </a:cubicBezTo>
                    <a:cubicBezTo>
                      <a:pt x="643047" y="231854"/>
                      <a:pt x="633084" y="225420"/>
                      <a:pt x="627391" y="220417"/>
                    </a:cubicBezTo>
                    <a:cubicBezTo>
                      <a:pt x="621698" y="215413"/>
                      <a:pt x="618140" y="209695"/>
                      <a:pt x="613870" y="202546"/>
                    </a:cubicBezTo>
                    <a:cubicBezTo>
                      <a:pt x="611735" y="195398"/>
                      <a:pt x="610312" y="188250"/>
                      <a:pt x="610312" y="179672"/>
                    </a:cubicBezTo>
                    <a:cubicBezTo>
                      <a:pt x="610312" y="167520"/>
                      <a:pt x="613870" y="156083"/>
                      <a:pt x="623121" y="147506"/>
                    </a:cubicBezTo>
                    <a:cubicBezTo>
                      <a:pt x="630949" y="138213"/>
                      <a:pt x="640912" y="131780"/>
                      <a:pt x="654433" y="128920"/>
                    </a:cubicBezTo>
                    <a:cubicBezTo>
                      <a:pt x="654433" y="103187"/>
                      <a:pt x="654433" y="103187"/>
                      <a:pt x="654433" y="103187"/>
                    </a:cubicBezTo>
                    <a:close/>
                    <a:moveTo>
                      <a:pt x="228600" y="31750"/>
                    </a:moveTo>
                    <a:lnTo>
                      <a:pt x="228600" y="431800"/>
                    </a:lnTo>
                    <a:lnTo>
                      <a:pt x="1114425" y="431800"/>
                    </a:lnTo>
                    <a:lnTo>
                      <a:pt x="1114425" y="31750"/>
                    </a:lnTo>
                    <a:close/>
                    <a:moveTo>
                      <a:pt x="209003" y="0"/>
                    </a:moveTo>
                    <a:cubicBezTo>
                      <a:pt x="1134023" y="0"/>
                      <a:pt x="1134023" y="0"/>
                      <a:pt x="1134023" y="0"/>
                    </a:cubicBezTo>
                    <a:cubicBezTo>
                      <a:pt x="1141171" y="0"/>
                      <a:pt x="1146175" y="5000"/>
                      <a:pt x="1146175" y="11428"/>
                    </a:cubicBezTo>
                    <a:cubicBezTo>
                      <a:pt x="1146175" y="451408"/>
                      <a:pt x="1146175" y="451408"/>
                      <a:pt x="1146175" y="451408"/>
                    </a:cubicBezTo>
                    <a:cubicBezTo>
                      <a:pt x="1146175" y="457836"/>
                      <a:pt x="1141171" y="463550"/>
                      <a:pt x="1134023" y="463550"/>
                    </a:cubicBezTo>
                    <a:cubicBezTo>
                      <a:pt x="209003" y="463550"/>
                      <a:pt x="209003" y="463550"/>
                      <a:pt x="209003" y="463550"/>
                    </a:cubicBezTo>
                    <a:cubicBezTo>
                      <a:pt x="202569" y="463550"/>
                      <a:pt x="196850" y="457836"/>
                      <a:pt x="196850" y="451408"/>
                    </a:cubicBezTo>
                    <a:cubicBezTo>
                      <a:pt x="196850" y="11428"/>
                      <a:pt x="196850" y="11428"/>
                      <a:pt x="196850" y="11428"/>
                    </a:cubicBezTo>
                    <a:cubicBezTo>
                      <a:pt x="196850" y="5000"/>
                      <a:pt x="202569" y="0"/>
                      <a:pt x="20900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276AA02B-3536-45FD-95B8-BB6719C8B76D}"/>
              </a:ext>
            </a:extLst>
          </p:cNvPr>
          <p:cNvGrpSpPr>
            <a:grpSpLocks noChangeAspect="1"/>
          </p:cNvGrpSpPr>
          <p:nvPr/>
        </p:nvGrpSpPr>
        <p:grpSpPr>
          <a:xfrm>
            <a:off x="4336092" y="2766311"/>
            <a:ext cx="640080" cy="640080"/>
            <a:chOff x="5273039" y="2606040"/>
            <a:chExt cx="1645920" cy="1645920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611C7A80-C693-4989-BDEB-FCAA54974E5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39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F8A126B1-EC20-4EB9-8D2F-51CC4AF5B88B}"/>
                </a:ext>
              </a:extLst>
            </p:cNvPr>
            <p:cNvGrpSpPr/>
            <p:nvPr/>
          </p:nvGrpSpPr>
          <p:grpSpPr>
            <a:xfrm>
              <a:off x="5341289" y="2885386"/>
              <a:ext cx="1509421" cy="1087228"/>
              <a:chOff x="5341289" y="2885386"/>
              <a:chExt cx="1509421" cy="1087228"/>
            </a:xfrm>
          </p:grpSpPr>
          <p:sp>
            <p:nvSpPr>
              <p:cNvPr id="88" name="Freeform 5">
                <a:extLst>
                  <a:ext uri="{FF2B5EF4-FFF2-40B4-BE49-F238E27FC236}">
                    <a16:creationId xmlns:a16="http://schemas.microsoft.com/office/drawing/2014/main" id="{5DF4B433-FA20-4AF4-9C0D-F8DBC2CAD3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6596" y="3512328"/>
                <a:ext cx="6349" cy="0"/>
              </a:xfrm>
              <a:custGeom>
                <a:avLst/>
                <a:gdLst>
                  <a:gd name="T0" fmla="*/ 0 w 13"/>
                  <a:gd name="T1" fmla="*/ 0 w 13"/>
                  <a:gd name="T2" fmla="*/ 13 w 13"/>
                  <a:gd name="T3" fmla="*/ 13 w 13"/>
                  <a:gd name="T4" fmla="*/ 2 w 13"/>
                  <a:gd name="T5" fmla="*/ 2 w 13"/>
                  <a:gd name="T6" fmla="*/ 0 w 13"/>
                  <a:gd name="T7" fmla="*/ 0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13">
                    <a:moveTo>
                      <a:pt x="0" y="0"/>
                    </a:moveTo>
                    <a:lnTo>
                      <a:pt x="0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1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6">
                <a:extLst>
                  <a:ext uri="{FF2B5EF4-FFF2-40B4-BE49-F238E27FC236}">
                    <a16:creationId xmlns:a16="http://schemas.microsoft.com/office/drawing/2014/main" id="{CF4148AF-BEE7-4E5F-8F54-45BD1FB1F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50724" y="3512328"/>
                <a:ext cx="15872" cy="0"/>
              </a:xfrm>
              <a:custGeom>
                <a:avLst/>
                <a:gdLst>
                  <a:gd name="T0" fmla="*/ 0 w 31"/>
                  <a:gd name="T1" fmla="*/ 1 h 1"/>
                  <a:gd name="T2" fmla="*/ 0 w 31"/>
                  <a:gd name="T3" fmla="*/ 1 h 1"/>
                  <a:gd name="T4" fmla="*/ 0 w 31"/>
                  <a:gd name="T5" fmla="*/ 1 h 1"/>
                  <a:gd name="T6" fmla="*/ 0 w 31"/>
                  <a:gd name="T7" fmla="*/ 1 h 1"/>
                  <a:gd name="T8" fmla="*/ 17 w 31"/>
                  <a:gd name="T9" fmla="*/ 0 h 1"/>
                  <a:gd name="T10" fmla="*/ 31 w 31"/>
                  <a:gd name="T11" fmla="*/ 0 h 1"/>
                  <a:gd name="T12" fmla="*/ 31 w 31"/>
                  <a:gd name="T13" fmla="*/ 0 h 1"/>
                  <a:gd name="T14" fmla="*/ 30 w 31"/>
                  <a:gd name="T15" fmla="*/ 0 h 1"/>
                  <a:gd name="T16" fmla="*/ 30 w 31"/>
                  <a:gd name="T17" fmla="*/ 0 h 1"/>
                  <a:gd name="T18" fmla="*/ 15 w 31"/>
                  <a:gd name="T19" fmla="*/ 0 h 1"/>
                  <a:gd name="T20" fmla="*/ 0 w 31"/>
                  <a:gd name="T21" fmla="*/ 1 h 1"/>
                  <a:gd name="T22" fmla="*/ 0 w 31"/>
                  <a:gd name="T2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17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15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1E1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7">
                <a:extLst>
                  <a:ext uri="{FF2B5EF4-FFF2-40B4-BE49-F238E27FC236}">
                    <a16:creationId xmlns:a16="http://schemas.microsoft.com/office/drawing/2014/main" id="{1E1577C6-A602-48E9-A606-4B772492B3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1289" y="2885386"/>
                <a:ext cx="1509421" cy="1087228"/>
              </a:xfrm>
              <a:custGeom>
                <a:avLst/>
                <a:gdLst>
                  <a:gd name="T0" fmla="*/ 2535 w 2855"/>
                  <a:gd name="T1" fmla="*/ 1164 h 2055"/>
                  <a:gd name="T2" fmla="*/ 2535 w 2855"/>
                  <a:gd name="T3" fmla="*/ 732 h 2055"/>
                  <a:gd name="T4" fmla="*/ 2852 w 2855"/>
                  <a:gd name="T5" fmla="*/ 541 h 2055"/>
                  <a:gd name="T6" fmla="*/ 2851 w 2855"/>
                  <a:gd name="T7" fmla="*/ 513 h 2055"/>
                  <a:gd name="T8" fmla="*/ 2824 w 2855"/>
                  <a:gd name="T9" fmla="*/ 498 h 2055"/>
                  <a:gd name="T10" fmla="*/ 2502 w 2855"/>
                  <a:gd name="T11" fmla="*/ 678 h 2055"/>
                  <a:gd name="T12" fmla="*/ 1995 w 2855"/>
                  <a:gd name="T13" fmla="*/ 31 h 2055"/>
                  <a:gd name="T14" fmla="*/ 1984 w 2855"/>
                  <a:gd name="T15" fmla="*/ 7 h 2055"/>
                  <a:gd name="T16" fmla="*/ 1958 w 2855"/>
                  <a:gd name="T17" fmla="*/ 0 h 2055"/>
                  <a:gd name="T18" fmla="*/ 1939 w 2855"/>
                  <a:gd name="T19" fmla="*/ 15 h 2055"/>
                  <a:gd name="T20" fmla="*/ 1935 w 2855"/>
                  <a:gd name="T21" fmla="*/ 385 h 2055"/>
                  <a:gd name="T22" fmla="*/ 920 w 2855"/>
                  <a:gd name="T23" fmla="*/ 385 h 2055"/>
                  <a:gd name="T24" fmla="*/ 916 w 2855"/>
                  <a:gd name="T25" fmla="*/ 15 h 2055"/>
                  <a:gd name="T26" fmla="*/ 897 w 2855"/>
                  <a:gd name="T27" fmla="*/ 0 h 2055"/>
                  <a:gd name="T28" fmla="*/ 871 w 2855"/>
                  <a:gd name="T29" fmla="*/ 7 h 2055"/>
                  <a:gd name="T30" fmla="*/ 860 w 2855"/>
                  <a:gd name="T31" fmla="*/ 383 h 2055"/>
                  <a:gd name="T32" fmla="*/ 353 w 2855"/>
                  <a:gd name="T33" fmla="*/ 678 h 2055"/>
                  <a:gd name="T34" fmla="*/ 31 w 2855"/>
                  <a:gd name="T35" fmla="*/ 498 h 2055"/>
                  <a:gd name="T36" fmla="*/ 4 w 2855"/>
                  <a:gd name="T37" fmla="*/ 513 h 2055"/>
                  <a:gd name="T38" fmla="*/ 3 w 2855"/>
                  <a:gd name="T39" fmla="*/ 541 h 2055"/>
                  <a:gd name="T40" fmla="*/ 320 w 2855"/>
                  <a:gd name="T41" fmla="*/ 732 h 2055"/>
                  <a:gd name="T42" fmla="*/ 320 w 2855"/>
                  <a:gd name="T43" fmla="*/ 1164 h 2055"/>
                  <a:gd name="T44" fmla="*/ 10 w 2855"/>
                  <a:gd name="T45" fmla="*/ 1503 h 2055"/>
                  <a:gd name="T46" fmla="*/ 0 w 2855"/>
                  <a:gd name="T47" fmla="*/ 1530 h 2055"/>
                  <a:gd name="T48" fmla="*/ 16 w 2855"/>
                  <a:gd name="T49" fmla="*/ 1553 h 2055"/>
                  <a:gd name="T50" fmla="*/ 46 w 2855"/>
                  <a:gd name="T51" fmla="*/ 1553 h 2055"/>
                  <a:gd name="T52" fmla="*/ 562 w 2855"/>
                  <a:gd name="T53" fmla="*/ 1497 h 2055"/>
                  <a:gd name="T54" fmla="*/ 863 w 2855"/>
                  <a:gd name="T55" fmla="*/ 2037 h 2055"/>
                  <a:gd name="T56" fmla="*/ 889 w 2855"/>
                  <a:gd name="T57" fmla="*/ 2055 h 2055"/>
                  <a:gd name="T58" fmla="*/ 910 w 2855"/>
                  <a:gd name="T59" fmla="*/ 2048 h 2055"/>
                  <a:gd name="T60" fmla="*/ 920 w 2855"/>
                  <a:gd name="T61" fmla="*/ 2025 h 2055"/>
                  <a:gd name="T62" fmla="*/ 1428 w 2855"/>
                  <a:gd name="T63" fmla="*/ 1376 h 2055"/>
                  <a:gd name="T64" fmla="*/ 1935 w 2855"/>
                  <a:gd name="T65" fmla="*/ 2031 h 2055"/>
                  <a:gd name="T66" fmla="*/ 1949 w 2855"/>
                  <a:gd name="T67" fmla="*/ 2051 h 2055"/>
                  <a:gd name="T68" fmla="*/ 1972 w 2855"/>
                  <a:gd name="T69" fmla="*/ 2054 h 2055"/>
                  <a:gd name="T70" fmla="*/ 1993 w 2855"/>
                  <a:gd name="T71" fmla="*/ 2031 h 2055"/>
                  <a:gd name="T72" fmla="*/ 2293 w 2855"/>
                  <a:gd name="T73" fmla="*/ 1497 h 2055"/>
                  <a:gd name="T74" fmla="*/ 2816 w 2855"/>
                  <a:gd name="T75" fmla="*/ 1557 h 2055"/>
                  <a:gd name="T76" fmla="*/ 2845 w 2855"/>
                  <a:gd name="T77" fmla="*/ 1549 h 2055"/>
                  <a:gd name="T78" fmla="*/ 2855 w 2855"/>
                  <a:gd name="T79" fmla="*/ 1524 h 2055"/>
                  <a:gd name="T80" fmla="*/ 2840 w 2855"/>
                  <a:gd name="T81" fmla="*/ 1500 h 2055"/>
                  <a:gd name="T82" fmla="*/ 751 w 2855"/>
                  <a:gd name="T83" fmla="*/ 1537 h 2055"/>
                  <a:gd name="T84" fmla="*/ 385 w 2855"/>
                  <a:gd name="T85" fmla="*/ 1163 h 2055"/>
                  <a:gd name="T86" fmla="*/ 385 w 2855"/>
                  <a:gd name="T87" fmla="*/ 732 h 2055"/>
                  <a:gd name="T88" fmla="*/ 890 w 2855"/>
                  <a:gd name="T89" fmla="*/ 437 h 2055"/>
                  <a:gd name="T90" fmla="*/ 1395 w 2855"/>
                  <a:gd name="T91" fmla="*/ 733 h 2055"/>
                  <a:gd name="T92" fmla="*/ 1395 w 2855"/>
                  <a:gd name="T93" fmla="*/ 1163 h 2055"/>
                  <a:gd name="T94" fmla="*/ 1139 w 2855"/>
                  <a:gd name="T95" fmla="*/ 1473 h 2055"/>
                  <a:gd name="T96" fmla="*/ 2470 w 2855"/>
                  <a:gd name="T97" fmla="*/ 1163 h 2055"/>
                  <a:gd name="T98" fmla="*/ 2104 w 2855"/>
                  <a:gd name="T99" fmla="*/ 1535 h 2055"/>
                  <a:gd name="T100" fmla="*/ 1612 w 2855"/>
                  <a:gd name="T101" fmla="*/ 1412 h 2055"/>
                  <a:gd name="T102" fmla="*/ 1460 w 2855"/>
                  <a:gd name="T103" fmla="*/ 1163 h 2055"/>
                  <a:gd name="T104" fmla="*/ 1460 w 2855"/>
                  <a:gd name="T105" fmla="*/ 733 h 2055"/>
                  <a:gd name="T106" fmla="*/ 1965 w 2855"/>
                  <a:gd name="T107" fmla="*/ 437 h 2055"/>
                  <a:gd name="T108" fmla="*/ 2470 w 2855"/>
                  <a:gd name="T109" fmla="*/ 732 h 2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855" h="2055">
                    <a:moveTo>
                      <a:pt x="2840" y="1500"/>
                    </a:moveTo>
                    <a:lnTo>
                      <a:pt x="2840" y="1500"/>
                    </a:lnTo>
                    <a:lnTo>
                      <a:pt x="2535" y="1323"/>
                    </a:lnTo>
                    <a:lnTo>
                      <a:pt x="2535" y="1323"/>
                    </a:lnTo>
                    <a:lnTo>
                      <a:pt x="2535" y="1164"/>
                    </a:lnTo>
                    <a:lnTo>
                      <a:pt x="2535" y="1164"/>
                    </a:lnTo>
                    <a:lnTo>
                      <a:pt x="2535" y="891"/>
                    </a:lnTo>
                    <a:lnTo>
                      <a:pt x="2535" y="891"/>
                    </a:lnTo>
                    <a:lnTo>
                      <a:pt x="2535" y="732"/>
                    </a:lnTo>
                    <a:lnTo>
                      <a:pt x="2535" y="732"/>
                    </a:lnTo>
                    <a:lnTo>
                      <a:pt x="2840" y="555"/>
                    </a:lnTo>
                    <a:lnTo>
                      <a:pt x="2840" y="555"/>
                    </a:lnTo>
                    <a:lnTo>
                      <a:pt x="2845" y="552"/>
                    </a:lnTo>
                    <a:lnTo>
                      <a:pt x="2849" y="547"/>
                    </a:lnTo>
                    <a:lnTo>
                      <a:pt x="2852" y="541"/>
                    </a:lnTo>
                    <a:lnTo>
                      <a:pt x="2853" y="536"/>
                    </a:lnTo>
                    <a:lnTo>
                      <a:pt x="2855" y="531"/>
                    </a:lnTo>
                    <a:lnTo>
                      <a:pt x="2855" y="525"/>
                    </a:lnTo>
                    <a:lnTo>
                      <a:pt x="2853" y="518"/>
                    </a:lnTo>
                    <a:lnTo>
                      <a:pt x="2851" y="513"/>
                    </a:lnTo>
                    <a:lnTo>
                      <a:pt x="2851" y="513"/>
                    </a:lnTo>
                    <a:lnTo>
                      <a:pt x="2845" y="506"/>
                    </a:lnTo>
                    <a:lnTo>
                      <a:pt x="2839" y="502"/>
                    </a:lnTo>
                    <a:lnTo>
                      <a:pt x="2832" y="498"/>
                    </a:lnTo>
                    <a:lnTo>
                      <a:pt x="2824" y="498"/>
                    </a:lnTo>
                    <a:lnTo>
                      <a:pt x="2824" y="498"/>
                    </a:lnTo>
                    <a:lnTo>
                      <a:pt x="2816" y="498"/>
                    </a:lnTo>
                    <a:lnTo>
                      <a:pt x="2809" y="502"/>
                    </a:lnTo>
                    <a:lnTo>
                      <a:pt x="2809" y="502"/>
                    </a:lnTo>
                    <a:lnTo>
                      <a:pt x="2502" y="678"/>
                    </a:lnTo>
                    <a:lnTo>
                      <a:pt x="2502" y="678"/>
                    </a:lnTo>
                    <a:lnTo>
                      <a:pt x="2293" y="558"/>
                    </a:lnTo>
                    <a:lnTo>
                      <a:pt x="2293" y="558"/>
                    </a:lnTo>
                    <a:lnTo>
                      <a:pt x="1995" y="383"/>
                    </a:lnTo>
                    <a:lnTo>
                      <a:pt x="1995" y="31"/>
                    </a:lnTo>
                    <a:lnTo>
                      <a:pt x="1995" y="31"/>
                    </a:lnTo>
                    <a:lnTo>
                      <a:pt x="1993" y="24"/>
                    </a:lnTo>
                    <a:lnTo>
                      <a:pt x="1992" y="18"/>
                    </a:lnTo>
                    <a:lnTo>
                      <a:pt x="1988" y="12"/>
                    </a:lnTo>
                    <a:lnTo>
                      <a:pt x="1984" y="7"/>
                    </a:lnTo>
                    <a:lnTo>
                      <a:pt x="1978" y="4"/>
                    </a:lnTo>
                    <a:lnTo>
                      <a:pt x="1972" y="1"/>
                    </a:lnTo>
                    <a:lnTo>
                      <a:pt x="1966" y="0"/>
                    </a:lnTo>
                    <a:lnTo>
                      <a:pt x="1958" y="0"/>
                    </a:lnTo>
                    <a:lnTo>
                      <a:pt x="1958" y="0"/>
                    </a:lnTo>
                    <a:lnTo>
                      <a:pt x="1954" y="1"/>
                    </a:lnTo>
                    <a:lnTo>
                      <a:pt x="1949" y="4"/>
                    </a:lnTo>
                    <a:lnTo>
                      <a:pt x="1945" y="7"/>
                    </a:lnTo>
                    <a:lnTo>
                      <a:pt x="1942" y="11"/>
                    </a:lnTo>
                    <a:lnTo>
                      <a:pt x="1939" y="15"/>
                    </a:lnTo>
                    <a:lnTo>
                      <a:pt x="1937" y="19"/>
                    </a:lnTo>
                    <a:lnTo>
                      <a:pt x="1935" y="24"/>
                    </a:lnTo>
                    <a:lnTo>
                      <a:pt x="1935" y="30"/>
                    </a:lnTo>
                    <a:lnTo>
                      <a:pt x="1935" y="30"/>
                    </a:lnTo>
                    <a:lnTo>
                      <a:pt x="1935" y="385"/>
                    </a:lnTo>
                    <a:lnTo>
                      <a:pt x="1935" y="385"/>
                    </a:lnTo>
                    <a:lnTo>
                      <a:pt x="1428" y="679"/>
                    </a:lnTo>
                    <a:lnTo>
                      <a:pt x="1428" y="679"/>
                    </a:lnTo>
                    <a:lnTo>
                      <a:pt x="920" y="385"/>
                    </a:lnTo>
                    <a:lnTo>
                      <a:pt x="920" y="385"/>
                    </a:lnTo>
                    <a:lnTo>
                      <a:pt x="920" y="30"/>
                    </a:lnTo>
                    <a:lnTo>
                      <a:pt x="920" y="30"/>
                    </a:lnTo>
                    <a:lnTo>
                      <a:pt x="920" y="24"/>
                    </a:lnTo>
                    <a:lnTo>
                      <a:pt x="918" y="19"/>
                    </a:lnTo>
                    <a:lnTo>
                      <a:pt x="916" y="15"/>
                    </a:lnTo>
                    <a:lnTo>
                      <a:pt x="913" y="11"/>
                    </a:lnTo>
                    <a:lnTo>
                      <a:pt x="910" y="7"/>
                    </a:lnTo>
                    <a:lnTo>
                      <a:pt x="906" y="4"/>
                    </a:lnTo>
                    <a:lnTo>
                      <a:pt x="901" y="1"/>
                    </a:lnTo>
                    <a:lnTo>
                      <a:pt x="897" y="0"/>
                    </a:lnTo>
                    <a:lnTo>
                      <a:pt x="897" y="0"/>
                    </a:lnTo>
                    <a:lnTo>
                      <a:pt x="889" y="0"/>
                    </a:lnTo>
                    <a:lnTo>
                      <a:pt x="883" y="1"/>
                    </a:lnTo>
                    <a:lnTo>
                      <a:pt x="877" y="4"/>
                    </a:lnTo>
                    <a:lnTo>
                      <a:pt x="871" y="7"/>
                    </a:lnTo>
                    <a:lnTo>
                      <a:pt x="867" y="12"/>
                    </a:lnTo>
                    <a:lnTo>
                      <a:pt x="863" y="18"/>
                    </a:lnTo>
                    <a:lnTo>
                      <a:pt x="862" y="24"/>
                    </a:lnTo>
                    <a:lnTo>
                      <a:pt x="860" y="31"/>
                    </a:lnTo>
                    <a:lnTo>
                      <a:pt x="860" y="383"/>
                    </a:lnTo>
                    <a:lnTo>
                      <a:pt x="860" y="383"/>
                    </a:lnTo>
                    <a:lnTo>
                      <a:pt x="562" y="558"/>
                    </a:lnTo>
                    <a:lnTo>
                      <a:pt x="562" y="558"/>
                    </a:lnTo>
                    <a:lnTo>
                      <a:pt x="353" y="678"/>
                    </a:lnTo>
                    <a:lnTo>
                      <a:pt x="353" y="678"/>
                    </a:lnTo>
                    <a:lnTo>
                      <a:pt x="46" y="502"/>
                    </a:lnTo>
                    <a:lnTo>
                      <a:pt x="46" y="502"/>
                    </a:lnTo>
                    <a:lnTo>
                      <a:pt x="39" y="498"/>
                    </a:lnTo>
                    <a:lnTo>
                      <a:pt x="31" y="498"/>
                    </a:lnTo>
                    <a:lnTo>
                      <a:pt x="31" y="498"/>
                    </a:lnTo>
                    <a:lnTo>
                      <a:pt x="23" y="498"/>
                    </a:lnTo>
                    <a:lnTo>
                      <a:pt x="16" y="502"/>
                    </a:lnTo>
                    <a:lnTo>
                      <a:pt x="10" y="506"/>
                    </a:lnTo>
                    <a:lnTo>
                      <a:pt x="4" y="513"/>
                    </a:lnTo>
                    <a:lnTo>
                      <a:pt x="4" y="513"/>
                    </a:lnTo>
                    <a:lnTo>
                      <a:pt x="2" y="518"/>
                    </a:lnTo>
                    <a:lnTo>
                      <a:pt x="0" y="525"/>
                    </a:lnTo>
                    <a:lnTo>
                      <a:pt x="0" y="531"/>
                    </a:lnTo>
                    <a:lnTo>
                      <a:pt x="2" y="536"/>
                    </a:lnTo>
                    <a:lnTo>
                      <a:pt x="3" y="541"/>
                    </a:lnTo>
                    <a:lnTo>
                      <a:pt x="6" y="547"/>
                    </a:lnTo>
                    <a:lnTo>
                      <a:pt x="10" y="552"/>
                    </a:lnTo>
                    <a:lnTo>
                      <a:pt x="15" y="555"/>
                    </a:lnTo>
                    <a:lnTo>
                      <a:pt x="15" y="555"/>
                    </a:lnTo>
                    <a:lnTo>
                      <a:pt x="320" y="732"/>
                    </a:lnTo>
                    <a:lnTo>
                      <a:pt x="320" y="732"/>
                    </a:lnTo>
                    <a:lnTo>
                      <a:pt x="320" y="891"/>
                    </a:lnTo>
                    <a:lnTo>
                      <a:pt x="320" y="891"/>
                    </a:lnTo>
                    <a:lnTo>
                      <a:pt x="320" y="1164"/>
                    </a:lnTo>
                    <a:lnTo>
                      <a:pt x="320" y="1164"/>
                    </a:lnTo>
                    <a:lnTo>
                      <a:pt x="320" y="1323"/>
                    </a:lnTo>
                    <a:lnTo>
                      <a:pt x="320" y="1323"/>
                    </a:lnTo>
                    <a:lnTo>
                      <a:pt x="15" y="1500"/>
                    </a:lnTo>
                    <a:lnTo>
                      <a:pt x="15" y="1500"/>
                    </a:lnTo>
                    <a:lnTo>
                      <a:pt x="10" y="1503"/>
                    </a:lnTo>
                    <a:lnTo>
                      <a:pt x="6" y="1508"/>
                    </a:lnTo>
                    <a:lnTo>
                      <a:pt x="3" y="1514"/>
                    </a:lnTo>
                    <a:lnTo>
                      <a:pt x="2" y="1519"/>
                    </a:lnTo>
                    <a:lnTo>
                      <a:pt x="0" y="1524"/>
                    </a:lnTo>
                    <a:lnTo>
                      <a:pt x="0" y="1530"/>
                    </a:lnTo>
                    <a:lnTo>
                      <a:pt x="2" y="1537"/>
                    </a:lnTo>
                    <a:lnTo>
                      <a:pt x="4" y="1542"/>
                    </a:lnTo>
                    <a:lnTo>
                      <a:pt x="4" y="1542"/>
                    </a:lnTo>
                    <a:lnTo>
                      <a:pt x="10" y="1549"/>
                    </a:lnTo>
                    <a:lnTo>
                      <a:pt x="16" y="1553"/>
                    </a:lnTo>
                    <a:lnTo>
                      <a:pt x="23" y="1557"/>
                    </a:lnTo>
                    <a:lnTo>
                      <a:pt x="31" y="1557"/>
                    </a:lnTo>
                    <a:lnTo>
                      <a:pt x="31" y="1557"/>
                    </a:lnTo>
                    <a:lnTo>
                      <a:pt x="39" y="1557"/>
                    </a:lnTo>
                    <a:lnTo>
                      <a:pt x="46" y="1553"/>
                    </a:lnTo>
                    <a:lnTo>
                      <a:pt x="46" y="1553"/>
                    </a:lnTo>
                    <a:lnTo>
                      <a:pt x="353" y="1377"/>
                    </a:lnTo>
                    <a:lnTo>
                      <a:pt x="353" y="1377"/>
                    </a:lnTo>
                    <a:lnTo>
                      <a:pt x="562" y="1497"/>
                    </a:lnTo>
                    <a:lnTo>
                      <a:pt x="562" y="1497"/>
                    </a:lnTo>
                    <a:lnTo>
                      <a:pt x="860" y="1672"/>
                    </a:lnTo>
                    <a:lnTo>
                      <a:pt x="860" y="2024"/>
                    </a:lnTo>
                    <a:lnTo>
                      <a:pt x="860" y="2024"/>
                    </a:lnTo>
                    <a:lnTo>
                      <a:pt x="862" y="2031"/>
                    </a:lnTo>
                    <a:lnTo>
                      <a:pt x="863" y="2037"/>
                    </a:lnTo>
                    <a:lnTo>
                      <a:pt x="867" y="2043"/>
                    </a:lnTo>
                    <a:lnTo>
                      <a:pt x="871" y="2048"/>
                    </a:lnTo>
                    <a:lnTo>
                      <a:pt x="877" y="2051"/>
                    </a:lnTo>
                    <a:lnTo>
                      <a:pt x="883" y="2054"/>
                    </a:lnTo>
                    <a:lnTo>
                      <a:pt x="889" y="2055"/>
                    </a:lnTo>
                    <a:lnTo>
                      <a:pt x="897" y="2055"/>
                    </a:lnTo>
                    <a:lnTo>
                      <a:pt x="897" y="2055"/>
                    </a:lnTo>
                    <a:lnTo>
                      <a:pt x="901" y="2054"/>
                    </a:lnTo>
                    <a:lnTo>
                      <a:pt x="906" y="2051"/>
                    </a:lnTo>
                    <a:lnTo>
                      <a:pt x="910" y="2048"/>
                    </a:lnTo>
                    <a:lnTo>
                      <a:pt x="913" y="2044"/>
                    </a:lnTo>
                    <a:lnTo>
                      <a:pt x="916" y="2040"/>
                    </a:lnTo>
                    <a:lnTo>
                      <a:pt x="918" y="2036"/>
                    </a:lnTo>
                    <a:lnTo>
                      <a:pt x="920" y="2031"/>
                    </a:lnTo>
                    <a:lnTo>
                      <a:pt x="920" y="2025"/>
                    </a:lnTo>
                    <a:lnTo>
                      <a:pt x="920" y="2025"/>
                    </a:lnTo>
                    <a:lnTo>
                      <a:pt x="920" y="1670"/>
                    </a:lnTo>
                    <a:lnTo>
                      <a:pt x="920" y="1670"/>
                    </a:lnTo>
                    <a:lnTo>
                      <a:pt x="1428" y="1376"/>
                    </a:lnTo>
                    <a:lnTo>
                      <a:pt x="1428" y="1376"/>
                    </a:lnTo>
                    <a:lnTo>
                      <a:pt x="1935" y="1670"/>
                    </a:lnTo>
                    <a:lnTo>
                      <a:pt x="1935" y="1670"/>
                    </a:lnTo>
                    <a:lnTo>
                      <a:pt x="1935" y="2025"/>
                    </a:lnTo>
                    <a:lnTo>
                      <a:pt x="1935" y="2025"/>
                    </a:lnTo>
                    <a:lnTo>
                      <a:pt x="1935" y="2031"/>
                    </a:lnTo>
                    <a:lnTo>
                      <a:pt x="1937" y="2036"/>
                    </a:lnTo>
                    <a:lnTo>
                      <a:pt x="1939" y="2040"/>
                    </a:lnTo>
                    <a:lnTo>
                      <a:pt x="1942" y="2044"/>
                    </a:lnTo>
                    <a:lnTo>
                      <a:pt x="1945" y="2048"/>
                    </a:lnTo>
                    <a:lnTo>
                      <a:pt x="1949" y="2051"/>
                    </a:lnTo>
                    <a:lnTo>
                      <a:pt x="1954" y="2054"/>
                    </a:lnTo>
                    <a:lnTo>
                      <a:pt x="1958" y="2055"/>
                    </a:lnTo>
                    <a:lnTo>
                      <a:pt x="1958" y="2055"/>
                    </a:lnTo>
                    <a:lnTo>
                      <a:pt x="1966" y="2055"/>
                    </a:lnTo>
                    <a:lnTo>
                      <a:pt x="1972" y="2054"/>
                    </a:lnTo>
                    <a:lnTo>
                      <a:pt x="1978" y="2051"/>
                    </a:lnTo>
                    <a:lnTo>
                      <a:pt x="1984" y="2048"/>
                    </a:lnTo>
                    <a:lnTo>
                      <a:pt x="1988" y="2043"/>
                    </a:lnTo>
                    <a:lnTo>
                      <a:pt x="1992" y="2037"/>
                    </a:lnTo>
                    <a:lnTo>
                      <a:pt x="1993" y="2031"/>
                    </a:lnTo>
                    <a:lnTo>
                      <a:pt x="1995" y="2024"/>
                    </a:lnTo>
                    <a:lnTo>
                      <a:pt x="1995" y="1672"/>
                    </a:lnTo>
                    <a:lnTo>
                      <a:pt x="1995" y="1672"/>
                    </a:lnTo>
                    <a:lnTo>
                      <a:pt x="2293" y="1497"/>
                    </a:lnTo>
                    <a:lnTo>
                      <a:pt x="2293" y="1497"/>
                    </a:lnTo>
                    <a:lnTo>
                      <a:pt x="2502" y="1377"/>
                    </a:lnTo>
                    <a:lnTo>
                      <a:pt x="2502" y="1377"/>
                    </a:lnTo>
                    <a:lnTo>
                      <a:pt x="2809" y="1553"/>
                    </a:lnTo>
                    <a:lnTo>
                      <a:pt x="2809" y="1553"/>
                    </a:lnTo>
                    <a:lnTo>
                      <a:pt x="2816" y="1557"/>
                    </a:lnTo>
                    <a:lnTo>
                      <a:pt x="2824" y="1557"/>
                    </a:lnTo>
                    <a:lnTo>
                      <a:pt x="2824" y="1557"/>
                    </a:lnTo>
                    <a:lnTo>
                      <a:pt x="2832" y="1557"/>
                    </a:lnTo>
                    <a:lnTo>
                      <a:pt x="2839" y="1553"/>
                    </a:lnTo>
                    <a:lnTo>
                      <a:pt x="2845" y="1549"/>
                    </a:lnTo>
                    <a:lnTo>
                      <a:pt x="2851" y="1542"/>
                    </a:lnTo>
                    <a:lnTo>
                      <a:pt x="2851" y="1542"/>
                    </a:lnTo>
                    <a:lnTo>
                      <a:pt x="2853" y="1537"/>
                    </a:lnTo>
                    <a:lnTo>
                      <a:pt x="2855" y="1530"/>
                    </a:lnTo>
                    <a:lnTo>
                      <a:pt x="2855" y="1524"/>
                    </a:lnTo>
                    <a:lnTo>
                      <a:pt x="2853" y="1519"/>
                    </a:lnTo>
                    <a:lnTo>
                      <a:pt x="2852" y="1514"/>
                    </a:lnTo>
                    <a:lnTo>
                      <a:pt x="2849" y="1508"/>
                    </a:lnTo>
                    <a:lnTo>
                      <a:pt x="2845" y="1503"/>
                    </a:lnTo>
                    <a:lnTo>
                      <a:pt x="2840" y="1500"/>
                    </a:lnTo>
                    <a:lnTo>
                      <a:pt x="2840" y="1500"/>
                    </a:lnTo>
                    <a:close/>
                    <a:moveTo>
                      <a:pt x="890" y="1618"/>
                    </a:moveTo>
                    <a:lnTo>
                      <a:pt x="890" y="1618"/>
                    </a:lnTo>
                    <a:lnTo>
                      <a:pt x="751" y="1537"/>
                    </a:lnTo>
                    <a:lnTo>
                      <a:pt x="751" y="1537"/>
                    </a:lnTo>
                    <a:lnTo>
                      <a:pt x="751" y="1535"/>
                    </a:lnTo>
                    <a:lnTo>
                      <a:pt x="751" y="1535"/>
                    </a:lnTo>
                    <a:lnTo>
                      <a:pt x="385" y="1323"/>
                    </a:lnTo>
                    <a:lnTo>
                      <a:pt x="385" y="1323"/>
                    </a:lnTo>
                    <a:lnTo>
                      <a:pt x="385" y="1163"/>
                    </a:lnTo>
                    <a:lnTo>
                      <a:pt x="385" y="1163"/>
                    </a:lnTo>
                    <a:lnTo>
                      <a:pt x="385" y="892"/>
                    </a:lnTo>
                    <a:lnTo>
                      <a:pt x="385" y="892"/>
                    </a:lnTo>
                    <a:lnTo>
                      <a:pt x="385" y="732"/>
                    </a:lnTo>
                    <a:lnTo>
                      <a:pt x="385" y="732"/>
                    </a:lnTo>
                    <a:lnTo>
                      <a:pt x="751" y="520"/>
                    </a:lnTo>
                    <a:lnTo>
                      <a:pt x="751" y="520"/>
                    </a:lnTo>
                    <a:lnTo>
                      <a:pt x="751" y="518"/>
                    </a:lnTo>
                    <a:lnTo>
                      <a:pt x="751" y="518"/>
                    </a:lnTo>
                    <a:lnTo>
                      <a:pt x="890" y="437"/>
                    </a:lnTo>
                    <a:lnTo>
                      <a:pt x="890" y="437"/>
                    </a:lnTo>
                    <a:lnTo>
                      <a:pt x="1139" y="582"/>
                    </a:lnTo>
                    <a:lnTo>
                      <a:pt x="1139" y="582"/>
                    </a:lnTo>
                    <a:lnTo>
                      <a:pt x="1243" y="644"/>
                    </a:lnTo>
                    <a:lnTo>
                      <a:pt x="1395" y="733"/>
                    </a:lnTo>
                    <a:lnTo>
                      <a:pt x="1395" y="733"/>
                    </a:lnTo>
                    <a:lnTo>
                      <a:pt x="1395" y="892"/>
                    </a:lnTo>
                    <a:lnTo>
                      <a:pt x="1395" y="892"/>
                    </a:lnTo>
                    <a:lnTo>
                      <a:pt x="1395" y="1163"/>
                    </a:lnTo>
                    <a:lnTo>
                      <a:pt x="1395" y="1163"/>
                    </a:lnTo>
                    <a:lnTo>
                      <a:pt x="1395" y="1322"/>
                    </a:lnTo>
                    <a:lnTo>
                      <a:pt x="1395" y="1322"/>
                    </a:lnTo>
                    <a:lnTo>
                      <a:pt x="1243" y="1411"/>
                    </a:lnTo>
                    <a:lnTo>
                      <a:pt x="1139" y="1473"/>
                    </a:lnTo>
                    <a:lnTo>
                      <a:pt x="1139" y="1473"/>
                    </a:lnTo>
                    <a:lnTo>
                      <a:pt x="890" y="1618"/>
                    </a:lnTo>
                    <a:lnTo>
                      <a:pt x="890" y="1618"/>
                    </a:lnTo>
                    <a:close/>
                    <a:moveTo>
                      <a:pt x="2470" y="892"/>
                    </a:moveTo>
                    <a:lnTo>
                      <a:pt x="2470" y="892"/>
                    </a:lnTo>
                    <a:lnTo>
                      <a:pt x="2470" y="1163"/>
                    </a:lnTo>
                    <a:lnTo>
                      <a:pt x="2470" y="1163"/>
                    </a:lnTo>
                    <a:lnTo>
                      <a:pt x="2470" y="1323"/>
                    </a:lnTo>
                    <a:lnTo>
                      <a:pt x="2470" y="1323"/>
                    </a:lnTo>
                    <a:lnTo>
                      <a:pt x="2104" y="1535"/>
                    </a:lnTo>
                    <a:lnTo>
                      <a:pt x="2104" y="1535"/>
                    </a:lnTo>
                    <a:lnTo>
                      <a:pt x="2104" y="1537"/>
                    </a:lnTo>
                    <a:lnTo>
                      <a:pt x="2104" y="1537"/>
                    </a:lnTo>
                    <a:lnTo>
                      <a:pt x="1965" y="1618"/>
                    </a:lnTo>
                    <a:lnTo>
                      <a:pt x="1965" y="1618"/>
                    </a:lnTo>
                    <a:lnTo>
                      <a:pt x="1612" y="1412"/>
                    </a:lnTo>
                    <a:lnTo>
                      <a:pt x="1612" y="1412"/>
                    </a:lnTo>
                    <a:lnTo>
                      <a:pt x="1542" y="1370"/>
                    </a:lnTo>
                    <a:lnTo>
                      <a:pt x="1460" y="1322"/>
                    </a:lnTo>
                    <a:lnTo>
                      <a:pt x="1460" y="1322"/>
                    </a:lnTo>
                    <a:lnTo>
                      <a:pt x="1460" y="1163"/>
                    </a:lnTo>
                    <a:lnTo>
                      <a:pt x="1460" y="1163"/>
                    </a:lnTo>
                    <a:lnTo>
                      <a:pt x="1460" y="892"/>
                    </a:lnTo>
                    <a:lnTo>
                      <a:pt x="1460" y="892"/>
                    </a:lnTo>
                    <a:lnTo>
                      <a:pt x="1460" y="733"/>
                    </a:lnTo>
                    <a:lnTo>
                      <a:pt x="1460" y="733"/>
                    </a:lnTo>
                    <a:lnTo>
                      <a:pt x="1612" y="644"/>
                    </a:lnTo>
                    <a:lnTo>
                      <a:pt x="1716" y="582"/>
                    </a:lnTo>
                    <a:lnTo>
                      <a:pt x="1716" y="582"/>
                    </a:lnTo>
                    <a:lnTo>
                      <a:pt x="1965" y="437"/>
                    </a:lnTo>
                    <a:lnTo>
                      <a:pt x="1965" y="437"/>
                    </a:lnTo>
                    <a:lnTo>
                      <a:pt x="2104" y="518"/>
                    </a:lnTo>
                    <a:lnTo>
                      <a:pt x="2104" y="518"/>
                    </a:lnTo>
                    <a:lnTo>
                      <a:pt x="2104" y="520"/>
                    </a:lnTo>
                    <a:lnTo>
                      <a:pt x="2104" y="520"/>
                    </a:lnTo>
                    <a:lnTo>
                      <a:pt x="2470" y="732"/>
                    </a:lnTo>
                    <a:lnTo>
                      <a:pt x="2470" y="732"/>
                    </a:lnTo>
                    <a:lnTo>
                      <a:pt x="2470" y="892"/>
                    </a:lnTo>
                    <a:lnTo>
                      <a:pt x="2470" y="89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14">
                <a:extLst>
                  <a:ext uri="{FF2B5EF4-FFF2-40B4-BE49-F238E27FC236}">
                    <a16:creationId xmlns:a16="http://schemas.microsoft.com/office/drawing/2014/main" id="{9DF56B1F-45ED-4A82-8E76-F84529EF06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2543" y="3207586"/>
                <a:ext cx="985647" cy="441241"/>
              </a:xfrm>
              <a:custGeom>
                <a:avLst/>
                <a:gdLst>
                  <a:gd name="connsiteX0" fmla="*/ 969735 w 985647"/>
                  <a:gd name="connsiteY0" fmla="*/ 304742 h 441241"/>
                  <a:gd name="connsiteX1" fmla="*/ 973448 w 985647"/>
                  <a:gd name="connsiteY1" fmla="*/ 305804 h 441241"/>
                  <a:gd name="connsiteX2" fmla="*/ 977691 w 985647"/>
                  <a:gd name="connsiteY2" fmla="*/ 307398 h 441241"/>
                  <a:gd name="connsiteX3" fmla="*/ 981404 w 985647"/>
                  <a:gd name="connsiteY3" fmla="*/ 310053 h 441241"/>
                  <a:gd name="connsiteX4" fmla="*/ 983526 w 985647"/>
                  <a:gd name="connsiteY4" fmla="*/ 313771 h 441241"/>
                  <a:gd name="connsiteX5" fmla="*/ 985117 w 985647"/>
                  <a:gd name="connsiteY5" fmla="*/ 316427 h 441241"/>
                  <a:gd name="connsiteX6" fmla="*/ 985647 w 985647"/>
                  <a:gd name="connsiteY6" fmla="*/ 319082 h 441241"/>
                  <a:gd name="connsiteX7" fmla="*/ 985647 w 985647"/>
                  <a:gd name="connsiteY7" fmla="*/ 322269 h 441241"/>
                  <a:gd name="connsiteX8" fmla="*/ 985647 w 985647"/>
                  <a:gd name="connsiteY8" fmla="*/ 325987 h 441241"/>
                  <a:gd name="connsiteX9" fmla="*/ 984056 w 985647"/>
                  <a:gd name="connsiteY9" fmla="*/ 328643 h 441241"/>
                  <a:gd name="connsiteX10" fmla="*/ 982995 w 985647"/>
                  <a:gd name="connsiteY10" fmla="*/ 331298 h 441241"/>
                  <a:gd name="connsiteX11" fmla="*/ 980874 w 985647"/>
                  <a:gd name="connsiteY11" fmla="*/ 333423 h 441241"/>
                  <a:gd name="connsiteX12" fmla="*/ 977691 w 985647"/>
                  <a:gd name="connsiteY12" fmla="*/ 336078 h 441241"/>
                  <a:gd name="connsiteX13" fmla="*/ 798948 w 985647"/>
                  <a:gd name="connsiteY13" fmla="*/ 439117 h 441241"/>
                  <a:gd name="connsiteX14" fmla="*/ 795766 w 985647"/>
                  <a:gd name="connsiteY14" fmla="*/ 440710 h 441241"/>
                  <a:gd name="connsiteX15" fmla="*/ 793114 w 985647"/>
                  <a:gd name="connsiteY15" fmla="*/ 441241 h 441241"/>
                  <a:gd name="connsiteX16" fmla="*/ 789401 w 985647"/>
                  <a:gd name="connsiteY16" fmla="*/ 441241 h 441241"/>
                  <a:gd name="connsiteX17" fmla="*/ 786749 w 985647"/>
                  <a:gd name="connsiteY17" fmla="*/ 440710 h 441241"/>
                  <a:gd name="connsiteX18" fmla="*/ 783567 w 985647"/>
                  <a:gd name="connsiteY18" fmla="*/ 439648 h 441241"/>
                  <a:gd name="connsiteX19" fmla="*/ 780915 w 985647"/>
                  <a:gd name="connsiteY19" fmla="*/ 437523 h 441241"/>
                  <a:gd name="connsiteX20" fmla="*/ 778793 w 985647"/>
                  <a:gd name="connsiteY20" fmla="*/ 435399 h 441241"/>
                  <a:gd name="connsiteX21" fmla="*/ 776672 w 985647"/>
                  <a:gd name="connsiteY21" fmla="*/ 432743 h 441241"/>
                  <a:gd name="connsiteX22" fmla="*/ 775081 w 985647"/>
                  <a:gd name="connsiteY22" fmla="*/ 429556 h 441241"/>
                  <a:gd name="connsiteX23" fmla="*/ 774550 w 985647"/>
                  <a:gd name="connsiteY23" fmla="*/ 426901 h 441241"/>
                  <a:gd name="connsiteX24" fmla="*/ 774550 w 985647"/>
                  <a:gd name="connsiteY24" fmla="*/ 424245 h 441241"/>
                  <a:gd name="connsiteX25" fmla="*/ 775081 w 985647"/>
                  <a:gd name="connsiteY25" fmla="*/ 420527 h 441241"/>
                  <a:gd name="connsiteX26" fmla="*/ 775611 w 985647"/>
                  <a:gd name="connsiteY26" fmla="*/ 417341 h 441241"/>
                  <a:gd name="connsiteX27" fmla="*/ 777733 w 985647"/>
                  <a:gd name="connsiteY27" fmla="*/ 414685 h 441241"/>
                  <a:gd name="connsiteX28" fmla="*/ 779854 w 985647"/>
                  <a:gd name="connsiteY28" fmla="*/ 412560 h 441241"/>
                  <a:gd name="connsiteX29" fmla="*/ 783037 w 985647"/>
                  <a:gd name="connsiteY29" fmla="*/ 410436 h 441241"/>
                  <a:gd name="connsiteX30" fmla="*/ 961249 w 985647"/>
                  <a:gd name="connsiteY30" fmla="*/ 307398 h 441241"/>
                  <a:gd name="connsiteX31" fmla="*/ 965492 w 985647"/>
                  <a:gd name="connsiteY31" fmla="*/ 305804 h 441241"/>
                  <a:gd name="connsiteX32" fmla="*/ 410554 w 985647"/>
                  <a:gd name="connsiteY32" fmla="*/ 304742 h 441241"/>
                  <a:gd name="connsiteX33" fmla="*/ 414787 w 985647"/>
                  <a:gd name="connsiteY33" fmla="*/ 305804 h 441241"/>
                  <a:gd name="connsiteX34" fmla="*/ 418490 w 985647"/>
                  <a:gd name="connsiteY34" fmla="*/ 307398 h 441241"/>
                  <a:gd name="connsiteX35" fmla="*/ 421665 w 985647"/>
                  <a:gd name="connsiteY35" fmla="*/ 310053 h 441241"/>
                  <a:gd name="connsiteX36" fmla="*/ 424839 w 985647"/>
                  <a:gd name="connsiteY36" fmla="*/ 313771 h 441241"/>
                  <a:gd name="connsiteX37" fmla="*/ 425897 w 985647"/>
                  <a:gd name="connsiteY37" fmla="*/ 316427 h 441241"/>
                  <a:gd name="connsiteX38" fmla="*/ 426955 w 985647"/>
                  <a:gd name="connsiteY38" fmla="*/ 319082 h 441241"/>
                  <a:gd name="connsiteX39" fmla="*/ 426955 w 985647"/>
                  <a:gd name="connsiteY39" fmla="*/ 322269 h 441241"/>
                  <a:gd name="connsiteX40" fmla="*/ 425897 w 985647"/>
                  <a:gd name="connsiteY40" fmla="*/ 325987 h 441241"/>
                  <a:gd name="connsiteX41" fmla="*/ 425368 w 985647"/>
                  <a:gd name="connsiteY41" fmla="*/ 328643 h 441241"/>
                  <a:gd name="connsiteX42" fmla="*/ 423252 w 985647"/>
                  <a:gd name="connsiteY42" fmla="*/ 331298 h 441241"/>
                  <a:gd name="connsiteX43" fmla="*/ 421136 w 985647"/>
                  <a:gd name="connsiteY43" fmla="*/ 333423 h 441241"/>
                  <a:gd name="connsiteX44" fmla="*/ 419019 w 985647"/>
                  <a:gd name="connsiteY44" fmla="*/ 336078 h 441241"/>
                  <a:gd name="connsiteX45" fmla="*/ 240195 w 985647"/>
                  <a:gd name="connsiteY45" fmla="*/ 439117 h 441241"/>
                  <a:gd name="connsiteX46" fmla="*/ 237550 w 985647"/>
                  <a:gd name="connsiteY46" fmla="*/ 440710 h 441241"/>
                  <a:gd name="connsiteX47" fmla="*/ 233846 w 985647"/>
                  <a:gd name="connsiteY47" fmla="*/ 441241 h 441241"/>
                  <a:gd name="connsiteX48" fmla="*/ 231201 w 985647"/>
                  <a:gd name="connsiteY48" fmla="*/ 441241 h 441241"/>
                  <a:gd name="connsiteX49" fmla="*/ 228027 w 985647"/>
                  <a:gd name="connsiteY49" fmla="*/ 440710 h 441241"/>
                  <a:gd name="connsiteX50" fmla="*/ 225381 w 985647"/>
                  <a:gd name="connsiteY50" fmla="*/ 439648 h 441241"/>
                  <a:gd name="connsiteX51" fmla="*/ 222736 w 985647"/>
                  <a:gd name="connsiteY51" fmla="*/ 437523 h 441241"/>
                  <a:gd name="connsiteX52" fmla="*/ 220620 w 985647"/>
                  <a:gd name="connsiteY52" fmla="*/ 435399 h 441241"/>
                  <a:gd name="connsiteX53" fmla="*/ 217975 w 985647"/>
                  <a:gd name="connsiteY53" fmla="*/ 432743 h 441241"/>
                  <a:gd name="connsiteX54" fmla="*/ 216916 w 985647"/>
                  <a:gd name="connsiteY54" fmla="*/ 429556 h 441241"/>
                  <a:gd name="connsiteX55" fmla="*/ 215858 w 985647"/>
                  <a:gd name="connsiteY55" fmla="*/ 426901 h 441241"/>
                  <a:gd name="connsiteX56" fmla="*/ 215858 w 985647"/>
                  <a:gd name="connsiteY56" fmla="*/ 424245 h 441241"/>
                  <a:gd name="connsiteX57" fmla="*/ 215858 w 985647"/>
                  <a:gd name="connsiteY57" fmla="*/ 420527 h 441241"/>
                  <a:gd name="connsiteX58" fmla="*/ 217445 w 985647"/>
                  <a:gd name="connsiteY58" fmla="*/ 417341 h 441241"/>
                  <a:gd name="connsiteX59" fmla="*/ 219033 w 985647"/>
                  <a:gd name="connsiteY59" fmla="*/ 414685 h 441241"/>
                  <a:gd name="connsiteX60" fmla="*/ 221149 w 985647"/>
                  <a:gd name="connsiteY60" fmla="*/ 412560 h 441241"/>
                  <a:gd name="connsiteX61" fmla="*/ 223794 w 985647"/>
                  <a:gd name="connsiteY61" fmla="*/ 410436 h 441241"/>
                  <a:gd name="connsiteX62" fmla="*/ 402618 w 985647"/>
                  <a:gd name="connsiteY62" fmla="*/ 307398 h 441241"/>
                  <a:gd name="connsiteX63" fmla="*/ 406322 w 985647"/>
                  <a:gd name="connsiteY63" fmla="*/ 305804 h 441241"/>
                  <a:gd name="connsiteX64" fmla="*/ 13755 w 985647"/>
                  <a:gd name="connsiteY64" fmla="*/ 101581 h 441241"/>
                  <a:gd name="connsiteX65" fmla="*/ 16930 w 985647"/>
                  <a:gd name="connsiteY65" fmla="*/ 101581 h 441241"/>
                  <a:gd name="connsiteX66" fmla="*/ 20633 w 985647"/>
                  <a:gd name="connsiteY66" fmla="*/ 101581 h 441241"/>
                  <a:gd name="connsiteX67" fmla="*/ 23808 w 985647"/>
                  <a:gd name="connsiteY67" fmla="*/ 103175 h 441241"/>
                  <a:gd name="connsiteX68" fmla="*/ 26453 w 985647"/>
                  <a:gd name="connsiteY68" fmla="*/ 104238 h 441241"/>
                  <a:gd name="connsiteX69" fmla="*/ 28569 w 985647"/>
                  <a:gd name="connsiteY69" fmla="*/ 106364 h 441241"/>
                  <a:gd name="connsiteX70" fmla="*/ 30685 w 985647"/>
                  <a:gd name="connsiteY70" fmla="*/ 109021 h 441241"/>
                  <a:gd name="connsiteX71" fmla="*/ 32273 w 985647"/>
                  <a:gd name="connsiteY71" fmla="*/ 111678 h 441241"/>
                  <a:gd name="connsiteX72" fmla="*/ 32802 w 985647"/>
                  <a:gd name="connsiteY72" fmla="*/ 114335 h 441241"/>
                  <a:gd name="connsiteX73" fmla="*/ 33331 w 985647"/>
                  <a:gd name="connsiteY73" fmla="*/ 118055 h 441241"/>
                  <a:gd name="connsiteX74" fmla="*/ 32802 w 985647"/>
                  <a:gd name="connsiteY74" fmla="*/ 324773 h 441241"/>
                  <a:gd name="connsiteX75" fmla="*/ 32802 w 985647"/>
                  <a:gd name="connsiteY75" fmla="*/ 328493 h 441241"/>
                  <a:gd name="connsiteX76" fmla="*/ 31214 w 985647"/>
                  <a:gd name="connsiteY76" fmla="*/ 331150 h 441241"/>
                  <a:gd name="connsiteX77" fmla="*/ 30156 w 985647"/>
                  <a:gd name="connsiteY77" fmla="*/ 333807 h 441241"/>
                  <a:gd name="connsiteX78" fmla="*/ 28040 w 985647"/>
                  <a:gd name="connsiteY78" fmla="*/ 336464 h 441241"/>
                  <a:gd name="connsiteX79" fmla="*/ 25924 w 985647"/>
                  <a:gd name="connsiteY79" fmla="*/ 338590 h 441241"/>
                  <a:gd name="connsiteX80" fmla="*/ 22749 w 985647"/>
                  <a:gd name="connsiteY80" fmla="*/ 339653 h 441241"/>
                  <a:gd name="connsiteX81" fmla="*/ 20104 w 985647"/>
                  <a:gd name="connsiteY81" fmla="*/ 340716 h 441241"/>
                  <a:gd name="connsiteX82" fmla="*/ 16401 w 985647"/>
                  <a:gd name="connsiteY82" fmla="*/ 341247 h 441241"/>
                  <a:gd name="connsiteX83" fmla="*/ 12168 w 985647"/>
                  <a:gd name="connsiteY83" fmla="*/ 340716 h 441241"/>
                  <a:gd name="connsiteX84" fmla="*/ 8465 w 985647"/>
                  <a:gd name="connsiteY84" fmla="*/ 339121 h 441241"/>
                  <a:gd name="connsiteX85" fmla="*/ 4761 w 985647"/>
                  <a:gd name="connsiteY85" fmla="*/ 336464 h 441241"/>
                  <a:gd name="connsiteX86" fmla="*/ 2116 w 985647"/>
                  <a:gd name="connsiteY86" fmla="*/ 332745 h 441241"/>
                  <a:gd name="connsiteX87" fmla="*/ 529 w 985647"/>
                  <a:gd name="connsiteY87" fmla="*/ 329025 h 441241"/>
                  <a:gd name="connsiteX88" fmla="*/ 0 w 985647"/>
                  <a:gd name="connsiteY88" fmla="*/ 324773 h 441241"/>
                  <a:gd name="connsiteX89" fmla="*/ 529 w 985647"/>
                  <a:gd name="connsiteY89" fmla="*/ 118055 h 441241"/>
                  <a:gd name="connsiteX90" fmla="*/ 529 w 985647"/>
                  <a:gd name="connsiteY90" fmla="*/ 114335 h 441241"/>
                  <a:gd name="connsiteX91" fmla="*/ 2116 w 985647"/>
                  <a:gd name="connsiteY91" fmla="*/ 111678 h 441241"/>
                  <a:gd name="connsiteX92" fmla="*/ 3703 w 985647"/>
                  <a:gd name="connsiteY92" fmla="*/ 109021 h 441241"/>
                  <a:gd name="connsiteX93" fmla="*/ 5819 w 985647"/>
                  <a:gd name="connsiteY93" fmla="*/ 106364 h 441241"/>
                  <a:gd name="connsiteX94" fmla="*/ 7936 w 985647"/>
                  <a:gd name="connsiteY94" fmla="*/ 104238 h 441241"/>
                  <a:gd name="connsiteX95" fmla="*/ 10581 w 985647"/>
                  <a:gd name="connsiteY95" fmla="*/ 103175 h 441241"/>
                  <a:gd name="connsiteX96" fmla="*/ 789401 w 985647"/>
                  <a:gd name="connsiteY96" fmla="*/ 0 h 441241"/>
                  <a:gd name="connsiteX97" fmla="*/ 793114 w 985647"/>
                  <a:gd name="connsiteY97" fmla="*/ 527 h 441241"/>
                  <a:gd name="connsiteX98" fmla="*/ 795766 w 985647"/>
                  <a:gd name="connsiteY98" fmla="*/ 1581 h 441241"/>
                  <a:gd name="connsiteX99" fmla="*/ 798948 w 985647"/>
                  <a:gd name="connsiteY99" fmla="*/ 2635 h 441241"/>
                  <a:gd name="connsiteX100" fmla="*/ 977691 w 985647"/>
                  <a:gd name="connsiteY100" fmla="*/ 104345 h 441241"/>
                  <a:gd name="connsiteX101" fmla="*/ 980874 w 985647"/>
                  <a:gd name="connsiteY101" fmla="*/ 106453 h 441241"/>
                  <a:gd name="connsiteX102" fmla="*/ 982995 w 985647"/>
                  <a:gd name="connsiteY102" fmla="*/ 109088 h 441241"/>
                  <a:gd name="connsiteX103" fmla="*/ 984056 w 985647"/>
                  <a:gd name="connsiteY103" fmla="*/ 111723 h 441241"/>
                  <a:gd name="connsiteX104" fmla="*/ 985647 w 985647"/>
                  <a:gd name="connsiteY104" fmla="*/ 114358 h 441241"/>
                  <a:gd name="connsiteX105" fmla="*/ 985647 w 985647"/>
                  <a:gd name="connsiteY105" fmla="*/ 118047 h 441241"/>
                  <a:gd name="connsiteX106" fmla="*/ 985647 w 985647"/>
                  <a:gd name="connsiteY106" fmla="*/ 120682 h 441241"/>
                  <a:gd name="connsiteX107" fmla="*/ 985117 w 985647"/>
                  <a:gd name="connsiteY107" fmla="*/ 124371 h 441241"/>
                  <a:gd name="connsiteX108" fmla="*/ 983526 w 985647"/>
                  <a:gd name="connsiteY108" fmla="*/ 127533 h 441241"/>
                  <a:gd name="connsiteX109" fmla="*/ 981404 w 985647"/>
                  <a:gd name="connsiteY109" fmla="*/ 130695 h 441241"/>
                  <a:gd name="connsiteX110" fmla="*/ 977691 w 985647"/>
                  <a:gd name="connsiteY110" fmla="*/ 132803 h 441241"/>
                  <a:gd name="connsiteX111" fmla="*/ 973448 w 985647"/>
                  <a:gd name="connsiteY111" fmla="*/ 134384 h 441241"/>
                  <a:gd name="connsiteX112" fmla="*/ 969735 w 985647"/>
                  <a:gd name="connsiteY112" fmla="*/ 134911 h 441241"/>
                  <a:gd name="connsiteX113" fmla="*/ 965492 w 985647"/>
                  <a:gd name="connsiteY113" fmla="*/ 134384 h 441241"/>
                  <a:gd name="connsiteX114" fmla="*/ 961249 w 985647"/>
                  <a:gd name="connsiteY114" fmla="*/ 132803 h 441241"/>
                  <a:gd name="connsiteX115" fmla="*/ 783037 w 985647"/>
                  <a:gd name="connsiteY115" fmla="*/ 30566 h 441241"/>
                  <a:gd name="connsiteX116" fmla="*/ 779854 w 985647"/>
                  <a:gd name="connsiteY116" fmla="*/ 28458 h 441241"/>
                  <a:gd name="connsiteX117" fmla="*/ 777733 w 985647"/>
                  <a:gd name="connsiteY117" fmla="*/ 26350 h 441241"/>
                  <a:gd name="connsiteX118" fmla="*/ 775611 w 985647"/>
                  <a:gd name="connsiteY118" fmla="*/ 23188 h 441241"/>
                  <a:gd name="connsiteX119" fmla="*/ 775081 w 985647"/>
                  <a:gd name="connsiteY119" fmla="*/ 20553 h 441241"/>
                  <a:gd name="connsiteX120" fmla="*/ 774550 w 985647"/>
                  <a:gd name="connsiteY120" fmla="*/ 17918 h 441241"/>
                  <a:gd name="connsiteX121" fmla="*/ 774550 w 985647"/>
                  <a:gd name="connsiteY121" fmla="*/ 14229 h 441241"/>
                  <a:gd name="connsiteX122" fmla="*/ 775081 w 985647"/>
                  <a:gd name="connsiteY122" fmla="*/ 11594 h 441241"/>
                  <a:gd name="connsiteX123" fmla="*/ 776672 w 985647"/>
                  <a:gd name="connsiteY123" fmla="*/ 8432 h 441241"/>
                  <a:gd name="connsiteX124" fmla="*/ 778793 w 985647"/>
                  <a:gd name="connsiteY124" fmla="*/ 5797 h 441241"/>
                  <a:gd name="connsiteX125" fmla="*/ 780915 w 985647"/>
                  <a:gd name="connsiteY125" fmla="*/ 3689 h 441241"/>
                  <a:gd name="connsiteX126" fmla="*/ 783567 w 985647"/>
                  <a:gd name="connsiteY126" fmla="*/ 2108 h 441241"/>
                  <a:gd name="connsiteX127" fmla="*/ 786749 w 985647"/>
                  <a:gd name="connsiteY127" fmla="*/ 527 h 441241"/>
                  <a:gd name="connsiteX128" fmla="*/ 231201 w 985647"/>
                  <a:gd name="connsiteY128" fmla="*/ 0 h 441241"/>
                  <a:gd name="connsiteX129" fmla="*/ 233846 w 985647"/>
                  <a:gd name="connsiteY129" fmla="*/ 527 h 441241"/>
                  <a:gd name="connsiteX130" fmla="*/ 237550 w 985647"/>
                  <a:gd name="connsiteY130" fmla="*/ 1581 h 441241"/>
                  <a:gd name="connsiteX131" fmla="*/ 240195 w 985647"/>
                  <a:gd name="connsiteY131" fmla="*/ 2635 h 441241"/>
                  <a:gd name="connsiteX132" fmla="*/ 419019 w 985647"/>
                  <a:gd name="connsiteY132" fmla="*/ 104345 h 441241"/>
                  <a:gd name="connsiteX133" fmla="*/ 421136 w 985647"/>
                  <a:gd name="connsiteY133" fmla="*/ 106453 h 441241"/>
                  <a:gd name="connsiteX134" fmla="*/ 423252 w 985647"/>
                  <a:gd name="connsiteY134" fmla="*/ 109088 h 441241"/>
                  <a:gd name="connsiteX135" fmla="*/ 425368 w 985647"/>
                  <a:gd name="connsiteY135" fmla="*/ 111723 h 441241"/>
                  <a:gd name="connsiteX136" fmla="*/ 425897 w 985647"/>
                  <a:gd name="connsiteY136" fmla="*/ 114358 h 441241"/>
                  <a:gd name="connsiteX137" fmla="*/ 426955 w 985647"/>
                  <a:gd name="connsiteY137" fmla="*/ 118047 h 441241"/>
                  <a:gd name="connsiteX138" fmla="*/ 426955 w 985647"/>
                  <a:gd name="connsiteY138" fmla="*/ 120682 h 441241"/>
                  <a:gd name="connsiteX139" fmla="*/ 425897 w 985647"/>
                  <a:gd name="connsiteY139" fmla="*/ 124371 h 441241"/>
                  <a:gd name="connsiteX140" fmla="*/ 424839 w 985647"/>
                  <a:gd name="connsiteY140" fmla="*/ 127533 h 441241"/>
                  <a:gd name="connsiteX141" fmla="*/ 421665 w 985647"/>
                  <a:gd name="connsiteY141" fmla="*/ 130695 h 441241"/>
                  <a:gd name="connsiteX142" fmla="*/ 418490 w 985647"/>
                  <a:gd name="connsiteY142" fmla="*/ 132803 h 441241"/>
                  <a:gd name="connsiteX143" fmla="*/ 414787 w 985647"/>
                  <a:gd name="connsiteY143" fmla="*/ 134384 h 441241"/>
                  <a:gd name="connsiteX144" fmla="*/ 410554 w 985647"/>
                  <a:gd name="connsiteY144" fmla="*/ 134911 h 441241"/>
                  <a:gd name="connsiteX145" fmla="*/ 406322 w 985647"/>
                  <a:gd name="connsiteY145" fmla="*/ 134384 h 441241"/>
                  <a:gd name="connsiteX146" fmla="*/ 402618 w 985647"/>
                  <a:gd name="connsiteY146" fmla="*/ 132803 h 441241"/>
                  <a:gd name="connsiteX147" fmla="*/ 223794 w 985647"/>
                  <a:gd name="connsiteY147" fmla="*/ 30566 h 441241"/>
                  <a:gd name="connsiteX148" fmla="*/ 221149 w 985647"/>
                  <a:gd name="connsiteY148" fmla="*/ 28458 h 441241"/>
                  <a:gd name="connsiteX149" fmla="*/ 219033 w 985647"/>
                  <a:gd name="connsiteY149" fmla="*/ 26350 h 441241"/>
                  <a:gd name="connsiteX150" fmla="*/ 217445 w 985647"/>
                  <a:gd name="connsiteY150" fmla="*/ 23188 h 441241"/>
                  <a:gd name="connsiteX151" fmla="*/ 215858 w 985647"/>
                  <a:gd name="connsiteY151" fmla="*/ 20553 h 441241"/>
                  <a:gd name="connsiteX152" fmla="*/ 215858 w 985647"/>
                  <a:gd name="connsiteY152" fmla="*/ 17918 h 441241"/>
                  <a:gd name="connsiteX153" fmla="*/ 215858 w 985647"/>
                  <a:gd name="connsiteY153" fmla="*/ 14229 h 441241"/>
                  <a:gd name="connsiteX154" fmla="*/ 216916 w 985647"/>
                  <a:gd name="connsiteY154" fmla="*/ 11594 h 441241"/>
                  <a:gd name="connsiteX155" fmla="*/ 217975 w 985647"/>
                  <a:gd name="connsiteY155" fmla="*/ 8432 h 441241"/>
                  <a:gd name="connsiteX156" fmla="*/ 220620 w 985647"/>
                  <a:gd name="connsiteY156" fmla="*/ 5797 h 441241"/>
                  <a:gd name="connsiteX157" fmla="*/ 222736 w 985647"/>
                  <a:gd name="connsiteY157" fmla="*/ 3689 h 441241"/>
                  <a:gd name="connsiteX158" fmla="*/ 225381 w 985647"/>
                  <a:gd name="connsiteY158" fmla="*/ 2108 h 441241"/>
                  <a:gd name="connsiteX159" fmla="*/ 228027 w 985647"/>
                  <a:gd name="connsiteY159" fmla="*/ 527 h 44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</a:cxnLst>
                <a:rect l="l" t="t" r="r" b="b"/>
                <a:pathLst>
                  <a:path w="985647" h="441241">
                    <a:moveTo>
                      <a:pt x="969735" y="304742"/>
                    </a:moveTo>
                    <a:lnTo>
                      <a:pt x="973448" y="305804"/>
                    </a:lnTo>
                    <a:lnTo>
                      <a:pt x="977691" y="307398"/>
                    </a:lnTo>
                    <a:lnTo>
                      <a:pt x="981404" y="310053"/>
                    </a:lnTo>
                    <a:lnTo>
                      <a:pt x="983526" y="313771"/>
                    </a:lnTo>
                    <a:lnTo>
                      <a:pt x="985117" y="316427"/>
                    </a:lnTo>
                    <a:lnTo>
                      <a:pt x="985647" y="319082"/>
                    </a:lnTo>
                    <a:lnTo>
                      <a:pt x="985647" y="322269"/>
                    </a:lnTo>
                    <a:lnTo>
                      <a:pt x="985647" y="325987"/>
                    </a:lnTo>
                    <a:lnTo>
                      <a:pt x="984056" y="328643"/>
                    </a:lnTo>
                    <a:lnTo>
                      <a:pt x="982995" y="331298"/>
                    </a:lnTo>
                    <a:lnTo>
                      <a:pt x="980874" y="333423"/>
                    </a:lnTo>
                    <a:lnTo>
                      <a:pt x="977691" y="336078"/>
                    </a:lnTo>
                    <a:lnTo>
                      <a:pt x="798948" y="439117"/>
                    </a:lnTo>
                    <a:lnTo>
                      <a:pt x="795766" y="440710"/>
                    </a:lnTo>
                    <a:lnTo>
                      <a:pt x="793114" y="441241"/>
                    </a:lnTo>
                    <a:lnTo>
                      <a:pt x="789401" y="441241"/>
                    </a:lnTo>
                    <a:lnTo>
                      <a:pt x="786749" y="440710"/>
                    </a:lnTo>
                    <a:lnTo>
                      <a:pt x="783567" y="439648"/>
                    </a:lnTo>
                    <a:lnTo>
                      <a:pt x="780915" y="437523"/>
                    </a:lnTo>
                    <a:lnTo>
                      <a:pt x="778793" y="435399"/>
                    </a:lnTo>
                    <a:lnTo>
                      <a:pt x="776672" y="432743"/>
                    </a:lnTo>
                    <a:lnTo>
                      <a:pt x="775081" y="429556"/>
                    </a:lnTo>
                    <a:lnTo>
                      <a:pt x="774550" y="426901"/>
                    </a:lnTo>
                    <a:lnTo>
                      <a:pt x="774550" y="424245"/>
                    </a:lnTo>
                    <a:lnTo>
                      <a:pt x="775081" y="420527"/>
                    </a:lnTo>
                    <a:lnTo>
                      <a:pt x="775611" y="417341"/>
                    </a:lnTo>
                    <a:lnTo>
                      <a:pt x="777733" y="414685"/>
                    </a:lnTo>
                    <a:lnTo>
                      <a:pt x="779854" y="412560"/>
                    </a:lnTo>
                    <a:lnTo>
                      <a:pt x="783037" y="410436"/>
                    </a:lnTo>
                    <a:lnTo>
                      <a:pt x="961249" y="307398"/>
                    </a:lnTo>
                    <a:lnTo>
                      <a:pt x="965492" y="305804"/>
                    </a:lnTo>
                    <a:close/>
                    <a:moveTo>
                      <a:pt x="410554" y="304742"/>
                    </a:moveTo>
                    <a:lnTo>
                      <a:pt x="414787" y="305804"/>
                    </a:lnTo>
                    <a:lnTo>
                      <a:pt x="418490" y="307398"/>
                    </a:lnTo>
                    <a:lnTo>
                      <a:pt x="421665" y="310053"/>
                    </a:lnTo>
                    <a:lnTo>
                      <a:pt x="424839" y="313771"/>
                    </a:lnTo>
                    <a:lnTo>
                      <a:pt x="425897" y="316427"/>
                    </a:lnTo>
                    <a:lnTo>
                      <a:pt x="426955" y="319082"/>
                    </a:lnTo>
                    <a:lnTo>
                      <a:pt x="426955" y="322269"/>
                    </a:lnTo>
                    <a:lnTo>
                      <a:pt x="425897" y="325987"/>
                    </a:lnTo>
                    <a:lnTo>
                      <a:pt x="425368" y="328643"/>
                    </a:lnTo>
                    <a:lnTo>
                      <a:pt x="423252" y="331298"/>
                    </a:lnTo>
                    <a:lnTo>
                      <a:pt x="421136" y="333423"/>
                    </a:lnTo>
                    <a:lnTo>
                      <a:pt x="419019" y="336078"/>
                    </a:lnTo>
                    <a:lnTo>
                      <a:pt x="240195" y="439117"/>
                    </a:lnTo>
                    <a:lnTo>
                      <a:pt x="237550" y="440710"/>
                    </a:lnTo>
                    <a:lnTo>
                      <a:pt x="233846" y="441241"/>
                    </a:lnTo>
                    <a:lnTo>
                      <a:pt x="231201" y="441241"/>
                    </a:lnTo>
                    <a:lnTo>
                      <a:pt x="228027" y="440710"/>
                    </a:lnTo>
                    <a:lnTo>
                      <a:pt x="225381" y="439648"/>
                    </a:lnTo>
                    <a:lnTo>
                      <a:pt x="222736" y="437523"/>
                    </a:lnTo>
                    <a:lnTo>
                      <a:pt x="220620" y="435399"/>
                    </a:lnTo>
                    <a:lnTo>
                      <a:pt x="217975" y="432743"/>
                    </a:lnTo>
                    <a:lnTo>
                      <a:pt x="216916" y="429556"/>
                    </a:lnTo>
                    <a:lnTo>
                      <a:pt x="215858" y="426901"/>
                    </a:lnTo>
                    <a:lnTo>
                      <a:pt x="215858" y="424245"/>
                    </a:lnTo>
                    <a:lnTo>
                      <a:pt x="215858" y="420527"/>
                    </a:lnTo>
                    <a:lnTo>
                      <a:pt x="217445" y="417341"/>
                    </a:lnTo>
                    <a:lnTo>
                      <a:pt x="219033" y="414685"/>
                    </a:lnTo>
                    <a:lnTo>
                      <a:pt x="221149" y="412560"/>
                    </a:lnTo>
                    <a:lnTo>
                      <a:pt x="223794" y="410436"/>
                    </a:lnTo>
                    <a:lnTo>
                      <a:pt x="402618" y="307398"/>
                    </a:lnTo>
                    <a:lnTo>
                      <a:pt x="406322" y="305804"/>
                    </a:lnTo>
                    <a:close/>
                    <a:moveTo>
                      <a:pt x="13755" y="101581"/>
                    </a:moveTo>
                    <a:lnTo>
                      <a:pt x="16930" y="101581"/>
                    </a:lnTo>
                    <a:lnTo>
                      <a:pt x="20633" y="101581"/>
                    </a:lnTo>
                    <a:lnTo>
                      <a:pt x="23808" y="103175"/>
                    </a:lnTo>
                    <a:lnTo>
                      <a:pt x="26453" y="104238"/>
                    </a:lnTo>
                    <a:lnTo>
                      <a:pt x="28569" y="106364"/>
                    </a:lnTo>
                    <a:lnTo>
                      <a:pt x="30685" y="109021"/>
                    </a:lnTo>
                    <a:lnTo>
                      <a:pt x="32273" y="111678"/>
                    </a:lnTo>
                    <a:lnTo>
                      <a:pt x="32802" y="114335"/>
                    </a:lnTo>
                    <a:lnTo>
                      <a:pt x="33331" y="118055"/>
                    </a:lnTo>
                    <a:lnTo>
                      <a:pt x="32802" y="324773"/>
                    </a:lnTo>
                    <a:lnTo>
                      <a:pt x="32802" y="328493"/>
                    </a:lnTo>
                    <a:lnTo>
                      <a:pt x="31214" y="331150"/>
                    </a:lnTo>
                    <a:lnTo>
                      <a:pt x="30156" y="333807"/>
                    </a:lnTo>
                    <a:lnTo>
                      <a:pt x="28040" y="336464"/>
                    </a:lnTo>
                    <a:lnTo>
                      <a:pt x="25924" y="338590"/>
                    </a:lnTo>
                    <a:lnTo>
                      <a:pt x="22749" y="339653"/>
                    </a:lnTo>
                    <a:lnTo>
                      <a:pt x="20104" y="340716"/>
                    </a:lnTo>
                    <a:lnTo>
                      <a:pt x="16401" y="341247"/>
                    </a:lnTo>
                    <a:lnTo>
                      <a:pt x="12168" y="340716"/>
                    </a:lnTo>
                    <a:lnTo>
                      <a:pt x="8465" y="339121"/>
                    </a:lnTo>
                    <a:lnTo>
                      <a:pt x="4761" y="336464"/>
                    </a:lnTo>
                    <a:lnTo>
                      <a:pt x="2116" y="332745"/>
                    </a:lnTo>
                    <a:lnTo>
                      <a:pt x="529" y="329025"/>
                    </a:lnTo>
                    <a:lnTo>
                      <a:pt x="0" y="324773"/>
                    </a:lnTo>
                    <a:lnTo>
                      <a:pt x="529" y="118055"/>
                    </a:lnTo>
                    <a:lnTo>
                      <a:pt x="529" y="114335"/>
                    </a:lnTo>
                    <a:lnTo>
                      <a:pt x="2116" y="111678"/>
                    </a:lnTo>
                    <a:lnTo>
                      <a:pt x="3703" y="109021"/>
                    </a:lnTo>
                    <a:lnTo>
                      <a:pt x="5819" y="106364"/>
                    </a:lnTo>
                    <a:lnTo>
                      <a:pt x="7936" y="104238"/>
                    </a:lnTo>
                    <a:lnTo>
                      <a:pt x="10581" y="103175"/>
                    </a:lnTo>
                    <a:close/>
                    <a:moveTo>
                      <a:pt x="789401" y="0"/>
                    </a:moveTo>
                    <a:lnTo>
                      <a:pt x="793114" y="527"/>
                    </a:lnTo>
                    <a:lnTo>
                      <a:pt x="795766" y="1581"/>
                    </a:lnTo>
                    <a:lnTo>
                      <a:pt x="798948" y="2635"/>
                    </a:lnTo>
                    <a:lnTo>
                      <a:pt x="977691" y="104345"/>
                    </a:lnTo>
                    <a:lnTo>
                      <a:pt x="980874" y="106453"/>
                    </a:lnTo>
                    <a:lnTo>
                      <a:pt x="982995" y="109088"/>
                    </a:lnTo>
                    <a:lnTo>
                      <a:pt x="984056" y="111723"/>
                    </a:lnTo>
                    <a:lnTo>
                      <a:pt x="985647" y="114358"/>
                    </a:lnTo>
                    <a:lnTo>
                      <a:pt x="985647" y="118047"/>
                    </a:lnTo>
                    <a:lnTo>
                      <a:pt x="985647" y="120682"/>
                    </a:lnTo>
                    <a:lnTo>
                      <a:pt x="985117" y="124371"/>
                    </a:lnTo>
                    <a:lnTo>
                      <a:pt x="983526" y="127533"/>
                    </a:lnTo>
                    <a:lnTo>
                      <a:pt x="981404" y="130695"/>
                    </a:lnTo>
                    <a:lnTo>
                      <a:pt x="977691" y="132803"/>
                    </a:lnTo>
                    <a:lnTo>
                      <a:pt x="973448" y="134384"/>
                    </a:lnTo>
                    <a:lnTo>
                      <a:pt x="969735" y="134911"/>
                    </a:lnTo>
                    <a:lnTo>
                      <a:pt x="965492" y="134384"/>
                    </a:lnTo>
                    <a:lnTo>
                      <a:pt x="961249" y="132803"/>
                    </a:lnTo>
                    <a:lnTo>
                      <a:pt x="783037" y="30566"/>
                    </a:lnTo>
                    <a:lnTo>
                      <a:pt x="779854" y="28458"/>
                    </a:lnTo>
                    <a:lnTo>
                      <a:pt x="777733" y="26350"/>
                    </a:lnTo>
                    <a:lnTo>
                      <a:pt x="775611" y="23188"/>
                    </a:lnTo>
                    <a:lnTo>
                      <a:pt x="775081" y="20553"/>
                    </a:lnTo>
                    <a:lnTo>
                      <a:pt x="774550" y="17918"/>
                    </a:lnTo>
                    <a:lnTo>
                      <a:pt x="774550" y="14229"/>
                    </a:lnTo>
                    <a:lnTo>
                      <a:pt x="775081" y="11594"/>
                    </a:lnTo>
                    <a:lnTo>
                      <a:pt x="776672" y="8432"/>
                    </a:lnTo>
                    <a:lnTo>
                      <a:pt x="778793" y="5797"/>
                    </a:lnTo>
                    <a:lnTo>
                      <a:pt x="780915" y="3689"/>
                    </a:lnTo>
                    <a:lnTo>
                      <a:pt x="783567" y="2108"/>
                    </a:lnTo>
                    <a:lnTo>
                      <a:pt x="786749" y="527"/>
                    </a:lnTo>
                    <a:close/>
                    <a:moveTo>
                      <a:pt x="231201" y="0"/>
                    </a:moveTo>
                    <a:lnTo>
                      <a:pt x="233846" y="527"/>
                    </a:lnTo>
                    <a:lnTo>
                      <a:pt x="237550" y="1581"/>
                    </a:lnTo>
                    <a:lnTo>
                      <a:pt x="240195" y="2635"/>
                    </a:lnTo>
                    <a:lnTo>
                      <a:pt x="419019" y="104345"/>
                    </a:lnTo>
                    <a:lnTo>
                      <a:pt x="421136" y="106453"/>
                    </a:lnTo>
                    <a:lnTo>
                      <a:pt x="423252" y="109088"/>
                    </a:lnTo>
                    <a:lnTo>
                      <a:pt x="425368" y="111723"/>
                    </a:lnTo>
                    <a:lnTo>
                      <a:pt x="425897" y="114358"/>
                    </a:lnTo>
                    <a:lnTo>
                      <a:pt x="426955" y="118047"/>
                    </a:lnTo>
                    <a:lnTo>
                      <a:pt x="426955" y="120682"/>
                    </a:lnTo>
                    <a:lnTo>
                      <a:pt x="425897" y="124371"/>
                    </a:lnTo>
                    <a:lnTo>
                      <a:pt x="424839" y="127533"/>
                    </a:lnTo>
                    <a:lnTo>
                      <a:pt x="421665" y="130695"/>
                    </a:lnTo>
                    <a:lnTo>
                      <a:pt x="418490" y="132803"/>
                    </a:lnTo>
                    <a:lnTo>
                      <a:pt x="414787" y="134384"/>
                    </a:lnTo>
                    <a:lnTo>
                      <a:pt x="410554" y="134911"/>
                    </a:lnTo>
                    <a:lnTo>
                      <a:pt x="406322" y="134384"/>
                    </a:lnTo>
                    <a:lnTo>
                      <a:pt x="402618" y="132803"/>
                    </a:lnTo>
                    <a:lnTo>
                      <a:pt x="223794" y="30566"/>
                    </a:lnTo>
                    <a:lnTo>
                      <a:pt x="221149" y="28458"/>
                    </a:lnTo>
                    <a:lnTo>
                      <a:pt x="219033" y="26350"/>
                    </a:lnTo>
                    <a:lnTo>
                      <a:pt x="217445" y="23188"/>
                    </a:lnTo>
                    <a:lnTo>
                      <a:pt x="215858" y="20553"/>
                    </a:lnTo>
                    <a:lnTo>
                      <a:pt x="215858" y="17918"/>
                    </a:lnTo>
                    <a:lnTo>
                      <a:pt x="215858" y="14229"/>
                    </a:lnTo>
                    <a:lnTo>
                      <a:pt x="216916" y="11594"/>
                    </a:lnTo>
                    <a:lnTo>
                      <a:pt x="217975" y="8432"/>
                    </a:lnTo>
                    <a:lnTo>
                      <a:pt x="220620" y="5797"/>
                    </a:lnTo>
                    <a:lnTo>
                      <a:pt x="222736" y="3689"/>
                    </a:lnTo>
                    <a:lnTo>
                      <a:pt x="225381" y="2108"/>
                    </a:lnTo>
                    <a:lnTo>
                      <a:pt x="228027" y="52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9" name="Textfeld 1">
            <a:extLst>
              <a:ext uri="{FF2B5EF4-FFF2-40B4-BE49-F238E27FC236}">
                <a16:creationId xmlns:a16="http://schemas.microsoft.com/office/drawing/2014/main" id="{876825DD-0E8F-40B6-9209-BCF57D52FF4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962846" y="12991"/>
            <a:ext cx="6085332" cy="267766"/>
          </a:xfrm>
          <a:prstGeom prst="rect">
            <a:avLst/>
          </a:prstGeom>
          <a:pattFill>
            <a:fgClr>
              <a:srgbClr val="EEA632"/>
            </a:fgClr>
            <a:bgClr>
              <a:srgbClr val="EEA632"/>
            </a:bgClr>
          </a:pattFill>
          <a:ln w="9525" cap="rnd">
            <a:solidFill>
              <a:srgbClr val="575757"/>
            </a:solidFill>
            <a:prstDash val="solid"/>
          </a:ln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sz="1400" b="1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Not-exhaustive</a:t>
            </a: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CCB0D2B3-4220-4A89-ABC6-1B0316CCE1E1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2" name="Oval 20">
            <a:extLst>
              <a:ext uri="{FF2B5EF4-FFF2-40B4-BE49-F238E27FC236}">
                <a16:creationId xmlns:a16="http://schemas.microsoft.com/office/drawing/2014/main" id="{4DF3BC3B-E2AF-4E25-97A0-35D23EAF30E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90555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err="1"/>
              <a:t>MassCEC</a:t>
            </a:r>
            <a:r>
              <a:rPr lang="en-US" sz="3200"/>
              <a:t> contacts</a:t>
            </a:r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A5BE799-4193-4BD7-A531-9A2193BEE3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4620262"/>
              </p:ext>
            </p:extLst>
          </p:nvPr>
        </p:nvGraphicFramePr>
        <p:xfrm>
          <a:off x="4701428" y="3738281"/>
          <a:ext cx="6715126" cy="91592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442540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4272586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30739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ntact informat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64822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mika Jacques. Ed.D.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tjacques@masscec.com</a:t>
                      </a: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</a:tbl>
          </a:graphicData>
        </a:graphic>
      </p:graphicFrame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4701428" y="3011578"/>
            <a:ext cx="844780" cy="844780"/>
            <a:chOff x="5273675" y="2606675"/>
            <a:chExt cx="1644650" cy="164465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7136817" y="3011578"/>
            <a:ext cx="844780" cy="844780"/>
            <a:chOff x="5273675" y="2576513"/>
            <a:chExt cx="1644650" cy="1644650"/>
          </a:xfrm>
        </p:grpSpPr>
        <p:sp>
          <p:nvSpPr>
            <p:cNvPr id="25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D6F69E2-1D82-4856-88E3-DCBE235FDDE5}"/>
              </a:ext>
            </a:extLst>
          </p:cNvPr>
          <p:cNvSpPr txBox="1"/>
          <p:nvPr/>
        </p:nvSpPr>
        <p:spPr>
          <a:xfrm>
            <a:off x="4582086" y="1281065"/>
            <a:ext cx="6098240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Trebuchet MS" panose="020B0603020202020204" pitchFamily="34" charset="0"/>
              <a:buChar char="​"/>
              <a:defRPr/>
            </a:pPr>
            <a:r>
              <a:rPr lang="en-US" sz="1800">
                <a:solidFill>
                  <a:srgbClr val="000000"/>
                </a:solidFill>
              </a:rPr>
              <a:t>Best practice is to reach out to </a:t>
            </a:r>
            <a:r>
              <a:rPr lang="en-US" sz="1800" err="1">
                <a:solidFill>
                  <a:srgbClr val="000000"/>
                </a:solidFill>
              </a:rPr>
              <a:t>MassCEC's</a:t>
            </a:r>
            <a:r>
              <a:rPr lang="en-US" sz="1800">
                <a:solidFill>
                  <a:srgbClr val="000000"/>
                </a:solidFill>
              </a:rPr>
              <a:t> shared inbox:</a:t>
            </a:r>
          </a:p>
          <a:p>
            <a:pPr>
              <a:buFont typeface="Trebuchet MS" panose="020B0603020202020204" pitchFamily="34" charset="0"/>
              <a:buChar char="​"/>
              <a:defRPr/>
            </a:pPr>
            <a:r>
              <a:rPr lang="en-US" sz="1800">
                <a:solidFill>
                  <a:srgbClr val="000000"/>
                </a:solidFill>
              </a:rPr>
              <a:t>workforce@masscec.com 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3AE6DBF-F2F7-48C0-A736-2F466C4777AF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3" name="Oval 20">
            <a:extLst>
              <a:ext uri="{FF2B5EF4-FFF2-40B4-BE49-F238E27FC236}">
                <a16:creationId xmlns:a16="http://schemas.microsoft.com/office/drawing/2014/main" id="{8C1252FD-32DC-4B63-9D50-0EBDD28E75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A131836-54E9-4A21-830B-15AD18515D3A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880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881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err="1"/>
              <a:t>MLSC</a:t>
            </a:r>
            <a:r>
              <a:rPr lang="en-US" sz="3200"/>
              <a:t> contacts</a:t>
            </a:r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A5BE799-4193-4BD7-A531-9A2193BEE3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372001"/>
              </p:ext>
            </p:extLst>
          </p:nvPr>
        </p:nvGraphicFramePr>
        <p:xfrm>
          <a:off x="4701428" y="3738281"/>
          <a:ext cx="6715126" cy="91592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442540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4272586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30739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ntact informat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64822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yan Mudawar 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RMudawar@masslifesciences.com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</a:tbl>
          </a:graphicData>
        </a:graphic>
      </p:graphicFrame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4701428" y="3011578"/>
            <a:ext cx="844780" cy="844780"/>
            <a:chOff x="5273675" y="2606675"/>
            <a:chExt cx="1644650" cy="164465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7136817" y="3011578"/>
            <a:ext cx="844780" cy="844780"/>
            <a:chOff x="5273675" y="2576513"/>
            <a:chExt cx="1644650" cy="1644650"/>
          </a:xfrm>
        </p:grpSpPr>
        <p:sp>
          <p:nvSpPr>
            <p:cNvPr id="25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93AE6DBF-F2F7-48C0-A736-2F466C4777AF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3" name="Oval 20">
            <a:extLst>
              <a:ext uri="{FF2B5EF4-FFF2-40B4-BE49-F238E27FC236}">
                <a16:creationId xmlns:a16="http://schemas.microsoft.com/office/drawing/2014/main" id="{8C1252FD-32DC-4B63-9D50-0EBDD28E75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A131836-54E9-4A21-830B-15AD18515D3A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6082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27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rket Maker Onboarding Materials</a:t>
            </a:r>
          </a:p>
        </p:txBody>
      </p:sp>
      <p:sp>
        <p:nvSpPr>
          <p:cNvPr id="9" name="ee4pContent1">
            <a:extLst>
              <a:ext uri="{FF2B5EF4-FFF2-40B4-BE49-F238E27FC236}">
                <a16:creationId xmlns:a16="http://schemas.microsoft.com/office/drawing/2014/main" id="{CB2F0B70-2D0E-4DEA-A347-9516559538F9}"/>
              </a:ext>
            </a:extLst>
          </p:cNvPr>
          <p:cNvSpPr txBox="1"/>
          <p:nvPr/>
        </p:nvSpPr>
        <p:spPr>
          <a:xfrm>
            <a:off x="6364753" y="2105608"/>
            <a:ext cx="5503406" cy="264678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800">
                <a:solidFill>
                  <a:schemeClr val="tx1"/>
                </a:solidFill>
              </a:rPr>
              <a:t>The objectives of these materials are to help the Market Maker:</a:t>
            </a:r>
          </a:p>
          <a:p>
            <a:pPr marL="291600" lvl="1" indent="-194400"/>
            <a:r>
              <a:rPr lang="en-US" sz="1800" b="1">
                <a:cs typeface="Arial"/>
              </a:rPr>
              <a:t>Understand the context </a:t>
            </a:r>
            <a:r>
              <a:rPr lang="en-US" sz="1800">
                <a:cs typeface="Arial"/>
              </a:rPr>
              <a:t>of the Market Maker role </a:t>
            </a:r>
          </a:p>
          <a:p>
            <a:pPr marL="291600" lvl="1" indent="-194400"/>
            <a:r>
              <a:rPr lang="en-US" sz="1800" b="1">
                <a:cs typeface="Arial"/>
              </a:rPr>
              <a:t>Engage employers</a:t>
            </a:r>
            <a:r>
              <a:rPr lang="en-US" sz="1800">
                <a:cs typeface="Arial"/>
              </a:rPr>
              <a:t> to support their hiring needs</a:t>
            </a:r>
          </a:p>
          <a:p>
            <a:pPr marL="291600" lvl="1" indent="-194400"/>
            <a:r>
              <a:rPr lang="en-US" sz="1800" b="1">
                <a:cs typeface="Arial"/>
              </a:rPr>
              <a:t>Access additional resources</a:t>
            </a:r>
            <a:r>
              <a:rPr lang="en-US" sz="1800">
                <a:cs typeface="Arial"/>
              </a:rPr>
              <a:t> to support employer and training provider engage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963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dirty="0" err="1"/>
              <a:t>MassMEDIC</a:t>
            </a:r>
            <a:r>
              <a:rPr lang="en-US" sz="3200" dirty="0"/>
              <a:t> contacts</a:t>
            </a:r>
            <a:endParaRPr lang="en-US" dirty="0"/>
          </a:p>
        </p:txBody>
      </p:sp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C3C83DD-D6DB-44EC-A98B-82643041DF00}"/>
              </a:ext>
            </a:extLst>
          </p:cNvPr>
          <p:cNvGraphicFramePr>
            <a:graphicFrameLocks noGrp="1"/>
          </p:cNvGraphicFramePr>
          <p:nvPr/>
        </p:nvGraphicFramePr>
        <p:xfrm>
          <a:off x="4701428" y="3738281"/>
          <a:ext cx="6715126" cy="91592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442540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4272586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30739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ntact informat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64822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ian Johnson</a:t>
                      </a:r>
                      <a:endParaRPr lang="en-US" sz="1600" b="0" i="0" u="non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800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brian@massmedic.com</a:t>
                      </a: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39E1CCB8-5117-445F-9A5B-984E7681ECE4}"/>
              </a:ext>
            </a:extLst>
          </p:cNvPr>
          <p:cNvGrpSpPr>
            <a:grpSpLocks noChangeAspect="1"/>
          </p:cNvGrpSpPr>
          <p:nvPr/>
        </p:nvGrpSpPr>
        <p:grpSpPr>
          <a:xfrm>
            <a:off x="4701428" y="3011578"/>
            <a:ext cx="844780" cy="844780"/>
            <a:chOff x="5273675" y="2606675"/>
            <a:chExt cx="1644650" cy="1644650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F64388E7-1B44-4D4B-A41A-BA434F2A1F0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C08A6BC-1F3B-4965-BDE2-84D7D460795D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BE4B0EA2-3901-4DE8-8FA0-308585AAB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9AADCB4D-07C9-4FBA-B54D-B430E2C91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ACC64D7-089F-43A2-ABC5-070CA3DD5B56}"/>
              </a:ext>
            </a:extLst>
          </p:cNvPr>
          <p:cNvGrpSpPr>
            <a:grpSpLocks noChangeAspect="1"/>
          </p:cNvGrpSpPr>
          <p:nvPr/>
        </p:nvGrpSpPr>
        <p:grpSpPr>
          <a:xfrm>
            <a:off x="7136817" y="3011578"/>
            <a:ext cx="844780" cy="844780"/>
            <a:chOff x="5273675" y="2576513"/>
            <a:chExt cx="1644650" cy="1644650"/>
          </a:xfrm>
        </p:grpSpPr>
        <p:sp>
          <p:nvSpPr>
            <p:cNvPr id="30" name="AutoShape 35">
              <a:extLst>
                <a:ext uri="{FF2B5EF4-FFF2-40B4-BE49-F238E27FC236}">
                  <a16:creationId xmlns:a16="http://schemas.microsoft.com/office/drawing/2014/main" id="{32FD51F2-7F09-4511-800A-5CC1D38E799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CC3F6B6-8636-4BE7-B012-BF3F07EBA1E9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32" name="Freeform 26">
                <a:extLst>
                  <a:ext uri="{FF2B5EF4-FFF2-40B4-BE49-F238E27FC236}">
                    <a16:creationId xmlns:a16="http://schemas.microsoft.com/office/drawing/2014/main" id="{50CB189B-811B-4EE3-9CEA-010CDA0D9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3" name="Freeform 27">
                <a:extLst>
                  <a:ext uri="{FF2B5EF4-FFF2-40B4-BE49-F238E27FC236}">
                    <a16:creationId xmlns:a16="http://schemas.microsoft.com/office/drawing/2014/main" id="{59A0FA40-A3EC-445F-A1B1-1DC7C35C2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5C7394D6-58BA-45DA-81F4-79827AC59D50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4" name="Oval 20">
            <a:extLst>
              <a:ext uri="{FF2B5EF4-FFF2-40B4-BE49-F238E27FC236}">
                <a16:creationId xmlns:a16="http://schemas.microsoft.com/office/drawing/2014/main" id="{4728288D-626F-441D-9AF0-A4C0FCA0E1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2212B59F-075F-4CDF-BB85-647F263624AC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1249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err="1"/>
              <a:t>MassTech</a:t>
            </a:r>
            <a:r>
              <a:rPr lang="en-US" sz="3200"/>
              <a:t> contacts</a:t>
            </a:r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A5BE799-4193-4BD7-A531-9A2193BEE3E7}"/>
              </a:ext>
            </a:extLst>
          </p:cNvPr>
          <p:cNvGraphicFramePr>
            <a:graphicFrameLocks noGrp="1"/>
          </p:cNvGraphicFramePr>
          <p:nvPr/>
        </p:nvGraphicFramePr>
        <p:xfrm>
          <a:off x="4701428" y="3072354"/>
          <a:ext cx="6715126" cy="207569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405050">
                  <a:extLst>
                    <a:ext uri="{9D8B030D-6E8A-4147-A177-3AD203B41FA5}">
                      <a16:colId xmlns:a16="http://schemas.microsoft.com/office/drawing/2014/main" val="1408023975"/>
                    </a:ext>
                  </a:extLst>
                </a:gridCol>
                <a:gridCol w="1759226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2550850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30739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None/>
                      </a:pPr>
                      <a:endParaRPr lang="en-US" sz="2000" b="0" i="0" u="none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ntact informat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64822"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800" b="1" i="0" u="none" kern="1200" dirty="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novation Institute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 Larkin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lvl="1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Larkin@Masstech.org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64822"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800" b="1" i="0" u="none" kern="1200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er for Advanced Manufacturing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ristine Nolan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lvl="1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Nolan@Masstech.org</a:t>
                      </a:r>
                      <a:endParaRPr lang="en-US" sz="1600" b="0" i="0" u="non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9220011"/>
                  </a:ext>
                </a:extLst>
              </a:tr>
              <a:tr h="464822"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800" b="1" i="0" u="none" kern="1200" err="1">
                          <a:solidFill>
                            <a:srgbClr val="00269E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CyberCenter</a:t>
                      </a:r>
                      <a:endParaRPr lang="en-US" sz="1800" b="1" i="0" u="none" kern="1200">
                        <a:solidFill>
                          <a:srgbClr val="00269E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phanie Helm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lvl="1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0" i="0" u="non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Helm@Masstech.org</a:t>
                      </a:r>
                      <a:endParaRPr lang="en-US" sz="1600" b="0" i="0" u="non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1835912"/>
                  </a:ext>
                </a:extLst>
              </a:tr>
            </a:tbl>
          </a:graphicData>
        </a:graphic>
      </p:graphicFrame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7285597" y="2266139"/>
            <a:ext cx="844780" cy="844780"/>
            <a:chOff x="5273675" y="2606675"/>
            <a:chExt cx="1644650" cy="164465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9035188" y="2266139"/>
            <a:ext cx="844780" cy="844780"/>
            <a:chOff x="5273675" y="2576513"/>
            <a:chExt cx="1644650" cy="1644650"/>
          </a:xfrm>
        </p:grpSpPr>
        <p:sp>
          <p:nvSpPr>
            <p:cNvPr id="25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34AD7A69-06EE-43AB-A152-C073BD847DA0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F593795D-9F95-4D12-AA84-A2B28788B98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8FD13D4-6135-4776-AE05-4BC30EC4767E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0100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073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 err="1"/>
              <a:t>MOBD</a:t>
            </a:r>
            <a:r>
              <a:rPr lang="en-US" sz="3200"/>
              <a:t> contacts as of 3/30/22</a:t>
            </a:r>
            <a:endParaRPr lang="en-US"/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628374" y="1069653"/>
            <a:ext cx="767241" cy="767982"/>
            <a:chOff x="5273675" y="2570163"/>
            <a:chExt cx="1644650" cy="1646237"/>
          </a:xfrm>
        </p:grpSpPr>
        <p:sp>
          <p:nvSpPr>
            <p:cNvPr id="8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6243493" y="975834"/>
            <a:ext cx="844780" cy="844780"/>
            <a:chOff x="5273675" y="2606675"/>
            <a:chExt cx="1644650" cy="164465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8158793" y="1075201"/>
            <a:ext cx="844780" cy="844780"/>
            <a:chOff x="5273675" y="2576513"/>
            <a:chExt cx="1644650" cy="1644650"/>
          </a:xfrm>
        </p:grpSpPr>
        <p:sp>
          <p:nvSpPr>
            <p:cNvPr id="25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68CD07EB-AC25-45F0-B82B-21253A113A79}"/>
              </a:ext>
            </a:extLst>
          </p:cNvPr>
          <p:cNvGraphicFramePr>
            <a:graphicFrameLocks noGrp="1"/>
          </p:cNvGraphicFramePr>
          <p:nvPr/>
        </p:nvGraphicFramePr>
        <p:xfrm>
          <a:off x="4661086" y="1585807"/>
          <a:ext cx="6902265" cy="502170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64592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911927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344418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58381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ntact informat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ntral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evin Kuros, Regional Director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sng" kern="120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vin.j.kuros@mass.gov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549-1803​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548640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eater Boston</a:t>
                      </a:r>
                    </a:p>
                  </a:txBody>
                  <a:tcPr marL="0" marR="72000" marT="73152" marB="73152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garet Laforest, </a:t>
                      </a:r>
                    </a:p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ional Director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margaret.laforest@mass.gov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939-3097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548640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san Whitaker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ional Director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susan. </a:t>
                      </a: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9"/>
                        </a:rPr>
                        <a:t>whitaker@mass.gov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620-1005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1599486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rowest &amp; Merrimack Valley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ter Milano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peter.milano@mass.gov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939-4380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39390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theast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ia DiStefano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ional Director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8"/>
                        </a:rPr>
                        <a:t>maria.g.distefano@mass.gov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519-9380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485594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utheast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ll Crocker, </a:t>
                      </a:r>
                    </a:p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gional Director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william.i.crocker@mass.gov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857) 268-3849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953504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stern</a:t>
                      </a: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ter Milano</a:t>
                      </a: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peter.milano@mass.gov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939-4380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9377542"/>
                  </a:ext>
                </a:extLst>
              </a:tr>
            </a:tbl>
          </a:graphicData>
        </a:graphic>
      </p:graphicFrame>
      <p:sp>
        <p:nvSpPr>
          <p:cNvPr id="29" name="Isosceles Triangle 28">
            <a:extLst>
              <a:ext uri="{FF2B5EF4-FFF2-40B4-BE49-F238E27FC236}">
                <a16:creationId xmlns:a16="http://schemas.microsoft.com/office/drawing/2014/main" id="{C0E70DCF-AF0E-492A-93FF-43237B3F8DD3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4FB13942-10B5-48CF-BDDB-4B3686D717E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D23DEC5-BAF6-4769-8451-01C7BD2687BF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9966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563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200"/>
              <a:t>Rapid Response contacts as of 3/30/22</a:t>
            </a:r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A5BE799-4193-4BD7-A531-9A2193BEE3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487422"/>
              </p:ext>
            </p:extLst>
          </p:nvPr>
        </p:nvGraphicFramePr>
        <p:xfrm>
          <a:off x="4661086" y="1585807"/>
          <a:ext cx="6902265" cy="474362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64592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911927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344418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58381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Reg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ame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ntact information</a:t>
                      </a:r>
                      <a:endParaRPr lang="en-US" sz="2000" b="0" i="0" u="none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820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ston/</a:t>
                      </a:r>
                      <a:b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tro North 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huck Bennett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hlinkClick r:id="rId8"/>
                        </a:rPr>
                        <a:t>charles.bennett@detma.org</a:t>
                      </a: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617) 620-4695​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820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entral &amp; Metro South/West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Sandra Foley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sng" kern="120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sandra.foley@detma.org​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(617) 438-7894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820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rtheast​ 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Norca Disla-Shannon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sng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norca.disla-shannon@detma.org</a:t>
                      </a:r>
                      <a:r>
                        <a:rPr lang="en-US" sz="1600" b="0" i="0" u="none">
                          <a:effectLst/>
                          <a:latin typeface="+mn-lt"/>
                        </a:rPr>
                        <a:t>​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(617) 438-7897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1599486"/>
                  </a:ext>
                </a:extLst>
              </a:tr>
              <a:tr h="820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utheast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Helder Teixeira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sng" kern="120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helder.teixeira@detma.org​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(857) 772-9324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5393904"/>
                  </a:ext>
                </a:extLst>
              </a:tr>
              <a:tr h="820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estern ​ 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rol Snyder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sng" kern="1200">
                          <a:solidFill>
                            <a:schemeClr val="accent3"/>
                          </a:solidFill>
                          <a:effectLst/>
                          <a:latin typeface="+mn-lt"/>
                        </a:rPr>
                        <a:t>carol.snyder@detma.org​</a:t>
                      </a: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0" i="0" u="none">
                          <a:effectLst/>
                          <a:latin typeface="+mn-lt"/>
                        </a:rPr>
                        <a:t>(617) 438-7896​</a:t>
                      </a:r>
                      <a:endParaRPr lang="en-US" sz="16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804855943"/>
                  </a:ext>
                </a:extLst>
              </a:tr>
            </a:tbl>
          </a:graphicData>
        </a:graphic>
      </p:graphicFrame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628374" y="1069653"/>
            <a:ext cx="767241" cy="767982"/>
            <a:chOff x="5273675" y="2570163"/>
            <a:chExt cx="1644650" cy="1646237"/>
          </a:xfrm>
        </p:grpSpPr>
        <p:sp>
          <p:nvSpPr>
            <p:cNvPr id="8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10" name="Freeform 9"/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6243493" y="975834"/>
            <a:ext cx="844780" cy="844780"/>
            <a:chOff x="5273675" y="2606675"/>
            <a:chExt cx="1644650" cy="1644650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5" name="Freeform 14"/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" name="Freeform 15"/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8158793" y="1075201"/>
            <a:ext cx="844780" cy="844780"/>
            <a:chOff x="5273675" y="2576513"/>
            <a:chExt cx="1644650" cy="1644650"/>
          </a:xfrm>
        </p:grpSpPr>
        <p:sp>
          <p:nvSpPr>
            <p:cNvPr id="25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0" name="Isosceles Triangle 29">
            <a:extLst>
              <a:ext uri="{FF2B5EF4-FFF2-40B4-BE49-F238E27FC236}">
                <a16:creationId xmlns:a16="http://schemas.microsoft.com/office/drawing/2014/main" id="{6CB7339E-5272-4CBA-B423-38E2D6C71E63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1F0F5243-BD59-4029-88BB-FC3EE8784F5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C29F7289-406F-4833-B075-5FF323E1ADD0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551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rket Maker collaboration with Business Service Representat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546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0" y="632812"/>
            <a:ext cx="364453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E04DEFD-51A5-45ED-B740-226932750B06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10"/>
          <a:stretch>
            <a:fillRect/>
          </a:stretch>
        </p:blipFill>
        <p:spPr>
          <a:xfrm>
            <a:off x="3340903" y="930200"/>
            <a:ext cx="8222445" cy="4996289"/>
          </a:xfrm>
          <a:custGeom>
            <a:avLst/>
            <a:gdLst>
              <a:gd name="connsiteX0" fmla="*/ 0 w 7537865"/>
              <a:gd name="connsiteY0" fmla="*/ 0 h 4580310"/>
              <a:gd name="connsiteX1" fmla="*/ 7537865 w 7537865"/>
              <a:gd name="connsiteY1" fmla="*/ 0 h 4580310"/>
              <a:gd name="connsiteX2" fmla="*/ 7537865 w 7537865"/>
              <a:gd name="connsiteY2" fmla="*/ 4580310 h 4580310"/>
              <a:gd name="connsiteX3" fmla="*/ 4343589 w 7537865"/>
              <a:gd name="connsiteY3" fmla="*/ 4580310 h 4580310"/>
              <a:gd name="connsiteX4" fmla="*/ 4343589 w 7537865"/>
              <a:gd name="connsiteY4" fmla="*/ 2479259 h 4580310"/>
              <a:gd name="connsiteX5" fmla="*/ 0 w 7537865"/>
              <a:gd name="connsiteY5" fmla="*/ 2479259 h 4580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37865" h="4580310">
                <a:moveTo>
                  <a:pt x="0" y="0"/>
                </a:moveTo>
                <a:lnTo>
                  <a:pt x="7537865" y="0"/>
                </a:lnTo>
                <a:lnTo>
                  <a:pt x="7537865" y="4580310"/>
                </a:lnTo>
                <a:lnTo>
                  <a:pt x="4343589" y="4580310"/>
                </a:lnTo>
                <a:lnTo>
                  <a:pt x="4343589" y="2479259"/>
                </a:lnTo>
                <a:lnTo>
                  <a:pt x="0" y="2479259"/>
                </a:lnTo>
                <a:close/>
              </a:path>
            </a:pathLst>
          </a:custGeom>
        </p:spPr>
      </p:pic>
      <p:sp>
        <p:nvSpPr>
          <p:cNvPr id="14" name="Freeform 13"/>
          <p:cNvSpPr/>
          <p:nvPr/>
        </p:nvSpPr>
        <p:spPr>
          <a:xfrm flipV="1">
            <a:off x="0" y="-1311"/>
            <a:ext cx="5033164" cy="6859311"/>
          </a:xfrm>
          <a:custGeom>
            <a:avLst/>
            <a:gdLst>
              <a:gd name="connsiteX0" fmla="*/ 0 w 5033164"/>
              <a:gd name="connsiteY0" fmla="*/ 6859311 h 6859311"/>
              <a:gd name="connsiteX1" fmla="*/ 5033164 w 5033164"/>
              <a:gd name="connsiteY1" fmla="*/ 6859311 h 6859311"/>
              <a:gd name="connsiteX2" fmla="*/ 5007245 w 5033164"/>
              <a:gd name="connsiteY2" fmla="*/ 6847593 h 6859311"/>
              <a:gd name="connsiteX3" fmla="*/ 2859315 w 5033164"/>
              <a:gd name="connsiteY3" fmla="*/ 3429655 h 6859311"/>
              <a:gd name="connsiteX4" fmla="*/ 5007245 w 5033164"/>
              <a:gd name="connsiteY4" fmla="*/ 11716 h 6859311"/>
              <a:gd name="connsiteX5" fmla="*/ 5033159 w 5033164"/>
              <a:gd name="connsiteY5" fmla="*/ 0 h 6859311"/>
              <a:gd name="connsiteX6" fmla="*/ 0 w 5033164"/>
              <a:gd name="connsiteY6" fmla="*/ 0 h 6859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3164" h="6859311">
                <a:moveTo>
                  <a:pt x="0" y="6859311"/>
                </a:moveTo>
                <a:lnTo>
                  <a:pt x="5033164" y="6859311"/>
                </a:lnTo>
                <a:lnTo>
                  <a:pt x="5007245" y="6847593"/>
                </a:lnTo>
                <a:cubicBezTo>
                  <a:pt x="3736335" y="6235206"/>
                  <a:pt x="2859315" y="4934850"/>
                  <a:pt x="2859315" y="3429655"/>
                </a:cubicBezTo>
                <a:cubicBezTo>
                  <a:pt x="2859315" y="1924459"/>
                  <a:pt x="3736335" y="624103"/>
                  <a:pt x="5007245" y="11716"/>
                </a:cubicBezTo>
                <a:lnTo>
                  <a:pt x="5033159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7071" tIns="87071" rIns="87071" bIns="87071" rtlCol="0" anchor="ctr">
            <a:noAutofit/>
          </a:bodyPr>
          <a:lstStyle/>
          <a:p>
            <a:pPr algn="ctr">
              <a:lnSpc>
                <a:spcPct val="95000"/>
              </a:lnSpc>
            </a:pPr>
            <a:endParaRPr lang="en-US" sz="1600" kern="0">
              <a:solidFill>
                <a:schemeClr val="bg1"/>
              </a:solidFill>
            </a:endParaRPr>
          </a:p>
        </p:txBody>
      </p:sp>
      <p:sp>
        <p:nvSpPr>
          <p:cNvPr id="15" name="Title 17">
            <a:extLst>
              <a:ext uri="{FF2B5EF4-FFF2-40B4-BE49-F238E27FC236}">
                <a16:creationId xmlns:a16="http://schemas.microsoft.com/office/drawing/2014/main" id="{E661E9EC-A41A-444D-8B5B-33018099BBB0}"/>
              </a:ext>
            </a:extLst>
          </p:cNvPr>
          <p:cNvSpPr txBox="1">
            <a:spLocks/>
          </p:cNvSpPr>
          <p:nvPr/>
        </p:nvSpPr>
        <p:spPr>
          <a:xfrm>
            <a:off x="462685" y="1600151"/>
            <a:ext cx="2295029" cy="3656386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MassHire is an extensive network of workforce development supports that seeks to address job seekers and employer's hiring needs</a:t>
            </a:r>
            <a:endParaRPr lang="en-US" b="0">
              <a:solidFill>
                <a:schemeClr val="bg1"/>
              </a:solidFill>
            </a:endParaRP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361087" y="515357"/>
            <a:ext cx="1083748" cy="1084794"/>
            <a:chOff x="5273675" y="2570163"/>
            <a:chExt cx="1644650" cy="1646237"/>
          </a:xfrm>
        </p:grpSpPr>
        <p:sp>
          <p:nvSpPr>
            <p:cNvPr id="21" name="AutoShape 35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3BFC589-C226-43D4-A873-EBC2906FAB39}"/>
              </a:ext>
            </a:extLst>
          </p:cNvPr>
          <p:cNvSpPr/>
          <p:nvPr/>
        </p:nvSpPr>
        <p:spPr>
          <a:xfrm>
            <a:off x="3566166" y="3706841"/>
            <a:ext cx="4393270" cy="596349"/>
          </a:xfrm>
          <a:prstGeom prst="roundRect">
            <a:avLst>
              <a:gd name="adj" fmla="val 18329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b="1">
                <a:solidFill>
                  <a:schemeClr val="tx1"/>
                </a:solidFill>
              </a:rPr>
              <a:t>Business Service Reps </a:t>
            </a:r>
            <a:r>
              <a:rPr lang="en-US" sz="1400">
                <a:solidFill>
                  <a:schemeClr val="tx1"/>
                </a:solidFill>
              </a:rPr>
              <a:t>are located at each of the MassHire Career Center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544F75E-1434-4604-B030-E94ECEEDC39F}"/>
              </a:ext>
            </a:extLst>
          </p:cNvPr>
          <p:cNvSpPr/>
          <p:nvPr/>
        </p:nvSpPr>
        <p:spPr>
          <a:xfrm>
            <a:off x="4709165" y="496050"/>
            <a:ext cx="5816825" cy="596349"/>
          </a:xfrm>
          <a:prstGeom prst="roundRect">
            <a:avLst>
              <a:gd name="adj" fmla="val 18329"/>
            </a:avLst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400" b="1" u="sng">
                <a:solidFill>
                  <a:srgbClr val="00269E"/>
                </a:solidFill>
              </a:rPr>
              <a:t>Map of MassHire Career Centers</a:t>
            </a:r>
            <a:endParaRPr lang="en-US" sz="2400" u="sng">
              <a:solidFill>
                <a:srgbClr val="00269E"/>
              </a:solidFill>
            </a:endParaRPr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03320370-2D28-4187-829D-15308A5304EC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0636BBD8-CC9B-45FF-904F-6452A8019BD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5779EC2-3E17-4DF4-969B-7032A32C22DC}"/>
              </a:ext>
            </a:extLst>
          </p:cNvPr>
          <p:cNvSpPr txBox="1">
            <a:spLocks/>
          </p:cNvSpPr>
          <p:nvPr/>
        </p:nvSpPr>
        <p:spPr>
          <a:xfrm>
            <a:off x="316588" y="10725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3527022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51A606-C496-4909-B39C-3648508E11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86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51A606-C496-4909-B39C-3648508E11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>
            <a:extLst>
              <a:ext uri="{FF2B5EF4-FFF2-40B4-BE49-F238E27FC236}">
                <a16:creationId xmlns:a16="http://schemas.microsoft.com/office/drawing/2014/main" id="{9CD6E9D3-855C-4905-87B0-85CF7BBF82B9}"/>
              </a:ext>
            </a:extLst>
          </p:cNvPr>
          <p:cNvSpPr/>
          <p:nvPr/>
        </p:nvSpPr>
        <p:spPr>
          <a:xfrm>
            <a:off x="7489204" y="2970267"/>
            <a:ext cx="2221464" cy="1571254"/>
          </a:xfrm>
          <a:prstGeom prst="rect">
            <a:avLst/>
          </a:prstGeom>
          <a:solidFill>
            <a:schemeClr val="accent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AAE9F5B-0B83-437B-9A29-90D53FC3EA15}"/>
              </a:ext>
            </a:extLst>
          </p:cNvPr>
          <p:cNvSpPr/>
          <p:nvPr/>
        </p:nvSpPr>
        <p:spPr>
          <a:xfrm>
            <a:off x="1670858" y="2970267"/>
            <a:ext cx="2221464" cy="1571254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F9E816-E0E5-42DA-BCAB-53A401D4B7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57592"/>
            <a:ext cx="10117513" cy="609398"/>
          </a:xfrm>
        </p:spPr>
        <p:txBody>
          <a:bodyPr vert="horz"/>
          <a:lstStyle/>
          <a:p>
            <a:r>
              <a:rPr lang="en-US" sz="2200"/>
              <a:t>Market Makers complement the Business Service Rep role by exclusively supporting ARPA pipeline training gra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172638-04FB-4261-A30A-734C8AA86D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cs typeface="+mn-cs"/>
              </a:rPr>
              <a:t>Market Maker role within MassHire workforce system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8C1BCA8-AB6B-43CD-AC84-ED60032711C7}"/>
              </a:ext>
            </a:extLst>
          </p:cNvPr>
          <p:cNvSpPr/>
          <p:nvPr/>
        </p:nvSpPr>
        <p:spPr>
          <a:xfrm>
            <a:off x="7561418" y="4661710"/>
            <a:ext cx="2149252" cy="14157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ctr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sz="1400" b="1" i="0" u="none" strike="noStrike" kern="1200">
                <a:solidFill>
                  <a:srgbClr val="2E5D16"/>
                </a:solidFill>
                <a:effectLst/>
              </a:rPr>
              <a:t>Upskilling Navigator</a:t>
            </a:r>
            <a:endParaRPr lang="en-US" sz="1200" i="0" u="none" strike="noStrike">
              <a:solidFill>
                <a:srgbClr val="2E5D16"/>
              </a:solidFill>
              <a:effectLst/>
            </a:endParaRPr>
          </a:p>
          <a:p>
            <a:pPr indent="0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200" i="0" u="none" strike="noStrike" kern="1200">
                <a:solidFill>
                  <a:srgbClr val="000000"/>
                </a:solidFill>
                <a:effectLst/>
              </a:rPr>
              <a:t>Upskilling Navigators </a:t>
            </a:r>
            <a:r>
              <a:rPr lang="en-US" sz="1200">
                <a:solidFill>
                  <a:srgbClr val="000000"/>
                </a:solidFill>
              </a:rPr>
              <a:t>are Career Center staff that </a:t>
            </a:r>
            <a:r>
              <a:rPr lang="en-US" sz="1200" i="0" u="none" strike="noStrike" kern="1200">
                <a:solidFill>
                  <a:srgbClr val="000000"/>
                </a:solidFill>
                <a:effectLst/>
              </a:rPr>
              <a:t>support the recruitment, screening, and enrollment of customers into ARPA-funded upskilling </a:t>
            </a:r>
            <a:br>
              <a:rPr lang="en-US" sz="1200" i="0" u="none" strike="noStrike" kern="1200">
                <a:solidFill>
                  <a:srgbClr val="000000"/>
                </a:solidFill>
                <a:effectLst/>
              </a:rPr>
            </a:br>
            <a:r>
              <a:rPr lang="en-US" sz="1200" i="0" u="none" strike="noStrike" kern="1200">
                <a:solidFill>
                  <a:srgbClr val="000000"/>
                </a:solidFill>
                <a:effectLst/>
              </a:rPr>
              <a:t>training programs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82AA4016-E1E6-4D5E-8E94-39B62CC2700D}"/>
              </a:ext>
            </a:extLst>
          </p:cNvPr>
          <p:cNvCxnSpPr>
            <a:cxnSpLocks/>
          </p:cNvCxnSpPr>
          <p:nvPr/>
        </p:nvCxnSpPr>
        <p:spPr>
          <a:xfrm>
            <a:off x="3880489" y="3762790"/>
            <a:ext cx="350722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91497947-A097-484B-9452-E3F43FE23912}"/>
              </a:ext>
            </a:extLst>
          </p:cNvPr>
          <p:cNvCxnSpPr/>
          <p:nvPr/>
        </p:nvCxnSpPr>
        <p:spPr>
          <a:xfrm>
            <a:off x="7387716" y="4661710"/>
            <a:ext cx="0" cy="1415772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B8B5857E-8A1E-4386-9C9E-6C6B0BF170D1}"/>
              </a:ext>
            </a:extLst>
          </p:cNvPr>
          <p:cNvCxnSpPr/>
          <p:nvPr/>
        </p:nvCxnSpPr>
        <p:spPr>
          <a:xfrm>
            <a:off x="3880489" y="3063217"/>
            <a:ext cx="0" cy="1415772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Rectangle 109">
            <a:extLst>
              <a:ext uri="{FF2B5EF4-FFF2-40B4-BE49-F238E27FC236}">
                <a16:creationId xmlns:a16="http://schemas.microsoft.com/office/drawing/2014/main" id="{F0BCAD22-9383-4696-B63E-5165E4D4E2A9}"/>
              </a:ext>
            </a:extLst>
          </p:cNvPr>
          <p:cNvSpPr/>
          <p:nvPr/>
        </p:nvSpPr>
        <p:spPr>
          <a:xfrm>
            <a:off x="1670858" y="4661710"/>
            <a:ext cx="2035929" cy="14157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rtl="0" eaLnBrk="1" fontAlgn="ctr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sz="1400" b="1" i="0" u="none" strike="noStrike" kern="1200">
                <a:solidFill>
                  <a:srgbClr val="5BBB2B"/>
                </a:solidFill>
                <a:effectLst/>
              </a:rPr>
              <a:t>MassHire Career</a:t>
            </a:r>
            <a:br>
              <a:rPr lang="en-US" sz="1400" b="1" i="0" u="none" strike="noStrike" kern="1200">
                <a:solidFill>
                  <a:srgbClr val="5BBB2B"/>
                </a:solidFill>
                <a:effectLst/>
              </a:rPr>
            </a:br>
            <a:r>
              <a:rPr lang="en-US" sz="1400" b="1" i="0" u="none" strike="noStrike" kern="1200">
                <a:solidFill>
                  <a:srgbClr val="5BBB2B"/>
                </a:solidFill>
                <a:effectLst/>
              </a:rPr>
              <a:t>Center Counselor</a:t>
            </a:r>
            <a:endParaRPr lang="en-US" sz="1200" i="0" u="none" strike="noStrike">
              <a:solidFill>
                <a:srgbClr val="5BBB2B"/>
              </a:solidFill>
              <a:effectLst/>
            </a:endParaRPr>
          </a:p>
          <a:p>
            <a:pPr indent="0" algn="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200" i="0" u="none" strike="noStrike" kern="1200">
                <a:solidFill>
                  <a:srgbClr val="000000"/>
                </a:solidFill>
                <a:effectLst/>
              </a:rPr>
              <a:t>Career Center staff connecting students to career center supports</a:t>
            </a:r>
          </a:p>
        </p:txBody>
      </p: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DB88A577-D05B-4A6E-B82A-A3D3A602068A}"/>
              </a:ext>
            </a:extLst>
          </p:cNvPr>
          <p:cNvCxnSpPr/>
          <p:nvPr/>
        </p:nvCxnSpPr>
        <p:spPr>
          <a:xfrm>
            <a:off x="3880489" y="4661710"/>
            <a:ext cx="0" cy="1415772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E6A1BCA0-9BFB-4E95-A34D-064097AB2969}"/>
              </a:ext>
            </a:extLst>
          </p:cNvPr>
          <p:cNvCxnSpPr>
            <a:cxnSpLocks/>
          </p:cNvCxnSpPr>
          <p:nvPr/>
        </p:nvCxnSpPr>
        <p:spPr>
          <a:xfrm>
            <a:off x="3880489" y="5369597"/>
            <a:ext cx="350722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9836B83D-71BE-4ABB-9A73-BF1B1C28CA1D}"/>
              </a:ext>
            </a:extLst>
          </p:cNvPr>
          <p:cNvCxnSpPr>
            <a:cxnSpLocks/>
          </p:cNvCxnSpPr>
          <p:nvPr/>
        </p:nvCxnSpPr>
        <p:spPr>
          <a:xfrm flipH="1">
            <a:off x="447675" y="4566193"/>
            <a:ext cx="916999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  <a:round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B1A1D1D3-6DD2-4E21-B8C1-A12FC4995EDF}"/>
              </a:ext>
            </a:extLst>
          </p:cNvPr>
          <p:cNvSpPr txBox="1"/>
          <p:nvPr/>
        </p:nvSpPr>
        <p:spPr>
          <a:xfrm>
            <a:off x="447675" y="4661710"/>
            <a:ext cx="1067256" cy="141577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3000"/>
              </a:lnSpc>
            </a:pPr>
            <a:r>
              <a:rPr lang="en-US" sz="1600" b="1">
                <a:solidFill>
                  <a:schemeClr val="accent3">
                    <a:lumMod val="75000"/>
                  </a:schemeClr>
                </a:solidFill>
              </a:rPr>
              <a:t>Customer &amp; training program focused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0A4C245B-5B50-4EDE-A33B-8E622044D060}"/>
              </a:ext>
            </a:extLst>
          </p:cNvPr>
          <p:cNvSpPr txBox="1"/>
          <p:nvPr/>
        </p:nvSpPr>
        <p:spPr>
          <a:xfrm>
            <a:off x="447675" y="3054904"/>
            <a:ext cx="1067256" cy="141577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3000"/>
              </a:lnSpc>
            </a:pPr>
            <a:r>
              <a:rPr lang="en-US" sz="1600" b="1">
                <a:solidFill>
                  <a:srgbClr val="001042"/>
                </a:solidFill>
              </a:rPr>
              <a:t>Employer &amp; training program  focus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AF7B2B-BB71-4498-938E-83D6AE944D44}"/>
              </a:ext>
            </a:extLst>
          </p:cNvPr>
          <p:cNvSpPr txBox="1"/>
          <p:nvPr/>
        </p:nvSpPr>
        <p:spPr>
          <a:xfrm>
            <a:off x="9955891" y="3391453"/>
            <a:ext cx="1740809" cy="2296886"/>
          </a:xfrm>
          <a:prstGeom prst="rect">
            <a:avLst/>
          </a:prstGeom>
          <a:noFill/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1905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>
                <a:solidFill>
                  <a:srgbClr val="000000"/>
                </a:solidFill>
              </a:rPr>
              <a:t>Dedicated capacity building roles focused on supporting CTI, WCTF, RENEW, and other ARPA-funded pipeline training grants</a:t>
            </a:r>
          </a:p>
        </p:txBody>
      </p:sp>
      <p:sp>
        <p:nvSpPr>
          <p:cNvPr id="98" name="Freeform 97">
            <a:extLst>
              <a:ext uri="{FF2B5EF4-FFF2-40B4-BE49-F238E27FC236}">
                <a16:creationId xmlns:a16="http://schemas.microsoft.com/office/drawing/2014/main" id="{8E7FDEF1-0D20-4E73-A96B-5EB1B480DC4A}"/>
              </a:ext>
            </a:extLst>
          </p:cNvPr>
          <p:cNvSpPr>
            <a:spLocks/>
          </p:cNvSpPr>
          <p:nvPr/>
        </p:nvSpPr>
        <p:spPr bwMode="auto">
          <a:xfrm>
            <a:off x="4055290" y="1433274"/>
            <a:ext cx="1101" cy="1802"/>
          </a:xfrm>
          <a:custGeom>
            <a:avLst/>
            <a:gdLst>
              <a:gd name="connsiteX0" fmla="*/ 0 w 1033"/>
              <a:gd name="connsiteY0" fmla="*/ 0 h 1715"/>
              <a:gd name="connsiteX1" fmla="*/ 1033 w 1033"/>
              <a:gd name="connsiteY1" fmla="*/ 0 h 1715"/>
              <a:gd name="connsiteX2" fmla="*/ 1033 w 1033"/>
              <a:gd name="connsiteY2" fmla="*/ 1715 h 1715"/>
              <a:gd name="connsiteX3" fmla="*/ 0 w 1033"/>
              <a:gd name="connsiteY3" fmla="*/ 1715 h 1715"/>
              <a:gd name="connsiteX4" fmla="*/ 0 w 1033"/>
              <a:gd name="connsiteY4" fmla="*/ 0 h 1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33" h="1715">
                <a:moveTo>
                  <a:pt x="0" y="0"/>
                </a:moveTo>
                <a:lnTo>
                  <a:pt x="1033" y="0"/>
                </a:lnTo>
                <a:lnTo>
                  <a:pt x="1033" y="1715"/>
                </a:lnTo>
                <a:lnTo>
                  <a:pt x="0" y="171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B8B5857E-8A1E-4386-9C9E-6C6B0BF170D1}"/>
              </a:ext>
            </a:extLst>
          </p:cNvPr>
          <p:cNvCxnSpPr/>
          <p:nvPr/>
        </p:nvCxnSpPr>
        <p:spPr>
          <a:xfrm>
            <a:off x="1582732" y="3063217"/>
            <a:ext cx="0" cy="1415772"/>
          </a:xfrm>
          <a:prstGeom prst="line">
            <a:avLst/>
          </a:prstGeom>
          <a:ln w="25400" cap="rnd">
            <a:solidFill>
              <a:srgbClr val="00104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DB88A577-D05B-4A6E-B82A-A3D3A602068A}"/>
              </a:ext>
            </a:extLst>
          </p:cNvPr>
          <p:cNvCxnSpPr/>
          <p:nvPr/>
        </p:nvCxnSpPr>
        <p:spPr>
          <a:xfrm>
            <a:off x="1582732" y="4661710"/>
            <a:ext cx="0" cy="1415772"/>
          </a:xfrm>
          <a:prstGeom prst="line">
            <a:avLst/>
          </a:prstGeom>
          <a:ln w="25400" cap="rnd">
            <a:solidFill>
              <a:schemeClr val="accent3">
                <a:lumMod val="7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365D3D6-8DB4-4DFE-871F-56C8B9C2668B}"/>
              </a:ext>
            </a:extLst>
          </p:cNvPr>
          <p:cNvGrpSpPr/>
          <p:nvPr/>
        </p:nvGrpSpPr>
        <p:grpSpPr>
          <a:xfrm>
            <a:off x="1670858" y="2970266"/>
            <a:ext cx="8039810" cy="1585049"/>
            <a:chOff x="1670858" y="2970266"/>
            <a:chExt cx="8039810" cy="1585049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1D13CAB5-8BDB-4F85-B97C-0AC3AF58F52C}"/>
                </a:ext>
              </a:extLst>
            </p:cNvPr>
            <p:cNvSpPr/>
            <p:nvPr/>
          </p:nvSpPr>
          <p:spPr>
            <a:xfrm>
              <a:off x="1670858" y="3054904"/>
              <a:ext cx="2035929" cy="141577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 rtl="0" eaLnBrk="1" fontAlgn="ctr" latinLnBrk="0" hangingPunct="1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i="0" u="none" strike="noStrike" kern="1200">
                  <a:solidFill>
                    <a:schemeClr val="accent4">
                      <a:lumMod val="75000"/>
                    </a:schemeClr>
                  </a:solidFill>
                  <a:effectLst/>
                </a:rPr>
                <a:t>MassHire Career Center Business Service Reps</a:t>
              </a:r>
              <a:endParaRPr lang="en-US" sz="1200" i="0" u="none" strike="noStrike">
                <a:solidFill>
                  <a:schemeClr val="accent4">
                    <a:lumMod val="75000"/>
                  </a:schemeClr>
                </a:solidFill>
                <a:effectLst/>
              </a:endParaRPr>
            </a:p>
            <a:p>
              <a:pPr indent="0" algn="r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200" i="0" u="none" strike="noStrike" kern="1200">
                  <a:solidFill>
                    <a:srgbClr val="000000"/>
                  </a:solidFill>
                  <a:effectLst/>
                </a:rPr>
                <a:t>Career Center staff working with employers to market job opportunities via the MassHire network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E8A3335-34F5-45D4-8863-6359634F651F}"/>
                </a:ext>
              </a:extLst>
            </p:cNvPr>
            <p:cNvSpPr/>
            <p:nvPr/>
          </p:nvSpPr>
          <p:spPr>
            <a:xfrm>
              <a:off x="7561416" y="2970266"/>
              <a:ext cx="2149252" cy="158504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69E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rtl="0" eaLnBrk="1" fontAlgn="ctr" latinLnBrk="0" hangingPunct="1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i="0" u="none" strike="noStrike" kern="1200">
                  <a:solidFill>
                    <a:srgbClr val="00269E"/>
                  </a:solidFill>
                  <a:effectLst/>
                </a:rPr>
                <a:t>Market Makers</a:t>
              </a:r>
            </a:p>
            <a:p>
              <a:pPr indent="0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200" i="0" u="none" strike="noStrike" kern="1200">
                  <a:solidFill>
                    <a:srgbClr val="000000"/>
                  </a:solidFill>
                  <a:effectLst/>
                </a:rPr>
                <a:t>Market Makers is a new role – staffed regionally – </a:t>
              </a:r>
              <a:r>
                <a:rPr lang="en-US" sz="1200">
                  <a:solidFill>
                    <a:srgbClr val="000000"/>
                  </a:solidFill>
                </a:rPr>
                <a:t>that </a:t>
              </a:r>
              <a:r>
                <a:rPr lang="en-US" sz="1200" i="0" u="none" strike="noStrike" kern="1200">
                  <a:solidFill>
                    <a:srgbClr val="000000"/>
                  </a:solidFill>
                  <a:effectLst/>
                </a:rPr>
                <a:t>connect businesses with training grant opportunities, and partner with training providers to enhance their employer value proposition</a:t>
              </a:r>
              <a:endParaRPr lang="en-US" sz="1200" i="0" u="none" strike="noStrike">
                <a:effectLst/>
              </a:endParaRPr>
            </a:p>
          </p:txBody>
        </p:sp>
      </p:grp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41292D0-E8BF-46C6-A609-5A46B5BE86B4}"/>
              </a:ext>
            </a:extLst>
          </p:cNvPr>
          <p:cNvCxnSpPr/>
          <p:nvPr/>
        </p:nvCxnSpPr>
        <p:spPr>
          <a:xfrm>
            <a:off x="7387716" y="3054904"/>
            <a:ext cx="0" cy="1415772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>
            <a:stCxn id="9" idx="1"/>
          </p:cNvCxnSpPr>
          <p:nvPr/>
        </p:nvCxnSpPr>
        <p:spPr>
          <a:xfrm flipH="1" flipV="1">
            <a:off x="9776619" y="4537200"/>
            <a:ext cx="179272" cy="269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F5D01B06-50E9-4AD0-A0E1-AA9D065BA4D2}"/>
              </a:ext>
            </a:extLst>
          </p:cNvPr>
          <p:cNvCxnSpPr>
            <a:stCxn id="8" idx="0"/>
          </p:cNvCxnSpPr>
          <p:nvPr/>
        </p:nvCxnSpPr>
        <p:spPr>
          <a:xfrm rot="5400000" flipH="1" flipV="1">
            <a:off x="4218169" y="577572"/>
            <a:ext cx="956116" cy="3829275"/>
          </a:xfrm>
          <a:prstGeom prst="bentConnector2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887BB1F6-CF2C-4D18-960D-6BBAB93039FA}"/>
              </a:ext>
            </a:extLst>
          </p:cNvPr>
          <p:cNvCxnSpPr>
            <a:cxnSpLocks/>
            <a:stCxn id="65" idx="0"/>
          </p:cNvCxnSpPr>
          <p:nvPr/>
        </p:nvCxnSpPr>
        <p:spPr>
          <a:xfrm rot="16200000" flipV="1">
            <a:off x="7131333" y="1465556"/>
            <a:ext cx="961665" cy="2047755"/>
          </a:xfrm>
          <a:prstGeom prst="bentConnector2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DD7CF88-A8C0-4458-8AFD-CC6CC0B72994}"/>
              </a:ext>
            </a:extLst>
          </p:cNvPr>
          <p:cNvGrpSpPr/>
          <p:nvPr/>
        </p:nvGrpSpPr>
        <p:grpSpPr>
          <a:xfrm>
            <a:off x="4140983" y="3005466"/>
            <a:ext cx="2978968" cy="2978968"/>
            <a:chOff x="4140983" y="3005466"/>
            <a:chExt cx="2978968" cy="2978968"/>
          </a:xfrm>
        </p:grpSpPr>
        <p:sp>
          <p:nvSpPr>
            <p:cNvPr id="49" name="AutoShape 3">
              <a:extLst>
                <a:ext uri="{FF2B5EF4-FFF2-40B4-BE49-F238E27FC236}">
                  <a16:creationId xmlns:a16="http://schemas.microsoft.com/office/drawing/2014/main" id="{D24532D7-69C6-4AB4-9383-0E7639CB431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140983" y="3005466"/>
              <a:ext cx="2978968" cy="2978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5">
              <a:extLst>
                <a:ext uri="{FF2B5EF4-FFF2-40B4-BE49-F238E27FC236}">
                  <a16:creationId xmlns:a16="http://schemas.microsoft.com/office/drawing/2014/main" id="{1800A762-F7F7-40AA-9E43-408941713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985" y="3005466"/>
              <a:ext cx="1557966" cy="1985979"/>
            </a:xfrm>
            <a:custGeom>
              <a:avLst/>
              <a:gdLst>
                <a:gd name="T0" fmla="*/ 30 w 628"/>
                <a:gd name="T1" fmla="*/ 152 h 800"/>
                <a:gd name="T2" fmla="*/ 41 w 628"/>
                <a:gd name="T3" fmla="*/ 151 h 800"/>
                <a:gd name="T4" fmla="*/ 137 w 628"/>
                <a:gd name="T5" fmla="*/ 131 h 800"/>
                <a:gd name="T6" fmla="*/ 237 w 628"/>
                <a:gd name="T7" fmla="*/ 231 h 800"/>
                <a:gd name="T8" fmla="*/ 137 w 628"/>
                <a:gd name="T9" fmla="*/ 331 h 800"/>
                <a:gd name="T10" fmla="*/ 41 w 628"/>
                <a:gd name="T11" fmla="*/ 311 h 800"/>
                <a:gd name="T12" fmla="*/ 29 w 628"/>
                <a:gd name="T13" fmla="*/ 310 h 800"/>
                <a:gd name="T14" fmla="*/ 1 w 628"/>
                <a:gd name="T15" fmla="*/ 341 h 800"/>
                <a:gd name="T16" fmla="*/ 21 w 628"/>
                <a:gd name="T17" fmla="*/ 572 h 800"/>
                <a:gd name="T18" fmla="*/ 22 w 628"/>
                <a:gd name="T19" fmla="*/ 586 h 800"/>
                <a:gd name="T20" fmla="*/ 36 w 628"/>
                <a:gd name="T21" fmla="*/ 584 h 800"/>
                <a:gd name="T22" fmla="*/ 267 w 628"/>
                <a:gd name="T23" fmla="*/ 564 h 800"/>
                <a:gd name="T24" fmla="*/ 298 w 628"/>
                <a:gd name="T25" fmla="*/ 593 h 800"/>
                <a:gd name="T26" fmla="*/ 297 w 628"/>
                <a:gd name="T27" fmla="*/ 604 h 800"/>
                <a:gd name="T28" fmla="*/ 277 w 628"/>
                <a:gd name="T29" fmla="*/ 700 h 800"/>
                <a:gd name="T30" fmla="*/ 377 w 628"/>
                <a:gd name="T31" fmla="*/ 800 h 800"/>
                <a:gd name="T32" fmla="*/ 477 w 628"/>
                <a:gd name="T33" fmla="*/ 700 h 800"/>
                <a:gd name="T34" fmla="*/ 457 w 628"/>
                <a:gd name="T35" fmla="*/ 604 h 800"/>
                <a:gd name="T36" fmla="*/ 456 w 628"/>
                <a:gd name="T37" fmla="*/ 593 h 800"/>
                <a:gd name="T38" fmla="*/ 487 w 628"/>
                <a:gd name="T39" fmla="*/ 565 h 800"/>
                <a:gd name="T40" fmla="*/ 628 w 628"/>
                <a:gd name="T41" fmla="*/ 575 h 800"/>
                <a:gd name="T42" fmla="*/ 628 w 628"/>
                <a:gd name="T43" fmla="*/ 0 h 800"/>
                <a:gd name="T44" fmla="*/ 10 w 628"/>
                <a:gd name="T45" fmla="*/ 0 h 800"/>
                <a:gd name="T46" fmla="*/ 2 w 628"/>
                <a:gd name="T47" fmla="*/ 121 h 800"/>
                <a:gd name="T48" fmla="*/ 30 w 628"/>
                <a:gd name="T49" fmla="*/ 152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28" h="800">
                  <a:moveTo>
                    <a:pt x="30" y="152"/>
                  </a:moveTo>
                  <a:cubicBezTo>
                    <a:pt x="33" y="153"/>
                    <a:pt x="37" y="152"/>
                    <a:pt x="41" y="151"/>
                  </a:cubicBezTo>
                  <a:cubicBezTo>
                    <a:pt x="77" y="138"/>
                    <a:pt x="114" y="131"/>
                    <a:pt x="137" y="131"/>
                  </a:cubicBezTo>
                  <a:cubicBezTo>
                    <a:pt x="192" y="131"/>
                    <a:pt x="237" y="176"/>
                    <a:pt x="237" y="231"/>
                  </a:cubicBezTo>
                  <a:cubicBezTo>
                    <a:pt x="237" y="286"/>
                    <a:pt x="192" y="331"/>
                    <a:pt x="137" y="331"/>
                  </a:cubicBezTo>
                  <a:cubicBezTo>
                    <a:pt x="114" y="331"/>
                    <a:pt x="77" y="324"/>
                    <a:pt x="41" y="311"/>
                  </a:cubicBezTo>
                  <a:cubicBezTo>
                    <a:pt x="37" y="310"/>
                    <a:pt x="33" y="309"/>
                    <a:pt x="29" y="310"/>
                  </a:cubicBezTo>
                  <a:cubicBezTo>
                    <a:pt x="14" y="310"/>
                    <a:pt x="0" y="324"/>
                    <a:pt x="1" y="341"/>
                  </a:cubicBezTo>
                  <a:cubicBezTo>
                    <a:pt x="4" y="415"/>
                    <a:pt x="10" y="492"/>
                    <a:pt x="21" y="572"/>
                  </a:cubicBezTo>
                  <a:cubicBezTo>
                    <a:pt x="21" y="576"/>
                    <a:pt x="22" y="581"/>
                    <a:pt x="22" y="586"/>
                  </a:cubicBezTo>
                  <a:cubicBezTo>
                    <a:pt x="27" y="585"/>
                    <a:pt x="32" y="584"/>
                    <a:pt x="36" y="584"/>
                  </a:cubicBezTo>
                  <a:cubicBezTo>
                    <a:pt x="116" y="573"/>
                    <a:pt x="193" y="567"/>
                    <a:pt x="267" y="564"/>
                  </a:cubicBezTo>
                  <a:cubicBezTo>
                    <a:pt x="284" y="563"/>
                    <a:pt x="298" y="577"/>
                    <a:pt x="298" y="593"/>
                  </a:cubicBezTo>
                  <a:cubicBezTo>
                    <a:pt x="299" y="596"/>
                    <a:pt x="298" y="600"/>
                    <a:pt x="297" y="604"/>
                  </a:cubicBezTo>
                  <a:cubicBezTo>
                    <a:pt x="284" y="640"/>
                    <a:pt x="277" y="677"/>
                    <a:pt x="277" y="700"/>
                  </a:cubicBezTo>
                  <a:cubicBezTo>
                    <a:pt x="277" y="755"/>
                    <a:pt x="322" y="800"/>
                    <a:pt x="377" y="800"/>
                  </a:cubicBezTo>
                  <a:cubicBezTo>
                    <a:pt x="432" y="800"/>
                    <a:pt x="477" y="755"/>
                    <a:pt x="477" y="700"/>
                  </a:cubicBezTo>
                  <a:cubicBezTo>
                    <a:pt x="477" y="677"/>
                    <a:pt x="470" y="641"/>
                    <a:pt x="457" y="604"/>
                  </a:cubicBezTo>
                  <a:cubicBezTo>
                    <a:pt x="456" y="601"/>
                    <a:pt x="455" y="597"/>
                    <a:pt x="456" y="593"/>
                  </a:cubicBezTo>
                  <a:cubicBezTo>
                    <a:pt x="457" y="577"/>
                    <a:pt x="470" y="564"/>
                    <a:pt x="487" y="565"/>
                  </a:cubicBezTo>
                  <a:cubicBezTo>
                    <a:pt x="536" y="567"/>
                    <a:pt x="583" y="570"/>
                    <a:pt x="628" y="575"/>
                  </a:cubicBezTo>
                  <a:cubicBezTo>
                    <a:pt x="628" y="0"/>
                    <a:pt x="628" y="0"/>
                    <a:pt x="62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9"/>
                    <a:pt x="3" y="79"/>
                    <a:pt x="2" y="121"/>
                  </a:cubicBezTo>
                  <a:cubicBezTo>
                    <a:pt x="1" y="138"/>
                    <a:pt x="14" y="151"/>
                    <a:pt x="30" y="152"/>
                  </a:cubicBezTo>
                  <a:close/>
                </a:path>
              </a:pathLst>
            </a:custGeom>
            <a:solidFill>
              <a:srgbClr val="0026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6185ADE0-8C90-4ABA-BAA3-4A6C9733D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5464" y="4403641"/>
              <a:ext cx="2034487" cy="1580793"/>
            </a:xfrm>
            <a:custGeom>
              <a:avLst/>
              <a:gdLst>
                <a:gd name="T0" fmla="*/ 648 w 820"/>
                <a:gd name="T1" fmla="*/ 30 h 637"/>
                <a:gd name="T2" fmla="*/ 649 w 820"/>
                <a:gd name="T3" fmla="*/ 41 h 637"/>
                <a:gd name="T4" fmla="*/ 669 w 820"/>
                <a:gd name="T5" fmla="*/ 137 h 637"/>
                <a:gd name="T6" fmla="*/ 569 w 820"/>
                <a:gd name="T7" fmla="*/ 237 h 637"/>
                <a:gd name="T8" fmla="*/ 469 w 820"/>
                <a:gd name="T9" fmla="*/ 137 h 637"/>
                <a:gd name="T10" fmla="*/ 489 w 820"/>
                <a:gd name="T11" fmla="*/ 41 h 637"/>
                <a:gd name="T12" fmla="*/ 490 w 820"/>
                <a:gd name="T13" fmla="*/ 30 h 637"/>
                <a:gd name="T14" fmla="*/ 459 w 820"/>
                <a:gd name="T15" fmla="*/ 1 h 637"/>
                <a:gd name="T16" fmla="*/ 228 w 820"/>
                <a:gd name="T17" fmla="*/ 21 h 637"/>
                <a:gd name="T18" fmla="*/ 214 w 820"/>
                <a:gd name="T19" fmla="*/ 23 h 637"/>
                <a:gd name="T20" fmla="*/ 216 w 820"/>
                <a:gd name="T21" fmla="*/ 36 h 637"/>
                <a:gd name="T22" fmla="*/ 236 w 820"/>
                <a:gd name="T23" fmla="*/ 267 h 637"/>
                <a:gd name="T24" fmla="*/ 207 w 820"/>
                <a:gd name="T25" fmla="*/ 299 h 637"/>
                <a:gd name="T26" fmla="*/ 196 w 820"/>
                <a:gd name="T27" fmla="*/ 297 h 637"/>
                <a:gd name="T28" fmla="*/ 100 w 820"/>
                <a:gd name="T29" fmla="*/ 277 h 637"/>
                <a:gd name="T30" fmla="*/ 0 w 820"/>
                <a:gd name="T31" fmla="*/ 377 h 637"/>
                <a:gd name="T32" fmla="*/ 100 w 820"/>
                <a:gd name="T33" fmla="*/ 477 h 637"/>
                <a:gd name="T34" fmla="*/ 196 w 820"/>
                <a:gd name="T35" fmla="*/ 457 h 637"/>
                <a:gd name="T36" fmla="*/ 207 w 820"/>
                <a:gd name="T37" fmla="*/ 456 h 637"/>
                <a:gd name="T38" fmla="*/ 235 w 820"/>
                <a:gd name="T39" fmla="*/ 487 h 637"/>
                <a:gd name="T40" fmla="*/ 224 w 820"/>
                <a:gd name="T41" fmla="*/ 637 h 637"/>
                <a:gd name="T42" fmla="*/ 820 w 820"/>
                <a:gd name="T43" fmla="*/ 637 h 637"/>
                <a:gd name="T44" fmla="*/ 820 w 820"/>
                <a:gd name="T45" fmla="*/ 12 h 637"/>
                <a:gd name="T46" fmla="*/ 679 w 820"/>
                <a:gd name="T47" fmla="*/ 2 h 637"/>
                <a:gd name="T48" fmla="*/ 648 w 820"/>
                <a:gd name="T49" fmla="*/ 30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20" h="637">
                  <a:moveTo>
                    <a:pt x="648" y="30"/>
                  </a:moveTo>
                  <a:cubicBezTo>
                    <a:pt x="647" y="34"/>
                    <a:pt x="648" y="38"/>
                    <a:pt x="649" y="41"/>
                  </a:cubicBezTo>
                  <a:cubicBezTo>
                    <a:pt x="662" y="78"/>
                    <a:pt x="669" y="114"/>
                    <a:pt x="669" y="137"/>
                  </a:cubicBezTo>
                  <a:cubicBezTo>
                    <a:pt x="669" y="192"/>
                    <a:pt x="624" y="237"/>
                    <a:pt x="569" y="237"/>
                  </a:cubicBezTo>
                  <a:cubicBezTo>
                    <a:pt x="514" y="237"/>
                    <a:pt x="469" y="192"/>
                    <a:pt x="469" y="137"/>
                  </a:cubicBezTo>
                  <a:cubicBezTo>
                    <a:pt x="469" y="114"/>
                    <a:pt x="476" y="77"/>
                    <a:pt x="489" y="41"/>
                  </a:cubicBezTo>
                  <a:cubicBezTo>
                    <a:pt x="490" y="37"/>
                    <a:pt x="491" y="33"/>
                    <a:pt x="490" y="30"/>
                  </a:cubicBezTo>
                  <a:cubicBezTo>
                    <a:pt x="490" y="14"/>
                    <a:pt x="476" y="0"/>
                    <a:pt x="459" y="1"/>
                  </a:cubicBezTo>
                  <a:cubicBezTo>
                    <a:pt x="385" y="4"/>
                    <a:pt x="308" y="10"/>
                    <a:pt x="228" y="21"/>
                  </a:cubicBezTo>
                  <a:cubicBezTo>
                    <a:pt x="224" y="21"/>
                    <a:pt x="219" y="22"/>
                    <a:pt x="214" y="23"/>
                  </a:cubicBezTo>
                  <a:cubicBezTo>
                    <a:pt x="215" y="27"/>
                    <a:pt x="216" y="32"/>
                    <a:pt x="216" y="36"/>
                  </a:cubicBezTo>
                  <a:cubicBezTo>
                    <a:pt x="227" y="116"/>
                    <a:pt x="233" y="193"/>
                    <a:pt x="236" y="267"/>
                  </a:cubicBezTo>
                  <a:cubicBezTo>
                    <a:pt x="237" y="285"/>
                    <a:pt x="223" y="298"/>
                    <a:pt x="207" y="299"/>
                  </a:cubicBezTo>
                  <a:cubicBezTo>
                    <a:pt x="204" y="299"/>
                    <a:pt x="200" y="298"/>
                    <a:pt x="196" y="297"/>
                  </a:cubicBezTo>
                  <a:cubicBezTo>
                    <a:pt x="160" y="284"/>
                    <a:pt x="123" y="277"/>
                    <a:pt x="100" y="277"/>
                  </a:cubicBezTo>
                  <a:cubicBezTo>
                    <a:pt x="45" y="277"/>
                    <a:pt x="0" y="322"/>
                    <a:pt x="0" y="377"/>
                  </a:cubicBezTo>
                  <a:cubicBezTo>
                    <a:pt x="0" y="432"/>
                    <a:pt x="45" y="477"/>
                    <a:pt x="100" y="477"/>
                  </a:cubicBezTo>
                  <a:cubicBezTo>
                    <a:pt x="123" y="477"/>
                    <a:pt x="159" y="470"/>
                    <a:pt x="196" y="457"/>
                  </a:cubicBezTo>
                  <a:cubicBezTo>
                    <a:pt x="199" y="456"/>
                    <a:pt x="203" y="456"/>
                    <a:pt x="207" y="456"/>
                  </a:cubicBezTo>
                  <a:cubicBezTo>
                    <a:pt x="223" y="457"/>
                    <a:pt x="236" y="470"/>
                    <a:pt x="235" y="487"/>
                  </a:cubicBezTo>
                  <a:cubicBezTo>
                    <a:pt x="233" y="540"/>
                    <a:pt x="229" y="590"/>
                    <a:pt x="224" y="637"/>
                  </a:cubicBezTo>
                  <a:cubicBezTo>
                    <a:pt x="820" y="637"/>
                    <a:pt x="820" y="637"/>
                    <a:pt x="820" y="637"/>
                  </a:cubicBezTo>
                  <a:cubicBezTo>
                    <a:pt x="820" y="12"/>
                    <a:pt x="820" y="12"/>
                    <a:pt x="820" y="12"/>
                  </a:cubicBezTo>
                  <a:cubicBezTo>
                    <a:pt x="775" y="7"/>
                    <a:pt x="728" y="4"/>
                    <a:pt x="679" y="2"/>
                  </a:cubicBezTo>
                  <a:cubicBezTo>
                    <a:pt x="662" y="1"/>
                    <a:pt x="649" y="14"/>
                    <a:pt x="648" y="30"/>
                  </a:cubicBezTo>
                  <a:close/>
                </a:path>
              </a:pathLst>
            </a:custGeom>
            <a:solidFill>
              <a:srgbClr val="2E5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0C07B135-21CD-4458-A39A-769167DBC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0983" y="3005466"/>
              <a:ext cx="2008806" cy="1509458"/>
            </a:xfrm>
            <a:custGeom>
              <a:avLst/>
              <a:gdLst>
                <a:gd name="T0" fmla="*/ 0 w 809"/>
                <a:gd name="T1" fmla="*/ 598 h 608"/>
                <a:gd name="T2" fmla="*/ 130 w 809"/>
                <a:gd name="T3" fmla="*/ 606 h 608"/>
                <a:gd name="T4" fmla="*/ 161 w 809"/>
                <a:gd name="T5" fmla="*/ 578 h 608"/>
                <a:gd name="T6" fmla="*/ 160 w 809"/>
                <a:gd name="T7" fmla="*/ 567 h 608"/>
                <a:gd name="T8" fmla="*/ 140 w 809"/>
                <a:gd name="T9" fmla="*/ 471 h 608"/>
                <a:gd name="T10" fmla="*/ 240 w 809"/>
                <a:gd name="T11" fmla="*/ 371 h 608"/>
                <a:gd name="T12" fmla="*/ 340 w 809"/>
                <a:gd name="T13" fmla="*/ 471 h 608"/>
                <a:gd name="T14" fmla="*/ 320 w 809"/>
                <a:gd name="T15" fmla="*/ 567 h 608"/>
                <a:gd name="T16" fmla="*/ 318 w 809"/>
                <a:gd name="T17" fmla="*/ 579 h 608"/>
                <a:gd name="T18" fmla="*/ 350 w 809"/>
                <a:gd name="T19" fmla="*/ 607 h 608"/>
                <a:gd name="T20" fmla="*/ 581 w 809"/>
                <a:gd name="T21" fmla="*/ 587 h 608"/>
                <a:gd name="T22" fmla="*/ 594 w 809"/>
                <a:gd name="T23" fmla="*/ 586 h 608"/>
                <a:gd name="T24" fmla="*/ 593 w 809"/>
                <a:gd name="T25" fmla="*/ 572 h 608"/>
                <a:gd name="T26" fmla="*/ 573 w 809"/>
                <a:gd name="T27" fmla="*/ 341 h 608"/>
                <a:gd name="T28" fmla="*/ 601 w 809"/>
                <a:gd name="T29" fmla="*/ 310 h 608"/>
                <a:gd name="T30" fmla="*/ 613 w 809"/>
                <a:gd name="T31" fmla="*/ 311 h 608"/>
                <a:gd name="T32" fmla="*/ 709 w 809"/>
                <a:gd name="T33" fmla="*/ 331 h 608"/>
                <a:gd name="T34" fmla="*/ 809 w 809"/>
                <a:gd name="T35" fmla="*/ 231 h 608"/>
                <a:gd name="T36" fmla="*/ 709 w 809"/>
                <a:gd name="T37" fmla="*/ 131 h 608"/>
                <a:gd name="T38" fmla="*/ 613 w 809"/>
                <a:gd name="T39" fmla="*/ 151 h 608"/>
                <a:gd name="T40" fmla="*/ 602 w 809"/>
                <a:gd name="T41" fmla="*/ 152 h 608"/>
                <a:gd name="T42" fmla="*/ 574 w 809"/>
                <a:gd name="T43" fmla="*/ 121 h 608"/>
                <a:gd name="T44" fmla="*/ 582 w 809"/>
                <a:gd name="T45" fmla="*/ 0 h 608"/>
                <a:gd name="T46" fmla="*/ 0 w 809"/>
                <a:gd name="T47" fmla="*/ 0 h 608"/>
                <a:gd name="T48" fmla="*/ 0 w 809"/>
                <a:gd name="T49" fmla="*/ 598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09" h="608">
                  <a:moveTo>
                    <a:pt x="0" y="598"/>
                  </a:moveTo>
                  <a:cubicBezTo>
                    <a:pt x="41" y="601"/>
                    <a:pt x="85" y="604"/>
                    <a:pt x="130" y="606"/>
                  </a:cubicBezTo>
                  <a:cubicBezTo>
                    <a:pt x="147" y="607"/>
                    <a:pt x="160" y="594"/>
                    <a:pt x="161" y="578"/>
                  </a:cubicBezTo>
                  <a:cubicBezTo>
                    <a:pt x="161" y="575"/>
                    <a:pt x="161" y="571"/>
                    <a:pt x="160" y="567"/>
                  </a:cubicBezTo>
                  <a:cubicBezTo>
                    <a:pt x="147" y="531"/>
                    <a:pt x="140" y="494"/>
                    <a:pt x="140" y="471"/>
                  </a:cubicBezTo>
                  <a:cubicBezTo>
                    <a:pt x="140" y="416"/>
                    <a:pt x="185" y="371"/>
                    <a:pt x="240" y="371"/>
                  </a:cubicBezTo>
                  <a:cubicBezTo>
                    <a:pt x="295" y="371"/>
                    <a:pt x="340" y="416"/>
                    <a:pt x="340" y="471"/>
                  </a:cubicBezTo>
                  <a:cubicBezTo>
                    <a:pt x="340" y="494"/>
                    <a:pt x="333" y="531"/>
                    <a:pt x="320" y="567"/>
                  </a:cubicBezTo>
                  <a:cubicBezTo>
                    <a:pt x="319" y="571"/>
                    <a:pt x="318" y="575"/>
                    <a:pt x="318" y="579"/>
                  </a:cubicBezTo>
                  <a:cubicBezTo>
                    <a:pt x="319" y="594"/>
                    <a:pt x="332" y="608"/>
                    <a:pt x="350" y="607"/>
                  </a:cubicBezTo>
                  <a:cubicBezTo>
                    <a:pt x="424" y="604"/>
                    <a:pt x="501" y="598"/>
                    <a:pt x="581" y="587"/>
                  </a:cubicBezTo>
                  <a:cubicBezTo>
                    <a:pt x="585" y="587"/>
                    <a:pt x="590" y="586"/>
                    <a:pt x="594" y="586"/>
                  </a:cubicBezTo>
                  <a:cubicBezTo>
                    <a:pt x="594" y="581"/>
                    <a:pt x="593" y="576"/>
                    <a:pt x="593" y="572"/>
                  </a:cubicBezTo>
                  <a:cubicBezTo>
                    <a:pt x="582" y="492"/>
                    <a:pt x="576" y="415"/>
                    <a:pt x="573" y="341"/>
                  </a:cubicBezTo>
                  <a:cubicBezTo>
                    <a:pt x="572" y="324"/>
                    <a:pt x="586" y="310"/>
                    <a:pt x="601" y="310"/>
                  </a:cubicBezTo>
                  <a:cubicBezTo>
                    <a:pt x="605" y="309"/>
                    <a:pt x="609" y="310"/>
                    <a:pt x="613" y="311"/>
                  </a:cubicBezTo>
                  <a:cubicBezTo>
                    <a:pt x="649" y="324"/>
                    <a:pt x="686" y="331"/>
                    <a:pt x="709" y="331"/>
                  </a:cubicBezTo>
                  <a:cubicBezTo>
                    <a:pt x="764" y="331"/>
                    <a:pt x="809" y="286"/>
                    <a:pt x="809" y="231"/>
                  </a:cubicBezTo>
                  <a:cubicBezTo>
                    <a:pt x="809" y="176"/>
                    <a:pt x="764" y="131"/>
                    <a:pt x="709" y="131"/>
                  </a:cubicBezTo>
                  <a:cubicBezTo>
                    <a:pt x="686" y="131"/>
                    <a:pt x="649" y="138"/>
                    <a:pt x="613" y="151"/>
                  </a:cubicBezTo>
                  <a:cubicBezTo>
                    <a:pt x="609" y="152"/>
                    <a:pt x="605" y="153"/>
                    <a:pt x="602" y="152"/>
                  </a:cubicBezTo>
                  <a:cubicBezTo>
                    <a:pt x="586" y="151"/>
                    <a:pt x="573" y="138"/>
                    <a:pt x="574" y="121"/>
                  </a:cubicBezTo>
                  <a:cubicBezTo>
                    <a:pt x="575" y="79"/>
                    <a:pt x="578" y="39"/>
                    <a:pt x="58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98"/>
                  </a:lnTo>
                  <a:close/>
                </a:path>
              </a:pathLst>
            </a:custGeom>
            <a:solidFill>
              <a:srgbClr val="99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CDA5EEFE-3471-4F8A-91A8-267B44236E8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0983" y="3927120"/>
              <a:ext cx="1532285" cy="2057314"/>
            </a:xfrm>
            <a:custGeom>
              <a:avLst/>
              <a:gdLst>
                <a:gd name="T0" fmla="*/ 587 w 617"/>
                <a:gd name="T1" fmla="*/ 648 h 829"/>
                <a:gd name="T2" fmla="*/ 576 w 617"/>
                <a:gd name="T3" fmla="*/ 649 h 829"/>
                <a:gd name="T4" fmla="*/ 480 w 617"/>
                <a:gd name="T5" fmla="*/ 669 h 829"/>
                <a:gd name="T6" fmla="*/ 380 w 617"/>
                <a:gd name="T7" fmla="*/ 569 h 829"/>
                <a:gd name="T8" fmla="*/ 480 w 617"/>
                <a:gd name="T9" fmla="*/ 469 h 829"/>
                <a:gd name="T10" fmla="*/ 576 w 617"/>
                <a:gd name="T11" fmla="*/ 489 h 829"/>
                <a:gd name="T12" fmla="*/ 587 w 617"/>
                <a:gd name="T13" fmla="*/ 491 h 829"/>
                <a:gd name="T14" fmla="*/ 616 w 617"/>
                <a:gd name="T15" fmla="*/ 459 h 829"/>
                <a:gd name="T16" fmla="*/ 596 w 617"/>
                <a:gd name="T17" fmla="*/ 228 h 829"/>
                <a:gd name="T18" fmla="*/ 594 w 617"/>
                <a:gd name="T19" fmla="*/ 215 h 829"/>
                <a:gd name="T20" fmla="*/ 581 w 617"/>
                <a:gd name="T21" fmla="*/ 216 h 829"/>
                <a:gd name="T22" fmla="*/ 350 w 617"/>
                <a:gd name="T23" fmla="*/ 236 h 829"/>
                <a:gd name="T24" fmla="*/ 318 w 617"/>
                <a:gd name="T25" fmla="*/ 208 h 829"/>
                <a:gd name="T26" fmla="*/ 320 w 617"/>
                <a:gd name="T27" fmla="*/ 196 h 829"/>
                <a:gd name="T28" fmla="*/ 340 w 617"/>
                <a:gd name="T29" fmla="*/ 100 h 829"/>
                <a:gd name="T30" fmla="*/ 240 w 617"/>
                <a:gd name="T31" fmla="*/ 0 h 829"/>
                <a:gd name="T32" fmla="*/ 140 w 617"/>
                <a:gd name="T33" fmla="*/ 100 h 829"/>
                <a:gd name="T34" fmla="*/ 160 w 617"/>
                <a:gd name="T35" fmla="*/ 196 h 829"/>
                <a:gd name="T36" fmla="*/ 161 w 617"/>
                <a:gd name="T37" fmla="*/ 207 h 829"/>
                <a:gd name="T38" fmla="*/ 130 w 617"/>
                <a:gd name="T39" fmla="*/ 235 h 829"/>
                <a:gd name="T40" fmla="*/ 0 w 617"/>
                <a:gd name="T41" fmla="*/ 227 h 829"/>
                <a:gd name="T42" fmla="*/ 0 w 617"/>
                <a:gd name="T43" fmla="*/ 829 h 829"/>
                <a:gd name="T44" fmla="*/ 604 w 617"/>
                <a:gd name="T45" fmla="*/ 829 h 829"/>
                <a:gd name="T46" fmla="*/ 615 w 617"/>
                <a:gd name="T47" fmla="*/ 679 h 829"/>
                <a:gd name="T48" fmla="*/ 587 w 617"/>
                <a:gd name="T49" fmla="*/ 648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7" h="829">
                  <a:moveTo>
                    <a:pt x="587" y="648"/>
                  </a:moveTo>
                  <a:cubicBezTo>
                    <a:pt x="583" y="648"/>
                    <a:pt x="579" y="648"/>
                    <a:pt x="576" y="649"/>
                  </a:cubicBezTo>
                  <a:cubicBezTo>
                    <a:pt x="539" y="662"/>
                    <a:pt x="503" y="669"/>
                    <a:pt x="480" y="669"/>
                  </a:cubicBezTo>
                  <a:cubicBezTo>
                    <a:pt x="425" y="669"/>
                    <a:pt x="380" y="624"/>
                    <a:pt x="380" y="569"/>
                  </a:cubicBezTo>
                  <a:cubicBezTo>
                    <a:pt x="380" y="514"/>
                    <a:pt x="425" y="469"/>
                    <a:pt x="480" y="469"/>
                  </a:cubicBezTo>
                  <a:cubicBezTo>
                    <a:pt x="503" y="469"/>
                    <a:pt x="540" y="476"/>
                    <a:pt x="576" y="489"/>
                  </a:cubicBezTo>
                  <a:cubicBezTo>
                    <a:pt x="580" y="490"/>
                    <a:pt x="584" y="491"/>
                    <a:pt x="587" y="491"/>
                  </a:cubicBezTo>
                  <a:cubicBezTo>
                    <a:pt x="603" y="490"/>
                    <a:pt x="617" y="477"/>
                    <a:pt x="616" y="459"/>
                  </a:cubicBezTo>
                  <a:cubicBezTo>
                    <a:pt x="613" y="385"/>
                    <a:pt x="607" y="308"/>
                    <a:pt x="596" y="228"/>
                  </a:cubicBezTo>
                  <a:cubicBezTo>
                    <a:pt x="596" y="224"/>
                    <a:pt x="595" y="219"/>
                    <a:pt x="594" y="215"/>
                  </a:cubicBezTo>
                  <a:cubicBezTo>
                    <a:pt x="590" y="215"/>
                    <a:pt x="585" y="216"/>
                    <a:pt x="581" y="216"/>
                  </a:cubicBezTo>
                  <a:cubicBezTo>
                    <a:pt x="501" y="227"/>
                    <a:pt x="424" y="233"/>
                    <a:pt x="350" y="236"/>
                  </a:cubicBezTo>
                  <a:cubicBezTo>
                    <a:pt x="332" y="237"/>
                    <a:pt x="319" y="223"/>
                    <a:pt x="318" y="208"/>
                  </a:cubicBezTo>
                  <a:cubicBezTo>
                    <a:pt x="318" y="204"/>
                    <a:pt x="319" y="200"/>
                    <a:pt x="320" y="196"/>
                  </a:cubicBezTo>
                  <a:cubicBezTo>
                    <a:pt x="333" y="160"/>
                    <a:pt x="340" y="123"/>
                    <a:pt x="340" y="100"/>
                  </a:cubicBezTo>
                  <a:cubicBezTo>
                    <a:pt x="340" y="45"/>
                    <a:pt x="295" y="0"/>
                    <a:pt x="240" y="0"/>
                  </a:cubicBezTo>
                  <a:cubicBezTo>
                    <a:pt x="185" y="0"/>
                    <a:pt x="140" y="45"/>
                    <a:pt x="140" y="100"/>
                  </a:cubicBezTo>
                  <a:cubicBezTo>
                    <a:pt x="140" y="123"/>
                    <a:pt x="147" y="160"/>
                    <a:pt x="160" y="196"/>
                  </a:cubicBezTo>
                  <a:cubicBezTo>
                    <a:pt x="161" y="200"/>
                    <a:pt x="161" y="204"/>
                    <a:pt x="161" y="207"/>
                  </a:cubicBezTo>
                  <a:cubicBezTo>
                    <a:pt x="160" y="223"/>
                    <a:pt x="147" y="236"/>
                    <a:pt x="130" y="235"/>
                  </a:cubicBezTo>
                  <a:cubicBezTo>
                    <a:pt x="85" y="233"/>
                    <a:pt x="41" y="230"/>
                    <a:pt x="0" y="227"/>
                  </a:cubicBezTo>
                  <a:cubicBezTo>
                    <a:pt x="0" y="829"/>
                    <a:pt x="0" y="829"/>
                    <a:pt x="0" y="829"/>
                  </a:cubicBezTo>
                  <a:cubicBezTo>
                    <a:pt x="604" y="829"/>
                    <a:pt x="604" y="829"/>
                    <a:pt x="604" y="829"/>
                  </a:cubicBezTo>
                  <a:cubicBezTo>
                    <a:pt x="609" y="782"/>
                    <a:pt x="613" y="732"/>
                    <a:pt x="615" y="679"/>
                  </a:cubicBezTo>
                  <a:cubicBezTo>
                    <a:pt x="616" y="662"/>
                    <a:pt x="603" y="649"/>
                    <a:pt x="587" y="648"/>
                  </a:cubicBezTo>
                  <a:close/>
                </a:path>
              </a:pathLst>
            </a:custGeom>
            <a:solidFill>
              <a:srgbClr val="5BBB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961EB54C-5DD4-4D23-9B18-19985CC0CED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302083" y="3103542"/>
              <a:ext cx="843151" cy="843965"/>
              <a:chOff x="5273675" y="2605088"/>
              <a:chExt cx="1644650" cy="1646237"/>
            </a:xfrm>
          </p:grpSpPr>
          <p:sp>
            <p:nvSpPr>
              <p:cNvPr id="69" name="AutoShape 3">
                <a:extLst>
                  <a:ext uri="{FF2B5EF4-FFF2-40B4-BE49-F238E27FC236}">
                    <a16:creationId xmlns:a16="http://schemas.microsoft.com/office/drawing/2014/main" id="{E3880880-AFF1-4141-826F-99B290DDAE0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BB27C0FD-916F-4807-A41A-8F901647724A}"/>
                  </a:ext>
                </a:extLst>
              </p:cNvPr>
              <p:cNvGrpSpPr/>
              <p:nvPr/>
            </p:nvGrpSpPr>
            <p:grpSpPr>
              <a:xfrm>
                <a:off x="5531036" y="2776581"/>
                <a:ext cx="1129929" cy="1303250"/>
                <a:chOff x="5528729" y="2776624"/>
                <a:chExt cx="1129929" cy="1303250"/>
              </a:xfrm>
            </p:grpSpPr>
            <p:sp>
              <p:nvSpPr>
                <p:cNvPr id="71" name="Freeform 156">
                  <a:extLst>
                    <a:ext uri="{FF2B5EF4-FFF2-40B4-BE49-F238E27FC236}">
                      <a16:creationId xmlns:a16="http://schemas.microsoft.com/office/drawing/2014/main" id="{E70D29E8-3000-4A16-B9D8-3359357F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28729" y="2776624"/>
                  <a:ext cx="1129929" cy="1303250"/>
                </a:xfrm>
                <a:custGeom>
                  <a:avLst/>
                  <a:gdLst>
                    <a:gd name="connsiteX0" fmla="*/ 289198 w 1129929"/>
                    <a:gd name="connsiteY0" fmla="*/ 853988 h 1303250"/>
                    <a:gd name="connsiteX1" fmla="*/ 35540 w 1129929"/>
                    <a:gd name="connsiteY1" fmla="*/ 1184870 h 1303250"/>
                    <a:gd name="connsiteX2" fmla="*/ 71981 w 1129929"/>
                    <a:gd name="connsiteY2" fmla="*/ 1245615 h 1303250"/>
                    <a:gd name="connsiteX3" fmla="*/ 119140 w 1129929"/>
                    <a:gd name="connsiteY3" fmla="*/ 1267769 h 1303250"/>
                    <a:gd name="connsiteX4" fmla="*/ 140576 w 1129929"/>
                    <a:gd name="connsiteY4" fmla="*/ 1264911 h 1303250"/>
                    <a:gd name="connsiteX5" fmla="*/ 394234 w 1129929"/>
                    <a:gd name="connsiteY5" fmla="*/ 933314 h 1303250"/>
                    <a:gd name="connsiteX6" fmla="*/ 289198 w 1129929"/>
                    <a:gd name="connsiteY6" fmla="*/ 853988 h 1303250"/>
                    <a:gd name="connsiteX7" fmla="*/ 283534 w 1129929"/>
                    <a:gd name="connsiteY7" fmla="*/ 814143 h 1303250"/>
                    <a:gd name="connsiteX8" fmla="*/ 296390 w 1129929"/>
                    <a:gd name="connsiteY8" fmla="*/ 817004 h 1303250"/>
                    <a:gd name="connsiteX9" fmla="*/ 427812 w 1129929"/>
                    <a:gd name="connsiteY9" fmla="*/ 917828 h 1303250"/>
                    <a:gd name="connsiteX10" fmla="*/ 431383 w 1129929"/>
                    <a:gd name="connsiteY10" fmla="*/ 942141 h 1303250"/>
                    <a:gd name="connsiteX11" fmla="*/ 167825 w 1129929"/>
                    <a:gd name="connsiteY11" fmla="*/ 1285373 h 1303250"/>
                    <a:gd name="connsiteX12" fmla="*/ 128541 w 1129929"/>
                    <a:gd name="connsiteY12" fmla="*/ 1303250 h 1303250"/>
                    <a:gd name="connsiteX13" fmla="*/ 114256 w 1129929"/>
                    <a:gd name="connsiteY13" fmla="*/ 1301820 h 1303250"/>
                    <a:gd name="connsiteX14" fmla="*/ 52117 w 1129929"/>
                    <a:gd name="connsiteY14" fmla="*/ 1273217 h 1303250"/>
                    <a:gd name="connsiteX15" fmla="*/ 8547 w 1129929"/>
                    <a:gd name="connsiteY15" fmla="*/ 1165242 h 1303250"/>
                    <a:gd name="connsiteX16" fmla="*/ 272106 w 1129929"/>
                    <a:gd name="connsiteY16" fmla="*/ 819864 h 1303250"/>
                    <a:gd name="connsiteX17" fmla="*/ 283534 w 1129929"/>
                    <a:gd name="connsiteY17" fmla="*/ 814143 h 1303250"/>
                    <a:gd name="connsiteX18" fmla="*/ 715344 w 1129929"/>
                    <a:gd name="connsiteY18" fmla="*/ 573000 h 1303250"/>
                    <a:gd name="connsiteX19" fmla="*/ 729007 w 1129929"/>
                    <a:gd name="connsiteY19" fmla="*/ 600174 h 1303250"/>
                    <a:gd name="connsiteX20" fmla="*/ 757772 w 1129929"/>
                    <a:gd name="connsiteY20" fmla="*/ 603034 h 1303250"/>
                    <a:gd name="connsiteX21" fmla="*/ 737637 w 1129929"/>
                    <a:gd name="connsiteY21" fmla="*/ 623772 h 1303250"/>
                    <a:gd name="connsiteX22" fmla="*/ 741951 w 1129929"/>
                    <a:gd name="connsiteY22" fmla="*/ 652375 h 1303250"/>
                    <a:gd name="connsiteX23" fmla="*/ 715344 w 1129929"/>
                    <a:gd name="connsiteY23" fmla="*/ 637358 h 1303250"/>
                    <a:gd name="connsiteX24" fmla="*/ 689455 w 1129929"/>
                    <a:gd name="connsiteY24" fmla="*/ 652375 h 1303250"/>
                    <a:gd name="connsiteX25" fmla="*/ 693770 w 1129929"/>
                    <a:gd name="connsiteY25" fmla="*/ 623772 h 1303250"/>
                    <a:gd name="connsiteX26" fmla="*/ 673634 w 1129929"/>
                    <a:gd name="connsiteY26" fmla="*/ 603034 h 1303250"/>
                    <a:gd name="connsiteX27" fmla="*/ 703119 w 1129929"/>
                    <a:gd name="connsiteY27" fmla="*/ 600174 h 1303250"/>
                    <a:gd name="connsiteX28" fmla="*/ 715344 w 1129929"/>
                    <a:gd name="connsiteY28" fmla="*/ 573000 h 1303250"/>
                    <a:gd name="connsiteX29" fmla="*/ 616222 w 1129929"/>
                    <a:gd name="connsiteY29" fmla="*/ 573000 h 1303250"/>
                    <a:gd name="connsiteX30" fmla="*/ 629598 w 1129929"/>
                    <a:gd name="connsiteY30" fmla="*/ 600174 h 1303250"/>
                    <a:gd name="connsiteX31" fmla="*/ 657759 w 1129929"/>
                    <a:gd name="connsiteY31" fmla="*/ 603034 h 1303250"/>
                    <a:gd name="connsiteX32" fmla="*/ 636638 w 1129929"/>
                    <a:gd name="connsiteY32" fmla="*/ 623772 h 1303250"/>
                    <a:gd name="connsiteX33" fmla="*/ 641567 w 1129929"/>
                    <a:gd name="connsiteY33" fmla="*/ 652375 h 1303250"/>
                    <a:gd name="connsiteX34" fmla="*/ 616222 w 1129929"/>
                    <a:gd name="connsiteY34" fmla="*/ 637358 h 1303250"/>
                    <a:gd name="connsiteX35" fmla="*/ 591581 w 1129929"/>
                    <a:gd name="connsiteY35" fmla="*/ 652375 h 1303250"/>
                    <a:gd name="connsiteX36" fmla="*/ 595805 w 1129929"/>
                    <a:gd name="connsiteY36" fmla="*/ 623772 h 1303250"/>
                    <a:gd name="connsiteX37" fmla="*/ 576796 w 1129929"/>
                    <a:gd name="connsiteY37" fmla="*/ 603034 h 1303250"/>
                    <a:gd name="connsiteX38" fmla="*/ 604253 w 1129929"/>
                    <a:gd name="connsiteY38" fmla="*/ 600174 h 1303250"/>
                    <a:gd name="connsiteX39" fmla="*/ 616222 w 1129929"/>
                    <a:gd name="connsiteY39" fmla="*/ 573000 h 1303250"/>
                    <a:gd name="connsiteX40" fmla="*/ 521234 w 1129929"/>
                    <a:gd name="connsiteY40" fmla="*/ 573000 h 1303250"/>
                    <a:gd name="connsiteX41" fmla="*/ 534092 w 1129929"/>
                    <a:gd name="connsiteY41" fmla="*/ 600174 h 1303250"/>
                    <a:gd name="connsiteX42" fmla="*/ 564096 w 1129929"/>
                    <a:gd name="connsiteY42" fmla="*/ 603034 h 1303250"/>
                    <a:gd name="connsiteX43" fmla="*/ 542665 w 1129929"/>
                    <a:gd name="connsiteY43" fmla="*/ 623772 h 1303250"/>
                    <a:gd name="connsiteX44" fmla="*/ 547666 w 1129929"/>
                    <a:gd name="connsiteY44" fmla="*/ 652375 h 1303250"/>
                    <a:gd name="connsiteX45" fmla="*/ 521234 w 1129929"/>
                    <a:gd name="connsiteY45" fmla="*/ 637358 h 1303250"/>
                    <a:gd name="connsiteX46" fmla="*/ 494802 w 1129929"/>
                    <a:gd name="connsiteY46" fmla="*/ 652375 h 1303250"/>
                    <a:gd name="connsiteX47" fmla="*/ 499088 w 1129929"/>
                    <a:gd name="connsiteY47" fmla="*/ 623772 h 1303250"/>
                    <a:gd name="connsiteX48" fmla="*/ 478371 w 1129929"/>
                    <a:gd name="connsiteY48" fmla="*/ 603034 h 1303250"/>
                    <a:gd name="connsiteX49" fmla="*/ 507661 w 1129929"/>
                    <a:gd name="connsiteY49" fmla="*/ 600174 h 1303250"/>
                    <a:gd name="connsiteX50" fmla="*/ 521234 w 1129929"/>
                    <a:gd name="connsiteY50" fmla="*/ 573000 h 1303250"/>
                    <a:gd name="connsiteX51" fmla="*/ 598151 w 1129929"/>
                    <a:gd name="connsiteY51" fmla="*/ 292013 h 1303250"/>
                    <a:gd name="connsiteX52" fmla="*/ 601732 w 1129929"/>
                    <a:gd name="connsiteY52" fmla="*/ 297731 h 1303250"/>
                    <a:gd name="connsiteX53" fmla="*/ 611760 w 1129929"/>
                    <a:gd name="connsiteY53" fmla="*/ 302734 h 1303250"/>
                    <a:gd name="connsiteX54" fmla="*/ 622505 w 1129929"/>
                    <a:gd name="connsiteY54" fmla="*/ 319888 h 1303250"/>
                    <a:gd name="connsiteX55" fmla="*/ 626087 w 1129929"/>
                    <a:gd name="connsiteY55" fmla="*/ 323462 h 1303250"/>
                    <a:gd name="connsiteX56" fmla="*/ 661186 w 1129929"/>
                    <a:gd name="connsiteY56" fmla="*/ 397081 h 1303250"/>
                    <a:gd name="connsiteX57" fmla="*/ 714909 w 1129929"/>
                    <a:gd name="connsiteY57" fmla="*/ 423527 h 1303250"/>
                    <a:gd name="connsiteX58" fmla="*/ 770065 w 1129929"/>
                    <a:gd name="connsiteY58" fmla="*/ 397081 h 1303250"/>
                    <a:gd name="connsiteX59" fmla="*/ 804448 w 1129929"/>
                    <a:gd name="connsiteY59" fmla="*/ 323462 h 1303250"/>
                    <a:gd name="connsiteX60" fmla="*/ 807313 w 1129929"/>
                    <a:gd name="connsiteY60" fmla="*/ 320603 h 1303250"/>
                    <a:gd name="connsiteX61" fmla="*/ 815909 w 1129929"/>
                    <a:gd name="connsiteY61" fmla="*/ 312026 h 1303250"/>
                    <a:gd name="connsiteX62" fmla="*/ 832384 w 1129929"/>
                    <a:gd name="connsiteY62" fmla="*/ 307023 h 1303250"/>
                    <a:gd name="connsiteX63" fmla="*/ 815909 w 1129929"/>
                    <a:gd name="connsiteY63" fmla="*/ 330610 h 1303250"/>
                    <a:gd name="connsiteX64" fmla="*/ 777945 w 1129929"/>
                    <a:gd name="connsiteY64" fmla="*/ 406373 h 1303250"/>
                    <a:gd name="connsiteX65" fmla="*/ 776512 w 1129929"/>
                    <a:gd name="connsiteY65" fmla="*/ 408517 h 1303250"/>
                    <a:gd name="connsiteX66" fmla="*/ 776512 w 1129929"/>
                    <a:gd name="connsiteY66" fmla="*/ 427101 h 1303250"/>
                    <a:gd name="connsiteX67" fmla="*/ 763618 w 1129929"/>
                    <a:gd name="connsiteY67" fmla="*/ 438537 h 1303250"/>
                    <a:gd name="connsiteX68" fmla="*/ 763618 w 1129929"/>
                    <a:gd name="connsiteY68" fmla="*/ 418524 h 1303250"/>
                    <a:gd name="connsiteX69" fmla="*/ 714909 w 1129929"/>
                    <a:gd name="connsiteY69" fmla="*/ 437107 h 1303250"/>
                    <a:gd name="connsiteX70" fmla="*/ 671931 w 1129929"/>
                    <a:gd name="connsiteY70" fmla="*/ 420668 h 1303250"/>
                    <a:gd name="connsiteX71" fmla="*/ 671931 w 1129929"/>
                    <a:gd name="connsiteY71" fmla="*/ 442825 h 1303250"/>
                    <a:gd name="connsiteX72" fmla="*/ 658321 w 1129929"/>
                    <a:gd name="connsiteY72" fmla="*/ 431389 h 1303250"/>
                    <a:gd name="connsiteX73" fmla="*/ 658321 w 1129929"/>
                    <a:gd name="connsiteY73" fmla="*/ 412091 h 1303250"/>
                    <a:gd name="connsiteX74" fmla="*/ 651874 w 1129929"/>
                    <a:gd name="connsiteY74" fmla="*/ 406373 h 1303250"/>
                    <a:gd name="connsiteX75" fmla="*/ 615342 w 1129929"/>
                    <a:gd name="connsiteY75" fmla="*/ 331324 h 1303250"/>
                    <a:gd name="connsiteX76" fmla="*/ 597434 w 1129929"/>
                    <a:gd name="connsiteY76" fmla="*/ 294872 h 1303250"/>
                    <a:gd name="connsiteX77" fmla="*/ 598151 w 1129929"/>
                    <a:gd name="connsiteY77" fmla="*/ 292013 h 1303250"/>
                    <a:gd name="connsiteX78" fmla="*/ 710144 w 1129929"/>
                    <a:gd name="connsiteY78" fmla="*/ 50713 h 1303250"/>
                    <a:gd name="connsiteX79" fmla="*/ 705856 w 1129929"/>
                    <a:gd name="connsiteY79" fmla="*/ 51429 h 1303250"/>
                    <a:gd name="connsiteX80" fmla="*/ 702998 w 1129929"/>
                    <a:gd name="connsiteY80" fmla="*/ 51429 h 1303250"/>
                    <a:gd name="connsiteX81" fmla="*/ 695136 w 1129929"/>
                    <a:gd name="connsiteY81" fmla="*/ 51429 h 1303250"/>
                    <a:gd name="connsiteX82" fmla="*/ 694421 w 1129929"/>
                    <a:gd name="connsiteY82" fmla="*/ 51429 h 1303250"/>
                    <a:gd name="connsiteX83" fmla="*/ 351372 w 1129929"/>
                    <a:gd name="connsiteY83" fmla="*/ 417783 h 1303250"/>
                    <a:gd name="connsiteX84" fmla="*/ 635102 w 1129929"/>
                    <a:gd name="connsiteY84" fmla="*/ 775552 h 1303250"/>
                    <a:gd name="connsiteX85" fmla="*/ 717291 w 1129929"/>
                    <a:gd name="connsiteY85" fmla="*/ 784138 h 1303250"/>
                    <a:gd name="connsiteX86" fmla="*/ 801624 w 1129929"/>
                    <a:gd name="connsiteY86" fmla="*/ 774836 h 1303250"/>
                    <a:gd name="connsiteX87" fmla="*/ 1083210 w 1129929"/>
                    <a:gd name="connsiteY87" fmla="*/ 417783 h 1303250"/>
                    <a:gd name="connsiteX88" fmla="*/ 770893 w 1129929"/>
                    <a:gd name="connsiteY88" fmla="*/ 55006 h 1303250"/>
                    <a:gd name="connsiteX89" fmla="*/ 770178 w 1129929"/>
                    <a:gd name="connsiteY89" fmla="*/ 55006 h 1303250"/>
                    <a:gd name="connsiteX90" fmla="*/ 758743 w 1129929"/>
                    <a:gd name="connsiteY90" fmla="*/ 53575 h 1303250"/>
                    <a:gd name="connsiteX91" fmla="*/ 757314 w 1129929"/>
                    <a:gd name="connsiteY91" fmla="*/ 52860 h 1303250"/>
                    <a:gd name="connsiteX92" fmla="*/ 751596 w 1129929"/>
                    <a:gd name="connsiteY92" fmla="*/ 52860 h 1303250"/>
                    <a:gd name="connsiteX93" fmla="*/ 748023 w 1129929"/>
                    <a:gd name="connsiteY93" fmla="*/ 52144 h 1303250"/>
                    <a:gd name="connsiteX94" fmla="*/ 743735 w 1129929"/>
                    <a:gd name="connsiteY94" fmla="*/ 52144 h 1303250"/>
                    <a:gd name="connsiteX95" fmla="*/ 738017 w 1129929"/>
                    <a:gd name="connsiteY95" fmla="*/ 51429 h 1303250"/>
                    <a:gd name="connsiteX96" fmla="*/ 735873 w 1129929"/>
                    <a:gd name="connsiteY96" fmla="*/ 51429 h 1303250"/>
                    <a:gd name="connsiteX97" fmla="*/ 726582 w 1129929"/>
                    <a:gd name="connsiteY97" fmla="*/ 51429 h 1303250"/>
                    <a:gd name="connsiteX98" fmla="*/ 725153 w 1129929"/>
                    <a:gd name="connsiteY98" fmla="*/ 51429 h 1303250"/>
                    <a:gd name="connsiteX99" fmla="*/ 718006 w 1129929"/>
                    <a:gd name="connsiteY99" fmla="*/ 50713 h 1303250"/>
                    <a:gd name="connsiteX100" fmla="*/ 715147 w 1129929"/>
                    <a:gd name="connsiteY100" fmla="*/ 50713 h 1303250"/>
                    <a:gd name="connsiteX101" fmla="*/ 710144 w 1129929"/>
                    <a:gd name="connsiteY101" fmla="*/ 50713 h 1303250"/>
                    <a:gd name="connsiteX102" fmla="*/ 701396 w 1129929"/>
                    <a:gd name="connsiteY102" fmla="*/ 312 h 1303250"/>
                    <a:gd name="connsiteX103" fmla="*/ 968363 w 1129929"/>
                    <a:gd name="connsiteY103" fmla="*/ 83938 h 1303250"/>
                    <a:gd name="connsiteX104" fmla="*/ 1045455 w 1129929"/>
                    <a:gd name="connsiteY104" fmla="*/ 665036 h 1303250"/>
                    <a:gd name="connsiteX105" fmla="*/ 1032607 w 1129929"/>
                    <a:gd name="connsiteY105" fmla="*/ 681475 h 1303250"/>
                    <a:gd name="connsiteX106" fmla="*/ 1032607 w 1129929"/>
                    <a:gd name="connsiteY106" fmla="*/ 680760 h 1303250"/>
                    <a:gd name="connsiteX107" fmla="*/ 907689 w 1129929"/>
                    <a:gd name="connsiteY107" fmla="*/ 780112 h 1303250"/>
                    <a:gd name="connsiteX108" fmla="*/ 909116 w 1129929"/>
                    <a:gd name="connsiteY108" fmla="*/ 780112 h 1303250"/>
                    <a:gd name="connsiteX109" fmla="*/ 527224 w 1129929"/>
                    <a:gd name="connsiteY109" fmla="*/ 780826 h 1303250"/>
                    <a:gd name="connsiteX110" fmla="*/ 525083 w 1129929"/>
                    <a:gd name="connsiteY110" fmla="*/ 780826 h 1303250"/>
                    <a:gd name="connsiteX111" fmla="*/ 442280 w 1129929"/>
                    <a:gd name="connsiteY111" fmla="*/ 887325 h 1303250"/>
                    <a:gd name="connsiteX112" fmla="*/ 439425 w 1129929"/>
                    <a:gd name="connsiteY112" fmla="*/ 885181 h 1303250"/>
                    <a:gd name="connsiteX113" fmla="*/ 368757 w 1129929"/>
                    <a:gd name="connsiteY113" fmla="*/ 830859 h 1303250"/>
                    <a:gd name="connsiteX114" fmla="*/ 326641 w 1129929"/>
                    <a:gd name="connsiteY114" fmla="*/ 799410 h 1303250"/>
                    <a:gd name="connsiteX115" fmla="*/ 326641 w 1129929"/>
                    <a:gd name="connsiteY115" fmla="*/ 798695 h 1303250"/>
                    <a:gd name="connsiteX116" fmla="*/ 357336 w 1129929"/>
                    <a:gd name="connsiteY116" fmla="*/ 758669 h 1303250"/>
                    <a:gd name="connsiteX117" fmla="*/ 410158 w 1129929"/>
                    <a:gd name="connsiteY117" fmla="*/ 690767 h 1303250"/>
                    <a:gd name="connsiteX118" fmla="*/ 410872 w 1129929"/>
                    <a:gd name="connsiteY118" fmla="*/ 689338 h 1303250"/>
                    <a:gd name="connsiteX119" fmla="*/ 402306 w 1129929"/>
                    <a:gd name="connsiteY119" fmla="*/ 680760 h 1303250"/>
                    <a:gd name="connsiteX120" fmla="*/ 388744 w 1129929"/>
                    <a:gd name="connsiteY120" fmla="*/ 161847 h 1303250"/>
                    <a:gd name="connsiteX121" fmla="*/ 701396 w 1129929"/>
                    <a:gd name="connsiteY121" fmla="*/ 312 h 1303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</a:cxnLst>
                  <a:rect l="l" t="t" r="r" b="b"/>
                  <a:pathLst>
                    <a:path w="1129929" h="1303250">
                      <a:moveTo>
                        <a:pt x="289198" y="853988"/>
                      </a:moveTo>
                      <a:cubicBezTo>
                        <a:pt x="289198" y="853988"/>
                        <a:pt x="289198" y="853988"/>
                        <a:pt x="35540" y="1184870"/>
                      </a:cubicBezTo>
                      <a:cubicBezTo>
                        <a:pt x="29109" y="1193446"/>
                        <a:pt x="40542" y="1222032"/>
                        <a:pt x="71981" y="1245615"/>
                      </a:cubicBezTo>
                      <a:cubicBezTo>
                        <a:pt x="86986" y="1257049"/>
                        <a:pt x="104849" y="1264911"/>
                        <a:pt x="119140" y="1267769"/>
                      </a:cubicBezTo>
                      <a:cubicBezTo>
                        <a:pt x="129143" y="1269913"/>
                        <a:pt x="137718" y="1267769"/>
                        <a:pt x="140576" y="1264911"/>
                      </a:cubicBezTo>
                      <a:cubicBezTo>
                        <a:pt x="140576" y="1264911"/>
                        <a:pt x="140576" y="1264911"/>
                        <a:pt x="394234" y="933314"/>
                      </a:cubicBezTo>
                      <a:cubicBezTo>
                        <a:pt x="394234" y="933314"/>
                        <a:pt x="394234" y="933314"/>
                        <a:pt x="289198" y="853988"/>
                      </a:cubicBezTo>
                      <a:close/>
                      <a:moveTo>
                        <a:pt x="283534" y="814143"/>
                      </a:moveTo>
                      <a:cubicBezTo>
                        <a:pt x="288533" y="812713"/>
                        <a:pt x="292819" y="814858"/>
                        <a:pt x="296390" y="817004"/>
                      </a:cubicBezTo>
                      <a:cubicBezTo>
                        <a:pt x="296390" y="817004"/>
                        <a:pt x="296390" y="817004"/>
                        <a:pt x="427812" y="917828"/>
                      </a:cubicBezTo>
                      <a:cubicBezTo>
                        <a:pt x="435669" y="923549"/>
                        <a:pt x="437097" y="934275"/>
                        <a:pt x="431383" y="942141"/>
                      </a:cubicBezTo>
                      <a:cubicBezTo>
                        <a:pt x="431383" y="942141"/>
                        <a:pt x="431383" y="942141"/>
                        <a:pt x="167825" y="1285373"/>
                      </a:cubicBezTo>
                      <a:cubicBezTo>
                        <a:pt x="159254" y="1296815"/>
                        <a:pt x="145683" y="1303250"/>
                        <a:pt x="128541" y="1303250"/>
                      </a:cubicBezTo>
                      <a:cubicBezTo>
                        <a:pt x="124256" y="1303250"/>
                        <a:pt x="118542" y="1302535"/>
                        <a:pt x="114256" y="1301820"/>
                      </a:cubicBezTo>
                      <a:cubicBezTo>
                        <a:pt x="94257" y="1298960"/>
                        <a:pt x="72116" y="1287519"/>
                        <a:pt x="52117" y="1273217"/>
                      </a:cubicBezTo>
                      <a:cubicBezTo>
                        <a:pt x="5690" y="1238179"/>
                        <a:pt x="-12166" y="1192415"/>
                        <a:pt x="8547" y="1165242"/>
                      </a:cubicBezTo>
                      <a:cubicBezTo>
                        <a:pt x="8547" y="1165242"/>
                        <a:pt x="8547" y="1165242"/>
                        <a:pt x="272106" y="819864"/>
                      </a:cubicBezTo>
                      <a:cubicBezTo>
                        <a:pt x="274963" y="817004"/>
                        <a:pt x="279248" y="814858"/>
                        <a:pt x="283534" y="814143"/>
                      </a:cubicBezTo>
                      <a:close/>
                      <a:moveTo>
                        <a:pt x="715344" y="573000"/>
                      </a:moveTo>
                      <a:cubicBezTo>
                        <a:pt x="715344" y="573000"/>
                        <a:pt x="715344" y="573000"/>
                        <a:pt x="729007" y="600174"/>
                      </a:cubicBezTo>
                      <a:cubicBezTo>
                        <a:pt x="729007" y="600174"/>
                        <a:pt x="729007" y="600174"/>
                        <a:pt x="757772" y="603034"/>
                      </a:cubicBezTo>
                      <a:cubicBezTo>
                        <a:pt x="757772" y="603034"/>
                        <a:pt x="757772" y="603034"/>
                        <a:pt x="737637" y="623772"/>
                      </a:cubicBezTo>
                      <a:cubicBezTo>
                        <a:pt x="737637" y="623772"/>
                        <a:pt x="737637" y="623772"/>
                        <a:pt x="741951" y="652375"/>
                      </a:cubicBezTo>
                      <a:cubicBezTo>
                        <a:pt x="741951" y="652375"/>
                        <a:pt x="741951" y="652375"/>
                        <a:pt x="715344" y="637358"/>
                      </a:cubicBezTo>
                      <a:cubicBezTo>
                        <a:pt x="715344" y="637358"/>
                        <a:pt x="715344" y="637358"/>
                        <a:pt x="689455" y="652375"/>
                      </a:cubicBezTo>
                      <a:cubicBezTo>
                        <a:pt x="689455" y="652375"/>
                        <a:pt x="689455" y="652375"/>
                        <a:pt x="693770" y="623772"/>
                      </a:cubicBezTo>
                      <a:cubicBezTo>
                        <a:pt x="693770" y="623772"/>
                        <a:pt x="693770" y="623772"/>
                        <a:pt x="673634" y="603034"/>
                      </a:cubicBezTo>
                      <a:cubicBezTo>
                        <a:pt x="673634" y="603034"/>
                        <a:pt x="673634" y="603034"/>
                        <a:pt x="703119" y="600174"/>
                      </a:cubicBezTo>
                      <a:cubicBezTo>
                        <a:pt x="703119" y="600174"/>
                        <a:pt x="703119" y="600174"/>
                        <a:pt x="715344" y="573000"/>
                      </a:cubicBezTo>
                      <a:close/>
                      <a:moveTo>
                        <a:pt x="616222" y="573000"/>
                      </a:moveTo>
                      <a:cubicBezTo>
                        <a:pt x="616222" y="573000"/>
                        <a:pt x="616222" y="573000"/>
                        <a:pt x="629598" y="600174"/>
                      </a:cubicBezTo>
                      <a:cubicBezTo>
                        <a:pt x="629598" y="600174"/>
                        <a:pt x="629598" y="600174"/>
                        <a:pt x="657759" y="603034"/>
                      </a:cubicBezTo>
                      <a:cubicBezTo>
                        <a:pt x="657759" y="603034"/>
                        <a:pt x="657759" y="603034"/>
                        <a:pt x="636638" y="623772"/>
                      </a:cubicBezTo>
                      <a:cubicBezTo>
                        <a:pt x="636638" y="623772"/>
                        <a:pt x="636638" y="623772"/>
                        <a:pt x="641567" y="652375"/>
                      </a:cubicBezTo>
                      <a:cubicBezTo>
                        <a:pt x="641567" y="652375"/>
                        <a:pt x="641567" y="652375"/>
                        <a:pt x="616222" y="637358"/>
                      </a:cubicBezTo>
                      <a:cubicBezTo>
                        <a:pt x="616222" y="637358"/>
                        <a:pt x="616222" y="637358"/>
                        <a:pt x="591581" y="652375"/>
                      </a:cubicBezTo>
                      <a:cubicBezTo>
                        <a:pt x="591581" y="652375"/>
                        <a:pt x="591581" y="652375"/>
                        <a:pt x="595805" y="623772"/>
                      </a:cubicBezTo>
                      <a:cubicBezTo>
                        <a:pt x="595805" y="623772"/>
                        <a:pt x="595805" y="623772"/>
                        <a:pt x="576796" y="603034"/>
                      </a:cubicBezTo>
                      <a:cubicBezTo>
                        <a:pt x="576796" y="603034"/>
                        <a:pt x="576796" y="603034"/>
                        <a:pt x="604253" y="600174"/>
                      </a:cubicBezTo>
                      <a:cubicBezTo>
                        <a:pt x="604253" y="600174"/>
                        <a:pt x="604253" y="600174"/>
                        <a:pt x="616222" y="573000"/>
                      </a:cubicBezTo>
                      <a:close/>
                      <a:moveTo>
                        <a:pt x="521234" y="573000"/>
                      </a:moveTo>
                      <a:cubicBezTo>
                        <a:pt x="521234" y="573000"/>
                        <a:pt x="521234" y="573000"/>
                        <a:pt x="534092" y="600174"/>
                      </a:cubicBezTo>
                      <a:cubicBezTo>
                        <a:pt x="534092" y="600174"/>
                        <a:pt x="534092" y="600174"/>
                        <a:pt x="564096" y="603034"/>
                      </a:cubicBezTo>
                      <a:cubicBezTo>
                        <a:pt x="564096" y="603034"/>
                        <a:pt x="564096" y="603034"/>
                        <a:pt x="542665" y="623772"/>
                      </a:cubicBezTo>
                      <a:cubicBezTo>
                        <a:pt x="542665" y="623772"/>
                        <a:pt x="542665" y="623772"/>
                        <a:pt x="547666" y="652375"/>
                      </a:cubicBezTo>
                      <a:cubicBezTo>
                        <a:pt x="547666" y="652375"/>
                        <a:pt x="547666" y="652375"/>
                        <a:pt x="521234" y="637358"/>
                      </a:cubicBezTo>
                      <a:cubicBezTo>
                        <a:pt x="521234" y="637358"/>
                        <a:pt x="521234" y="637358"/>
                        <a:pt x="494802" y="652375"/>
                      </a:cubicBezTo>
                      <a:cubicBezTo>
                        <a:pt x="494802" y="652375"/>
                        <a:pt x="494802" y="652375"/>
                        <a:pt x="499088" y="623772"/>
                      </a:cubicBezTo>
                      <a:cubicBezTo>
                        <a:pt x="499088" y="623772"/>
                        <a:pt x="499088" y="623772"/>
                        <a:pt x="478371" y="603034"/>
                      </a:cubicBezTo>
                      <a:cubicBezTo>
                        <a:pt x="478371" y="603034"/>
                        <a:pt x="478371" y="603034"/>
                        <a:pt x="507661" y="600174"/>
                      </a:cubicBezTo>
                      <a:cubicBezTo>
                        <a:pt x="507661" y="600174"/>
                        <a:pt x="507661" y="600174"/>
                        <a:pt x="521234" y="573000"/>
                      </a:cubicBezTo>
                      <a:close/>
                      <a:moveTo>
                        <a:pt x="598151" y="292013"/>
                      </a:moveTo>
                      <a:cubicBezTo>
                        <a:pt x="598867" y="294157"/>
                        <a:pt x="600299" y="296302"/>
                        <a:pt x="601732" y="297731"/>
                      </a:cubicBezTo>
                      <a:cubicBezTo>
                        <a:pt x="604597" y="302020"/>
                        <a:pt x="609612" y="302734"/>
                        <a:pt x="611760" y="302734"/>
                      </a:cubicBezTo>
                      <a:cubicBezTo>
                        <a:pt x="613193" y="309167"/>
                        <a:pt x="616058" y="317744"/>
                        <a:pt x="622505" y="319888"/>
                      </a:cubicBezTo>
                      <a:cubicBezTo>
                        <a:pt x="623938" y="321318"/>
                        <a:pt x="625370" y="321318"/>
                        <a:pt x="626087" y="323462"/>
                      </a:cubicBezTo>
                      <a:cubicBezTo>
                        <a:pt x="636831" y="350623"/>
                        <a:pt x="654739" y="391363"/>
                        <a:pt x="661186" y="397081"/>
                      </a:cubicBezTo>
                      <a:cubicBezTo>
                        <a:pt x="671931" y="406373"/>
                        <a:pt x="700583" y="423527"/>
                        <a:pt x="714909" y="423527"/>
                      </a:cubicBezTo>
                      <a:cubicBezTo>
                        <a:pt x="730668" y="423527"/>
                        <a:pt x="759321" y="406373"/>
                        <a:pt x="770065" y="397081"/>
                      </a:cubicBezTo>
                      <a:cubicBezTo>
                        <a:pt x="775796" y="391363"/>
                        <a:pt x="793703" y="350623"/>
                        <a:pt x="804448" y="323462"/>
                      </a:cubicBezTo>
                      <a:cubicBezTo>
                        <a:pt x="805164" y="322033"/>
                        <a:pt x="805881" y="321318"/>
                        <a:pt x="807313" y="320603"/>
                      </a:cubicBezTo>
                      <a:cubicBezTo>
                        <a:pt x="811611" y="318459"/>
                        <a:pt x="814476" y="315600"/>
                        <a:pt x="815909" y="312026"/>
                      </a:cubicBezTo>
                      <a:cubicBezTo>
                        <a:pt x="821640" y="311311"/>
                        <a:pt x="827370" y="309167"/>
                        <a:pt x="832384" y="307023"/>
                      </a:cubicBezTo>
                      <a:cubicBezTo>
                        <a:pt x="830952" y="313456"/>
                        <a:pt x="826654" y="324177"/>
                        <a:pt x="815909" y="330610"/>
                      </a:cubicBezTo>
                      <a:cubicBezTo>
                        <a:pt x="809462" y="345619"/>
                        <a:pt x="789406" y="397081"/>
                        <a:pt x="777945" y="406373"/>
                      </a:cubicBezTo>
                      <a:cubicBezTo>
                        <a:pt x="777228" y="407088"/>
                        <a:pt x="777228" y="407802"/>
                        <a:pt x="776512" y="408517"/>
                      </a:cubicBezTo>
                      <a:cubicBezTo>
                        <a:pt x="776512" y="427101"/>
                        <a:pt x="776512" y="427101"/>
                        <a:pt x="776512" y="427101"/>
                      </a:cubicBezTo>
                      <a:cubicBezTo>
                        <a:pt x="774363" y="429245"/>
                        <a:pt x="769349" y="433533"/>
                        <a:pt x="763618" y="438537"/>
                      </a:cubicBezTo>
                      <a:cubicBezTo>
                        <a:pt x="763618" y="418524"/>
                        <a:pt x="763618" y="418524"/>
                        <a:pt x="763618" y="418524"/>
                      </a:cubicBezTo>
                      <a:cubicBezTo>
                        <a:pt x="748576" y="427101"/>
                        <a:pt x="729235" y="437107"/>
                        <a:pt x="714909" y="437107"/>
                      </a:cubicBezTo>
                      <a:cubicBezTo>
                        <a:pt x="703448" y="437107"/>
                        <a:pt x="685540" y="429245"/>
                        <a:pt x="671931" y="420668"/>
                      </a:cubicBezTo>
                      <a:cubicBezTo>
                        <a:pt x="671931" y="442825"/>
                        <a:pt x="671931" y="442825"/>
                        <a:pt x="671931" y="442825"/>
                      </a:cubicBezTo>
                      <a:cubicBezTo>
                        <a:pt x="666916" y="438537"/>
                        <a:pt x="662619" y="434248"/>
                        <a:pt x="658321" y="431389"/>
                      </a:cubicBezTo>
                      <a:cubicBezTo>
                        <a:pt x="658321" y="412091"/>
                        <a:pt x="658321" y="412091"/>
                        <a:pt x="658321" y="412091"/>
                      </a:cubicBezTo>
                      <a:cubicBezTo>
                        <a:pt x="656172" y="409947"/>
                        <a:pt x="654023" y="408517"/>
                        <a:pt x="651874" y="406373"/>
                      </a:cubicBezTo>
                      <a:cubicBezTo>
                        <a:pt x="641846" y="397081"/>
                        <a:pt x="621073" y="346334"/>
                        <a:pt x="615342" y="331324"/>
                      </a:cubicBezTo>
                      <a:cubicBezTo>
                        <a:pt x="600299" y="322747"/>
                        <a:pt x="597434" y="302020"/>
                        <a:pt x="597434" y="294872"/>
                      </a:cubicBezTo>
                      <a:cubicBezTo>
                        <a:pt x="597434" y="293443"/>
                        <a:pt x="597434" y="292728"/>
                        <a:pt x="598151" y="292013"/>
                      </a:cubicBezTo>
                      <a:close/>
                      <a:moveTo>
                        <a:pt x="710144" y="50713"/>
                      </a:moveTo>
                      <a:cubicBezTo>
                        <a:pt x="708715" y="51429"/>
                        <a:pt x="707286" y="51429"/>
                        <a:pt x="705856" y="51429"/>
                      </a:cubicBezTo>
                      <a:cubicBezTo>
                        <a:pt x="704427" y="51429"/>
                        <a:pt x="703712" y="51429"/>
                        <a:pt x="702998" y="51429"/>
                      </a:cubicBezTo>
                      <a:cubicBezTo>
                        <a:pt x="700139" y="51429"/>
                        <a:pt x="697995" y="51429"/>
                        <a:pt x="695136" y="51429"/>
                      </a:cubicBezTo>
                      <a:cubicBezTo>
                        <a:pt x="695136" y="51429"/>
                        <a:pt x="695136" y="51429"/>
                        <a:pt x="694421" y="51429"/>
                      </a:cubicBezTo>
                      <a:cubicBezTo>
                        <a:pt x="502886" y="63593"/>
                        <a:pt x="351372" y="223157"/>
                        <a:pt x="351372" y="417783"/>
                      </a:cubicBezTo>
                      <a:cubicBezTo>
                        <a:pt x="351372" y="591659"/>
                        <a:pt x="472869" y="738344"/>
                        <a:pt x="635102" y="775552"/>
                      </a:cubicBezTo>
                      <a:cubicBezTo>
                        <a:pt x="661546" y="781276"/>
                        <a:pt x="689418" y="784138"/>
                        <a:pt x="717291" y="784138"/>
                      </a:cubicBezTo>
                      <a:cubicBezTo>
                        <a:pt x="746593" y="784138"/>
                        <a:pt x="774466" y="781276"/>
                        <a:pt x="801624" y="774836"/>
                      </a:cubicBezTo>
                      <a:cubicBezTo>
                        <a:pt x="963143" y="736197"/>
                        <a:pt x="1083210" y="590943"/>
                        <a:pt x="1083210" y="417783"/>
                      </a:cubicBezTo>
                      <a:cubicBezTo>
                        <a:pt x="1083210" y="233890"/>
                        <a:pt x="948135" y="80766"/>
                        <a:pt x="770893" y="55006"/>
                      </a:cubicBezTo>
                      <a:cubicBezTo>
                        <a:pt x="770893" y="55006"/>
                        <a:pt x="770893" y="55006"/>
                        <a:pt x="770178" y="55006"/>
                      </a:cubicBezTo>
                      <a:cubicBezTo>
                        <a:pt x="766605" y="54291"/>
                        <a:pt x="763031" y="53575"/>
                        <a:pt x="758743" y="53575"/>
                      </a:cubicBezTo>
                      <a:cubicBezTo>
                        <a:pt x="758743" y="53575"/>
                        <a:pt x="758028" y="53575"/>
                        <a:pt x="757314" y="52860"/>
                      </a:cubicBezTo>
                      <a:cubicBezTo>
                        <a:pt x="755884" y="52860"/>
                        <a:pt x="753740" y="52860"/>
                        <a:pt x="751596" y="52860"/>
                      </a:cubicBezTo>
                      <a:cubicBezTo>
                        <a:pt x="750881" y="52860"/>
                        <a:pt x="749452" y="52144"/>
                        <a:pt x="748023" y="52144"/>
                      </a:cubicBezTo>
                      <a:cubicBezTo>
                        <a:pt x="746593" y="52144"/>
                        <a:pt x="745164" y="52144"/>
                        <a:pt x="743735" y="52144"/>
                      </a:cubicBezTo>
                      <a:cubicBezTo>
                        <a:pt x="742305" y="52144"/>
                        <a:pt x="740161" y="51429"/>
                        <a:pt x="738017" y="51429"/>
                      </a:cubicBezTo>
                      <a:cubicBezTo>
                        <a:pt x="737302" y="51429"/>
                        <a:pt x="736588" y="51429"/>
                        <a:pt x="735873" y="51429"/>
                      </a:cubicBezTo>
                      <a:cubicBezTo>
                        <a:pt x="733014" y="51429"/>
                        <a:pt x="730156" y="51429"/>
                        <a:pt x="726582" y="51429"/>
                      </a:cubicBezTo>
                      <a:cubicBezTo>
                        <a:pt x="726582" y="51429"/>
                        <a:pt x="725867" y="51429"/>
                        <a:pt x="725153" y="51429"/>
                      </a:cubicBezTo>
                      <a:cubicBezTo>
                        <a:pt x="723009" y="50713"/>
                        <a:pt x="720865" y="50713"/>
                        <a:pt x="718006" y="50713"/>
                      </a:cubicBezTo>
                      <a:cubicBezTo>
                        <a:pt x="717291" y="50713"/>
                        <a:pt x="715862" y="50713"/>
                        <a:pt x="715147" y="50713"/>
                      </a:cubicBezTo>
                      <a:cubicBezTo>
                        <a:pt x="713718" y="50713"/>
                        <a:pt x="711574" y="50713"/>
                        <a:pt x="710144" y="50713"/>
                      </a:cubicBezTo>
                      <a:close/>
                      <a:moveTo>
                        <a:pt x="701396" y="312"/>
                      </a:moveTo>
                      <a:cubicBezTo>
                        <a:pt x="794192" y="-3262"/>
                        <a:pt x="889129" y="23899"/>
                        <a:pt x="968363" y="83938"/>
                      </a:cubicBezTo>
                      <a:cubicBezTo>
                        <a:pt x="1148959" y="224031"/>
                        <a:pt x="1183222" y="482773"/>
                        <a:pt x="1045455" y="665036"/>
                      </a:cubicBezTo>
                      <a:cubicBezTo>
                        <a:pt x="1041886" y="670039"/>
                        <a:pt x="1036890" y="675757"/>
                        <a:pt x="1032607" y="681475"/>
                      </a:cubicBezTo>
                      <a:cubicBezTo>
                        <a:pt x="1032607" y="681475"/>
                        <a:pt x="1032607" y="681475"/>
                        <a:pt x="1032607" y="680760"/>
                      </a:cubicBezTo>
                      <a:cubicBezTo>
                        <a:pt x="997630" y="721502"/>
                        <a:pt x="955514" y="755095"/>
                        <a:pt x="907689" y="780112"/>
                      </a:cubicBezTo>
                      <a:cubicBezTo>
                        <a:pt x="907689" y="780112"/>
                        <a:pt x="907689" y="780112"/>
                        <a:pt x="909116" y="780112"/>
                      </a:cubicBezTo>
                      <a:cubicBezTo>
                        <a:pt x="791337" y="841581"/>
                        <a:pt x="647859" y="844440"/>
                        <a:pt x="527224" y="780826"/>
                      </a:cubicBezTo>
                      <a:cubicBezTo>
                        <a:pt x="527224" y="780826"/>
                        <a:pt x="527224" y="780826"/>
                        <a:pt x="525083" y="780826"/>
                      </a:cubicBezTo>
                      <a:cubicBezTo>
                        <a:pt x="521514" y="784400"/>
                        <a:pt x="507951" y="801554"/>
                        <a:pt x="442280" y="887325"/>
                      </a:cubicBezTo>
                      <a:cubicBezTo>
                        <a:pt x="442280" y="887325"/>
                        <a:pt x="442280" y="887325"/>
                        <a:pt x="439425" y="885181"/>
                      </a:cubicBezTo>
                      <a:cubicBezTo>
                        <a:pt x="439425" y="885181"/>
                        <a:pt x="439425" y="885181"/>
                        <a:pt x="368757" y="830859"/>
                      </a:cubicBezTo>
                      <a:cubicBezTo>
                        <a:pt x="368757" y="830859"/>
                        <a:pt x="368757" y="830859"/>
                        <a:pt x="326641" y="799410"/>
                      </a:cubicBezTo>
                      <a:cubicBezTo>
                        <a:pt x="326641" y="799410"/>
                        <a:pt x="326641" y="799410"/>
                        <a:pt x="326641" y="798695"/>
                      </a:cubicBezTo>
                      <a:cubicBezTo>
                        <a:pt x="326641" y="798695"/>
                        <a:pt x="326641" y="798695"/>
                        <a:pt x="357336" y="758669"/>
                      </a:cubicBezTo>
                      <a:cubicBezTo>
                        <a:pt x="357336" y="758669"/>
                        <a:pt x="357336" y="758669"/>
                        <a:pt x="410158" y="690767"/>
                      </a:cubicBezTo>
                      <a:cubicBezTo>
                        <a:pt x="410158" y="690767"/>
                        <a:pt x="410158" y="690767"/>
                        <a:pt x="410872" y="689338"/>
                      </a:cubicBezTo>
                      <a:cubicBezTo>
                        <a:pt x="408017" y="686478"/>
                        <a:pt x="405161" y="683619"/>
                        <a:pt x="402306" y="680760"/>
                      </a:cubicBezTo>
                      <a:cubicBezTo>
                        <a:pt x="278816" y="534950"/>
                        <a:pt x="268822" y="319093"/>
                        <a:pt x="388744" y="161847"/>
                      </a:cubicBezTo>
                      <a:cubicBezTo>
                        <a:pt x="466550" y="60351"/>
                        <a:pt x="582902" y="5315"/>
                        <a:pt x="701396" y="31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72" name="Freeform 157">
                  <a:extLst>
                    <a:ext uri="{FF2B5EF4-FFF2-40B4-BE49-F238E27FC236}">
                      <a16:creationId xmlns:a16="http://schemas.microsoft.com/office/drawing/2014/main" id="{FCB27C55-7D3E-4D7C-BC32-64F65882F3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20378" y="2901949"/>
                  <a:ext cx="459797" cy="527050"/>
                </a:xfrm>
                <a:custGeom>
                  <a:avLst/>
                  <a:gdLst>
                    <a:gd name="connsiteX0" fmla="*/ 418875 w 459797"/>
                    <a:gd name="connsiteY0" fmla="*/ 447675 h 527050"/>
                    <a:gd name="connsiteX1" fmla="*/ 431575 w 459797"/>
                    <a:gd name="connsiteY1" fmla="*/ 474849 h 527050"/>
                    <a:gd name="connsiteX2" fmla="*/ 459797 w 459797"/>
                    <a:gd name="connsiteY2" fmla="*/ 477709 h 527050"/>
                    <a:gd name="connsiteX3" fmla="*/ 439336 w 459797"/>
                    <a:gd name="connsiteY3" fmla="*/ 498447 h 527050"/>
                    <a:gd name="connsiteX4" fmla="*/ 444275 w 459797"/>
                    <a:gd name="connsiteY4" fmla="*/ 527050 h 527050"/>
                    <a:gd name="connsiteX5" fmla="*/ 418875 w 459797"/>
                    <a:gd name="connsiteY5" fmla="*/ 512033 h 527050"/>
                    <a:gd name="connsiteX6" fmla="*/ 392769 w 459797"/>
                    <a:gd name="connsiteY6" fmla="*/ 527050 h 527050"/>
                    <a:gd name="connsiteX7" fmla="*/ 397708 w 459797"/>
                    <a:gd name="connsiteY7" fmla="*/ 498447 h 527050"/>
                    <a:gd name="connsiteX8" fmla="*/ 377247 w 459797"/>
                    <a:gd name="connsiteY8" fmla="*/ 477709 h 527050"/>
                    <a:gd name="connsiteX9" fmla="*/ 406175 w 459797"/>
                    <a:gd name="connsiteY9" fmla="*/ 474849 h 527050"/>
                    <a:gd name="connsiteX10" fmla="*/ 418875 w 459797"/>
                    <a:gd name="connsiteY10" fmla="*/ 447675 h 527050"/>
                    <a:gd name="connsiteX11" fmla="*/ 322126 w 459797"/>
                    <a:gd name="connsiteY11" fmla="*/ 447675 h 527050"/>
                    <a:gd name="connsiteX12" fmla="*/ 335560 w 459797"/>
                    <a:gd name="connsiteY12" fmla="*/ 474849 h 527050"/>
                    <a:gd name="connsiteX13" fmla="*/ 364548 w 459797"/>
                    <a:gd name="connsiteY13" fmla="*/ 477709 h 527050"/>
                    <a:gd name="connsiteX14" fmla="*/ 343337 w 459797"/>
                    <a:gd name="connsiteY14" fmla="*/ 498447 h 527050"/>
                    <a:gd name="connsiteX15" fmla="*/ 348286 w 459797"/>
                    <a:gd name="connsiteY15" fmla="*/ 527050 h 527050"/>
                    <a:gd name="connsiteX16" fmla="*/ 322126 w 459797"/>
                    <a:gd name="connsiteY16" fmla="*/ 512033 h 527050"/>
                    <a:gd name="connsiteX17" fmla="*/ 296672 w 459797"/>
                    <a:gd name="connsiteY17" fmla="*/ 527050 h 527050"/>
                    <a:gd name="connsiteX18" fmla="*/ 300207 w 459797"/>
                    <a:gd name="connsiteY18" fmla="*/ 498447 h 527050"/>
                    <a:gd name="connsiteX19" fmla="*/ 280410 w 459797"/>
                    <a:gd name="connsiteY19" fmla="*/ 477709 h 527050"/>
                    <a:gd name="connsiteX20" fmla="*/ 309399 w 459797"/>
                    <a:gd name="connsiteY20" fmla="*/ 474849 h 527050"/>
                    <a:gd name="connsiteX21" fmla="*/ 322126 w 459797"/>
                    <a:gd name="connsiteY21" fmla="*/ 447675 h 527050"/>
                    <a:gd name="connsiteX22" fmla="*/ 151503 w 459797"/>
                    <a:gd name="connsiteY22" fmla="*/ 307975 h 527050"/>
                    <a:gd name="connsiteX23" fmla="*/ 221475 w 459797"/>
                    <a:gd name="connsiteY23" fmla="*/ 367227 h 527050"/>
                    <a:gd name="connsiteX24" fmla="*/ 224331 w 459797"/>
                    <a:gd name="connsiteY24" fmla="*/ 367227 h 527050"/>
                    <a:gd name="connsiteX25" fmla="*/ 295730 w 459797"/>
                    <a:gd name="connsiteY25" fmla="*/ 307975 h 527050"/>
                    <a:gd name="connsiteX26" fmla="*/ 392120 w 459797"/>
                    <a:gd name="connsiteY26" fmla="*/ 324595 h 527050"/>
                    <a:gd name="connsiteX27" fmla="*/ 445669 w 459797"/>
                    <a:gd name="connsiteY27" fmla="*/ 404802 h 527050"/>
                    <a:gd name="connsiteX28" fmla="*/ 440671 w 459797"/>
                    <a:gd name="connsiteY28" fmla="*/ 412750 h 527050"/>
                    <a:gd name="connsiteX29" fmla="*/ 5848 w 459797"/>
                    <a:gd name="connsiteY29" fmla="*/ 412750 h 527050"/>
                    <a:gd name="connsiteX30" fmla="*/ 136 w 459797"/>
                    <a:gd name="connsiteY30" fmla="*/ 404802 h 527050"/>
                    <a:gd name="connsiteX31" fmla="*/ 55114 w 459797"/>
                    <a:gd name="connsiteY31" fmla="*/ 324595 h 527050"/>
                    <a:gd name="connsiteX32" fmla="*/ 151503 w 459797"/>
                    <a:gd name="connsiteY32" fmla="*/ 307975 h 527050"/>
                    <a:gd name="connsiteX33" fmla="*/ 224462 w 459797"/>
                    <a:gd name="connsiteY33" fmla="*/ 0 h 527050"/>
                    <a:gd name="connsiteX34" fmla="*/ 337666 w 459797"/>
                    <a:gd name="connsiteY34" fmla="*/ 115780 h 527050"/>
                    <a:gd name="connsiteX35" fmla="*/ 336954 w 459797"/>
                    <a:gd name="connsiteY35" fmla="*/ 137935 h 527050"/>
                    <a:gd name="connsiteX36" fmla="*/ 345497 w 459797"/>
                    <a:gd name="connsiteY36" fmla="*/ 162949 h 527050"/>
                    <a:gd name="connsiteX37" fmla="*/ 310611 w 459797"/>
                    <a:gd name="connsiteY37" fmla="*/ 172955 h 527050"/>
                    <a:gd name="connsiteX38" fmla="*/ 173201 w 459797"/>
                    <a:gd name="connsiteY38" fmla="*/ 90765 h 527050"/>
                    <a:gd name="connsiteX39" fmla="*/ 161809 w 459797"/>
                    <a:gd name="connsiteY39" fmla="*/ 97198 h 527050"/>
                    <a:gd name="connsiteX40" fmla="*/ 116955 w 459797"/>
                    <a:gd name="connsiteY40" fmla="*/ 163664 h 527050"/>
                    <a:gd name="connsiteX41" fmla="*/ 110547 w 459797"/>
                    <a:gd name="connsiteY41" fmla="*/ 115780 h 527050"/>
                    <a:gd name="connsiteX42" fmla="*/ 224462 w 459797"/>
                    <a:gd name="connsiteY42" fmla="*/ 0 h 527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459797" h="527050">
                      <a:moveTo>
                        <a:pt x="418875" y="447675"/>
                      </a:moveTo>
                      <a:cubicBezTo>
                        <a:pt x="418875" y="447675"/>
                        <a:pt x="418875" y="447675"/>
                        <a:pt x="431575" y="474849"/>
                      </a:cubicBezTo>
                      <a:cubicBezTo>
                        <a:pt x="431575" y="474849"/>
                        <a:pt x="431575" y="474849"/>
                        <a:pt x="459797" y="477709"/>
                      </a:cubicBezTo>
                      <a:cubicBezTo>
                        <a:pt x="459797" y="477709"/>
                        <a:pt x="459797" y="477709"/>
                        <a:pt x="439336" y="498447"/>
                      </a:cubicBezTo>
                      <a:cubicBezTo>
                        <a:pt x="439336" y="498447"/>
                        <a:pt x="439336" y="498447"/>
                        <a:pt x="444275" y="527050"/>
                      </a:cubicBezTo>
                      <a:cubicBezTo>
                        <a:pt x="444275" y="527050"/>
                        <a:pt x="444275" y="527050"/>
                        <a:pt x="418875" y="512033"/>
                      </a:cubicBezTo>
                      <a:cubicBezTo>
                        <a:pt x="418875" y="512033"/>
                        <a:pt x="418875" y="512033"/>
                        <a:pt x="392769" y="527050"/>
                      </a:cubicBezTo>
                      <a:cubicBezTo>
                        <a:pt x="392769" y="527050"/>
                        <a:pt x="392769" y="527050"/>
                        <a:pt x="397708" y="498447"/>
                      </a:cubicBezTo>
                      <a:cubicBezTo>
                        <a:pt x="397708" y="498447"/>
                        <a:pt x="397708" y="498447"/>
                        <a:pt x="377247" y="477709"/>
                      </a:cubicBezTo>
                      <a:cubicBezTo>
                        <a:pt x="377247" y="477709"/>
                        <a:pt x="377247" y="477709"/>
                        <a:pt x="406175" y="474849"/>
                      </a:cubicBezTo>
                      <a:cubicBezTo>
                        <a:pt x="406175" y="474849"/>
                        <a:pt x="406175" y="474849"/>
                        <a:pt x="418875" y="447675"/>
                      </a:cubicBezTo>
                      <a:close/>
                      <a:moveTo>
                        <a:pt x="322126" y="447675"/>
                      </a:moveTo>
                      <a:cubicBezTo>
                        <a:pt x="322126" y="447675"/>
                        <a:pt x="322126" y="447675"/>
                        <a:pt x="335560" y="474849"/>
                      </a:cubicBezTo>
                      <a:cubicBezTo>
                        <a:pt x="335560" y="474849"/>
                        <a:pt x="335560" y="474849"/>
                        <a:pt x="364548" y="477709"/>
                      </a:cubicBezTo>
                      <a:cubicBezTo>
                        <a:pt x="364548" y="477709"/>
                        <a:pt x="364548" y="477709"/>
                        <a:pt x="343337" y="498447"/>
                      </a:cubicBezTo>
                      <a:cubicBezTo>
                        <a:pt x="343337" y="498447"/>
                        <a:pt x="343337" y="498447"/>
                        <a:pt x="348286" y="527050"/>
                      </a:cubicBezTo>
                      <a:cubicBezTo>
                        <a:pt x="348286" y="527050"/>
                        <a:pt x="348286" y="527050"/>
                        <a:pt x="322126" y="512033"/>
                      </a:cubicBezTo>
                      <a:cubicBezTo>
                        <a:pt x="322126" y="512033"/>
                        <a:pt x="322126" y="512033"/>
                        <a:pt x="296672" y="527050"/>
                      </a:cubicBezTo>
                      <a:cubicBezTo>
                        <a:pt x="296672" y="527050"/>
                        <a:pt x="296672" y="527050"/>
                        <a:pt x="300207" y="498447"/>
                      </a:cubicBezTo>
                      <a:cubicBezTo>
                        <a:pt x="300207" y="498447"/>
                        <a:pt x="300207" y="498447"/>
                        <a:pt x="280410" y="477709"/>
                      </a:cubicBezTo>
                      <a:cubicBezTo>
                        <a:pt x="280410" y="477709"/>
                        <a:pt x="280410" y="477709"/>
                        <a:pt x="309399" y="474849"/>
                      </a:cubicBezTo>
                      <a:cubicBezTo>
                        <a:pt x="309399" y="474849"/>
                        <a:pt x="309399" y="474849"/>
                        <a:pt x="322126" y="447675"/>
                      </a:cubicBezTo>
                      <a:close/>
                      <a:moveTo>
                        <a:pt x="151503" y="307975"/>
                      </a:moveTo>
                      <a:cubicBezTo>
                        <a:pt x="151503" y="307975"/>
                        <a:pt x="199341" y="349163"/>
                        <a:pt x="221475" y="367227"/>
                      </a:cubicBezTo>
                      <a:cubicBezTo>
                        <a:pt x="222189" y="367950"/>
                        <a:pt x="223617" y="367950"/>
                        <a:pt x="224331" y="367227"/>
                      </a:cubicBezTo>
                      <a:cubicBezTo>
                        <a:pt x="255747" y="341937"/>
                        <a:pt x="295730" y="307975"/>
                        <a:pt x="295730" y="307975"/>
                      </a:cubicBezTo>
                      <a:cubicBezTo>
                        <a:pt x="295730" y="307975"/>
                        <a:pt x="358562" y="308698"/>
                        <a:pt x="392120" y="324595"/>
                      </a:cubicBezTo>
                      <a:cubicBezTo>
                        <a:pt x="419251" y="337601"/>
                        <a:pt x="438529" y="386737"/>
                        <a:pt x="445669" y="404802"/>
                      </a:cubicBezTo>
                      <a:cubicBezTo>
                        <a:pt x="447097" y="408415"/>
                        <a:pt x="444241" y="412750"/>
                        <a:pt x="440671" y="412750"/>
                      </a:cubicBezTo>
                      <a:cubicBezTo>
                        <a:pt x="440671" y="412750"/>
                        <a:pt x="440671" y="412750"/>
                        <a:pt x="5848" y="412750"/>
                      </a:cubicBezTo>
                      <a:cubicBezTo>
                        <a:pt x="1564" y="412750"/>
                        <a:pt x="-578" y="408415"/>
                        <a:pt x="136" y="404802"/>
                      </a:cubicBezTo>
                      <a:cubicBezTo>
                        <a:pt x="7276" y="386737"/>
                        <a:pt x="27268" y="337601"/>
                        <a:pt x="55114" y="324595"/>
                      </a:cubicBezTo>
                      <a:cubicBezTo>
                        <a:pt x="88672" y="308698"/>
                        <a:pt x="151503" y="307975"/>
                        <a:pt x="151503" y="307975"/>
                      </a:cubicBezTo>
                      <a:close/>
                      <a:moveTo>
                        <a:pt x="224462" y="0"/>
                      </a:moveTo>
                      <a:cubicBezTo>
                        <a:pt x="289252" y="0"/>
                        <a:pt x="337666" y="51457"/>
                        <a:pt x="337666" y="115780"/>
                      </a:cubicBezTo>
                      <a:cubicBezTo>
                        <a:pt x="337666" y="123641"/>
                        <a:pt x="337666" y="130788"/>
                        <a:pt x="336954" y="137935"/>
                      </a:cubicBezTo>
                      <a:cubicBezTo>
                        <a:pt x="336242" y="143652"/>
                        <a:pt x="338378" y="152943"/>
                        <a:pt x="345497" y="162949"/>
                      </a:cubicBezTo>
                      <a:cubicBezTo>
                        <a:pt x="345497" y="162949"/>
                        <a:pt x="322002" y="179387"/>
                        <a:pt x="310611" y="172955"/>
                      </a:cubicBezTo>
                      <a:cubicBezTo>
                        <a:pt x="298507" y="166522"/>
                        <a:pt x="244398" y="90051"/>
                        <a:pt x="173201" y="90765"/>
                      </a:cubicBezTo>
                      <a:cubicBezTo>
                        <a:pt x="173201" y="90765"/>
                        <a:pt x="164657" y="95054"/>
                        <a:pt x="161809" y="97198"/>
                      </a:cubicBezTo>
                      <a:cubicBezTo>
                        <a:pt x="129770" y="119353"/>
                        <a:pt x="128346" y="173669"/>
                        <a:pt x="116955" y="163664"/>
                      </a:cubicBezTo>
                      <a:cubicBezTo>
                        <a:pt x="112683" y="158661"/>
                        <a:pt x="110547" y="130073"/>
                        <a:pt x="110547" y="115780"/>
                      </a:cubicBezTo>
                      <a:cubicBezTo>
                        <a:pt x="110547" y="51457"/>
                        <a:pt x="160385" y="0"/>
                        <a:pt x="224462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CED70A74-E414-405F-BBDF-C1A5DB5D07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193753" y="3372238"/>
              <a:ext cx="843965" cy="843965"/>
              <a:chOff x="5273040" y="2606040"/>
              <a:chExt cx="1645920" cy="1645920"/>
            </a:xfrm>
          </p:grpSpPr>
          <p:sp>
            <p:nvSpPr>
              <p:cNvPr id="67" name="AutoShape 3">
                <a:extLst>
                  <a:ext uri="{FF2B5EF4-FFF2-40B4-BE49-F238E27FC236}">
                    <a16:creationId xmlns:a16="http://schemas.microsoft.com/office/drawing/2014/main" id="{46F557D8-CB06-4A20-A1E2-1FEA1E77EA2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040" y="2606040"/>
                <a:ext cx="1645920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165">
                <a:extLst>
                  <a:ext uri="{FF2B5EF4-FFF2-40B4-BE49-F238E27FC236}">
                    <a16:creationId xmlns:a16="http://schemas.microsoft.com/office/drawing/2014/main" id="{F2D606A7-C60E-4078-B9CD-614A9A1B4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06396" y="2654912"/>
                <a:ext cx="1579208" cy="1548175"/>
              </a:xfrm>
              <a:custGeom>
                <a:avLst/>
                <a:gdLst>
                  <a:gd name="connsiteX0" fmla="*/ 790640 w 1579208"/>
                  <a:gd name="connsiteY0" fmla="*/ 1483535 h 1548175"/>
                  <a:gd name="connsiteX1" fmla="*/ 822960 w 1579208"/>
                  <a:gd name="connsiteY1" fmla="*/ 1515855 h 1548175"/>
                  <a:gd name="connsiteX2" fmla="*/ 790640 w 1579208"/>
                  <a:gd name="connsiteY2" fmla="*/ 1548175 h 1548175"/>
                  <a:gd name="connsiteX3" fmla="*/ 758320 w 1579208"/>
                  <a:gd name="connsiteY3" fmla="*/ 1515855 h 1548175"/>
                  <a:gd name="connsiteX4" fmla="*/ 790640 w 1579208"/>
                  <a:gd name="connsiteY4" fmla="*/ 1483535 h 1548175"/>
                  <a:gd name="connsiteX5" fmla="*/ 1231624 w 1579208"/>
                  <a:gd name="connsiteY5" fmla="*/ 1332186 h 1548175"/>
                  <a:gd name="connsiteX6" fmla="*/ 1242323 w 1579208"/>
                  <a:gd name="connsiteY6" fmla="*/ 1362284 h 1548175"/>
                  <a:gd name="connsiteX7" fmla="*/ 853591 w 1579208"/>
                  <a:gd name="connsiteY7" fmla="*/ 1521373 h 1548175"/>
                  <a:gd name="connsiteX8" fmla="*/ 845032 w 1579208"/>
                  <a:gd name="connsiteY8" fmla="*/ 1490559 h 1548175"/>
                  <a:gd name="connsiteX9" fmla="*/ 781499 w 1579208"/>
                  <a:gd name="connsiteY9" fmla="*/ 1329034 h 1548175"/>
                  <a:gd name="connsiteX10" fmla="*/ 797736 w 1579208"/>
                  <a:gd name="connsiteY10" fmla="*/ 1459458 h 1548175"/>
                  <a:gd name="connsiteX11" fmla="*/ 789971 w 1579208"/>
                  <a:gd name="connsiteY11" fmla="*/ 1458741 h 1548175"/>
                  <a:gd name="connsiteX12" fmla="*/ 766675 w 1579208"/>
                  <a:gd name="connsiteY12" fmla="*/ 1463041 h 1548175"/>
                  <a:gd name="connsiteX13" fmla="*/ 750439 w 1579208"/>
                  <a:gd name="connsiteY13" fmla="*/ 1331184 h 1548175"/>
                  <a:gd name="connsiteX14" fmla="*/ 758910 w 1579208"/>
                  <a:gd name="connsiteY14" fmla="*/ 1331184 h 1548175"/>
                  <a:gd name="connsiteX15" fmla="*/ 781499 w 1579208"/>
                  <a:gd name="connsiteY15" fmla="*/ 1329034 h 1548175"/>
                  <a:gd name="connsiteX16" fmla="*/ 1295138 w 1579208"/>
                  <a:gd name="connsiteY16" fmla="*/ 1288043 h 1548175"/>
                  <a:gd name="connsiteX17" fmla="*/ 1327458 w 1579208"/>
                  <a:gd name="connsiteY17" fmla="*/ 1320363 h 1548175"/>
                  <a:gd name="connsiteX18" fmla="*/ 1295138 w 1579208"/>
                  <a:gd name="connsiteY18" fmla="*/ 1352683 h 1548175"/>
                  <a:gd name="connsiteX19" fmla="*/ 1262818 w 1579208"/>
                  <a:gd name="connsiteY19" fmla="*/ 1320363 h 1548175"/>
                  <a:gd name="connsiteX20" fmla="*/ 1295138 w 1579208"/>
                  <a:gd name="connsiteY20" fmla="*/ 1288043 h 1548175"/>
                  <a:gd name="connsiteX21" fmla="*/ 259506 w 1579208"/>
                  <a:gd name="connsiteY21" fmla="*/ 1245476 h 1548175"/>
                  <a:gd name="connsiteX22" fmla="*/ 737827 w 1579208"/>
                  <a:gd name="connsiteY22" fmla="*/ 1484265 h 1548175"/>
                  <a:gd name="connsiteX23" fmla="*/ 726404 w 1579208"/>
                  <a:gd name="connsiteY23" fmla="*/ 1513490 h 1548175"/>
                  <a:gd name="connsiteX24" fmla="*/ 245942 w 1579208"/>
                  <a:gd name="connsiteY24" fmla="*/ 1273988 h 1548175"/>
                  <a:gd name="connsiteX25" fmla="*/ 259506 w 1579208"/>
                  <a:gd name="connsiteY25" fmla="*/ 1245476 h 1548175"/>
                  <a:gd name="connsiteX26" fmla="*/ 863074 w 1579208"/>
                  <a:gd name="connsiteY26" fmla="*/ 1239170 h 1548175"/>
                  <a:gd name="connsiteX27" fmla="*/ 1240747 w 1579208"/>
                  <a:gd name="connsiteY27" fmla="*/ 1295318 h 1548175"/>
                  <a:gd name="connsiteX28" fmla="*/ 1232164 w 1579208"/>
                  <a:gd name="connsiteY28" fmla="*/ 1325880 h 1548175"/>
                  <a:gd name="connsiteX29" fmla="*/ 854491 w 1579208"/>
                  <a:gd name="connsiteY29" fmla="*/ 1269732 h 1548175"/>
                  <a:gd name="connsiteX30" fmla="*/ 863074 w 1579208"/>
                  <a:gd name="connsiteY30" fmla="*/ 1239170 h 1548175"/>
                  <a:gd name="connsiteX31" fmla="*/ 176574 w 1579208"/>
                  <a:gd name="connsiteY31" fmla="*/ 1168225 h 1548175"/>
                  <a:gd name="connsiteX32" fmla="*/ 231754 w 1579208"/>
                  <a:gd name="connsiteY32" fmla="*/ 1222616 h 1548175"/>
                  <a:gd name="connsiteX33" fmla="*/ 176574 w 1579208"/>
                  <a:gd name="connsiteY33" fmla="*/ 1277007 h 1548175"/>
                  <a:gd name="connsiteX34" fmla="*/ 121394 w 1579208"/>
                  <a:gd name="connsiteY34" fmla="*/ 1222616 h 1548175"/>
                  <a:gd name="connsiteX35" fmla="*/ 176574 w 1579208"/>
                  <a:gd name="connsiteY35" fmla="*/ 1168225 h 1548175"/>
                  <a:gd name="connsiteX36" fmla="*/ 758322 w 1579208"/>
                  <a:gd name="connsiteY36" fmla="*/ 1146153 h 1548175"/>
                  <a:gd name="connsiteX37" fmla="*/ 832420 w 1579208"/>
                  <a:gd name="connsiteY37" fmla="*/ 1220251 h 1548175"/>
                  <a:gd name="connsiteX38" fmla="*/ 758322 w 1579208"/>
                  <a:gd name="connsiteY38" fmla="*/ 1294349 h 1548175"/>
                  <a:gd name="connsiteX39" fmla="*/ 684224 w 1579208"/>
                  <a:gd name="connsiteY39" fmla="*/ 1220251 h 1548175"/>
                  <a:gd name="connsiteX40" fmla="*/ 758322 w 1579208"/>
                  <a:gd name="connsiteY40" fmla="*/ 1146153 h 1548175"/>
                  <a:gd name="connsiteX41" fmla="*/ 638225 w 1579208"/>
                  <a:gd name="connsiteY41" fmla="*/ 1144576 h 1548175"/>
                  <a:gd name="connsiteX42" fmla="*/ 671611 w 1579208"/>
                  <a:gd name="connsiteY42" fmla="*/ 1166371 h 1548175"/>
                  <a:gd name="connsiteX43" fmla="*/ 657004 w 1579208"/>
                  <a:gd name="connsiteY43" fmla="*/ 1196603 h 1548175"/>
                  <a:gd name="connsiteX44" fmla="*/ 624314 w 1579208"/>
                  <a:gd name="connsiteY44" fmla="*/ 1176214 h 1548175"/>
                  <a:gd name="connsiteX45" fmla="*/ 638225 w 1579208"/>
                  <a:gd name="connsiteY45" fmla="*/ 1144576 h 1548175"/>
                  <a:gd name="connsiteX46" fmla="*/ 511399 w 1579208"/>
                  <a:gd name="connsiteY46" fmla="*/ 1136694 h 1548175"/>
                  <a:gd name="connsiteX47" fmla="*/ 519980 w 1579208"/>
                  <a:gd name="connsiteY47" fmla="*/ 1167392 h 1548175"/>
                  <a:gd name="connsiteX48" fmla="*/ 462774 w 1579208"/>
                  <a:gd name="connsiteY48" fmla="*/ 1178815 h 1548175"/>
                  <a:gd name="connsiteX49" fmla="*/ 311892 w 1579208"/>
                  <a:gd name="connsiteY49" fmla="*/ 1208799 h 1548175"/>
                  <a:gd name="connsiteX50" fmla="*/ 587197 w 1579208"/>
                  <a:gd name="connsiteY50" fmla="*/ 1216652 h 1548175"/>
                  <a:gd name="connsiteX51" fmla="*/ 653700 w 1579208"/>
                  <a:gd name="connsiteY51" fmla="*/ 1218794 h 1548175"/>
                  <a:gd name="connsiteX52" fmla="*/ 652984 w 1579208"/>
                  <a:gd name="connsiteY52" fmla="*/ 1225933 h 1548175"/>
                  <a:gd name="connsiteX53" fmla="*/ 655845 w 1579208"/>
                  <a:gd name="connsiteY53" fmla="*/ 1250206 h 1548175"/>
                  <a:gd name="connsiteX54" fmla="*/ 261121 w 1579208"/>
                  <a:gd name="connsiteY54" fmla="*/ 1238070 h 1548175"/>
                  <a:gd name="connsiteX55" fmla="*/ 262552 w 1579208"/>
                  <a:gd name="connsiteY55" fmla="*/ 1222364 h 1548175"/>
                  <a:gd name="connsiteX56" fmla="*/ 255401 w 1579208"/>
                  <a:gd name="connsiteY56" fmla="*/ 1188096 h 1548175"/>
                  <a:gd name="connsiteX57" fmla="*/ 511399 w 1579208"/>
                  <a:gd name="connsiteY57" fmla="*/ 1136694 h 1548175"/>
                  <a:gd name="connsiteX58" fmla="*/ 1425776 w 1579208"/>
                  <a:gd name="connsiteY58" fmla="*/ 1125658 h 1548175"/>
                  <a:gd name="connsiteX59" fmla="*/ 1447274 w 1579208"/>
                  <a:gd name="connsiteY59" fmla="*/ 1149369 h 1548175"/>
                  <a:gd name="connsiteX60" fmla="*/ 1345515 w 1579208"/>
                  <a:gd name="connsiteY60" fmla="*/ 1288043 h 1548175"/>
                  <a:gd name="connsiteX61" fmla="*/ 1321150 w 1579208"/>
                  <a:gd name="connsiteY61" fmla="*/ 1268643 h 1548175"/>
                  <a:gd name="connsiteX62" fmla="*/ 1425776 w 1579208"/>
                  <a:gd name="connsiteY62" fmla="*/ 1125658 h 1548175"/>
                  <a:gd name="connsiteX63" fmla="*/ 574654 w 1579208"/>
                  <a:gd name="connsiteY63" fmla="*/ 1103586 h 1548175"/>
                  <a:gd name="connsiteX64" fmla="*/ 606974 w 1579208"/>
                  <a:gd name="connsiteY64" fmla="*/ 1135906 h 1548175"/>
                  <a:gd name="connsiteX65" fmla="*/ 574654 w 1579208"/>
                  <a:gd name="connsiteY65" fmla="*/ 1168226 h 1548175"/>
                  <a:gd name="connsiteX66" fmla="*/ 542334 w 1579208"/>
                  <a:gd name="connsiteY66" fmla="*/ 1135906 h 1548175"/>
                  <a:gd name="connsiteX67" fmla="*/ 574654 w 1579208"/>
                  <a:gd name="connsiteY67" fmla="*/ 1103586 h 1548175"/>
                  <a:gd name="connsiteX68" fmla="*/ 1418628 w 1579208"/>
                  <a:gd name="connsiteY68" fmla="*/ 1090974 h 1548175"/>
                  <a:gd name="connsiteX69" fmla="*/ 1418628 w 1579208"/>
                  <a:gd name="connsiteY69" fmla="*/ 1097391 h 1548175"/>
                  <a:gd name="connsiteX70" fmla="*/ 1423628 w 1579208"/>
                  <a:gd name="connsiteY70" fmla="*/ 1122347 h 1548175"/>
                  <a:gd name="connsiteX71" fmla="*/ 863655 w 1579208"/>
                  <a:gd name="connsiteY71" fmla="*/ 1232864 h 1548175"/>
                  <a:gd name="connsiteX72" fmla="*/ 864369 w 1579208"/>
                  <a:gd name="connsiteY72" fmla="*/ 1226447 h 1548175"/>
                  <a:gd name="connsiteX73" fmla="*/ 860798 w 1579208"/>
                  <a:gd name="connsiteY73" fmla="*/ 1201491 h 1548175"/>
                  <a:gd name="connsiteX74" fmla="*/ 1418628 w 1579208"/>
                  <a:gd name="connsiteY74" fmla="*/ 1090974 h 1548175"/>
                  <a:gd name="connsiteX75" fmla="*/ 1481171 w 1579208"/>
                  <a:gd name="connsiteY75" fmla="*/ 1057866 h 1548175"/>
                  <a:gd name="connsiteX76" fmla="*/ 1513491 w 1579208"/>
                  <a:gd name="connsiteY76" fmla="*/ 1090186 h 1548175"/>
                  <a:gd name="connsiteX77" fmla="*/ 1481171 w 1579208"/>
                  <a:gd name="connsiteY77" fmla="*/ 1122506 h 1548175"/>
                  <a:gd name="connsiteX78" fmla="*/ 1448851 w 1579208"/>
                  <a:gd name="connsiteY78" fmla="*/ 1090186 h 1548175"/>
                  <a:gd name="connsiteX79" fmla="*/ 1481171 w 1579208"/>
                  <a:gd name="connsiteY79" fmla="*/ 1057866 h 1548175"/>
                  <a:gd name="connsiteX80" fmla="*/ 1309481 w 1579208"/>
                  <a:gd name="connsiteY80" fmla="*/ 912824 h 1548175"/>
                  <a:gd name="connsiteX81" fmla="*/ 1350214 w 1579208"/>
                  <a:gd name="connsiteY81" fmla="*/ 955030 h 1548175"/>
                  <a:gd name="connsiteX82" fmla="*/ 1440969 w 1579208"/>
                  <a:gd name="connsiteY82" fmla="*/ 1049456 h 1548175"/>
                  <a:gd name="connsiteX83" fmla="*/ 1422389 w 1579208"/>
                  <a:gd name="connsiteY83" fmla="*/ 1075209 h 1548175"/>
                  <a:gd name="connsiteX84" fmla="*/ 1405953 w 1579208"/>
                  <a:gd name="connsiteY84" fmla="*/ 1058041 h 1548175"/>
                  <a:gd name="connsiteX85" fmla="*/ 1288043 w 1579208"/>
                  <a:gd name="connsiteY85" fmla="*/ 935715 h 1548175"/>
                  <a:gd name="connsiteX86" fmla="*/ 1309481 w 1579208"/>
                  <a:gd name="connsiteY86" fmla="*/ 912824 h 1548175"/>
                  <a:gd name="connsiteX87" fmla="*/ 1156730 w 1579208"/>
                  <a:gd name="connsiteY87" fmla="*/ 900211 h 1548175"/>
                  <a:gd name="connsiteX88" fmla="*/ 1174532 w 1579208"/>
                  <a:gd name="connsiteY88" fmla="*/ 926699 h 1548175"/>
                  <a:gd name="connsiteX89" fmla="*/ 853375 w 1579208"/>
                  <a:gd name="connsiteY89" fmla="*/ 1180837 h 1548175"/>
                  <a:gd name="connsiteX90" fmla="*/ 835573 w 1579208"/>
                  <a:gd name="connsiteY90" fmla="*/ 1154349 h 1548175"/>
                  <a:gd name="connsiteX91" fmla="*/ 1156730 w 1579208"/>
                  <a:gd name="connsiteY91" fmla="*/ 900211 h 1548175"/>
                  <a:gd name="connsiteX92" fmla="*/ 60723 w 1579208"/>
                  <a:gd name="connsiteY92" fmla="*/ 816653 h 1548175"/>
                  <a:gd name="connsiteX93" fmla="*/ 163962 w 1579208"/>
                  <a:gd name="connsiteY93" fmla="*/ 1137717 h 1548175"/>
                  <a:gd name="connsiteX94" fmla="*/ 134058 w 1579208"/>
                  <a:gd name="connsiteY94" fmla="*/ 1147728 h 1548175"/>
                  <a:gd name="connsiteX95" fmla="*/ 31531 w 1579208"/>
                  <a:gd name="connsiteY95" fmla="*/ 828809 h 1548175"/>
                  <a:gd name="connsiteX96" fmla="*/ 60723 w 1579208"/>
                  <a:gd name="connsiteY96" fmla="*/ 816653 h 1548175"/>
                  <a:gd name="connsiteX97" fmla="*/ 1235519 w 1579208"/>
                  <a:gd name="connsiteY97" fmla="*/ 809523 h 1548175"/>
                  <a:gd name="connsiteX98" fmla="*/ 1290699 w 1579208"/>
                  <a:gd name="connsiteY98" fmla="*/ 864703 h 1548175"/>
                  <a:gd name="connsiteX99" fmla="*/ 1235519 w 1579208"/>
                  <a:gd name="connsiteY99" fmla="*/ 919883 h 1548175"/>
                  <a:gd name="connsiteX100" fmla="*/ 1180339 w 1579208"/>
                  <a:gd name="connsiteY100" fmla="*/ 864703 h 1548175"/>
                  <a:gd name="connsiteX101" fmla="*/ 1235519 w 1579208"/>
                  <a:gd name="connsiteY101" fmla="*/ 809523 h 1548175"/>
                  <a:gd name="connsiteX102" fmla="*/ 1513560 w 1579208"/>
                  <a:gd name="connsiteY102" fmla="*/ 797735 h 1548175"/>
                  <a:gd name="connsiteX103" fmla="*/ 1543445 w 1579208"/>
                  <a:gd name="connsiteY103" fmla="*/ 807744 h 1548175"/>
                  <a:gd name="connsiteX104" fmla="*/ 1495060 w 1579208"/>
                  <a:gd name="connsiteY104" fmla="*/ 1034365 h 1548175"/>
                  <a:gd name="connsiteX105" fmla="*/ 1482252 w 1579208"/>
                  <a:gd name="connsiteY105" fmla="*/ 1032936 h 1548175"/>
                  <a:gd name="connsiteX106" fmla="*/ 1463040 w 1579208"/>
                  <a:gd name="connsiteY106" fmla="*/ 1035795 h 1548175"/>
                  <a:gd name="connsiteX107" fmla="*/ 1513560 w 1579208"/>
                  <a:gd name="connsiteY107" fmla="*/ 797735 h 1548175"/>
                  <a:gd name="connsiteX108" fmla="*/ 79652 w 1579208"/>
                  <a:gd name="connsiteY108" fmla="*/ 783547 h 1548175"/>
                  <a:gd name="connsiteX109" fmla="*/ 540758 w 1579208"/>
                  <a:gd name="connsiteY109" fmla="*/ 1081849 h 1548175"/>
                  <a:gd name="connsiteX110" fmla="*/ 517166 w 1579208"/>
                  <a:gd name="connsiteY110" fmla="*/ 1108317 h 1548175"/>
                  <a:gd name="connsiteX111" fmla="*/ 64639 w 1579208"/>
                  <a:gd name="connsiteY111" fmla="*/ 811446 h 1548175"/>
                  <a:gd name="connsiteX112" fmla="*/ 79652 w 1579208"/>
                  <a:gd name="connsiteY112" fmla="*/ 783547 h 1548175"/>
                  <a:gd name="connsiteX113" fmla="*/ 1485399 w 1579208"/>
                  <a:gd name="connsiteY113" fmla="*/ 752016 h 1548175"/>
                  <a:gd name="connsiteX114" fmla="*/ 1496148 w 1579208"/>
                  <a:gd name="connsiteY114" fmla="*/ 781352 h 1548175"/>
                  <a:gd name="connsiteX115" fmla="*/ 1319860 w 1579208"/>
                  <a:gd name="connsiteY115" fmla="*/ 845033 h 1548175"/>
                  <a:gd name="connsiteX116" fmla="*/ 1306961 w 1579208"/>
                  <a:gd name="connsiteY116" fmla="*/ 816413 h 1548175"/>
                  <a:gd name="connsiteX117" fmla="*/ 1485399 w 1579208"/>
                  <a:gd name="connsiteY117" fmla="*/ 752016 h 1548175"/>
                  <a:gd name="connsiteX118" fmla="*/ 24437 w 1579208"/>
                  <a:gd name="connsiteY118" fmla="*/ 748862 h 1548175"/>
                  <a:gd name="connsiteX119" fmla="*/ 48874 w 1579208"/>
                  <a:gd name="connsiteY119" fmla="*/ 773299 h 1548175"/>
                  <a:gd name="connsiteX120" fmla="*/ 24437 w 1579208"/>
                  <a:gd name="connsiteY120" fmla="*/ 797736 h 1548175"/>
                  <a:gd name="connsiteX121" fmla="*/ 0 w 1579208"/>
                  <a:gd name="connsiteY121" fmla="*/ 773299 h 1548175"/>
                  <a:gd name="connsiteX122" fmla="*/ 24437 w 1579208"/>
                  <a:gd name="connsiteY122" fmla="*/ 748862 h 1548175"/>
                  <a:gd name="connsiteX123" fmla="*/ 578713 w 1579208"/>
                  <a:gd name="connsiteY123" fmla="*/ 722060 h 1548175"/>
                  <a:gd name="connsiteX124" fmla="*/ 655330 w 1579208"/>
                  <a:gd name="connsiteY124" fmla="*/ 927666 h 1548175"/>
                  <a:gd name="connsiteX125" fmla="*/ 728366 w 1579208"/>
                  <a:gd name="connsiteY125" fmla="*/ 1125420 h 1548175"/>
                  <a:gd name="connsiteX126" fmla="*/ 699724 w 1579208"/>
                  <a:gd name="connsiteY126" fmla="*/ 1138270 h 1548175"/>
                  <a:gd name="connsiteX127" fmla="*/ 548640 w 1579208"/>
                  <a:gd name="connsiteY127" fmla="*/ 732055 h 1548175"/>
                  <a:gd name="connsiteX128" fmla="*/ 578713 w 1579208"/>
                  <a:gd name="connsiteY128" fmla="*/ 722060 h 1548175"/>
                  <a:gd name="connsiteX129" fmla="*/ 1547677 w 1579208"/>
                  <a:gd name="connsiteY129" fmla="*/ 711777 h 1548175"/>
                  <a:gd name="connsiteX130" fmla="*/ 1579208 w 1579208"/>
                  <a:gd name="connsiteY130" fmla="*/ 744097 h 1548175"/>
                  <a:gd name="connsiteX131" fmla="*/ 1547677 w 1579208"/>
                  <a:gd name="connsiteY131" fmla="*/ 776417 h 1548175"/>
                  <a:gd name="connsiteX132" fmla="*/ 1516146 w 1579208"/>
                  <a:gd name="connsiteY132" fmla="*/ 744097 h 1548175"/>
                  <a:gd name="connsiteX133" fmla="*/ 1547677 w 1579208"/>
                  <a:gd name="connsiteY133" fmla="*/ 711777 h 1548175"/>
                  <a:gd name="connsiteX134" fmla="*/ 607527 w 1579208"/>
                  <a:gd name="connsiteY134" fmla="*/ 673188 h 1548175"/>
                  <a:gd name="connsiteX135" fmla="*/ 1161918 w 1579208"/>
                  <a:gd name="connsiteY135" fmla="*/ 822961 h 1548175"/>
                  <a:gd name="connsiteX136" fmla="*/ 1151188 w 1579208"/>
                  <a:gd name="connsiteY136" fmla="*/ 854492 h 1548175"/>
                  <a:gd name="connsiteX137" fmla="*/ 597512 w 1579208"/>
                  <a:gd name="connsiteY137" fmla="*/ 703286 h 1548175"/>
                  <a:gd name="connsiteX138" fmla="*/ 607527 w 1579208"/>
                  <a:gd name="connsiteY138" fmla="*/ 673188 h 1548175"/>
                  <a:gd name="connsiteX139" fmla="*/ 481567 w 1579208"/>
                  <a:gd name="connsiteY139" fmla="*/ 668458 h 1548175"/>
                  <a:gd name="connsiteX140" fmla="*/ 481567 w 1579208"/>
                  <a:gd name="connsiteY140" fmla="*/ 669167 h 1548175"/>
                  <a:gd name="connsiteX141" fmla="*/ 488731 w 1579208"/>
                  <a:gd name="connsiteY141" fmla="*/ 698233 h 1548175"/>
                  <a:gd name="connsiteX142" fmla="*/ 80401 w 1579208"/>
                  <a:gd name="connsiteY142" fmla="*/ 774088 h 1548175"/>
                  <a:gd name="connsiteX143" fmla="*/ 80401 w 1579208"/>
                  <a:gd name="connsiteY143" fmla="*/ 772670 h 1548175"/>
                  <a:gd name="connsiteX144" fmla="*/ 72521 w 1579208"/>
                  <a:gd name="connsiteY144" fmla="*/ 744313 h 1548175"/>
                  <a:gd name="connsiteX145" fmla="*/ 481567 w 1579208"/>
                  <a:gd name="connsiteY145" fmla="*/ 668458 h 1548175"/>
                  <a:gd name="connsiteX146" fmla="*/ 544699 w 1579208"/>
                  <a:gd name="connsiteY146" fmla="*/ 636927 h 1548175"/>
                  <a:gd name="connsiteX147" fmla="*/ 577019 w 1579208"/>
                  <a:gd name="connsiteY147" fmla="*/ 669247 h 1548175"/>
                  <a:gd name="connsiteX148" fmla="*/ 544699 w 1579208"/>
                  <a:gd name="connsiteY148" fmla="*/ 701567 h 1548175"/>
                  <a:gd name="connsiteX149" fmla="*/ 512379 w 1579208"/>
                  <a:gd name="connsiteY149" fmla="*/ 669247 h 1548175"/>
                  <a:gd name="connsiteX150" fmla="*/ 544699 w 1579208"/>
                  <a:gd name="connsiteY150" fmla="*/ 636927 h 1548175"/>
                  <a:gd name="connsiteX151" fmla="*/ 106317 w 1579208"/>
                  <a:gd name="connsiteY151" fmla="*/ 447740 h 1548175"/>
                  <a:gd name="connsiteX152" fmla="*/ 134006 w 1579208"/>
                  <a:gd name="connsiteY152" fmla="*/ 462094 h 1548175"/>
                  <a:gd name="connsiteX153" fmla="*/ 56619 w 1579208"/>
                  <a:gd name="connsiteY153" fmla="*/ 728366 h 1548175"/>
                  <a:gd name="connsiteX154" fmla="*/ 26801 w 1579208"/>
                  <a:gd name="connsiteY154" fmla="*/ 718318 h 1548175"/>
                  <a:gd name="connsiteX155" fmla="*/ 106317 w 1579208"/>
                  <a:gd name="connsiteY155" fmla="*/ 447740 h 1548175"/>
                  <a:gd name="connsiteX156" fmla="*/ 235307 w 1579208"/>
                  <a:gd name="connsiteY156" fmla="*/ 419363 h 1548175"/>
                  <a:gd name="connsiteX157" fmla="*/ 502921 w 1579208"/>
                  <a:gd name="connsiteY157" fmla="*/ 620685 h 1548175"/>
                  <a:gd name="connsiteX158" fmla="*/ 485032 w 1579208"/>
                  <a:gd name="connsiteY158" fmla="*/ 646386 h 1548175"/>
                  <a:gd name="connsiteX159" fmla="*/ 298991 w 1579208"/>
                  <a:gd name="connsiteY159" fmla="*/ 506460 h 1548175"/>
                  <a:gd name="connsiteX160" fmla="*/ 215988 w 1579208"/>
                  <a:gd name="connsiteY160" fmla="*/ 444350 h 1548175"/>
                  <a:gd name="connsiteX161" fmla="*/ 235307 w 1579208"/>
                  <a:gd name="connsiteY161" fmla="*/ 419363 h 1548175"/>
                  <a:gd name="connsiteX162" fmla="*/ 1349479 w 1579208"/>
                  <a:gd name="connsiteY162" fmla="*/ 406750 h 1548175"/>
                  <a:gd name="connsiteX163" fmla="*/ 1379483 w 1579208"/>
                  <a:gd name="connsiteY163" fmla="*/ 416017 h 1548175"/>
                  <a:gd name="connsiteX164" fmla="*/ 1273041 w 1579208"/>
                  <a:gd name="connsiteY164" fmla="*/ 786699 h 1548175"/>
                  <a:gd name="connsiteX165" fmla="*/ 1242322 w 1579208"/>
                  <a:gd name="connsiteY165" fmla="*/ 779571 h 1548175"/>
                  <a:gd name="connsiteX166" fmla="*/ 1349479 w 1579208"/>
                  <a:gd name="connsiteY166" fmla="*/ 406750 h 1548175"/>
                  <a:gd name="connsiteX167" fmla="*/ 1437959 w 1579208"/>
                  <a:gd name="connsiteY167" fmla="*/ 405174 h 1548175"/>
                  <a:gd name="connsiteX168" fmla="*/ 1533985 w 1579208"/>
                  <a:gd name="connsiteY168" fmla="*/ 683394 h 1548175"/>
                  <a:gd name="connsiteX169" fmla="*/ 1505321 w 1579208"/>
                  <a:gd name="connsiteY169" fmla="*/ 698413 h 1548175"/>
                  <a:gd name="connsiteX170" fmla="*/ 1407861 w 1579208"/>
                  <a:gd name="connsiteY170" fmla="*/ 415187 h 1548175"/>
                  <a:gd name="connsiteX171" fmla="*/ 1437959 w 1579208"/>
                  <a:gd name="connsiteY171" fmla="*/ 405174 h 1548175"/>
                  <a:gd name="connsiteX172" fmla="*/ 1038355 w 1579208"/>
                  <a:gd name="connsiteY172" fmla="*/ 340535 h 1548175"/>
                  <a:gd name="connsiteX173" fmla="*/ 1220251 w 1579208"/>
                  <a:gd name="connsiteY173" fmla="*/ 781587 h 1548175"/>
                  <a:gd name="connsiteX174" fmla="*/ 1190890 w 1579208"/>
                  <a:gd name="connsiteY174" fmla="*/ 793006 h 1548175"/>
                  <a:gd name="connsiteX175" fmla="*/ 1063419 w 1579208"/>
                  <a:gd name="connsiteY175" fmla="*/ 484698 h 1548175"/>
                  <a:gd name="connsiteX176" fmla="*/ 1008993 w 1579208"/>
                  <a:gd name="connsiteY176" fmla="*/ 352668 h 1548175"/>
                  <a:gd name="connsiteX177" fmla="*/ 1038355 w 1579208"/>
                  <a:gd name="connsiteY177" fmla="*/ 340535 h 1548175"/>
                  <a:gd name="connsiteX178" fmla="*/ 159232 w 1579208"/>
                  <a:gd name="connsiteY178" fmla="*/ 324770 h 1548175"/>
                  <a:gd name="connsiteX179" fmla="*/ 214412 w 1579208"/>
                  <a:gd name="connsiteY179" fmla="*/ 379950 h 1548175"/>
                  <a:gd name="connsiteX180" fmla="*/ 159232 w 1579208"/>
                  <a:gd name="connsiteY180" fmla="*/ 435130 h 1548175"/>
                  <a:gd name="connsiteX181" fmla="*/ 104052 w 1579208"/>
                  <a:gd name="connsiteY181" fmla="*/ 379950 h 1548175"/>
                  <a:gd name="connsiteX182" fmla="*/ 159232 w 1579208"/>
                  <a:gd name="connsiteY182" fmla="*/ 324770 h 1548175"/>
                  <a:gd name="connsiteX183" fmla="*/ 910703 w 1579208"/>
                  <a:gd name="connsiteY183" fmla="*/ 302698 h 1548175"/>
                  <a:gd name="connsiteX184" fmla="*/ 928589 w 1579208"/>
                  <a:gd name="connsiteY184" fmla="*/ 329090 h 1548175"/>
                  <a:gd name="connsiteX185" fmla="*/ 600918 w 1579208"/>
                  <a:gd name="connsiteY185" fmla="*/ 640080 h 1548175"/>
                  <a:gd name="connsiteX186" fmla="*/ 580171 w 1579208"/>
                  <a:gd name="connsiteY186" fmla="*/ 616542 h 1548175"/>
                  <a:gd name="connsiteX187" fmla="*/ 910703 w 1579208"/>
                  <a:gd name="connsiteY187" fmla="*/ 302698 h 1548175"/>
                  <a:gd name="connsiteX188" fmla="*/ 528145 w 1579208"/>
                  <a:gd name="connsiteY188" fmla="*/ 301121 h 1548175"/>
                  <a:gd name="connsiteX189" fmla="*/ 547493 w 1579208"/>
                  <a:gd name="connsiteY189" fmla="*/ 303973 h 1548175"/>
                  <a:gd name="connsiteX190" fmla="*/ 559676 w 1579208"/>
                  <a:gd name="connsiteY190" fmla="*/ 302547 h 1548175"/>
                  <a:gd name="connsiteX191" fmla="*/ 559676 w 1579208"/>
                  <a:gd name="connsiteY191" fmla="*/ 606972 h 1548175"/>
                  <a:gd name="connsiteX192" fmla="*/ 543910 w 1579208"/>
                  <a:gd name="connsiteY192" fmla="*/ 604833 h 1548175"/>
                  <a:gd name="connsiteX193" fmla="*/ 528145 w 1579208"/>
                  <a:gd name="connsiteY193" fmla="*/ 606972 h 1548175"/>
                  <a:gd name="connsiteX194" fmla="*/ 528145 w 1579208"/>
                  <a:gd name="connsiteY194" fmla="*/ 301121 h 1548175"/>
                  <a:gd name="connsiteX195" fmla="*/ 1391598 w 1579208"/>
                  <a:gd name="connsiteY195" fmla="*/ 256154 h 1548175"/>
                  <a:gd name="connsiteX196" fmla="*/ 1456237 w 1579208"/>
                  <a:gd name="connsiteY196" fmla="*/ 320793 h 1548175"/>
                  <a:gd name="connsiteX197" fmla="*/ 1391598 w 1579208"/>
                  <a:gd name="connsiteY197" fmla="*/ 385432 h 1548175"/>
                  <a:gd name="connsiteX198" fmla="*/ 1326959 w 1579208"/>
                  <a:gd name="connsiteY198" fmla="*/ 320793 h 1548175"/>
                  <a:gd name="connsiteX199" fmla="*/ 1391598 w 1579208"/>
                  <a:gd name="connsiteY199" fmla="*/ 256154 h 1548175"/>
                  <a:gd name="connsiteX200" fmla="*/ 1075209 w 1579208"/>
                  <a:gd name="connsiteY200" fmla="*/ 250672 h 1548175"/>
                  <a:gd name="connsiteX201" fmla="*/ 1302232 w 1579208"/>
                  <a:gd name="connsiteY201" fmla="*/ 287066 h 1548175"/>
                  <a:gd name="connsiteX202" fmla="*/ 1295827 w 1579208"/>
                  <a:gd name="connsiteY202" fmla="*/ 318464 h 1548175"/>
                  <a:gd name="connsiteX203" fmla="*/ 1075921 w 1579208"/>
                  <a:gd name="connsiteY203" fmla="*/ 282784 h 1548175"/>
                  <a:gd name="connsiteX204" fmla="*/ 1077344 w 1579208"/>
                  <a:gd name="connsiteY204" fmla="*/ 268512 h 1548175"/>
                  <a:gd name="connsiteX205" fmla="*/ 1075209 w 1579208"/>
                  <a:gd name="connsiteY205" fmla="*/ 250672 h 1548175"/>
                  <a:gd name="connsiteX206" fmla="*/ 990074 w 1579208"/>
                  <a:gd name="connsiteY206" fmla="*/ 212835 h 1548175"/>
                  <a:gd name="connsiteX207" fmla="*/ 1045254 w 1579208"/>
                  <a:gd name="connsiteY207" fmla="*/ 268015 h 1548175"/>
                  <a:gd name="connsiteX208" fmla="*/ 990074 w 1579208"/>
                  <a:gd name="connsiteY208" fmla="*/ 323195 h 1548175"/>
                  <a:gd name="connsiteX209" fmla="*/ 934894 w 1579208"/>
                  <a:gd name="connsiteY209" fmla="*/ 268015 h 1548175"/>
                  <a:gd name="connsiteX210" fmla="*/ 990074 w 1579208"/>
                  <a:gd name="connsiteY210" fmla="*/ 212835 h 1548175"/>
                  <a:gd name="connsiteX211" fmla="*/ 547852 w 1579208"/>
                  <a:gd name="connsiteY211" fmla="*/ 208105 h 1548175"/>
                  <a:gd name="connsiteX212" fmla="*/ 580172 w 1579208"/>
                  <a:gd name="connsiteY212" fmla="*/ 240425 h 1548175"/>
                  <a:gd name="connsiteX213" fmla="*/ 547852 w 1579208"/>
                  <a:gd name="connsiteY213" fmla="*/ 272745 h 1548175"/>
                  <a:gd name="connsiteX214" fmla="*/ 515532 w 1579208"/>
                  <a:gd name="connsiteY214" fmla="*/ 240425 h 1548175"/>
                  <a:gd name="connsiteX215" fmla="*/ 547852 w 1579208"/>
                  <a:gd name="connsiteY215" fmla="*/ 208105 h 1548175"/>
                  <a:gd name="connsiteX216" fmla="*/ 578955 w 1579208"/>
                  <a:gd name="connsiteY216" fmla="*/ 85134 h 1548175"/>
                  <a:gd name="connsiteX217" fmla="*/ 608548 w 1579208"/>
                  <a:gd name="connsiteY217" fmla="*/ 95776 h 1548175"/>
                  <a:gd name="connsiteX218" fmla="*/ 603495 w 1579208"/>
                  <a:gd name="connsiteY218" fmla="*/ 112803 h 1548175"/>
                  <a:gd name="connsiteX219" fmla="*/ 578955 w 1579208"/>
                  <a:gd name="connsiteY219" fmla="*/ 184457 h 1548175"/>
                  <a:gd name="connsiteX220" fmla="*/ 548640 w 1579208"/>
                  <a:gd name="connsiteY220" fmla="*/ 176653 h 1548175"/>
                  <a:gd name="connsiteX221" fmla="*/ 578955 w 1579208"/>
                  <a:gd name="connsiteY221" fmla="*/ 85134 h 1548175"/>
                  <a:gd name="connsiteX222" fmla="*/ 1053462 w 1579208"/>
                  <a:gd name="connsiteY222" fmla="*/ 67792 h 1548175"/>
                  <a:gd name="connsiteX223" fmla="*/ 1324303 w 1579208"/>
                  <a:gd name="connsiteY223" fmla="*/ 253270 h 1548175"/>
                  <a:gd name="connsiteX224" fmla="*/ 1305772 w 1579208"/>
                  <a:gd name="connsiteY224" fmla="*/ 279051 h 1548175"/>
                  <a:gd name="connsiteX225" fmla="*/ 1034218 w 1579208"/>
                  <a:gd name="connsiteY225" fmla="*/ 92857 h 1548175"/>
                  <a:gd name="connsiteX226" fmla="*/ 1053462 w 1579208"/>
                  <a:gd name="connsiteY226" fmla="*/ 67792 h 1548175"/>
                  <a:gd name="connsiteX227" fmla="*/ 556815 w 1579208"/>
                  <a:gd name="connsiteY227" fmla="*/ 56755 h 1548175"/>
                  <a:gd name="connsiteX228" fmla="*/ 575440 w 1579208"/>
                  <a:gd name="connsiteY228" fmla="*/ 81777 h 1548175"/>
                  <a:gd name="connsiteX229" fmla="*/ 236613 w 1579208"/>
                  <a:gd name="connsiteY229" fmla="*/ 324844 h 1548175"/>
                  <a:gd name="connsiteX230" fmla="*/ 484465 w 1579208"/>
                  <a:gd name="connsiteY230" fmla="*/ 243345 h 1548175"/>
                  <a:gd name="connsiteX231" fmla="*/ 493777 w 1579208"/>
                  <a:gd name="connsiteY231" fmla="*/ 273371 h 1548175"/>
                  <a:gd name="connsiteX232" fmla="*/ 241627 w 1579208"/>
                  <a:gd name="connsiteY232" fmla="*/ 356300 h 1548175"/>
                  <a:gd name="connsiteX233" fmla="*/ 206527 w 1579208"/>
                  <a:gd name="connsiteY233" fmla="*/ 307687 h 1548175"/>
                  <a:gd name="connsiteX234" fmla="*/ 556815 w 1579208"/>
                  <a:gd name="connsiteY234" fmla="*/ 56755 h 1548175"/>
                  <a:gd name="connsiteX235" fmla="*/ 677313 w 1579208"/>
                  <a:gd name="connsiteY235" fmla="*/ 23648 h 1548175"/>
                  <a:gd name="connsiteX236" fmla="*/ 932392 w 1579208"/>
                  <a:gd name="connsiteY236" fmla="*/ 29340 h 1548175"/>
                  <a:gd name="connsiteX237" fmla="*/ 930967 w 1579208"/>
                  <a:gd name="connsiteY237" fmla="*/ 42148 h 1548175"/>
                  <a:gd name="connsiteX238" fmla="*/ 945930 w 1579208"/>
                  <a:gd name="connsiteY238" fmla="*/ 83418 h 1548175"/>
                  <a:gd name="connsiteX239" fmla="*/ 616037 w 1579208"/>
                  <a:gd name="connsiteY239" fmla="*/ 225726 h 1548175"/>
                  <a:gd name="connsiteX240" fmla="*/ 909592 w 1579208"/>
                  <a:gd name="connsiteY240" fmla="*/ 234265 h 1548175"/>
                  <a:gd name="connsiteX241" fmla="*/ 903179 w 1579208"/>
                  <a:gd name="connsiteY241" fmla="*/ 264861 h 1548175"/>
                  <a:gd name="connsiteX242" fmla="*/ 608912 w 1579208"/>
                  <a:gd name="connsiteY242" fmla="*/ 257034 h 1548175"/>
                  <a:gd name="connsiteX243" fmla="*/ 611762 w 1579208"/>
                  <a:gd name="connsiteY243" fmla="*/ 239957 h 1548175"/>
                  <a:gd name="connsiteX244" fmla="*/ 597512 w 1579208"/>
                  <a:gd name="connsiteY244" fmla="*/ 200111 h 1548175"/>
                  <a:gd name="connsiteX245" fmla="*/ 920992 w 1579208"/>
                  <a:gd name="connsiteY245" fmla="*/ 59937 h 1548175"/>
                  <a:gd name="connsiteX246" fmla="*/ 674463 w 1579208"/>
                  <a:gd name="connsiteY246" fmla="*/ 54956 h 1548175"/>
                  <a:gd name="connsiteX247" fmla="*/ 678026 w 1579208"/>
                  <a:gd name="connsiteY247" fmla="*/ 32186 h 1548175"/>
                  <a:gd name="connsiteX248" fmla="*/ 677313 w 1579208"/>
                  <a:gd name="connsiteY248" fmla="*/ 23648 h 1548175"/>
                  <a:gd name="connsiteX249" fmla="*/ 995592 w 1579208"/>
                  <a:gd name="connsiteY249" fmla="*/ 11037 h 1548175"/>
                  <a:gd name="connsiteX250" fmla="*/ 1027912 w 1579208"/>
                  <a:gd name="connsiteY250" fmla="*/ 42568 h 1548175"/>
                  <a:gd name="connsiteX251" fmla="*/ 995592 w 1579208"/>
                  <a:gd name="connsiteY251" fmla="*/ 74099 h 1548175"/>
                  <a:gd name="connsiteX252" fmla="*/ 963272 w 1579208"/>
                  <a:gd name="connsiteY252" fmla="*/ 42568 h 1548175"/>
                  <a:gd name="connsiteX253" fmla="*/ 995592 w 1579208"/>
                  <a:gd name="connsiteY253" fmla="*/ 11037 h 1548175"/>
                  <a:gd name="connsiteX254" fmla="*/ 614067 w 1579208"/>
                  <a:gd name="connsiteY254" fmla="*/ 0 h 1548175"/>
                  <a:gd name="connsiteX255" fmla="*/ 646387 w 1579208"/>
                  <a:gd name="connsiteY255" fmla="*/ 32320 h 1548175"/>
                  <a:gd name="connsiteX256" fmla="*/ 614067 w 1579208"/>
                  <a:gd name="connsiteY256" fmla="*/ 64640 h 1548175"/>
                  <a:gd name="connsiteX257" fmla="*/ 581747 w 1579208"/>
                  <a:gd name="connsiteY257" fmla="*/ 32320 h 1548175"/>
                  <a:gd name="connsiteX258" fmla="*/ 614067 w 1579208"/>
                  <a:gd name="connsiteY258" fmla="*/ 0 h 1548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</a:cxnLst>
                <a:rect l="l" t="t" r="r" b="b"/>
                <a:pathLst>
                  <a:path w="1579208" h="1548175">
                    <a:moveTo>
                      <a:pt x="790640" y="1483535"/>
                    </a:moveTo>
                    <a:cubicBezTo>
                      <a:pt x="808490" y="1483535"/>
                      <a:pt x="822960" y="1498005"/>
                      <a:pt x="822960" y="1515855"/>
                    </a:cubicBezTo>
                    <a:cubicBezTo>
                      <a:pt x="822960" y="1533705"/>
                      <a:pt x="808490" y="1548175"/>
                      <a:pt x="790640" y="1548175"/>
                    </a:cubicBezTo>
                    <a:cubicBezTo>
                      <a:pt x="772790" y="1548175"/>
                      <a:pt x="758320" y="1533705"/>
                      <a:pt x="758320" y="1515855"/>
                    </a:cubicBezTo>
                    <a:cubicBezTo>
                      <a:pt x="758320" y="1498005"/>
                      <a:pt x="772790" y="1483535"/>
                      <a:pt x="790640" y="1483535"/>
                    </a:cubicBezTo>
                    <a:close/>
                    <a:moveTo>
                      <a:pt x="1231624" y="1332186"/>
                    </a:moveTo>
                    <a:cubicBezTo>
                      <a:pt x="1233051" y="1343652"/>
                      <a:pt x="1236617" y="1353685"/>
                      <a:pt x="1242323" y="1362284"/>
                    </a:cubicBezTo>
                    <a:cubicBezTo>
                      <a:pt x="1242323" y="1362284"/>
                      <a:pt x="1242323" y="1362284"/>
                      <a:pt x="853591" y="1521373"/>
                    </a:cubicBezTo>
                    <a:cubicBezTo>
                      <a:pt x="853591" y="1509907"/>
                      <a:pt x="850738" y="1499875"/>
                      <a:pt x="845032" y="1490559"/>
                    </a:cubicBezTo>
                    <a:close/>
                    <a:moveTo>
                      <a:pt x="781499" y="1329034"/>
                    </a:moveTo>
                    <a:cubicBezTo>
                      <a:pt x="781499" y="1329034"/>
                      <a:pt x="781499" y="1329034"/>
                      <a:pt x="797736" y="1459458"/>
                    </a:cubicBezTo>
                    <a:cubicBezTo>
                      <a:pt x="794912" y="1459458"/>
                      <a:pt x="792088" y="1458741"/>
                      <a:pt x="789971" y="1458741"/>
                    </a:cubicBezTo>
                    <a:cubicBezTo>
                      <a:pt x="781499" y="1458741"/>
                      <a:pt x="773734" y="1460175"/>
                      <a:pt x="766675" y="1463041"/>
                    </a:cubicBezTo>
                    <a:cubicBezTo>
                      <a:pt x="766675" y="1463041"/>
                      <a:pt x="766675" y="1463041"/>
                      <a:pt x="750439" y="1331184"/>
                    </a:cubicBezTo>
                    <a:cubicBezTo>
                      <a:pt x="753262" y="1331184"/>
                      <a:pt x="756086" y="1331184"/>
                      <a:pt x="758910" y="1331184"/>
                    </a:cubicBezTo>
                    <a:cubicBezTo>
                      <a:pt x="766675" y="1331184"/>
                      <a:pt x="773734" y="1330467"/>
                      <a:pt x="781499" y="1329034"/>
                    </a:cubicBezTo>
                    <a:close/>
                    <a:moveTo>
                      <a:pt x="1295138" y="1288043"/>
                    </a:moveTo>
                    <a:cubicBezTo>
                      <a:pt x="1312988" y="1288043"/>
                      <a:pt x="1327458" y="1302513"/>
                      <a:pt x="1327458" y="1320363"/>
                    </a:cubicBezTo>
                    <a:cubicBezTo>
                      <a:pt x="1327458" y="1338213"/>
                      <a:pt x="1312988" y="1352683"/>
                      <a:pt x="1295138" y="1352683"/>
                    </a:cubicBezTo>
                    <a:cubicBezTo>
                      <a:pt x="1277288" y="1352683"/>
                      <a:pt x="1262818" y="1338213"/>
                      <a:pt x="1262818" y="1320363"/>
                    </a:cubicBezTo>
                    <a:cubicBezTo>
                      <a:pt x="1262818" y="1302513"/>
                      <a:pt x="1277288" y="1288043"/>
                      <a:pt x="1295138" y="1288043"/>
                    </a:cubicBezTo>
                    <a:close/>
                    <a:moveTo>
                      <a:pt x="259506" y="1245476"/>
                    </a:moveTo>
                    <a:cubicBezTo>
                      <a:pt x="259506" y="1245476"/>
                      <a:pt x="259506" y="1245476"/>
                      <a:pt x="737827" y="1484265"/>
                    </a:cubicBezTo>
                    <a:cubicBezTo>
                      <a:pt x="732115" y="1492819"/>
                      <a:pt x="727832" y="1502798"/>
                      <a:pt x="726404" y="1513490"/>
                    </a:cubicBezTo>
                    <a:cubicBezTo>
                      <a:pt x="726404" y="1513490"/>
                      <a:pt x="726404" y="1513490"/>
                      <a:pt x="245942" y="1273988"/>
                    </a:cubicBezTo>
                    <a:cubicBezTo>
                      <a:pt x="252367" y="1265435"/>
                      <a:pt x="256650" y="1256168"/>
                      <a:pt x="259506" y="1245476"/>
                    </a:cubicBezTo>
                    <a:close/>
                    <a:moveTo>
                      <a:pt x="863074" y="1239170"/>
                    </a:moveTo>
                    <a:cubicBezTo>
                      <a:pt x="863074" y="1239170"/>
                      <a:pt x="863074" y="1239170"/>
                      <a:pt x="1240747" y="1295318"/>
                    </a:cubicBezTo>
                    <a:cubicBezTo>
                      <a:pt x="1235025" y="1304558"/>
                      <a:pt x="1232164" y="1315219"/>
                      <a:pt x="1232164" y="1325880"/>
                    </a:cubicBezTo>
                    <a:cubicBezTo>
                      <a:pt x="1232164" y="1325880"/>
                      <a:pt x="1232164" y="1325880"/>
                      <a:pt x="854491" y="1269732"/>
                    </a:cubicBezTo>
                    <a:cubicBezTo>
                      <a:pt x="858782" y="1259782"/>
                      <a:pt x="861644" y="1249831"/>
                      <a:pt x="863074" y="1239170"/>
                    </a:cubicBezTo>
                    <a:close/>
                    <a:moveTo>
                      <a:pt x="176574" y="1168225"/>
                    </a:moveTo>
                    <a:cubicBezTo>
                      <a:pt x="207049" y="1168225"/>
                      <a:pt x="231754" y="1192577"/>
                      <a:pt x="231754" y="1222616"/>
                    </a:cubicBezTo>
                    <a:cubicBezTo>
                      <a:pt x="231754" y="1252655"/>
                      <a:pt x="207049" y="1277007"/>
                      <a:pt x="176574" y="1277007"/>
                    </a:cubicBezTo>
                    <a:cubicBezTo>
                      <a:pt x="146099" y="1277007"/>
                      <a:pt x="121394" y="1252655"/>
                      <a:pt x="121394" y="1222616"/>
                    </a:cubicBezTo>
                    <a:cubicBezTo>
                      <a:pt x="121394" y="1192577"/>
                      <a:pt x="146099" y="1168225"/>
                      <a:pt x="176574" y="1168225"/>
                    </a:cubicBezTo>
                    <a:close/>
                    <a:moveTo>
                      <a:pt x="758322" y="1146153"/>
                    </a:moveTo>
                    <a:cubicBezTo>
                      <a:pt x="799245" y="1146153"/>
                      <a:pt x="832420" y="1179328"/>
                      <a:pt x="832420" y="1220251"/>
                    </a:cubicBezTo>
                    <a:cubicBezTo>
                      <a:pt x="832420" y="1261174"/>
                      <a:pt x="799245" y="1294349"/>
                      <a:pt x="758322" y="1294349"/>
                    </a:cubicBezTo>
                    <a:cubicBezTo>
                      <a:pt x="717399" y="1294349"/>
                      <a:pt x="684224" y="1261174"/>
                      <a:pt x="684224" y="1220251"/>
                    </a:cubicBezTo>
                    <a:cubicBezTo>
                      <a:pt x="684224" y="1179328"/>
                      <a:pt x="717399" y="1146153"/>
                      <a:pt x="758322" y="1146153"/>
                    </a:cubicBezTo>
                    <a:close/>
                    <a:moveTo>
                      <a:pt x="638225" y="1144576"/>
                    </a:moveTo>
                    <a:cubicBezTo>
                      <a:pt x="638225" y="1144576"/>
                      <a:pt x="638225" y="1144576"/>
                      <a:pt x="671611" y="1166371"/>
                    </a:cubicBezTo>
                    <a:cubicBezTo>
                      <a:pt x="665351" y="1175511"/>
                      <a:pt x="660482" y="1185354"/>
                      <a:pt x="657004" y="1196603"/>
                    </a:cubicBezTo>
                    <a:lnTo>
                      <a:pt x="624314" y="1176214"/>
                    </a:lnTo>
                    <a:cubicBezTo>
                      <a:pt x="631269" y="1167074"/>
                      <a:pt x="636138" y="1156528"/>
                      <a:pt x="638225" y="1144576"/>
                    </a:cubicBezTo>
                    <a:close/>
                    <a:moveTo>
                      <a:pt x="511399" y="1136694"/>
                    </a:moveTo>
                    <a:cubicBezTo>
                      <a:pt x="511399" y="1148117"/>
                      <a:pt x="514259" y="1158111"/>
                      <a:pt x="519980" y="1167392"/>
                    </a:cubicBezTo>
                    <a:cubicBezTo>
                      <a:pt x="519980" y="1167392"/>
                      <a:pt x="519980" y="1167392"/>
                      <a:pt x="462774" y="1178815"/>
                    </a:cubicBezTo>
                    <a:cubicBezTo>
                      <a:pt x="462774" y="1178815"/>
                      <a:pt x="462774" y="1178815"/>
                      <a:pt x="311892" y="1208799"/>
                    </a:cubicBezTo>
                    <a:cubicBezTo>
                      <a:pt x="311892" y="1208799"/>
                      <a:pt x="311892" y="1208799"/>
                      <a:pt x="587197" y="1216652"/>
                    </a:cubicBezTo>
                    <a:cubicBezTo>
                      <a:pt x="587197" y="1216652"/>
                      <a:pt x="587197" y="1216652"/>
                      <a:pt x="653700" y="1218794"/>
                    </a:cubicBezTo>
                    <a:cubicBezTo>
                      <a:pt x="652984" y="1220936"/>
                      <a:pt x="652984" y="1223791"/>
                      <a:pt x="652984" y="1225933"/>
                    </a:cubicBezTo>
                    <a:cubicBezTo>
                      <a:pt x="652984" y="1234500"/>
                      <a:pt x="654415" y="1242353"/>
                      <a:pt x="655845" y="1250206"/>
                    </a:cubicBezTo>
                    <a:cubicBezTo>
                      <a:pt x="655845" y="1250206"/>
                      <a:pt x="655845" y="1250206"/>
                      <a:pt x="261121" y="1238070"/>
                    </a:cubicBezTo>
                    <a:cubicBezTo>
                      <a:pt x="261836" y="1233072"/>
                      <a:pt x="262552" y="1228075"/>
                      <a:pt x="262552" y="1222364"/>
                    </a:cubicBezTo>
                    <a:cubicBezTo>
                      <a:pt x="262552" y="1210227"/>
                      <a:pt x="259691" y="1198091"/>
                      <a:pt x="255401" y="1188096"/>
                    </a:cubicBezTo>
                    <a:cubicBezTo>
                      <a:pt x="255401" y="1188096"/>
                      <a:pt x="255401" y="1188096"/>
                      <a:pt x="511399" y="1136694"/>
                    </a:cubicBezTo>
                    <a:close/>
                    <a:moveTo>
                      <a:pt x="1425776" y="1125658"/>
                    </a:moveTo>
                    <a:cubicBezTo>
                      <a:pt x="1430792" y="1134999"/>
                      <a:pt x="1437958" y="1143621"/>
                      <a:pt x="1447274" y="1149369"/>
                    </a:cubicBezTo>
                    <a:cubicBezTo>
                      <a:pt x="1447274" y="1149369"/>
                      <a:pt x="1447274" y="1149369"/>
                      <a:pt x="1345515" y="1288043"/>
                    </a:cubicBezTo>
                    <a:cubicBezTo>
                      <a:pt x="1339066" y="1280139"/>
                      <a:pt x="1330466" y="1272954"/>
                      <a:pt x="1321150" y="1268643"/>
                    </a:cubicBezTo>
                    <a:cubicBezTo>
                      <a:pt x="1321150" y="1268643"/>
                      <a:pt x="1321150" y="1268643"/>
                      <a:pt x="1425776" y="1125658"/>
                    </a:cubicBezTo>
                    <a:close/>
                    <a:moveTo>
                      <a:pt x="574654" y="1103586"/>
                    </a:moveTo>
                    <a:cubicBezTo>
                      <a:pt x="592504" y="1103586"/>
                      <a:pt x="606974" y="1118056"/>
                      <a:pt x="606974" y="1135906"/>
                    </a:cubicBezTo>
                    <a:cubicBezTo>
                      <a:pt x="606974" y="1153756"/>
                      <a:pt x="592504" y="1168226"/>
                      <a:pt x="574654" y="1168226"/>
                    </a:cubicBezTo>
                    <a:cubicBezTo>
                      <a:pt x="556804" y="1168226"/>
                      <a:pt x="542334" y="1153756"/>
                      <a:pt x="542334" y="1135906"/>
                    </a:cubicBezTo>
                    <a:cubicBezTo>
                      <a:pt x="542334" y="1118056"/>
                      <a:pt x="556804" y="1103586"/>
                      <a:pt x="574654" y="1103586"/>
                    </a:cubicBezTo>
                    <a:close/>
                    <a:moveTo>
                      <a:pt x="1418628" y="1090974"/>
                    </a:moveTo>
                    <a:cubicBezTo>
                      <a:pt x="1418628" y="1093113"/>
                      <a:pt x="1418628" y="1095252"/>
                      <a:pt x="1418628" y="1097391"/>
                    </a:cubicBezTo>
                    <a:cubicBezTo>
                      <a:pt x="1418628" y="1105947"/>
                      <a:pt x="1420057" y="1114504"/>
                      <a:pt x="1423628" y="1122347"/>
                    </a:cubicBezTo>
                    <a:cubicBezTo>
                      <a:pt x="1423628" y="1122347"/>
                      <a:pt x="1423628" y="1122347"/>
                      <a:pt x="863655" y="1232864"/>
                    </a:cubicBezTo>
                    <a:cubicBezTo>
                      <a:pt x="864369" y="1230725"/>
                      <a:pt x="864369" y="1228586"/>
                      <a:pt x="864369" y="1226447"/>
                    </a:cubicBezTo>
                    <a:cubicBezTo>
                      <a:pt x="864369" y="1217891"/>
                      <a:pt x="862941" y="1209335"/>
                      <a:pt x="860798" y="1201491"/>
                    </a:cubicBezTo>
                    <a:cubicBezTo>
                      <a:pt x="860798" y="1201491"/>
                      <a:pt x="860798" y="1201491"/>
                      <a:pt x="1418628" y="1090974"/>
                    </a:cubicBezTo>
                    <a:close/>
                    <a:moveTo>
                      <a:pt x="1481171" y="1057866"/>
                    </a:moveTo>
                    <a:cubicBezTo>
                      <a:pt x="1499021" y="1057866"/>
                      <a:pt x="1513491" y="1072336"/>
                      <a:pt x="1513491" y="1090186"/>
                    </a:cubicBezTo>
                    <a:cubicBezTo>
                      <a:pt x="1513491" y="1108036"/>
                      <a:pt x="1499021" y="1122506"/>
                      <a:pt x="1481171" y="1122506"/>
                    </a:cubicBezTo>
                    <a:cubicBezTo>
                      <a:pt x="1463321" y="1122506"/>
                      <a:pt x="1448851" y="1108036"/>
                      <a:pt x="1448851" y="1090186"/>
                    </a:cubicBezTo>
                    <a:cubicBezTo>
                      <a:pt x="1448851" y="1072336"/>
                      <a:pt x="1463321" y="1057866"/>
                      <a:pt x="1481171" y="1057866"/>
                    </a:cubicBezTo>
                    <a:close/>
                    <a:moveTo>
                      <a:pt x="1309481" y="912824"/>
                    </a:moveTo>
                    <a:cubicBezTo>
                      <a:pt x="1309481" y="912824"/>
                      <a:pt x="1309481" y="912824"/>
                      <a:pt x="1350214" y="955030"/>
                    </a:cubicBezTo>
                    <a:cubicBezTo>
                      <a:pt x="1350214" y="955030"/>
                      <a:pt x="1350214" y="955030"/>
                      <a:pt x="1440969" y="1049456"/>
                    </a:cubicBezTo>
                    <a:cubicBezTo>
                      <a:pt x="1432394" y="1055895"/>
                      <a:pt x="1426677" y="1065194"/>
                      <a:pt x="1422389" y="1075209"/>
                    </a:cubicBezTo>
                    <a:cubicBezTo>
                      <a:pt x="1422389" y="1075209"/>
                      <a:pt x="1422389" y="1075209"/>
                      <a:pt x="1405953" y="1058041"/>
                    </a:cubicBezTo>
                    <a:cubicBezTo>
                      <a:pt x="1405953" y="1058041"/>
                      <a:pt x="1405953" y="1058041"/>
                      <a:pt x="1288043" y="935715"/>
                    </a:cubicBezTo>
                    <a:cubicBezTo>
                      <a:pt x="1296619" y="929277"/>
                      <a:pt x="1303765" y="922124"/>
                      <a:pt x="1309481" y="912824"/>
                    </a:cubicBezTo>
                    <a:close/>
                    <a:moveTo>
                      <a:pt x="1156730" y="900211"/>
                    </a:moveTo>
                    <a:cubicBezTo>
                      <a:pt x="1161002" y="910233"/>
                      <a:pt x="1167411" y="918824"/>
                      <a:pt x="1174532" y="926699"/>
                    </a:cubicBezTo>
                    <a:lnTo>
                      <a:pt x="853375" y="1180837"/>
                    </a:lnTo>
                    <a:cubicBezTo>
                      <a:pt x="848391" y="1170815"/>
                      <a:pt x="842694" y="1162224"/>
                      <a:pt x="835573" y="1154349"/>
                    </a:cubicBezTo>
                    <a:cubicBezTo>
                      <a:pt x="835573" y="1154349"/>
                      <a:pt x="835573" y="1154349"/>
                      <a:pt x="1156730" y="900211"/>
                    </a:cubicBezTo>
                    <a:close/>
                    <a:moveTo>
                      <a:pt x="60723" y="816653"/>
                    </a:moveTo>
                    <a:lnTo>
                      <a:pt x="163962" y="1137717"/>
                    </a:lnTo>
                    <a:cubicBezTo>
                      <a:pt x="153282" y="1139147"/>
                      <a:pt x="143314" y="1142723"/>
                      <a:pt x="134058" y="1147728"/>
                    </a:cubicBezTo>
                    <a:cubicBezTo>
                      <a:pt x="134058" y="1147728"/>
                      <a:pt x="134058" y="1147728"/>
                      <a:pt x="31531" y="828809"/>
                    </a:cubicBezTo>
                    <a:cubicBezTo>
                      <a:pt x="42211" y="827379"/>
                      <a:pt x="52179" y="823089"/>
                      <a:pt x="60723" y="816653"/>
                    </a:cubicBezTo>
                    <a:close/>
                    <a:moveTo>
                      <a:pt x="1235519" y="809523"/>
                    </a:moveTo>
                    <a:cubicBezTo>
                      <a:pt x="1265994" y="809523"/>
                      <a:pt x="1290699" y="834228"/>
                      <a:pt x="1290699" y="864703"/>
                    </a:cubicBezTo>
                    <a:cubicBezTo>
                      <a:pt x="1290699" y="895178"/>
                      <a:pt x="1265994" y="919883"/>
                      <a:pt x="1235519" y="919883"/>
                    </a:cubicBezTo>
                    <a:cubicBezTo>
                      <a:pt x="1205044" y="919883"/>
                      <a:pt x="1180339" y="895178"/>
                      <a:pt x="1180339" y="864703"/>
                    </a:cubicBezTo>
                    <a:cubicBezTo>
                      <a:pt x="1180339" y="834228"/>
                      <a:pt x="1205044" y="809523"/>
                      <a:pt x="1235519" y="809523"/>
                    </a:cubicBezTo>
                    <a:close/>
                    <a:moveTo>
                      <a:pt x="1513560" y="797735"/>
                    </a:moveTo>
                    <a:cubicBezTo>
                      <a:pt x="1522099" y="803454"/>
                      <a:pt x="1532060" y="807029"/>
                      <a:pt x="1543445" y="807744"/>
                    </a:cubicBezTo>
                    <a:cubicBezTo>
                      <a:pt x="1543445" y="807744"/>
                      <a:pt x="1543445" y="807744"/>
                      <a:pt x="1495060" y="1034365"/>
                    </a:cubicBezTo>
                    <a:cubicBezTo>
                      <a:pt x="1490791" y="1033650"/>
                      <a:pt x="1486521" y="1032936"/>
                      <a:pt x="1482252" y="1032936"/>
                    </a:cubicBezTo>
                    <a:cubicBezTo>
                      <a:pt x="1475137" y="1032936"/>
                      <a:pt x="1468733" y="1034365"/>
                      <a:pt x="1463040" y="1035795"/>
                    </a:cubicBezTo>
                    <a:cubicBezTo>
                      <a:pt x="1463040" y="1035795"/>
                      <a:pt x="1463040" y="1035795"/>
                      <a:pt x="1513560" y="797735"/>
                    </a:cubicBezTo>
                    <a:close/>
                    <a:moveTo>
                      <a:pt x="79652" y="783547"/>
                    </a:moveTo>
                    <a:cubicBezTo>
                      <a:pt x="79652" y="783547"/>
                      <a:pt x="79652" y="783547"/>
                      <a:pt x="540758" y="1081849"/>
                    </a:cubicBezTo>
                    <a:cubicBezTo>
                      <a:pt x="530749" y="1088287"/>
                      <a:pt x="522885" y="1096872"/>
                      <a:pt x="517166" y="1108317"/>
                    </a:cubicBezTo>
                    <a:lnTo>
                      <a:pt x="64639" y="811446"/>
                    </a:lnTo>
                    <a:cubicBezTo>
                      <a:pt x="72503" y="803577"/>
                      <a:pt x="77507" y="794277"/>
                      <a:pt x="79652" y="783547"/>
                    </a:cubicBezTo>
                    <a:close/>
                    <a:moveTo>
                      <a:pt x="1485399" y="752016"/>
                    </a:moveTo>
                    <a:cubicBezTo>
                      <a:pt x="1486116" y="762749"/>
                      <a:pt x="1490415" y="772766"/>
                      <a:pt x="1496148" y="781352"/>
                    </a:cubicBezTo>
                    <a:cubicBezTo>
                      <a:pt x="1496148" y="781352"/>
                      <a:pt x="1496148" y="781352"/>
                      <a:pt x="1319860" y="845033"/>
                    </a:cubicBezTo>
                    <a:cubicBezTo>
                      <a:pt x="1317711" y="834300"/>
                      <a:pt x="1312694" y="824999"/>
                      <a:pt x="1306961" y="816413"/>
                    </a:cubicBezTo>
                    <a:cubicBezTo>
                      <a:pt x="1306961" y="816413"/>
                      <a:pt x="1306961" y="816413"/>
                      <a:pt x="1485399" y="752016"/>
                    </a:cubicBezTo>
                    <a:close/>
                    <a:moveTo>
                      <a:pt x="24437" y="748862"/>
                    </a:moveTo>
                    <a:cubicBezTo>
                      <a:pt x="37933" y="748862"/>
                      <a:pt x="48874" y="759803"/>
                      <a:pt x="48874" y="773299"/>
                    </a:cubicBezTo>
                    <a:cubicBezTo>
                      <a:pt x="48874" y="786795"/>
                      <a:pt x="37933" y="797736"/>
                      <a:pt x="24437" y="797736"/>
                    </a:cubicBezTo>
                    <a:cubicBezTo>
                      <a:pt x="10941" y="797736"/>
                      <a:pt x="0" y="786795"/>
                      <a:pt x="0" y="773299"/>
                    </a:cubicBezTo>
                    <a:cubicBezTo>
                      <a:pt x="0" y="759803"/>
                      <a:pt x="10941" y="748862"/>
                      <a:pt x="24437" y="748862"/>
                    </a:cubicBezTo>
                    <a:close/>
                    <a:moveTo>
                      <a:pt x="578713" y="722060"/>
                    </a:moveTo>
                    <a:cubicBezTo>
                      <a:pt x="578713" y="722060"/>
                      <a:pt x="578713" y="722060"/>
                      <a:pt x="655330" y="927666"/>
                    </a:cubicBezTo>
                    <a:cubicBezTo>
                      <a:pt x="655330" y="927666"/>
                      <a:pt x="655330" y="927666"/>
                      <a:pt x="728366" y="1125420"/>
                    </a:cubicBezTo>
                    <a:cubicBezTo>
                      <a:pt x="718341" y="1128275"/>
                      <a:pt x="709033" y="1132559"/>
                      <a:pt x="699724" y="1138270"/>
                    </a:cubicBezTo>
                    <a:cubicBezTo>
                      <a:pt x="699724" y="1138270"/>
                      <a:pt x="699724" y="1138270"/>
                      <a:pt x="548640" y="732055"/>
                    </a:cubicBezTo>
                    <a:cubicBezTo>
                      <a:pt x="560096" y="731341"/>
                      <a:pt x="570121" y="727771"/>
                      <a:pt x="578713" y="722060"/>
                    </a:cubicBezTo>
                    <a:close/>
                    <a:moveTo>
                      <a:pt x="1547677" y="711777"/>
                    </a:moveTo>
                    <a:cubicBezTo>
                      <a:pt x="1565091" y="711777"/>
                      <a:pt x="1579208" y="726247"/>
                      <a:pt x="1579208" y="744097"/>
                    </a:cubicBezTo>
                    <a:cubicBezTo>
                      <a:pt x="1579208" y="761947"/>
                      <a:pt x="1565091" y="776417"/>
                      <a:pt x="1547677" y="776417"/>
                    </a:cubicBezTo>
                    <a:cubicBezTo>
                      <a:pt x="1530263" y="776417"/>
                      <a:pt x="1516146" y="761947"/>
                      <a:pt x="1516146" y="744097"/>
                    </a:cubicBezTo>
                    <a:cubicBezTo>
                      <a:pt x="1516146" y="726247"/>
                      <a:pt x="1530263" y="711777"/>
                      <a:pt x="1547677" y="711777"/>
                    </a:cubicBezTo>
                    <a:close/>
                    <a:moveTo>
                      <a:pt x="607527" y="673188"/>
                    </a:moveTo>
                    <a:cubicBezTo>
                      <a:pt x="607527" y="673188"/>
                      <a:pt x="607527" y="673188"/>
                      <a:pt x="1161918" y="822961"/>
                    </a:cubicBezTo>
                    <a:cubicBezTo>
                      <a:pt x="1156195" y="832277"/>
                      <a:pt x="1152619" y="843026"/>
                      <a:pt x="1151188" y="854492"/>
                    </a:cubicBezTo>
                    <a:cubicBezTo>
                      <a:pt x="1151188" y="854492"/>
                      <a:pt x="1151188" y="854492"/>
                      <a:pt x="597512" y="703286"/>
                    </a:cubicBezTo>
                    <a:cubicBezTo>
                      <a:pt x="603234" y="693970"/>
                      <a:pt x="606811" y="683937"/>
                      <a:pt x="607527" y="673188"/>
                    </a:cubicBezTo>
                    <a:close/>
                    <a:moveTo>
                      <a:pt x="481567" y="668458"/>
                    </a:moveTo>
                    <a:cubicBezTo>
                      <a:pt x="481567" y="668458"/>
                      <a:pt x="481567" y="668458"/>
                      <a:pt x="481567" y="669167"/>
                    </a:cubicBezTo>
                    <a:cubicBezTo>
                      <a:pt x="481567" y="679801"/>
                      <a:pt x="484433" y="689726"/>
                      <a:pt x="488731" y="698233"/>
                    </a:cubicBezTo>
                    <a:cubicBezTo>
                      <a:pt x="488731" y="698233"/>
                      <a:pt x="488731" y="698233"/>
                      <a:pt x="80401" y="774088"/>
                    </a:cubicBezTo>
                    <a:cubicBezTo>
                      <a:pt x="80401" y="773379"/>
                      <a:pt x="80401" y="773379"/>
                      <a:pt x="80401" y="772670"/>
                    </a:cubicBezTo>
                    <a:cubicBezTo>
                      <a:pt x="80401" y="762036"/>
                      <a:pt x="77535" y="752111"/>
                      <a:pt x="72521" y="744313"/>
                    </a:cubicBezTo>
                    <a:cubicBezTo>
                      <a:pt x="72521" y="744313"/>
                      <a:pt x="72521" y="744313"/>
                      <a:pt x="481567" y="668458"/>
                    </a:cubicBezTo>
                    <a:close/>
                    <a:moveTo>
                      <a:pt x="544699" y="636927"/>
                    </a:moveTo>
                    <a:cubicBezTo>
                      <a:pt x="562549" y="636927"/>
                      <a:pt x="577019" y="651397"/>
                      <a:pt x="577019" y="669247"/>
                    </a:cubicBezTo>
                    <a:cubicBezTo>
                      <a:pt x="577019" y="687097"/>
                      <a:pt x="562549" y="701567"/>
                      <a:pt x="544699" y="701567"/>
                    </a:cubicBezTo>
                    <a:cubicBezTo>
                      <a:pt x="526849" y="701567"/>
                      <a:pt x="512379" y="687097"/>
                      <a:pt x="512379" y="669247"/>
                    </a:cubicBezTo>
                    <a:cubicBezTo>
                      <a:pt x="512379" y="651397"/>
                      <a:pt x="526849" y="636927"/>
                      <a:pt x="544699" y="636927"/>
                    </a:cubicBezTo>
                    <a:close/>
                    <a:moveTo>
                      <a:pt x="106317" y="447740"/>
                    </a:moveTo>
                    <a:cubicBezTo>
                      <a:pt x="114127" y="454200"/>
                      <a:pt x="124066" y="459224"/>
                      <a:pt x="134006" y="462094"/>
                    </a:cubicBezTo>
                    <a:lnTo>
                      <a:pt x="56619" y="728366"/>
                    </a:lnTo>
                    <a:cubicBezTo>
                      <a:pt x="48100" y="721907"/>
                      <a:pt x="38160" y="718318"/>
                      <a:pt x="26801" y="718318"/>
                    </a:cubicBezTo>
                    <a:cubicBezTo>
                      <a:pt x="26801" y="718318"/>
                      <a:pt x="26801" y="718318"/>
                      <a:pt x="106317" y="447740"/>
                    </a:cubicBezTo>
                    <a:close/>
                    <a:moveTo>
                      <a:pt x="235307" y="419363"/>
                    </a:moveTo>
                    <a:cubicBezTo>
                      <a:pt x="235307" y="419363"/>
                      <a:pt x="235307" y="419363"/>
                      <a:pt x="502921" y="620685"/>
                    </a:cubicBezTo>
                    <a:cubicBezTo>
                      <a:pt x="495050" y="627825"/>
                      <a:pt x="488610" y="636391"/>
                      <a:pt x="485032" y="646386"/>
                    </a:cubicBezTo>
                    <a:cubicBezTo>
                      <a:pt x="485032" y="646386"/>
                      <a:pt x="485032" y="646386"/>
                      <a:pt x="298991" y="506460"/>
                    </a:cubicBezTo>
                    <a:cubicBezTo>
                      <a:pt x="298991" y="506460"/>
                      <a:pt x="298991" y="506460"/>
                      <a:pt x="215988" y="444350"/>
                    </a:cubicBezTo>
                    <a:cubicBezTo>
                      <a:pt x="223859" y="437211"/>
                      <a:pt x="230299" y="428644"/>
                      <a:pt x="235307" y="419363"/>
                    </a:cubicBezTo>
                    <a:close/>
                    <a:moveTo>
                      <a:pt x="1349479" y="406750"/>
                    </a:moveTo>
                    <a:cubicBezTo>
                      <a:pt x="1358766" y="411740"/>
                      <a:pt x="1368768" y="414591"/>
                      <a:pt x="1379483" y="416017"/>
                    </a:cubicBezTo>
                    <a:cubicBezTo>
                      <a:pt x="1379483" y="416017"/>
                      <a:pt x="1379483" y="416017"/>
                      <a:pt x="1273041" y="786699"/>
                    </a:cubicBezTo>
                    <a:cubicBezTo>
                      <a:pt x="1263754" y="782422"/>
                      <a:pt x="1253038" y="780283"/>
                      <a:pt x="1242322" y="779571"/>
                    </a:cubicBezTo>
                    <a:cubicBezTo>
                      <a:pt x="1242322" y="779571"/>
                      <a:pt x="1242322" y="779571"/>
                      <a:pt x="1349479" y="406750"/>
                    </a:cubicBezTo>
                    <a:close/>
                    <a:moveTo>
                      <a:pt x="1437959" y="405174"/>
                    </a:moveTo>
                    <a:cubicBezTo>
                      <a:pt x="1437959" y="405174"/>
                      <a:pt x="1437959" y="405174"/>
                      <a:pt x="1533985" y="683394"/>
                    </a:cubicBezTo>
                    <a:cubicBezTo>
                      <a:pt x="1523236" y="685539"/>
                      <a:pt x="1513203" y="691261"/>
                      <a:pt x="1505321" y="698413"/>
                    </a:cubicBezTo>
                    <a:cubicBezTo>
                      <a:pt x="1505321" y="698413"/>
                      <a:pt x="1505321" y="698413"/>
                      <a:pt x="1407861" y="415187"/>
                    </a:cubicBezTo>
                    <a:cubicBezTo>
                      <a:pt x="1418610" y="413042"/>
                      <a:pt x="1428643" y="409465"/>
                      <a:pt x="1437959" y="405174"/>
                    </a:cubicBezTo>
                    <a:close/>
                    <a:moveTo>
                      <a:pt x="1038355" y="340535"/>
                    </a:moveTo>
                    <a:cubicBezTo>
                      <a:pt x="1038355" y="340535"/>
                      <a:pt x="1038355" y="340535"/>
                      <a:pt x="1220251" y="781587"/>
                    </a:cubicBezTo>
                    <a:cubicBezTo>
                      <a:pt x="1209509" y="783015"/>
                      <a:pt x="1199484" y="787297"/>
                      <a:pt x="1190890" y="793006"/>
                    </a:cubicBezTo>
                    <a:lnTo>
                      <a:pt x="1063419" y="484698"/>
                    </a:lnTo>
                    <a:cubicBezTo>
                      <a:pt x="1063419" y="484698"/>
                      <a:pt x="1063419" y="484698"/>
                      <a:pt x="1008993" y="352668"/>
                    </a:cubicBezTo>
                    <a:cubicBezTo>
                      <a:pt x="1019735" y="350527"/>
                      <a:pt x="1029760" y="346245"/>
                      <a:pt x="1038355" y="340535"/>
                    </a:cubicBezTo>
                    <a:close/>
                    <a:moveTo>
                      <a:pt x="159232" y="324770"/>
                    </a:moveTo>
                    <a:cubicBezTo>
                      <a:pt x="189707" y="324770"/>
                      <a:pt x="214412" y="349475"/>
                      <a:pt x="214412" y="379950"/>
                    </a:cubicBezTo>
                    <a:cubicBezTo>
                      <a:pt x="214412" y="410425"/>
                      <a:pt x="189707" y="435130"/>
                      <a:pt x="159232" y="435130"/>
                    </a:cubicBezTo>
                    <a:cubicBezTo>
                      <a:pt x="128757" y="435130"/>
                      <a:pt x="104052" y="410425"/>
                      <a:pt x="104052" y="379950"/>
                    </a:cubicBezTo>
                    <a:cubicBezTo>
                      <a:pt x="104052" y="349475"/>
                      <a:pt x="128757" y="324770"/>
                      <a:pt x="159232" y="324770"/>
                    </a:cubicBezTo>
                    <a:close/>
                    <a:moveTo>
                      <a:pt x="910703" y="302698"/>
                    </a:moveTo>
                    <a:cubicBezTo>
                      <a:pt x="914995" y="312684"/>
                      <a:pt x="921434" y="321243"/>
                      <a:pt x="928589" y="329090"/>
                    </a:cubicBezTo>
                    <a:lnTo>
                      <a:pt x="600918" y="640080"/>
                    </a:lnTo>
                    <a:cubicBezTo>
                      <a:pt x="595910" y="630807"/>
                      <a:pt x="588756" y="622961"/>
                      <a:pt x="580171" y="616542"/>
                    </a:cubicBezTo>
                    <a:cubicBezTo>
                      <a:pt x="580171" y="616542"/>
                      <a:pt x="580171" y="616542"/>
                      <a:pt x="910703" y="302698"/>
                    </a:cubicBezTo>
                    <a:close/>
                    <a:moveTo>
                      <a:pt x="528145" y="301121"/>
                    </a:moveTo>
                    <a:cubicBezTo>
                      <a:pt x="533878" y="302547"/>
                      <a:pt x="540327" y="303973"/>
                      <a:pt x="547493" y="303973"/>
                    </a:cubicBezTo>
                    <a:cubicBezTo>
                      <a:pt x="551076" y="303973"/>
                      <a:pt x="555376" y="303260"/>
                      <a:pt x="559676" y="302547"/>
                    </a:cubicBezTo>
                    <a:cubicBezTo>
                      <a:pt x="559676" y="302547"/>
                      <a:pt x="559676" y="302547"/>
                      <a:pt x="559676" y="606972"/>
                    </a:cubicBezTo>
                    <a:cubicBezTo>
                      <a:pt x="554659" y="605546"/>
                      <a:pt x="548927" y="604833"/>
                      <a:pt x="543910" y="604833"/>
                    </a:cubicBezTo>
                    <a:cubicBezTo>
                      <a:pt x="538177" y="604833"/>
                      <a:pt x="533161" y="605546"/>
                      <a:pt x="528145" y="606972"/>
                    </a:cubicBezTo>
                    <a:cubicBezTo>
                      <a:pt x="528145" y="606972"/>
                      <a:pt x="528145" y="606972"/>
                      <a:pt x="528145" y="301121"/>
                    </a:cubicBezTo>
                    <a:close/>
                    <a:moveTo>
                      <a:pt x="1391598" y="256154"/>
                    </a:moveTo>
                    <a:cubicBezTo>
                      <a:pt x="1427297" y="256154"/>
                      <a:pt x="1456237" y="285094"/>
                      <a:pt x="1456237" y="320793"/>
                    </a:cubicBezTo>
                    <a:cubicBezTo>
                      <a:pt x="1456237" y="356492"/>
                      <a:pt x="1427297" y="385432"/>
                      <a:pt x="1391598" y="385432"/>
                    </a:cubicBezTo>
                    <a:cubicBezTo>
                      <a:pt x="1355899" y="385432"/>
                      <a:pt x="1326959" y="356492"/>
                      <a:pt x="1326959" y="320793"/>
                    </a:cubicBezTo>
                    <a:cubicBezTo>
                      <a:pt x="1326959" y="285094"/>
                      <a:pt x="1355899" y="256154"/>
                      <a:pt x="1391598" y="256154"/>
                    </a:cubicBezTo>
                    <a:close/>
                    <a:moveTo>
                      <a:pt x="1075209" y="250672"/>
                    </a:moveTo>
                    <a:cubicBezTo>
                      <a:pt x="1075209" y="250672"/>
                      <a:pt x="1075209" y="250672"/>
                      <a:pt x="1302232" y="287066"/>
                    </a:cubicBezTo>
                    <a:cubicBezTo>
                      <a:pt x="1298674" y="297056"/>
                      <a:pt x="1296539" y="307760"/>
                      <a:pt x="1295827" y="318464"/>
                    </a:cubicBezTo>
                    <a:lnTo>
                      <a:pt x="1075921" y="282784"/>
                    </a:lnTo>
                    <a:cubicBezTo>
                      <a:pt x="1076633" y="277789"/>
                      <a:pt x="1077344" y="272794"/>
                      <a:pt x="1077344" y="268512"/>
                    </a:cubicBezTo>
                    <a:cubicBezTo>
                      <a:pt x="1077344" y="262090"/>
                      <a:pt x="1076633" y="256381"/>
                      <a:pt x="1075209" y="250672"/>
                    </a:cubicBezTo>
                    <a:close/>
                    <a:moveTo>
                      <a:pt x="990074" y="212835"/>
                    </a:moveTo>
                    <a:cubicBezTo>
                      <a:pt x="1020549" y="212835"/>
                      <a:pt x="1045254" y="237540"/>
                      <a:pt x="1045254" y="268015"/>
                    </a:cubicBezTo>
                    <a:cubicBezTo>
                      <a:pt x="1045254" y="298490"/>
                      <a:pt x="1020549" y="323195"/>
                      <a:pt x="990074" y="323195"/>
                    </a:cubicBezTo>
                    <a:cubicBezTo>
                      <a:pt x="959599" y="323195"/>
                      <a:pt x="934894" y="298490"/>
                      <a:pt x="934894" y="268015"/>
                    </a:cubicBezTo>
                    <a:cubicBezTo>
                      <a:pt x="934894" y="237540"/>
                      <a:pt x="959599" y="212835"/>
                      <a:pt x="990074" y="212835"/>
                    </a:cubicBezTo>
                    <a:close/>
                    <a:moveTo>
                      <a:pt x="547852" y="208105"/>
                    </a:moveTo>
                    <a:cubicBezTo>
                      <a:pt x="565702" y="208105"/>
                      <a:pt x="580172" y="222575"/>
                      <a:pt x="580172" y="240425"/>
                    </a:cubicBezTo>
                    <a:cubicBezTo>
                      <a:pt x="580172" y="258275"/>
                      <a:pt x="565702" y="272745"/>
                      <a:pt x="547852" y="272745"/>
                    </a:cubicBezTo>
                    <a:cubicBezTo>
                      <a:pt x="530002" y="272745"/>
                      <a:pt x="515532" y="258275"/>
                      <a:pt x="515532" y="240425"/>
                    </a:cubicBezTo>
                    <a:cubicBezTo>
                      <a:pt x="515532" y="222575"/>
                      <a:pt x="530002" y="208105"/>
                      <a:pt x="547852" y="208105"/>
                    </a:cubicBezTo>
                    <a:close/>
                    <a:moveTo>
                      <a:pt x="578955" y="85134"/>
                    </a:moveTo>
                    <a:cubicBezTo>
                      <a:pt x="587616" y="90810"/>
                      <a:pt x="597721" y="94357"/>
                      <a:pt x="608548" y="95776"/>
                    </a:cubicBezTo>
                    <a:cubicBezTo>
                      <a:pt x="608548" y="95776"/>
                      <a:pt x="608548" y="95776"/>
                      <a:pt x="603495" y="112803"/>
                    </a:cubicBezTo>
                    <a:cubicBezTo>
                      <a:pt x="603495" y="112803"/>
                      <a:pt x="603495" y="112803"/>
                      <a:pt x="578955" y="184457"/>
                    </a:cubicBezTo>
                    <a:cubicBezTo>
                      <a:pt x="570293" y="179491"/>
                      <a:pt x="559466" y="176653"/>
                      <a:pt x="548640" y="176653"/>
                    </a:cubicBezTo>
                    <a:cubicBezTo>
                      <a:pt x="548640" y="176653"/>
                      <a:pt x="548640" y="176653"/>
                      <a:pt x="578955" y="85134"/>
                    </a:cubicBezTo>
                    <a:close/>
                    <a:moveTo>
                      <a:pt x="1053462" y="67792"/>
                    </a:moveTo>
                    <a:cubicBezTo>
                      <a:pt x="1053462" y="67792"/>
                      <a:pt x="1053462" y="67792"/>
                      <a:pt x="1324303" y="253270"/>
                    </a:cubicBezTo>
                    <a:cubicBezTo>
                      <a:pt x="1317176" y="261148"/>
                      <a:pt x="1310761" y="269741"/>
                      <a:pt x="1305772" y="279051"/>
                    </a:cubicBezTo>
                    <a:cubicBezTo>
                      <a:pt x="1305772" y="279051"/>
                      <a:pt x="1305772" y="279051"/>
                      <a:pt x="1034218" y="92857"/>
                    </a:cubicBezTo>
                    <a:cubicBezTo>
                      <a:pt x="1042771" y="86412"/>
                      <a:pt x="1049186" y="77818"/>
                      <a:pt x="1053462" y="67792"/>
                    </a:cubicBezTo>
                    <a:close/>
                    <a:moveTo>
                      <a:pt x="556815" y="56755"/>
                    </a:moveTo>
                    <a:cubicBezTo>
                      <a:pt x="560397" y="66764"/>
                      <a:pt x="567560" y="75343"/>
                      <a:pt x="575440" y="81777"/>
                    </a:cubicBezTo>
                    <a:cubicBezTo>
                      <a:pt x="575440" y="81777"/>
                      <a:pt x="575440" y="81777"/>
                      <a:pt x="236613" y="324844"/>
                    </a:cubicBezTo>
                    <a:cubicBezTo>
                      <a:pt x="236613" y="324844"/>
                      <a:pt x="236613" y="324844"/>
                      <a:pt x="484465" y="243345"/>
                    </a:cubicBezTo>
                    <a:cubicBezTo>
                      <a:pt x="485181" y="254069"/>
                      <a:pt x="488047" y="264792"/>
                      <a:pt x="493777" y="273371"/>
                    </a:cubicBezTo>
                    <a:cubicBezTo>
                      <a:pt x="493777" y="273371"/>
                      <a:pt x="493777" y="273371"/>
                      <a:pt x="241627" y="356300"/>
                    </a:cubicBezTo>
                    <a:cubicBezTo>
                      <a:pt x="235897" y="336283"/>
                      <a:pt x="223002" y="319125"/>
                      <a:pt x="206527" y="307687"/>
                    </a:cubicBezTo>
                    <a:cubicBezTo>
                      <a:pt x="206527" y="307687"/>
                      <a:pt x="206527" y="307687"/>
                      <a:pt x="556815" y="56755"/>
                    </a:cubicBezTo>
                    <a:close/>
                    <a:moveTo>
                      <a:pt x="677313" y="23648"/>
                    </a:moveTo>
                    <a:cubicBezTo>
                      <a:pt x="677313" y="23648"/>
                      <a:pt x="677313" y="23648"/>
                      <a:pt x="932392" y="29340"/>
                    </a:cubicBezTo>
                    <a:cubicBezTo>
                      <a:pt x="931680" y="33609"/>
                      <a:pt x="930967" y="37879"/>
                      <a:pt x="930967" y="42148"/>
                    </a:cubicBezTo>
                    <a:cubicBezTo>
                      <a:pt x="930967" y="57802"/>
                      <a:pt x="936667" y="72745"/>
                      <a:pt x="945930" y="83418"/>
                    </a:cubicBezTo>
                    <a:cubicBezTo>
                      <a:pt x="945930" y="83418"/>
                      <a:pt x="945930" y="83418"/>
                      <a:pt x="616037" y="225726"/>
                    </a:cubicBezTo>
                    <a:cubicBezTo>
                      <a:pt x="616037" y="225726"/>
                      <a:pt x="616037" y="225726"/>
                      <a:pt x="909592" y="234265"/>
                    </a:cubicBezTo>
                    <a:cubicBezTo>
                      <a:pt x="906029" y="243515"/>
                      <a:pt x="903179" y="254188"/>
                      <a:pt x="903179" y="264861"/>
                    </a:cubicBezTo>
                    <a:cubicBezTo>
                      <a:pt x="903179" y="264861"/>
                      <a:pt x="903179" y="264861"/>
                      <a:pt x="608912" y="257034"/>
                    </a:cubicBezTo>
                    <a:cubicBezTo>
                      <a:pt x="611049" y="251342"/>
                      <a:pt x="611762" y="245649"/>
                      <a:pt x="611762" y="239957"/>
                    </a:cubicBezTo>
                    <a:cubicBezTo>
                      <a:pt x="611762" y="225015"/>
                      <a:pt x="606062" y="210784"/>
                      <a:pt x="597512" y="200111"/>
                    </a:cubicBezTo>
                    <a:cubicBezTo>
                      <a:pt x="597512" y="200111"/>
                      <a:pt x="597512" y="200111"/>
                      <a:pt x="920992" y="59937"/>
                    </a:cubicBezTo>
                    <a:lnTo>
                      <a:pt x="674463" y="54956"/>
                    </a:lnTo>
                    <a:cubicBezTo>
                      <a:pt x="676601" y="47840"/>
                      <a:pt x="678026" y="40013"/>
                      <a:pt x="678026" y="32186"/>
                    </a:cubicBezTo>
                    <a:cubicBezTo>
                      <a:pt x="678026" y="29340"/>
                      <a:pt x="678026" y="26494"/>
                      <a:pt x="677313" y="23648"/>
                    </a:cubicBezTo>
                    <a:close/>
                    <a:moveTo>
                      <a:pt x="995592" y="11037"/>
                    </a:moveTo>
                    <a:cubicBezTo>
                      <a:pt x="1013442" y="11037"/>
                      <a:pt x="1027912" y="25154"/>
                      <a:pt x="1027912" y="42568"/>
                    </a:cubicBezTo>
                    <a:cubicBezTo>
                      <a:pt x="1027912" y="59982"/>
                      <a:pt x="1013442" y="74099"/>
                      <a:pt x="995592" y="74099"/>
                    </a:cubicBezTo>
                    <a:cubicBezTo>
                      <a:pt x="977742" y="74099"/>
                      <a:pt x="963272" y="59982"/>
                      <a:pt x="963272" y="42568"/>
                    </a:cubicBezTo>
                    <a:cubicBezTo>
                      <a:pt x="963272" y="25154"/>
                      <a:pt x="977742" y="11037"/>
                      <a:pt x="995592" y="11037"/>
                    </a:cubicBezTo>
                    <a:close/>
                    <a:moveTo>
                      <a:pt x="614067" y="0"/>
                    </a:moveTo>
                    <a:cubicBezTo>
                      <a:pt x="631917" y="0"/>
                      <a:pt x="646387" y="14470"/>
                      <a:pt x="646387" y="32320"/>
                    </a:cubicBezTo>
                    <a:cubicBezTo>
                      <a:pt x="646387" y="50170"/>
                      <a:pt x="631917" y="64640"/>
                      <a:pt x="614067" y="64640"/>
                    </a:cubicBezTo>
                    <a:cubicBezTo>
                      <a:pt x="596217" y="64640"/>
                      <a:pt x="581747" y="50170"/>
                      <a:pt x="581747" y="32320"/>
                    </a:cubicBezTo>
                    <a:cubicBezTo>
                      <a:pt x="581747" y="14470"/>
                      <a:pt x="596217" y="0"/>
                      <a:pt x="61406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898FD10A-3E29-4748-A927-7180784FB5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210413" y="4729226"/>
              <a:ext cx="844780" cy="843965"/>
              <a:chOff x="5272881" y="2606675"/>
              <a:chExt cx="1646238" cy="1644650"/>
            </a:xfrm>
          </p:grpSpPr>
          <p:sp>
            <p:nvSpPr>
              <p:cNvPr id="63" name="AutoShape 3">
                <a:extLst>
                  <a:ext uri="{FF2B5EF4-FFF2-40B4-BE49-F238E27FC236}">
                    <a16:creationId xmlns:a16="http://schemas.microsoft.com/office/drawing/2014/main" id="{0ABC4786-6971-4CF2-9777-5BA02F72C28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1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171">
                <a:extLst>
                  <a:ext uri="{FF2B5EF4-FFF2-40B4-BE49-F238E27FC236}">
                    <a16:creationId xmlns:a16="http://schemas.microsoft.com/office/drawing/2014/main" id="{2044F93B-BC05-43A8-BE75-AAEEE4EB4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976" y="2776537"/>
                <a:ext cx="1369800" cy="1303338"/>
              </a:xfrm>
              <a:custGeom>
                <a:avLst/>
                <a:gdLst>
                  <a:gd name="connsiteX0" fmla="*/ 1103167 w 1369800"/>
                  <a:gd name="connsiteY0" fmla="*/ 1027113 h 1303338"/>
                  <a:gd name="connsiteX1" fmla="*/ 1061055 w 1369800"/>
                  <a:gd name="connsiteY1" fmla="*/ 1079144 h 1303338"/>
                  <a:gd name="connsiteX2" fmla="*/ 1294455 w 1369800"/>
                  <a:gd name="connsiteY2" fmla="*/ 1271588 h 1303338"/>
                  <a:gd name="connsiteX3" fmla="*/ 1320150 w 1369800"/>
                  <a:gd name="connsiteY3" fmla="*/ 1250918 h 1303338"/>
                  <a:gd name="connsiteX4" fmla="*/ 1320864 w 1369800"/>
                  <a:gd name="connsiteY4" fmla="*/ 1250205 h 1303338"/>
                  <a:gd name="connsiteX5" fmla="*/ 1321578 w 1369800"/>
                  <a:gd name="connsiteY5" fmla="*/ 1249493 h 1303338"/>
                  <a:gd name="connsiteX6" fmla="*/ 1337280 w 1369800"/>
                  <a:gd name="connsiteY6" fmla="*/ 1220270 h 1303338"/>
                  <a:gd name="connsiteX7" fmla="*/ 1103167 w 1369800"/>
                  <a:gd name="connsiteY7" fmla="*/ 1027113 h 1303338"/>
                  <a:gd name="connsiteX8" fmla="*/ 1099604 w 1369800"/>
                  <a:gd name="connsiteY8" fmla="*/ 988073 h 1303338"/>
                  <a:gd name="connsiteX9" fmla="*/ 1110985 w 1369800"/>
                  <a:gd name="connsiteY9" fmla="*/ 991559 h 1303338"/>
                  <a:gd name="connsiteX10" fmla="*/ 1361913 w 1369800"/>
                  <a:gd name="connsiteY10" fmla="*/ 1198220 h 1303338"/>
                  <a:gd name="connsiteX11" fmla="*/ 1346140 w 1369800"/>
                  <a:gd name="connsiteY11" fmla="*/ 1269729 h 1303338"/>
                  <a:gd name="connsiteX12" fmla="*/ 1293087 w 1369800"/>
                  <a:gd name="connsiteY12" fmla="*/ 1303338 h 1303338"/>
                  <a:gd name="connsiteX13" fmla="*/ 1278748 w 1369800"/>
                  <a:gd name="connsiteY13" fmla="*/ 1299048 h 1303338"/>
                  <a:gd name="connsiteX14" fmla="*/ 1028538 w 1369800"/>
                  <a:gd name="connsiteY14" fmla="*/ 1092387 h 1303338"/>
                  <a:gd name="connsiteX15" fmla="*/ 1026387 w 1369800"/>
                  <a:gd name="connsiteY15" fmla="*/ 1070219 h 1303338"/>
                  <a:gd name="connsiteX16" fmla="*/ 1088760 w 1369800"/>
                  <a:gd name="connsiteY16" fmla="*/ 993704 h 1303338"/>
                  <a:gd name="connsiteX17" fmla="*/ 1099604 w 1369800"/>
                  <a:gd name="connsiteY17" fmla="*/ 988073 h 1303338"/>
                  <a:gd name="connsiteX18" fmla="*/ 132391 w 1369800"/>
                  <a:gd name="connsiteY18" fmla="*/ 950912 h 1303338"/>
                  <a:gd name="connsiteX19" fmla="*/ 191621 w 1369800"/>
                  <a:gd name="connsiteY19" fmla="*/ 998775 h 1303338"/>
                  <a:gd name="connsiteX20" fmla="*/ 194476 w 1369800"/>
                  <a:gd name="connsiteY20" fmla="*/ 998775 h 1303338"/>
                  <a:gd name="connsiteX21" fmla="*/ 252993 w 1369800"/>
                  <a:gd name="connsiteY21" fmla="*/ 950912 h 1303338"/>
                  <a:gd name="connsiteX22" fmla="*/ 333632 w 1369800"/>
                  <a:gd name="connsiteY22" fmla="*/ 963771 h 1303338"/>
                  <a:gd name="connsiteX23" fmla="*/ 378590 w 1369800"/>
                  <a:gd name="connsiteY23" fmla="*/ 1029493 h 1303338"/>
                  <a:gd name="connsiteX24" fmla="*/ 374308 w 1369800"/>
                  <a:gd name="connsiteY24" fmla="*/ 1036637 h 1303338"/>
                  <a:gd name="connsiteX25" fmla="*/ 11076 w 1369800"/>
                  <a:gd name="connsiteY25" fmla="*/ 1036637 h 1303338"/>
                  <a:gd name="connsiteX26" fmla="*/ 6794 w 1369800"/>
                  <a:gd name="connsiteY26" fmla="*/ 1029493 h 1303338"/>
                  <a:gd name="connsiteX27" fmla="*/ 51752 w 1369800"/>
                  <a:gd name="connsiteY27" fmla="*/ 963771 h 1303338"/>
                  <a:gd name="connsiteX28" fmla="*/ 132391 w 1369800"/>
                  <a:gd name="connsiteY28" fmla="*/ 950912 h 1303338"/>
                  <a:gd name="connsiteX29" fmla="*/ 691518 w 1369800"/>
                  <a:gd name="connsiteY29" fmla="*/ 855662 h 1303338"/>
                  <a:gd name="connsiteX30" fmla="*/ 709707 w 1369800"/>
                  <a:gd name="connsiteY30" fmla="*/ 859965 h 1303338"/>
                  <a:gd name="connsiteX31" fmla="*/ 711106 w 1369800"/>
                  <a:gd name="connsiteY31" fmla="*/ 864985 h 1303338"/>
                  <a:gd name="connsiteX32" fmla="*/ 699213 w 1369800"/>
                  <a:gd name="connsiteY32" fmla="*/ 899409 h 1303338"/>
                  <a:gd name="connsiteX33" fmla="*/ 699213 w 1369800"/>
                  <a:gd name="connsiteY33" fmla="*/ 902278 h 1303338"/>
                  <a:gd name="connsiteX34" fmla="*/ 709707 w 1369800"/>
                  <a:gd name="connsiteY34" fmla="*/ 1014872 h 1303338"/>
                  <a:gd name="connsiteX35" fmla="*/ 706908 w 1369800"/>
                  <a:gd name="connsiteY35" fmla="*/ 1017741 h 1303338"/>
                  <a:gd name="connsiteX36" fmla="*/ 690818 w 1369800"/>
                  <a:gd name="connsiteY36" fmla="*/ 1019175 h 1303338"/>
                  <a:gd name="connsiteX37" fmla="*/ 674728 w 1369800"/>
                  <a:gd name="connsiteY37" fmla="*/ 1017741 h 1303338"/>
                  <a:gd name="connsiteX38" fmla="*/ 671929 w 1369800"/>
                  <a:gd name="connsiteY38" fmla="*/ 1014872 h 1303338"/>
                  <a:gd name="connsiteX39" fmla="*/ 683123 w 1369800"/>
                  <a:gd name="connsiteY39" fmla="*/ 900843 h 1303338"/>
                  <a:gd name="connsiteX40" fmla="*/ 683123 w 1369800"/>
                  <a:gd name="connsiteY40" fmla="*/ 899409 h 1303338"/>
                  <a:gd name="connsiteX41" fmla="*/ 670530 w 1369800"/>
                  <a:gd name="connsiteY41" fmla="*/ 864985 h 1303338"/>
                  <a:gd name="connsiteX42" fmla="*/ 671929 w 1369800"/>
                  <a:gd name="connsiteY42" fmla="*/ 859965 h 1303338"/>
                  <a:gd name="connsiteX43" fmla="*/ 691518 w 1369800"/>
                  <a:gd name="connsiteY43" fmla="*/ 855662 h 1303338"/>
                  <a:gd name="connsiteX44" fmla="*/ 92679 w 1369800"/>
                  <a:gd name="connsiteY44" fmla="*/ 836612 h 1303338"/>
                  <a:gd name="connsiteX45" fmla="*/ 103394 w 1369800"/>
                  <a:gd name="connsiteY45" fmla="*/ 841589 h 1303338"/>
                  <a:gd name="connsiteX46" fmla="*/ 113396 w 1369800"/>
                  <a:gd name="connsiteY46" fmla="*/ 853675 h 1303338"/>
                  <a:gd name="connsiteX47" fmla="*/ 115539 w 1369800"/>
                  <a:gd name="connsiteY47" fmla="*/ 855808 h 1303338"/>
                  <a:gd name="connsiteX48" fmla="*/ 144828 w 1369800"/>
                  <a:gd name="connsiteY48" fmla="*/ 917662 h 1303338"/>
                  <a:gd name="connsiteX49" fmla="*/ 192691 w 1369800"/>
                  <a:gd name="connsiteY49" fmla="*/ 941124 h 1303338"/>
                  <a:gd name="connsiteX50" fmla="*/ 239840 w 1369800"/>
                  <a:gd name="connsiteY50" fmla="*/ 917662 h 1303338"/>
                  <a:gd name="connsiteX51" fmla="*/ 270558 w 1369800"/>
                  <a:gd name="connsiteY51" fmla="*/ 855808 h 1303338"/>
                  <a:gd name="connsiteX52" fmla="*/ 272701 w 1369800"/>
                  <a:gd name="connsiteY52" fmla="*/ 853675 h 1303338"/>
                  <a:gd name="connsiteX53" fmla="*/ 281988 w 1369800"/>
                  <a:gd name="connsiteY53" fmla="*/ 841589 h 1303338"/>
                  <a:gd name="connsiteX54" fmla="*/ 292704 w 1369800"/>
                  <a:gd name="connsiteY54" fmla="*/ 836612 h 1303338"/>
                  <a:gd name="connsiteX55" fmla="*/ 292704 w 1369800"/>
                  <a:gd name="connsiteY55" fmla="*/ 837323 h 1303338"/>
                  <a:gd name="connsiteX56" fmla="*/ 278416 w 1369800"/>
                  <a:gd name="connsiteY56" fmla="*/ 860074 h 1303338"/>
                  <a:gd name="connsiteX57" fmla="*/ 247698 w 1369800"/>
                  <a:gd name="connsiteY57" fmla="*/ 922639 h 1303338"/>
                  <a:gd name="connsiteX58" fmla="*/ 247698 w 1369800"/>
                  <a:gd name="connsiteY58" fmla="*/ 942546 h 1303338"/>
                  <a:gd name="connsiteX59" fmla="*/ 246269 w 1369800"/>
                  <a:gd name="connsiteY59" fmla="*/ 944679 h 1303338"/>
                  <a:gd name="connsiteX60" fmla="*/ 238411 w 1369800"/>
                  <a:gd name="connsiteY60" fmla="*/ 952500 h 1303338"/>
                  <a:gd name="connsiteX61" fmla="*/ 238411 w 1369800"/>
                  <a:gd name="connsiteY61" fmla="*/ 929749 h 1303338"/>
                  <a:gd name="connsiteX62" fmla="*/ 192691 w 1369800"/>
                  <a:gd name="connsiteY62" fmla="*/ 950367 h 1303338"/>
                  <a:gd name="connsiteX63" fmla="*/ 146257 w 1369800"/>
                  <a:gd name="connsiteY63" fmla="*/ 929749 h 1303338"/>
                  <a:gd name="connsiteX64" fmla="*/ 146257 w 1369800"/>
                  <a:gd name="connsiteY64" fmla="*/ 952500 h 1303338"/>
                  <a:gd name="connsiteX65" fmla="*/ 138399 w 1369800"/>
                  <a:gd name="connsiteY65" fmla="*/ 944679 h 1303338"/>
                  <a:gd name="connsiteX66" fmla="*/ 136970 w 1369800"/>
                  <a:gd name="connsiteY66" fmla="*/ 942546 h 1303338"/>
                  <a:gd name="connsiteX67" fmla="*/ 136970 w 1369800"/>
                  <a:gd name="connsiteY67" fmla="*/ 922639 h 1303338"/>
                  <a:gd name="connsiteX68" fmla="*/ 107681 w 1369800"/>
                  <a:gd name="connsiteY68" fmla="*/ 860074 h 1303338"/>
                  <a:gd name="connsiteX69" fmla="*/ 92679 w 1369800"/>
                  <a:gd name="connsiteY69" fmla="*/ 837323 h 1303338"/>
                  <a:gd name="connsiteX70" fmla="*/ 92679 w 1369800"/>
                  <a:gd name="connsiteY70" fmla="*/ 836612 h 1303338"/>
                  <a:gd name="connsiteX71" fmla="*/ 192693 w 1369800"/>
                  <a:gd name="connsiteY71" fmla="*/ 687387 h 1303338"/>
                  <a:gd name="connsiteX72" fmla="*/ 291118 w 1369800"/>
                  <a:gd name="connsiteY72" fmla="*/ 786632 h 1303338"/>
                  <a:gd name="connsiteX73" fmla="*/ 285412 w 1369800"/>
                  <a:gd name="connsiteY73" fmla="*/ 827330 h 1303338"/>
                  <a:gd name="connsiteX74" fmla="*/ 247611 w 1369800"/>
                  <a:gd name="connsiteY74" fmla="*/ 767355 h 1303338"/>
                  <a:gd name="connsiteX75" fmla="*/ 246185 w 1369800"/>
                  <a:gd name="connsiteY75" fmla="*/ 767355 h 1303338"/>
                  <a:gd name="connsiteX76" fmla="*/ 117091 w 1369800"/>
                  <a:gd name="connsiteY76" fmla="*/ 835898 h 1303338"/>
                  <a:gd name="connsiteX77" fmla="*/ 116378 w 1369800"/>
                  <a:gd name="connsiteY77" fmla="*/ 835898 h 1303338"/>
                  <a:gd name="connsiteX78" fmla="*/ 109959 w 1369800"/>
                  <a:gd name="connsiteY78" fmla="*/ 835898 h 1303338"/>
                  <a:gd name="connsiteX79" fmla="*/ 108532 w 1369800"/>
                  <a:gd name="connsiteY79" fmla="*/ 835184 h 1303338"/>
                  <a:gd name="connsiteX80" fmla="*/ 97834 w 1369800"/>
                  <a:gd name="connsiteY80" fmla="*/ 820190 h 1303338"/>
                  <a:gd name="connsiteX81" fmla="*/ 94268 w 1369800"/>
                  <a:gd name="connsiteY81" fmla="*/ 786632 h 1303338"/>
                  <a:gd name="connsiteX82" fmla="*/ 192693 w 1369800"/>
                  <a:gd name="connsiteY82" fmla="*/ 687387 h 1303338"/>
                  <a:gd name="connsiteX83" fmla="*/ 554642 w 1369800"/>
                  <a:gd name="connsiteY83" fmla="*/ 674687 h 1303338"/>
                  <a:gd name="connsiteX84" fmla="*/ 568975 w 1369800"/>
                  <a:gd name="connsiteY84" fmla="*/ 681838 h 1303338"/>
                  <a:gd name="connsiteX85" fmla="*/ 583308 w 1369800"/>
                  <a:gd name="connsiteY85" fmla="*/ 697570 h 1303338"/>
                  <a:gd name="connsiteX86" fmla="*/ 586175 w 1369800"/>
                  <a:gd name="connsiteY86" fmla="*/ 700430 h 1303338"/>
                  <a:gd name="connsiteX87" fmla="*/ 627025 w 1369800"/>
                  <a:gd name="connsiteY87" fmla="*/ 784811 h 1303338"/>
                  <a:gd name="connsiteX88" fmla="*/ 691525 w 1369800"/>
                  <a:gd name="connsiteY88" fmla="*/ 816990 h 1303338"/>
                  <a:gd name="connsiteX89" fmla="*/ 756742 w 1369800"/>
                  <a:gd name="connsiteY89" fmla="*/ 784811 h 1303338"/>
                  <a:gd name="connsiteX90" fmla="*/ 797592 w 1369800"/>
                  <a:gd name="connsiteY90" fmla="*/ 700430 h 1303338"/>
                  <a:gd name="connsiteX91" fmla="*/ 800458 w 1369800"/>
                  <a:gd name="connsiteY91" fmla="*/ 697570 h 1303338"/>
                  <a:gd name="connsiteX92" fmla="*/ 814075 w 1369800"/>
                  <a:gd name="connsiteY92" fmla="*/ 681838 h 1303338"/>
                  <a:gd name="connsiteX93" fmla="*/ 827692 w 1369800"/>
                  <a:gd name="connsiteY93" fmla="*/ 674687 h 1303338"/>
                  <a:gd name="connsiteX94" fmla="*/ 827692 w 1369800"/>
                  <a:gd name="connsiteY94" fmla="*/ 675402 h 1303338"/>
                  <a:gd name="connsiteX95" fmla="*/ 808342 w 1369800"/>
                  <a:gd name="connsiteY95" fmla="*/ 706866 h 1303338"/>
                  <a:gd name="connsiteX96" fmla="*/ 767492 w 1369800"/>
                  <a:gd name="connsiteY96" fmla="*/ 791962 h 1303338"/>
                  <a:gd name="connsiteX97" fmla="*/ 767492 w 1369800"/>
                  <a:gd name="connsiteY97" fmla="*/ 819135 h 1303338"/>
                  <a:gd name="connsiteX98" fmla="*/ 765342 w 1369800"/>
                  <a:gd name="connsiteY98" fmla="*/ 821995 h 1303338"/>
                  <a:gd name="connsiteX99" fmla="*/ 754592 w 1369800"/>
                  <a:gd name="connsiteY99" fmla="*/ 833437 h 1303338"/>
                  <a:gd name="connsiteX100" fmla="*/ 754592 w 1369800"/>
                  <a:gd name="connsiteY100" fmla="*/ 802688 h 1303338"/>
                  <a:gd name="connsiteX101" fmla="*/ 691525 w 1369800"/>
                  <a:gd name="connsiteY101" fmla="*/ 829861 h 1303338"/>
                  <a:gd name="connsiteX102" fmla="*/ 629175 w 1369800"/>
                  <a:gd name="connsiteY102" fmla="*/ 802688 h 1303338"/>
                  <a:gd name="connsiteX103" fmla="*/ 629175 w 1369800"/>
                  <a:gd name="connsiteY103" fmla="*/ 833437 h 1303338"/>
                  <a:gd name="connsiteX104" fmla="*/ 618425 w 1369800"/>
                  <a:gd name="connsiteY104" fmla="*/ 821995 h 1303338"/>
                  <a:gd name="connsiteX105" fmla="*/ 616275 w 1369800"/>
                  <a:gd name="connsiteY105" fmla="*/ 819135 h 1303338"/>
                  <a:gd name="connsiteX106" fmla="*/ 616275 w 1369800"/>
                  <a:gd name="connsiteY106" fmla="*/ 791962 h 1303338"/>
                  <a:gd name="connsiteX107" fmla="*/ 574708 w 1369800"/>
                  <a:gd name="connsiteY107" fmla="*/ 706866 h 1303338"/>
                  <a:gd name="connsiteX108" fmla="*/ 554642 w 1369800"/>
                  <a:gd name="connsiteY108" fmla="*/ 676117 h 1303338"/>
                  <a:gd name="connsiteX109" fmla="*/ 554642 w 1369800"/>
                  <a:gd name="connsiteY109" fmla="*/ 674687 h 1303338"/>
                  <a:gd name="connsiteX110" fmla="*/ 1105315 w 1369800"/>
                  <a:gd name="connsiteY110" fmla="*/ 476250 h 1303338"/>
                  <a:gd name="connsiteX111" fmla="*/ 1178454 w 1369800"/>
                  <a:gd name="connsiteY111" fmla="*/ 510102 h 1303338"/>
                  <a:gd name="connsiteX112" fmla="*/ 1248724 w 1369800"/>
                  <a:gd name="connsiteY112" fmla="*/ 476250 h 1303338"/>
                  <a:gd name="connsiteX113" fmla="*/ 1348393 w 1369800"/>
                  <a:gd name="connsiteY113" fmla="*/ 546836 h 1303338"/>
                  <a:gd name="connsiteX114" fmla="*/ 1348393 w 1369800"/>
                  <a:gd name="connsiteY114" fmla="*/ 548276 h 1303338"/>
                  <a:gd name="connsiteX115" fmla="*/ 1343374 w 1369800"/>
                  <a:gd name="connsiteY115" fmla="*/ 554038 h 1303338"/>
                  <a:gd name="connsiteX116" fmla="*/ 1012817 w 1369800"/>
                  <a:gd name="connsiteY116" fmla="*/ 554038 h 1303338"/>
                  <a:gd name="connsiteX117" fmla="*/ 1007797 w 1369800"/>
                  <a:gd name="connsiteY117" fmla="*/ 548276 h 1303338"/>
                  <a:gd name="connsiteX118" fmla="*/ 1008514 w 1369800"/>
                  <a:gd name="connsiteY118" fmla="*/ 543234 h 1303338"/>
                  <a:gd name="connsiteX119" fmla="*/ 1105315 w 1369800"/>
                  <a:gd name="connsiteY119" fmla="*/ 476250 h 1303338"/>
                  <a:gd name="connsiteX120" fmla="*/ 690450 w 1369800"/>
                  <a:gd name="connsiteY120" fmla="*/ 468312 h 1303338"/>
                  <a:gd name="connsiteX121" fmla="*/ 825387 w 1369800"/>
                  <a:gd name="connsiteY121" fmla="*/ 607562 h 1303338"/>
                  <a:gd name="connsiteX122" fmla="*/ 820363 w 1369800"/>
                  <a:gd name="connsiteY122" fmla="*/ 653978 h 1303338"/>
                  <a:gd name="connsiteX123" fmla="*/ 806008 w 1369800"/>
                  <a:gd name="connsiteY123" fmla="*/ 674687 h 1303338"/>
                  <a:gd name="connsiteX124" fmla="*/ 795960 w 1369800"/>
                  <a:gd name="connsiteY124" fmla="*/ 674687 h 1303338"/>
                  <a:gd name="connsiteX125" fmla="*/ 794524 w 1369800"/>
                  <a:gd name="connsiteY125" fmla="*/ 573285 h 1303338"/>
                  <a:gd name="connsiteX126" fmla="*/ 617239 w 1369800"/>
                  <a:gd name="connsiteY126" fmla="*/ 578998 h 1303338"/>
                  <a:gd name="connsiteX127" fmla="*/ 584223 w 1369800"/>
                  <a:gd name="connsiteY127" fmla="*/ 673259 h 1303338"/>
                  <a:gd name="connsiteX128" fmla="*/ 574892 w 1369800"/>
                  <a:gd name="connsiteY128" fmla="*/ 671831 h 1303338"/>
                  <a:gd name="connsiteX129" fmla="*/ 561254 w 1369800"/>
                  <a:gd name="connsiteY129" fmla="*/ 655406 h 1303338"/>
                  <a:gd name="connsiteX130" fmla="*/ 556948 w 1369800"/>
                  <a:gd name="connsiteY130" fmla="*/ 607562 h 1303338"/>
                  <a:gd name="connsiteX131" fmla="*/ 690450 w 1369800"/>
                  <a:gd name="connsiteY131" fmla="*/ 468312 h 1303338"/>
                  <a:gd name="connsiteX132" fmla="*/ 128400 w 1369800"/>
                  <a:gd name="connsiteY132" fmla="*/ 468312 h 1303338"/>
                  <a:gd name="connsiteX133" fmla="*/ 163427 w 1369800"/>
                  <a:gd name="connsiteY133" fmla="*/ 492601 h 1303338"/>
                  <a:gd name="connsiteX134" fmla="*/ 189875 w 1369800"/>
                  <a:gd name="connsiteY134" fmla="*/ 497602 h 1303338"/>
                  <a:gd name="connsiteX135" fmla="*/ 215609 w 1369800"/>
                  <a:gd name="connsiteY135" fmla="*/ 492601 h 1303338"/>
                  <a:gd name="connsiteX136" fmla="*/ 251350 w 1369800"/>
                  <a:gd name="connsiteY136" fmla="*/ 468312 h 1303338"/>
                  <a:gd name="connsiteX137" fmla="*/ 332840 w 1369800"/>
                  <a:gd name="connsiteY137" fmla="*/ 481885 h 1303338"/>
                  <a:gd name="connsiteX138" fmla="*/ 379303 w 1369800"/>
                  <a:gd name="connsiteY138" fmla="*/ 548322 h 1303338"/>
                  <a:gd name="connsiteX139" fmla="*/ 375014 w 1369800"/>
                  <a:gd name="connsiteY139" fmla="*/ 554037 h 1303338"/>
                  <a:gd name="connsiteX140" fmla="*/ 4736 w 1369800"/>
                  <a:gd name="connsiteY140" fmla="*/ 554037 h 1303338"/>
                  <a:gd name="connsiteX141" fmla="*/ 447 w 1369800"/>
                  <a:gd name="connsiteY141" fmla="*/ 548322 h 1303338"/>
                  <a:gd name="connsiteX142" fmla="*/ 46196 w 1369800"/>
                  <a:gd name="connsiteY142" fmla="*/ 481885 h 1303338"/>
                  <a:gd name="connsiteX143" fmla="*/ 128400 w 1369800"/>
                  <a:gd name="connsiteY143" fmla="*/ 468312 h 1303338"/>
                  <a:gd name="connsiteX144" fmla="*/ 689222 w 1369800"/>
                  <a:gd name="connsiteY144" fmla="*/ 441325 h 1303338"/>
                  <a:gd name="connsiteX145" fmla="*/ 394304 w 1369800"/>
                  <a:gd name="connsiteY145" fmla="*/ 735807 h 1303338"/>
                  <a:gd name="connsiteX146" fmla="*/ 447861 w 1369800"/>
                  <a:gd name="connsiteY146" fmla="*/ 905508 h 1303338"/>
                  <a:gd name="connsiteX147" fmla="*/ 448575 w 1369800"/>
                  <a:gd name="connsiteY147" fmla="*/ 904795 h 1303338"/>
                  <a:gd name="connsiteX148" fmla="*/ 497133 w 1369800"/>
                  <a:gd name="connsiteY148" fmla="*/ 847039 h 1303338"/>
                  <a:gd name="connsiteX149" fmla="*/ 605674 w 1369800"/>
                  <a:gd name="connsiteY149" fmla="*/ 829927 h 1303338"/>
                  <a:gd name="connsiteX150" fmla="*/ 607102 w 1369800"/>
                  <a:gd name="connsiteY150" fmla="*/ 832066 h 1303338"/>
                  <a:gd name="connsiteX151" fmla="*/ 662087 w 1369800"/>
                  <a:gd name="connsiteY151" fmla="*/ 1016028 h 1303338"/>
                  <a:gd name="connsiteX152" fmla="*/ 664229 w 1369800"/>
                  <a:gd name="connsiteY152" fmla="*/ 1023871 h 1303338"/>
                  <a:gd name="connsiteX153" fmla="*/ 670656 w 1369800"/>
                  <a:gd name="connsiteY153" fmla="*/ 1028862 h 1303338"/>
                  <a:gd name="connsiteX154" fmla="*/ 678511 w 1369800"/>
                  <a:gd name="connsiteY154" fmla="*/ 1029575 h 1303338"/>
                  <a:gd name="connsiteX155" fmla="*/ 700648 w 1369800"/>
                  <a:gd name="connsiteY155" fmla="*/ 1029575 h 1303338"/>
                  <a:gd name="connsiteX156" fmla="*/ 708503 w 1369800"/>
                  <a:gd name="connsiteY156" fmla="*/ 1028862 h 1303338"/>
                  <a:gd name="connsiteX157" fmla="*/ 714929 w 1369800"/>
                  <a:gd name="connsiteY157" fmla="*/ 1023871 h 1303338"/>
                  <a:gd name="connsiteX158" fmla="*/ 719214 w 1369800"/>
                  <a:gd name="connsiteY158" fmla="*/ 1010323 h 1303338"/>
                  <a:gd name="connsiteX159" fmla="*/ 772770 w 1369800"/>
                  <a:gd name="connsiteY159" fmla="*/ 832066 h 1303338"/>
                  <a:gd name="connsiteX160" fmla="*/ 775627 w 1369800"/>
                  <a:gd name="connsiteY160" fmla="*/ 829927 h 1303338"/>
                  <a:gd name="connsiteX161" fmla="*/ 883454 w 1369800"/>
                  <a:gd name="connsiteY161" fmla="*/ 847039 h 1303338"/>
                  <a:gd name="connsiteX162" fmla="*/ 912731 w 1369800"/>
                  <a:gd name="connsiteY162" fmla="*/ 871995 h 1303338"/>
                  <a:gd name="connsiteX163" fmla="*/ 932012 w 1369800"/>
                  <a:gd name="connsiteY163" fmla="*/ 903369 h 1303338"/>
                  <a:gd name="connsiteX164" fmla="*/ 934154 w 1369800"/>
                  <a:gd name="connsiteY164" fmla="*/ 901230 h 1303338"/>
                  <a:gd name="connsiteX165" fmla="*/ 984854 w 1369800"/>
                  <a:gd name="connsiteY165" fmla="*/ 735807 h 1303338"/>
                  <a:gd name="connsiteX166" fmla="*/ 689222 w 1369800"/>
                  <a:gd name="connsiteY166" fmla="*/ 441325 h 1303338"/>
                  <a:gd name="connsiteX167" fmla="*/ 720134 w 1369800"/>
                  <a:gd name="connsiteY167" fmla="*/ 410928 h 1303338"/>
                  <a:gd name="connsiteX168" fmla="*/ 897261 w 1369800"/>
                  <a:gd name="connsiteY168" fmla="*/ 483828 h 1303338"/>
                  <a:gd name="connsiteX169" fmla="*/ 975825 w 1369800"/>
                  <a:gd name="connsiteY169" fmla="*/ 891924 h 1303338"/>
                  <a:gd name="connsiteX170" fmla="*/ 1061532 w 1369800"/>
                  <a:gd name="connsiteY170" fmla="*/ 962680 h 1303338"/>
                  <a:gd name="connsiteX171" fmla="*/ 1062960 w 1369800"/>
                  <a:gd name="connsiteY171" fmla="*/ 975545 h 1303338"/>
                  <a:gd name="connsiteX172" fmla="*/ 1001537 w 1369800"/>
                  <a:gd name="connsiteY172" fmla="*/ 1050589 h 1303338"/>
                  <a:gd name="connsiteX173" fmla="*/ 988681 w 1369800"/>
                  <a:gd name="connsiteY173" fmla="*/ 1052018 h 1303338"/>
                  <a:gd name="connsiteX174" fmla="*/ 904403 w 1369800"/>
                  <a:gd name="connsiteY174" fmla="*/ 981977 h 1303338"/>
                  <a:gd name="connsiteX175" fmla="*/ 484440 w 1369800"/>
                  <a:gd name="connsiteY175" fmla="*/ 988409 h 1303338"/>
                  <a:gd name="connsiteX176" fmla="*/ 438016 w 1369800"/>
                  <a:gd name="connsiteY176" fmla="*/ 529569 h 1303338"/>
                  <a:gd name="connsiteX177" fmla="*/ 720134 w 1369800"/>
                  <a:gd name="connsiteY177" fmla="*/ 410928 h 1303338"/>
                  <a:gd name="connsiteX178" fmla="*/ 89504 w 1369800"/>
                  <a:gd name="connsiteY178" fmla="*/ 352425 h 1303338"/>
                  <a:gd name="connsiteX179" fmla="*/ 100228 w 1369800"/>
                  <a:gd name="connsiteY179" fmla="*/ 356723 h 1303338"/>
                  <a:gd name="connsiteX180" fmla="*/ 109522 w 1369800"/>
                  <a:gd name="connsiteY180" fmla="*/ 368184 h 1303338"/>
                  <a:gd name="connsiteX181" fmla="*/ 111667 w 1369800"/>
                  <a:gd name="connsiteY181" fmla="*/ 370333 h 1303338"/>
                  <a:gd name="connsiteX182" fmla="*/ 143124 w 1369800"/>
                  <a:gd name="connsiteY182" fmla="*/ 434084 h 1303338"/>
                  <a:gd name="connsiteX183" fmla="*/ 190310 w 1369800"/>
                  <a:gd name="connsiteY183" fmla="*/ 457723 h 1303338"/>
                  <a:gd name="connsiteX184" fmla="*/ 238211 w 1369800"/>
                  <a:gd name="connsiteY184" fmla="*/ 434084 h 1303338"/>
                  <a:gd name="connsiteX185" fmla="*/ 268954 w 1369800"/>
                  <a:gd name="connsiteY185" fmla="*/ 370333 h 1303338"/>
                  <a:gd name="connsiteX186" fmla="*/ 271098 w 1369800"/>
                  <a:gd name="connsiteY186" fmla="*/ 368184 h 1303338"/>
                  <a:gd name="connsiteX187" fmla="*/ 279678 w 1369800"/>
                  <a:gd name="connsiteY187" fmla="*/ 356723 h 1303338"/>
                  <a:gd name="connsiteX188" fmla="*/ 291117 w 1369800"/>
                  <a:gd name="connsiteY188" fmla="*/ 352425 h 1303338"/>
                  <a:gd name="connsiteX189" fmla="*/ 290402 w 1369800"/>
                  <a:gd name="connsiteY189" fmla="*/ 353141 h 1303338"/>
                  <a:gd name="connsiteX190" fmla="*/ 276818 w 1369800"/>
                  <a:gd name="connsiteY190" fmla="*/ 376063 h 1303338"/>
                  <a:gd name="connsiteX191" fmla="*/ 246790 w 1369800"/>
                  <a:gd name="connsiteY191" fmla="*/ 439098 h 1303338"/>
                  <a:gd name="connsiteX192" fmla="*/ 246790 w 1369800"/>
                  <a:gd name="connsiteY192" fmla="*/ 459155 h 1303338"/>
                  <a:gd name="connsiteX193" fmla="*/ 244646 w 1369800"/>
                  <a:gd name="connsiteY193" fmla="*/ 461304 h 1303338"/>
                  <a:gd name="connsiteX194" fmla="*/ 236781 w 1369800"/>
                  <a:gd name="connsiteY194" fmla="*/ 469900 h 1303338"/>
                  <a:gd name="connsiteX195" fmla="*/ 236781 w 1369800"/>
                  <a:gd name="connsiteY195" fmla="*/ 446262 h 1303338"/>
                  <a:gd name="connsiteX196" fmla="*/ 190310 w 1369800"/>
                  <a:gd name="connsiteY196" fmla="*/ 467035 h 1303338"/>
                  <a:gd name="connsiteX197" fmla="*/ 143839 w 1369800"/>
                  <a:gd name="connsiteY197" fmla="*/ 446262 h 1303338"/>
                  <a:gd name="connsiteX198" fmla="*/ 143839 w 1369800"/>
                  <a:gd name="connsiteY198" fmla="*/ 469900 h 1303338"/>
                  <a:gd name="connsiteX199" fmla="*/ 135975 w 1369800"/>
                  <a:gd name="connsiteY199" fmla="*/ 461304 h 1303338"/>
                  <a:gd name="connsiteX200" fmla="*/ 134545 w 1369800"/>
                  <a:gd name="connsiteY200" fmla="*/ 459155 h 1303338"/>
                  <a:gd name="connsiteX201" fmla="*/ 134545 w 1369800"/>
                  <a:gd name="connsiteY201" fmla="*/ 439098 h 1303338"/>
                  <a:gd name="connsiteX202" fmla="*/ 104517 w 1369800"/>
                  <a:gd name="connsiteY202" fmla="*/ 376063 h 1303338"/>
                  <a:gd name="connsiteX203" fmla="*/ 89504 w 1369800"/>
                  <a:gd name="connsiteY203" fmla="*/ 353141 h 1303338"/>
                  <a:gd name="connsiteX204" fmla="*/ 89504 w 1369800"/>
                  <a:gd name="connsiteY204" fmla="*/ 352425 h 1303338"/>
                  <a:gd name="connsiteX205" fmla="*/ 1277828 w 1369800"/>
                  <a:gd name="connsiteY205" fmla="*/ 347662 h 1303338"/>
                  <a:gd name="connsiteX206" fmla="*/ 1277828 w 1369800"/>
                  <a:gd name="connsiteY206" fmla="*/ 349095 h 1303338"/>
                  <a:gd name="connsiteX207" fmla="*/ 1263540 w 1369800"/>
                  <a:gd name="connsiteY207" fmla="*/ 374885 h 1303338"/>
                  <a:gd name="connsiteX208" fmla="*/ 1234965 w 1369800"/>
                  <a:gd name="connsiteY208" fmla="*/ 438646 h 1303338"/>
                  <a:gd name="connsiteX209" fmla="*/ 1234965 w 1369800"/>
                  <a:gd name="connsiteY209" fmla="*/ 478049 h 1303338"/>
                  <a:gd name="connsiteX210" fmla="*/ 1224250 w 1369800"/>
                  <a:gd name="connsiteY210" fmla="*/ 487362 h 1303338"/>
                  <a:gd name="connsiteX211" fmla="*/ 1224250 w 1369800"/>
                  <a:gd name="connsiteY211" fmla="*/ 447959 h 1303338"/>
                  <a:gd name="connsiteX212" fmla="*/ 1177815 w 1369800"/>
                  <a:gd name="connsiteY212" fmla="*/ 470168 h 1303338"/>
                  <a:gd name="connsiteX213" fmla="*/ 1132095 w 1369800"/>
                  <a:gd name="connsiteY213" fmla="*/ 448676 h 1303338"/>
                  <a:gd name="connsiteX214" fmla="*/ 1132095 w 1369800"/>
                  <a:gd name="connsiteY214" fmla="*/ 487362 h 1303338"/>
                  <a:gd name="connsiteX215" fmla="*/ 1121380 w 1369800"/>
                  <a:gd name="connsiteY215" fmla="*/ 478765 h 1303338"/>
                  <a:gd name="connsiteX216" fmla="*/ 1121380 w 1369800"/>
                  <a:gd name="connsiteY216" fmla="*/ 438646 h 1303338"/>
                  <a:gd name="connsiteX217" fmla="*/ 1093519 w 1369800"/>
                  <a:gd name="connsiteY217" fmla="*/ 374885 h 1303338"/>
                  <a:gd name="connsiteX218" fmla="*/ 1078517 w 1369800"/>
                  <a:gd name="connsiteY218" fmla="*/ 349811 h 1303338"/>
                  <a:gd name="connsiteX219" fmla="*/ 1078517 w 1369800"/>
                  <a:gd name="connsiteY219" fmla="*/ 349095 h 1303338"/>
                  <a:gd name="connsiteX220" fmla="*/ 1090662 w 1369800"/>
                  <a:gd name="connsiteY220" fmla="*/ 354826 h 1303338"/>
                  <a:gd name="connsiteX221" fmla="*/ 1100663 w 1369800"/>
                  <a:gd name="connsiteY221" fmla="*/ 366289 h 1303338"/>
                  <a:gd name="connsiteX222" fmla="*/ 1102092 w 1369800"/>
                  <a:gd name="connsiteY222" fmla="*/ 369154 h 1303338"/>
                  <a:gd name="connsiteX223" fmla="*/ 1130667 w 1369800"/>
                  <a:gd name="connsiteY223" fmla="*/ 433631 h 1303338"/>
                  <a:gd name="connsiteX224" fmla="*/ 1177815 w 1369800"/>
                  <a:gd name="connsiteY224" fmla="*/ 459422 h 1303338"/>
                  <a:gd name="connsiteX225" fmla="*/ 1225678 w 1369800"/>
                  <a:gd name="connsiteY225" fmla="*/ 433631 h 1303338"/>
                  <a:gd name="connsiteX226" fmla="*/ 1254253 w 1369800"/>
                  <a:gd name="connsiteY226" fmla="*/ 369154 h 1303338"/>
                  <a:gd name="connsiteX227" fmla="*/ 1256397 w 1369800"/>
                  <a:gd name="connsiteY227" fmla="*/ 366289 h 1303338"/>
                  <a:gd name="connsiteX228" fmla="*/ 1266398 w 1369800"/>
                  <a:gd name="connsiteY228" fmla="*/ 353393 h 1303338"/>
                  <a:gd name="connsiteX229" fmla="*/ 1277828 w 1369800"/>
                  <a:gd name="connsiteY229" fmla="*/ 347662 h 1303338"/>
                  <a:gd name="connsiteX230" fmla="*/ 610174 w 1369800"/>
                  <a:gd name="connsiteY230" fmla="*/ 263525 h 1303338"/>
                  <a:gd name="connsiteX231" fmla="*/ 668665 w 1369800"/>
                  <a:gd name="connsiteY231" fmla="*/ 312102 h 1303338"/>
                  <a:gd name="connsiteX232" fmla="*/ 671519 w 1369800"/>
                  <a:gd name="connsiteY232" fmla="*/ 312102 h 1303338"/>
                  <a:gd name="connsiteX233" fmla="*/ 730724 w 1369800"/>
                  <a:gd name="connsiteY233" fmla="*/ 263525 h 1303338"/>
                  <a:gd name="connsiteX234" fmla="*/ 810615 w 1369800"/>
                  <a:gd name="connsiteY234" fmla="*/ 277812 h 1303338"/>
                  <a:gd name="connsiteX235" fmla="*/ 855553 w 1369800"/>
                  <a:gd name="connsiteY235" fmla="*/ 343535 h 1303338"/>
                  <a:gd name="connsiteX236" fmla="*/ 851274 w 1369800"/>
                  <a:gd name="connsiteY236" fmla="*/ 349250 h 1303338"/>
                  <a:gd name="connsiteX237" fmla="*/ 488910 w 1369800"/>
                  <a:gd name="connsiteY237" fmla="*/ 349250 h 1303338"/>
                  <a:gd name="connsiteX238" fmla="*/ 484630 w 1369800"/>
                  <a:gd name="connsiteY238" fmla="*/ 343535 h 1303338"/>
                  <a:gd name="connsiteX239" fmla="*/ 529569 w 1369800"/>
                  <a:gd name="connsiteY239" fmla="*/ 277812 h 1303338"/>
                  <a:gd name="connsiteX240" fmla="*/ 610174 w 1369800"/>
                  <a:gd name="connsiteY240" fmla="*/ 263525 h 1303338"/>
                  <a:gd name="connsiteX241" fmla="*/ 1176585 w 1369800"/>
                  <a:gd name="connsiteY241" fmla="*/ 200025 h 1303338"/>
                  <a:gd name="connsiteX242" fmla="*/ 1280129 w 1369800"/>
                  <a:gd name="connsiteY242" fmla="*/ 297287 h 1303338"/>
                  <a:gd name="connsiteX243" fmla="*/ 1276559 w 1369800"/>
                  <a:gd name="connsiteY243" fmla="*/ 329469 h 1303338"/>
                  <a:gd name="connsiteX244" fmla="*/ 1265847 w 1369800"/>
                  <a:gd name="connsiteY244" fmla="*/ 343773 h 1303338"/>
                  <a:gd name="connsiteX245" fmla="*/ 1264419 w 1369800"/>
                  <a:gd name="connsiteY245" fmla="*/ 344488 h 1303338"/>
                  <a:gd name="connsiteX246" fmla="*/ 1259420 w 1369800"/>
                  <a:gd name="connsiteY246" fmla="*/ 344488 h 1303338"/>
                  <a:gd name="connsiteX247" fmla="*/ 1257992 w 1369800"/>
                  <a:gd name="connsiteY247" fmla="*/ 342342 h 1303338"/>
                  <a:gd name="connsiteX248" fmla="*/ 1256564 w 1369800"/>
                  <a:gd name="connsiteY248" fmla="*/ 277263 h 1303338"/>
                  <a:gd name="connsiteX249" fmla="*/ 1252993 w 1369800"/>
                  <a:gd name="connsiteY249" fmla="*/ 275832 h 1303338"/>
                  <a:gd name="connsiteX250" fmla="*/ 1202292 w 1369800"/>
                  <a:gd name="connsiteY250" fmla="*/ 282984 h 1303338"/>
                  <a:gd name="connsiteX251" fmla="*/ 1160160 w 1369800"/>
                  <a:gd name="connsiteY251" fmla="*/ 287990 h 1303338"/>
                  <a:gd name="connsiteX252" fmla="*/ 1158018 w 1369800"/>
                  <a:gd name="connsiteY252" fmla="*/ 285129 h 1303338"/>
                  <a:gd name="connsiteX253" fmla="*/ 1163017 w 1369800"/>
                  <a:gd name="connsiteY253" fmla="*/ 275832 h 1303338"/>
                  <a:gd name="connsiteX254" fmla="*/ 1160160 w 1369800"/>
                  <a:gd name="connsiteY254" fmla="*/ 272972 h 1303338"/>
                  <a:gd name="connsiteX255" fmla="*/ 1120885 w 1369800"/>
                  <a:gd name="connsiteY255" fmla="*/ 295857 h 1303338"/>
                  <a:gd name="connsiteX256" fmla="*/ 1118028 w 1369800"/>
                  <a:gd name="connsiteY256" fmla="*/ 294426 h 1303338"/>
                  <a:gd name="connsiteX257" fmla="*/ 1120171 w 1369800"/>
                  <a:gd name="connsiteY257" fmla="*/ 280123 h 1303338"/>
                  <a:gd name="connsiteX258" fmla="*/ 1117314 w 1369800"/>
                  <a:gd name="connsiteY258" fmla="*/ 278693 h 1303338"/>
                  <a:gd name="connsiteX259" fmla="*/ 1094463 w 1369800"/>
                  <a:gd name="connsiteY259" fmla="*/ 340912 h 1303338"/>
                  <a:gd name="connsiteX260" fmla="*/ 1092321 w 1369800"/>
                  <a:gd name="connsiteY260" fmla="*/ 343058 h 1303338"/>
                  <a:gd name="connsiteX261" fmla="*/ 1089464 w 1369800"/>
                  <a:gd name="connsiteY261" fmla="*/ 342342 h 1303338"/>
                  <a:gd name="connsiteX262" fmla="*/ 1087322 w 1369800"/>
                  <a:gd name="connsiteY262" fmla="*/ 341627 h 1303338"/>
                  <a:gd name="connsiteX263" fmla="*/ 1078039 w 1369800"/>
                  <a:gd name="connsiteY263" fmla="*/ 330185 h 1303338"/>
                  <a:gd name="connsiteX264" fmla="*/ 1073754 w 1369800"/>
                  <a:gd name="connsiteY264" fmla="*/ 297287 h 1303338"/>
                  <a:gd name="connsiteX265" fmla="*/ 1176585 w 1369800"/>
                  <a:gd name="connsiteY265" fmla="*/ 200025 h 1303338"/>
                  <a:gd name="connsiteX266" fmla="*/ 188723 w 1369800"/>
                  <a:gd name="connsiteY266" fmla="*/ 200025 h 1303338"/>
                  <a:gd name="connsiteX267" fmla="*/ 287942 w 1369800"/>
                  <a:gd name="connsiteY267" fmla="*/ 302574 h 1303338"/>
                  <a:gd name="connsiteX268" fmla="*/ 283659 w 1369800"/>
                  <a:gd name="connsiteY268" fmla="*/ 337470 h 1303338"/>
                  <a:gd name="connsiteX269" fmla="*/ 283659 w 1369800"/>
                  <a:gd name="connsiteY269" fmla="*/ 338182 h 1303338"/>
                  <a:gd name="connsiteX270" fmla="*/ 273666 w 1369800"/>
                  <a:gd name="connsiteY270" fmla="*/ 351001 h 1303338"/>
                  <a:gd name="connsiteX271" fmla="*/ 267241 w 1369800"/>
                  <a:gd name="connsiteY271" fmla="*/ 351001 h 1303338"/>
                  <a:gd name="connsiteX272" fmla="*/ 242972 w 1369800"/>
                  <a:gd name="connsiteY272" fmla="*/ 281922 h 1303338"/>
                  <a:gd name="connsiteX273" fmla="*/ 113059 w 1369800"/>
                  <a:gd name="connsiteY273" fmla="*/ 276937 h 1303338"/>
                  <a:gd name="connsiteX274" fmla="*/ 111632 w 1369800"/>
                  <a:gd name="connsiteY274" fmla="*/ 352425 h 1303338"/>
                  <a:gd name="connsiteX275" fmla="*/ 104494 w 1369800"/>
                  <a:gd name="connsiteY275" fmla="*/ 352425 h 1303338"/>
                  <a:gd name="connsiteX276" fmla="*/ 93787 w 1369800"/>
                  <a:gd name="connsiteY276" fmla="*/ 336758 h 1303338"/>
                  <a:gd name="connsiteX277" fmla="*/ 90218 w 1369800"/>
                  <a:gd name="connsiteY277" fmla="*/ 302574 h 1303338"/>
                  <a:gd name="connsiteX278" fmla="*/ 188723 w 1369800"/>
                  <a:gd name="connsiteY278" fmla="*/ 200025 h 1303338"/>
                  <a:gd name="connsiteX279" fmla="*/ 759004 w 1369800"/>
                  <a:gd name="connsiteY279" fmla="*/ 188912 h 1303338"/>
                  <a:gd name="connsiteX280" fmla="*/ 783243 w 1369800"/>
                  <a:gd name="connsiteY280" fmla="*/ 240347 h 1303338"/>
                  <a:gd name="connsiteX281" fmla="*/ 734030 w 1369800"/>
                  <a:gd name="connsiteY281" fmla="*/ 257493 h 1303338"/>
                  <a:gd name="connsiteX282" fmla="*/ 734030 w 1369800"/>
                  <a:gd name="connsiteY282" fmla="*/ 239633 h 1303338"/>
                  <a:gd name="connsiteX283" fmla="*/ 752393 w 1369800"/>
                  <a:gd name="connsiteY283" fmla="*/ 205343 h 1303338"/>
                  <a:gd name="connsiteX284" fmla="*/ 759004 w 1369800"/>
                  <a:gd name="connsiteY284" fmla="*/ 188912 h 1303338"/>
                  <a:gd name="connsiteX285" fmla="*/ 580565 w 1369800"/>
                  <a:gd name="connsiteY285" fmla="*/ 188912 h 1303338"/>
                  <a:gd name="connsiteX286" fmla="*/ 587673 w 1369800"/>
                  <a:gd name="connsiteY286" fmla="*/ 206057 h 1303338"/>
                  <a:gd name="connsiteX287" fmla="*/ 605443 w 1369800"/>
                  <a:gd name="connsiteY287" fmla="*/ 240347 h 1303338"/>
                  <a:gd name="connsiteX288" fmla="*/ 605443 w 1369800"/>
                  <a:gd name="connsiteY288" fmla="*/ 257493 h 1303338"/>
                  <a:gd name="connsiteX289" fmla="*/ 557818 w 1369800"/>
                  <a:gd name="connsiteY289" fmla="*/ 241062 h 1303338"/>
                  <a:gd name="connsiteX290" fmla="*/ 580565 w 1369800"/>
                  <a:gd name="connsiteY290" fmla="*/ 188912 h 1303338"/>
                  <a:gd name="connsiteX291" fmla="*/ 770542 w 1369800"/>
                  <a:gd name="connsiteY291" fmla="*/ 149225 h 1303338"/>
                  <a:gd name="connsiteX292" fmla="*/ 770542 w 1369800"/>
                  <a:gd name="connsiteY292" fmla="*/ 149940 h 1303338"/>
                  <a:gd name="connsiteX293" fmla="*/ 756162 w 1369800"/>
                  <a:gd name="connsiteY293" fmla="*/ 172832 h 1303338"/>
                  <a:gd name="connsiteX294" fmla="*/ 725965 w 1369800"/>
                  <a:gd name="connsiteY294" fmla="*/ 235783 h 1303338"/>
                  <a:gd name="connsiteX295" fmla="*/ 725965 w 1369800"/>
                  <a:gd name="connsiteY295" fmla="*/ 255813 h 1303338"/>
                  <a:gd name="connsiteX296" fmla="*/ 724527 w 1369800"/>
                  <a:gd name="connsiteY296" fmla="*/ 257959 h 1303338"/>
                  <a:gd name="connsiteX297" fmla="*/ 716618 w 1369800"/>
                  <a:gd name="connsiteY297" fmla="*/ 265113 h 1303338"/>
                  <a:gd name="connsiteX298" fmla="*/ 716618 w 1369800"/>
                  <a:gd name="connsiteY298" fmla="*/ 242937 h 1303338"/>
                  <a:gd name="connsiteX299" fmla="*/ 670604 w 1369800"/>
                  <a:gd name="connsiteY299" fmla="*/ 262967 h 1303338"/>
                  <a:gd name="connsiteX300" fmla="*/ 625308 w 1369800"/>
                  <a:gd name="connsiteY300" fmla="*/ 242937 h 1303338"/>
                  <a:gd name="connsiteX301" fmla="*/ 625308 w 1369800"/>
                  <a:gd name="connsiteY301" fmla="*/ 265113 h 1303338"/>
                  <a:gd name="connsiteX302" fmla="*/ 617399 w 1369800"/>
                  <a:gd name="connsiteY302" fmla="*/ 257959 h 1303338"/>
                  <a:gd name="connsiteX303" fmla="*/ 615961 w 1369800"/>
                  <a:gd name="connsiteY303" fmla="*/ 255813 h 1303338"/>
                  <a:gd name="connsiteX304" fmla="*/ 615961 w 1369800"/>
                  <a:gd name="connsiteY304" fmla="*/ 235783 h 1303338"/>
                  <a:gd name="connsiteX305" fmla="*/ 586483 w 1369800"/>
                  <a:gd name="connsiteY305" fmla="*/ 172832 h 1303338"/>
                  <a:gd name="connsiteX306" fmla="*/ 572104 w 1369800"/>
                  <a:gd name="connsiteY306" fmla="*/ 150656 h 1303338"/>
                  <a:gd name="connsiteX307" fmla="*/ 572104 w 1369800"/>
                  <a:gd name="connsiteY307" fmla="*/ 149940 h 1303338"/>
                  <a:gd name="connsiteX308" fmla="*/ 582169 w 1369800"/>
                  <a:gd name="connsiteY308" fmla="*/ 154948 h 1303338"/>
                  <a:gd name="connsiteX309" fmla="*/ 592235 w 1369800"/>
                  <a:gd name="connsiteY309" fmla="*/ 164963 h 1303338"/>
                  <a:gd name="connsiteX310" fmla="*/ 594392 w 1369800"/>
                  <a:gd name="connsiteY310" fmla="*/ 167824 h 1303338"/>
                  <a:gd name="connsiteX311" fmla="*/ 623870 w 1369800"/>
                  <a:gd name="connsiteY311" fmla="*/ 230776 h 1303338"/>
                  <a:gd name="connsiteX312" fmla="*/ 670604 w 1369800"/>
                  <a:gd name="connsiteY312" fmla="*/ 253667 h 1303338"/>
                  <a:gd name="connsiteX313" fmla="*/ 718056 w 1369800"/>
                  <a:gd name="connsiteY313" fmla="*/ 230776 h 1303338"/>
                  <a:gd name="connsiteX314" fmla="*/ 747534 w 1369800"/>
                  <a:gd name="connsiteY314" fmla="*/ 167824 h 1303338"/>
                  <a:gd name="connsiteX315" fmla="*/ 749691 w 1369800"/>
                  <a:gd name="connsiteY315" fmla="*/ 164963 h 1303338"/>
                  <a:gd name="connsiteX316" fmla="*/ 759757 w 1369800"/>
                  <a:gd name="connsiteY316" fmla="*/ 154948 h 1303338"/>
                  <a:gd name="connsiteX317" fmla="*/ 770542 w 1369800"/>
                  <a:gd name="connsiteY317" fmla="*/ 149225 h 1303338"/>
                  <a:gd name="connsiteX318" fmla="*/ 671324 w 1369800"/>
                  <a:gd name="connsiteY318" fmla="*/ 0 h 1303338"/>
                  <a:gd name="connsiteX319" fmla="*/ 769824 w 1369800"/>
                  <a:gd name="connsiteY319" fmla="*/ 99959 h 1303338"/>
                  <a:gd name="connsiteX320" fmla="*/ 766229 w 1369800"/>
                  <a:gd name="connsiteY320" fmla="*/ 133517 h 1303338"/>
                  <a:gd name="connsiteX321" fmla="*/ 755445 w 1369800"/>
                  <a:gd name="connsiteY321" fmla="*/ 148511 h 1303338"/>
                  <a:gd name="connsiteX322" fmla="*/ 754007 w 1369800"/>
                  <a:gd name="connsiteY322" fmla="*/ 149225 h 1303338"/>
                  <a:gd name="connsiteX323" fmla="*/ 748255 w 1369800"/>
                  <a:gd name="connsiteY323" fmla="*/ 149225 h 1303338"/>
                  <a:gd name="connsiteX324" fmla="*/ 747536 w 1369800"/>
                  <a:gd name="connsiteY324" fmla="*/ 149225 h 1303338"/>
                  <a:gd name="connsiteX325" fmla="*/ 617401 w 1369800"/>
                  <a:gd name="connsiteY325" fmla="*/ 79968 h 1303338"/>
                  <a:gd name="connsiteX326" fmla="*/ 616682 w 1369800"/>
                  <a:gd name="connsiteY326" fmla="*/ 79968 h 1303338"/>
                  <a:gd name="connsiteX327" fmla="*/ 577138 w 1369800"/>
                  <a:gd name="connsiteY327" fmla="*/ 140657 h 1303338"/>
                  <a:gd name="connsiteX328" fmla="*/ 572105 w 1369800"/>
                  <a:gd name="connsiteY328" fmla="*/ 99959 h 1303338"/>
                  <a:gd name="connsiteX329" fmla="*/ 671324 w 1369800"/>
                  <a:gd name="connsiteY329" fmla="*/ 0 h 1303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</a:cxnLst>
                <a:rect l="l" t="t" r="r" b="b"/>
                <a:pathLst>
                  <a:path w="1369800" h="1303338">
                    <a:moveTo>
                      <a:pt x="1103167" y="1027113"/>
                    </a:moveTo>
                    <a:cubicBezTo>
                      <a:pt x="1103167" y="1027113"/>
                      <a:pt x="1103167" y="1027113"/>
                      <a:pt x="1061055" y="1079144"/>
                    </a:cubicBezTo>
                    <a:cubicBezTo>
                      <a:pt x="1061055" y="1079144"/>
                      <a:pt x="1061055" y="1079144"/>
                      <a:pt x="1294455" y="1271588"/>
                    </a:cubicBezTo>
                    <a:cubicBezTo>
                      <a:pt x="1299451" y="1270163"/>
                      <a:pt x="1309444" y="1264461"/>
                      <a:pt x="1320150" y="1250918"/>
                    </a:cubicBezTo>
                    <a:cubicBezTo>
                      <a:pt x="1320150" y="1250918"/>
                      <a:pt x="1320150" y="1250918"/>
                      <a:pt x="1320864" y="1250205"/>
                    </a:cubicBezTo>
                    <a:lnTo>
                      <a:pt x="1321578" y="1249493"/>
                    </a:lnTo>
                    <a:cubicBezTo>
                      <a:pt x="1332284" y="1236663"/>
                      <a:pt x="1336566" y="1225259"/>
                      <a:pt x="1337280" y="1220270"/>
                    </a:cubicBezTo>
                    <a:cubicBezTo>
                      <a:pt x="1337280" y="1220270"/>
                      <a:pt x="1337280" y="1220270"/>
                      <a:pt x="1103167" y="1027113"/>
                    </a:cubicBezTo>
                    <a:close/>
                    <a:moveTo>
                      <a:pt x="1099604" y="988073"/>
                    </a:moveTo>
                    <a:cubicBezTo>
                      <a:pt x="1103637" y="987626"/>
                      <a:pt x="1107759" y="988699"/>
                      <a:pt x="1110985" y="991559"/>
                    </a:cubicBezTo>
                    <a:cubicBezTo>
                      <a:pt x="1110985" y="991559"/>
                      <a:pt x="1110985" y="991559"/>
                      <a:pt x="1361913" y="1198220"/>
                    </a:cubicBezTo>
                    <a:cubicBezTo>
                      <a:pt x="1376968" y="1210376"/>
                      <a:pt x="1369799" y="1242555"/>
                      <a:pt x="1346140" y="1269729"/>
                    </a:cubicBezTo>
                    <a:cubicBezTo>
                      <a:pt x="1329650" y="1291182"/>
                      <a:pt x="1308859" y="1303338"/>
                      <a:pt x="1293087" y="1303338"/>
                    </a:cubicBezTo>
                    <a:cubicBezTo>
                      <a:pt x="1287351" y="1303338"/>
                      <a:pt x="1283050" y="1301908"/>
                      <a:pt x="1278748" y="1299048"/>
                    </a:cubicBezTo>
                    <a:cubicBezTo>
                      <a:pt x="1278748" y="1299048"/>
                      <a:pt x="1278748" y="1299048"/>
                      <a:pt x="1028538" y="1092387"/>
                    </a:cubicBezTo>
                    <a:cubicBezTo>
                      <a:pt x="1022085" y="1086666"/>
                      <a:pt x="1021368" y="1076655"/>
                      <a:pt x="1026387" y="1070219"/>
                    </a:cubicBezTo>
                    <a:cubicBezTo>
                      <a:pt x="1026387" y="1070219"/>
                      <a:pt x="1026387" y="1070219"/>
                      <a:pt x="1088760" y="993704"/>
                    </a:cubicBezTo>
                    <a:cubicBezTo>
                      <a:pt x="1091628" y="990486"/>
                      <a:pt x="1095571" y="988520"/>
                      <a:pt x="1099604" y="988073"/>
                    </a:cubicBezTo>
                    <a:close/>
                    <a:moveTo>
                      <a:pt x="132391" y="950912"/>
                    </a:moveTo>
                    <a:cubicBezTo>
                      <a:pt x="132391" y="950912"/>
                      <a:pt x="172354" y="983773"/>
                      <a:pt x="191621" y="998775"/>
                    </a:cubicBezTo>
                    <a:cubicBezTo>
                      <a:pt x="192335" y="999490"/>
                      <a:pt x="193762" y="999490"/>
                      <a:pt x="194476" y="998775"/>
                    </a:cubicBezTo>
                    <a:cubicBezTo>
                      <a:pt x="220166" y="978058"/>
                      <a:pt x="252993" y="950912"/>
                      <a:pt x="252993" y="950912"/>
                    </a:cubicBezTo>
                    <a:cubicBezTo>
                      <a:pt x="252993" y="950912"/>
                      <a:pt x="305800" y="950912"/>
                      <a:pt x="333632" y="963771"/>
                    </a:cubicBezTo>
                    <a:cubicBezTo>
                      <a:pt x="357181" y="974486"/>
                      <a:pt x="372881" y="1014492"/>
                      <a:pt x="378590" y="1029493"/>
                    </a:cubicBezTo>
                    <a:cubicBezTo>
                      <a:pt x="380017" y="1032351"/>
                      <a:pt x="377876" y="1036637"/>
                      <a:pt x="374308" y="1036637"/>
                    </a:cubicBezTo>
                    <a:cubicBezTo>
                      <a:pt x="374308" y="1036637"/>
                      <a:pt x="374308" y="1036637"/>
                      <a:pt x="11076" y="1036637"/>
                    </a:cubicBezTo>
                    <a:cubicBezTo>
                      <a:pt x="7508" y="1036637"/>
                      <a:pt x="5367" y="1032351"/>
                      <a:pt x="6794" y="1029493"/>
                    </a:cubicBezTo>
                    <a:cubicBezTo>
                      <a:pt x="12503" y="1014492"/>
                      <a:pt x="28916" y="974486"/>
                      <a:pt x="51752" y="963771"/>
                    </a:cubicBezTo>
                    <a:cubicBezTo>
                      <a:pt x="80297" y="950912"/>
                      <a:pt x="132391" y="950912"/>
                      <a:pt x="132391" y="950912"/>
                    </a:cubicBezTo>
                    <a:close/>
                    <a:moveTo>
                      <a:pt x="691518" y="855662"/>
                    </a:moveTo>
                    <a:cubicBezTo>
                      <a:pt x="697814" y="855662"/>
                      <a:pt x="705509" y="857814"/>
                      <a:pt x="709707" y="859965"/>
                    </a:cubicBezTo>
                    <a:cubicBezTo>
                      <a:pt x="711106" y="859965"/>
                      <a:pt x="711805" y="862834"/>
                      <a:pt x="711106" y="864985"/>
                    </a:cubicBezTo>
                    <a:cubicBezTo>
                      <a:pt x="711106" y="864985"/>
                      <a:pt x="711106" y="864985"/>
                      <a:pt x="699213" y="899409"/>
                    </a:cubicBezTo>
                    <a:cubicBezTo>
                      <a:pt x="699213" y="900126"/>
                      <a:pt x="698513" y="900843"/>
                      <a:pt x="699213" y="902278"/>
                    </a:cubicBezTo>
                    <a:cubicBezTo>
                      <a:pt x="699213" y="902278"/>
                      <a:pt x="699213" y="894389"/>
                      <a:pt x="709707" y="1014872"/>
                    </a:cubicBezTo>
                    <a:cubicBezTo>
                      <a:pt x="709707" y="1016306"/>
                      <a:pt x="709007" y="1017741"/>
                      <a:pt x="706908" y="1017741"/>
                    </a:cubicBezTo>
                    <a:cubicBezTo>
                      <a:pt x="701312" y="1018458"/>
                      <a:pt x="696415" y="1019175"/>
                      <a:pt x="690818" y="1019175"/>
                    </a:cubicBezTo>
                    <a:cubicBezTo>
                      <a:pt x="685221" y="1019175"/>
                      <a:pt x="680324" y="1018458"/>
                      <a:pt x="674728" y="1017741"/>
                    </a:cubicBezTo>
                    <a:cubicBezTo>
                      <a:pt x="673329" y="1017741"/>
                      <a:pt x="671929" y="1016306"/>
                      <a:pt x="671929" y="1014872"/>
                    </a:cubicBezTo>
                    <a:cubicBezTo>
                      <a:pt x="673329" y="1004115"/>
                      <a:pt x="677526" y="963236"/>
                      <a:pt x="683123" y="900843"/>
                    </a:cubicBezTo>
                    <a:cubicBezTo>
                      <a:pt x="683123" y="900126"/>
                      <a:pt x="683123" y="900126"/>
                      <a:pt x="683123" y="899409"/>
                    </a:cubicBezTo>
                    <a:cubicBezTo>
                      <a:pt x="683123" y="899409"/>
                      <a:pt x="683123" y="899409"/>
                      <a:pt x="670530" y="864985"/>
                    </a:cubicBezTo>
                    <a:cubicBezTo>
                      <a:pt x="670530" y="862834"/>
                      <a:pt x="670530" y="859965"/>
                      <a:pt x="671929" y="859965"/>
                    </a:cubicBezTo>
                    <a:cubicBezTo>
                      <a:pt x="676127" y="857814"/>
                      <a:pt x="684522" y="855662"/>
                      <a:pt x="691518" y="855662"/>
                    </a:cubicBezTo>
                    <a:close/>
                    <a:moveTo>
                      <a:pt x="92679" y="836612"/>
                    </a:moveTo>
                    <a:cubicBezTo>
                      <a:pt x="92679" y="836612"/>
                      <a:pt x="92679" y="836612"/>
                      <a:pt x="103394" y="841589"/>
                    </a:cubicBezTo>
                    <a:cubicBezTo>
                      <a:pt x="104823" y="845854"/>
                      <a:pt x="107681" y="850120"/>
                      <a:pt x="113396" y="853675"/>
                    </a:cubicBezTo>
                    <a:cubicBezTo>
                      <a:pt x="114110" y="853675"/>
                      <a:pt x="114824" y="855097"/>
                      <a:pt x="115539" y="855808"/>
                    </a:cubicBezTo>
                    <a:cubicBezTo>
                      <a:pt x="124111" y="877137"/>
                      <a:pt x="139113" y="912686"/>
                      <a:pt x="144828" y="917662"/>
                    </a:cubicBezTo>
                    <a:cubicBezTo>
                      <a:pt x="154115" y="926194"/>
                      <a:pt x="179118" y="941124"/>
                      <a:pt x="192691" y="941124"/>
                    </a:cubicBezTo>
                    <a:cubicBezTo>
                      <a:pt x="205550" y="941124"/>
                      <a:pt x="230553" y="926194"/>
                      <a:pt x="239840" y="917662"/>
                    </a:cubicBezTo>
                    <a:cubicBezTo>
                      <a:pt x="245555" y="912686"/>
                      <a:pt x="261986" y="877137"/>
                      <a:pt x="270558" y="855808"/>
                    </a:cubicBezTo>
                    <a:cubicBezTo>
                      <a:pt x="271273" y="855097"/>
                      <a:pt x="271987" y="853675"/>
                      <a:pt x="272701" y="853675"/>
                    </a:cubicBezTo>
                    <a:cubicBezTo>
                      <a:pt x="277702" y="850120"/>
                      <a:pt x="280559" y="845854"/>
                      <a:pt x="281988" y="841589"/>
                    </a:cubicBezTo>
                    <a:cubicBezTo>
                      <a:pt x="281988" y="841589"/>
                      <a:pt x="281988" y="841589"/>
                      <a:pt x="292704" y="836612"/>
                    </a:cubicBezTo>
                    <a:cubicBezTo>
                      <a:pt x="292704" y="836612"/>
                      <a:pt x="292704" y="836612"/>
                      <a:pt x="292704" y="837323"/>
                    </a:cubicBezTo>
                    <a:cubicBezTo>
                      <a:pt x="291989" y="841589"/>
                      <a:pt x="289132" y="854386"/>
                      <a:pt x="278416" y="860074"/>
                    </a:cubicBezTo>
                    <a:cubicBezTo>
                      <a:pt x="274130" y="871449"/>
                      <a:pt x="256985" y="911264"/>
                      <a:pt x="247698" y="922639"/>
                    </a:cubicBezTo>
                    <a:cubicBezTo>
                      <a:pt x="247698" y="922639"/>
                      <a:pt x="247698" y="922639"/>
                      <a:pt x="247698" y="942546"/>
                    </a:cubicBezTo>
                    <a:cubicBezTo>
                      <a:pt x="247698" y="942546"/>
                      <a:pt x="247698" y="942546"/>
                      <a:pt x="246269" y="944679"/>
                    </a:cubicBezTo>
                    <a:cubicBezTo>
                      <a:pt x="246269" y="944679"/>
                      <a:pt x="243412" y="948234"/>
                      <a:pt x="238411" y="952500"/>
                    </a:cubicBezTo>
                    <a:cubicBezTo>
                      <a:pt x="238411" y="952500"/>
                      <a:pt x="238411" y="952500"/>
                      <a:pt x="238411" y="929749"/>
                    </a:cubicBezTo>
                    <a:cubicBezTo>
                      <a:pt x="226267" y="938991"/>
                      <a:pt x="205550" y="950367"/>
                      <a:pt x="192691" y="950367"/>
                    </a:cubicBezTo>
                    <a:cubicBezTo>
                      <a:pt x="179118" y="950367"/>
                      <a:pt x="159116" y="938991"/>
                      <a:pt x="146257" y="929749"/>
                    </a:cubicBezTo>
                    <a:cubicBezTo>
                      <a:pt x="146257" y="929749"/>
                      <a:pt x="146257" y="929749"/>
                      <a:pt x="146257" y="952500"/>
                    </a:cubicBezTo>
                    <a:cubicBezTo>
                      <a:pt x="141256" y="948234"/>
                      <a:pt x="139113" y="944679"/>
                      <a:pt x="138399" y="944679"/>
                    </a:cubicBezTo>
                    <a:cubicBezTo>
                      <a:pt x="138399" y="944679"/>
                      <a:pt x="138399" y="944679"/>
                      <a:pt x="136970" y="942546"/>
                    </a:cubicBezTo>
                    <a:cubicBezTo>
                      <a:pt x="136970" y="942546"/>
                      <a:pt x="136970" y="942546"/>
                      <a:pt x="136970" y="922639"/>
                    </a:cubicBezTo>
                    <a:cubicBezTo>
                      <a:pt x="128398" y="911264"/>
                      <a:pt x="111967" y="871449"/>
                      <a:pt x="107681" y="860074"/>
                    </a:cubicBezTo>
                    <a:cubicBezTo>
                      <a:pt x="96965" y="854386"/>
                      <a:pt x="94108" y="843722"/>
                      <a:pt x="92679" y="837323"/>
                    </a:cubicBezTo>
                    <a:cubicBezTo>
                      <a:pt x="92679" y="837323"/>
                      <a:pt x="92679" y="837323"/>
                      <a:pt x="92679" y="836612"/>
                    </a:cubicBezTo>
                    <a:close/>
                    <a:moveTo>
                      <a:pt x="192693" y="687387"/>
                    </a:moveTo>
                    <a:cubicBezTo>
                      <a:pt x="248324" y="687387"/>
                      <a:pt x="291118" y="732369"/>
                      <a:pt x="291118" y="786632"/>
                    </a:cubicBezTo>
                    <a:cubicBezTo>
                      <a:pt x="291118" y="798770"/>
                      <a:pt x="289691" y="817334"/>
                      <a:pt x="285412" y="827330"/>
                    </a:cubicBezTo>
                    <a:cubicBezTo>
                      <a:pt x="276140" y="836612"/>
                      <a:pt x="276853" y="776637"/>
                      <a:pt x="247611" y="767355"/>
                    </a:cubicBezTo>
                    <a:cubicBezTo>
                      <a:pt x="246898" y="767355"/>
                      <a:pt x="246898" y="767355"/>
                      <a:pt x="246185" y="767355"/>
                    </a:cubicBezTo>
                    <a:cubicBezTo>
                      <a:pt x="117091" y="835898"/>
                      <a:pt x="117091" y="835898"/>
                      <a:pt x="117091" y="835898"/>
                    </a:cubicBezTo>
                    <a:cubicBezTo>
                      <a:pt x="116378" y="835898"/>
                      <a:pt x="116378" y="835898"/>
                      <a:pt x="116378" y="835898"/>
                    </a:cubicBezTo>
                    <a:cubicBezTo>
                      <a:pt x="109959" y="835898"/>
                      <a:pt x="109959" y="835898"/>
                      <a:pt x="109959" y="835898"/>
                    </a:cubicBezTo>
                    <a:cubicBezTo>
                      <a:pt x="109245" y="835898"/>
                      <a:pt x="109245" y="835898"/>
                      <a:pt x="108532" y="835184"/>
                    </a:cubicBezTo>
                    <a:cubicBezTo>
                      <a:pt x="99974" y="825188"/>
                      <a:pt x="97834" y="820190"/>
                      <a:pt x="97834" y="820190"/>
                    </a:cubicBezTo>
                    <a:cubicBezTo>
                      <a:pt x="94268" y="810194"/>
                      <a:pt x="94268" y="798770"/>
                      <a:pt x="94268" y="786632"/>
                    </a:cubicBezTo>
                    <a:cubicBezTo>
                      <a:pt x="94268" y="732369"/>
                      <a:pt x="137061" y="687387"/>
                      <a:pt x="192693" y="687387"/>
                    </a:cubicBezTo>
                    <a:close/>
                    <a:moveTo>
                      <a:pt x="554642" y="674687"/>
                    </a:moveTo>
                    <a:cubicBezTo>
                      <a:pt x="554642" y="674687"/>
                      <a:pt x="554642" y="674687"/>
                      <a:pt x="568975" y="681838"/>
                    </a:cubicBezTo>
                    <a:cubicBezTo>
                      <a:pt x="571125" y="687558"/>
                      <a:pt x="575425" y="693279"/>
                      <a:pt x="583308" y="697570"/>
                    </a:cubicBezTo>
                    <a:cubicBezTo>
                      <a:pt x="584742" y="698285"/>
                      <a:pt x="585458" y="699000"/>
                      <a:pt x="586175" y="700430"/>
                    </a:cubicBezTo>
                    <a:cubicBezTo>
                      <a:pt x="597642" y="729034"/>
                      <a:pt x="619142" y="777660"/>
                      <a:pt x="627025" y="784811"/>
                    </a:cubicBezTo>
                    <a:cubicBezTo>
                      <a:pt x="639925" y="796252"/>
                      <a:pt x="672892" y="816990"/>
                      <a:pt x="691525" y="816990"/>
                    </a:cubicBezTo>
                    <a:cubicBezTo>
                      <a:pt x="710158" y="816990"/>
                      <a:pt x="743842" y="796252"/>
                      <a:pt x="756742" y="784811"/>
                    </a:cubicBezTo>
                    <a:cubicBezTo>
                      <a:pt x="764625" y="777660"/>
                      <a:pt x="785408" y="729034"/>
                      <a:pt x="797592" y="700430"/>
                    </a:cubicBezTo>
                    <a:cubicBezTo>
                      <a:pt x="797592" y="699000"/>
                      <a:pt x="799025" y="698285"/>
                      <a:pt x="800458" y="697570"/>
                    </a:cubicBezTo>
                    <a:cubicBezTo>
                      <a:pt x="807625" y="693279"/>
                      <a:pt x="811925" y="687558"/>
                      <a:pt x="814075" y="681838"/>
                    </a:cubicBezTo>
                    <a:cubicBezTo>
                      <a:pt x="814075" y="681838"/>
                      <a:pt x="814075" y="681838"/>
                      <a:pt x="827692" y="674687"/>
                    </a:cubicBezTo>
                    <a:cubicBezTo>
                      <a:pt x="827692" y="675402"/>
                      <a:pt x="827692" y="675402"/>
                      <a:pt x="827692" y="675402"/>
                    </a:cubicBezTo>
                    <a:cubicBezTo>
                      <a:pt x="826975" y="682553"/>
                      <a:pt x="822675" y="698285"/>
                      <a:pt x="808342" y="706866"/>
                    </a:cubicBezTo>
                    <a:cubicBezTo>
                      <a:pt x="801892" y="722598"/>
                      <a:pt x="779675" y="776230"/>
                      <a:pt x="767492" y="791962"/>
                    </a:cubicBezTo>
                    <a:cubicBezTo>
                      <a:pt x="767492" y="791962"/>
                      <a:pt x="767492" y="791962"/>
                      <a:pt x="767492" y="819135"/>
                    </a:cubicBezTo>
                    <a:cubicBezTo>
                      <a:pt x="767492" y="819135"/>
                      <a:pt x="767492" y="819135"/>
                      <a:pt x="765342" y="821995"/>
                    </a:cubicBezTo>
                    <a:cubicBezTo>
                      <a:pt x="765342" y="822711"/>
                      <a:pt x="761758" y="827001"/>
                      <a:pt x="754592" y="833437"/>
                    </a:cubicBezTo>
                    <a:cubicBezTo>
                      <a:pt x="754592" y="833437"/>
                      <a:pt x="754592" y="833437"/>
                      <a:pt x="754592" y="802688"/>
                    </a:cubicBezTo>
                    <a:cubicBezTo>
                      <a:pt x="737392" y="814129"/>
                      <a:pt x="710875" y="829861"/>
                      <a:pt x="691525" y="829861"/>
                    </a:cubicBezTo>
                    <a:cubicBezTo>
                      <a:pt x="672892" y="829861"/>
                      <a:pt x="645658" y="814129"/>
                      <a:pt x="629175" y="802688"/>
                    </a:cubicBezTo>
                    <a:cubicBezTo>
                      <a:pt x="629175" y="802688"/>
                      <a:pt x="629175" y="802688"/>
                      <a:pt x="629175" y="833437"/>
                    </a:cubicBezTo>
                    <a:cubicBezTo>
                      <a:pt x="622008" y="827716"/>
                      <a:pt x="618425" y="822711"/>
                      <a:pt x="618425" y="821995"/>
                    </a:cubicBezTo>
                    <a:cubicBezTo>
                      <a:pt x="618425" y="821995"/>
                      <a:pt x="618425" y="821995"/>
                      <a:pt x="616275" y="819135"/>
                    </a:cubicBezTo>
                    <a:cubicBezTo>
                      <a:pt x="616275" y="819135"/>
                      <a:pt x="616275" y="819135"/>
                      <a:pt x="616275" y="791962"/>
                    </a:cubicBezTo>
                    <a:cubicBezTo>
                      <a:pt x="604092" y="776230"/>
                      <a:pt x="581875" y="722598"/>
                      <a:pt x="574708" y="706866"/>
                    </a:cubicBezTo>
                    <a:cubicBezTo>
                      <a:pt x="560375" y="699000"/>
                      <a:pt x="556075" y="684698"/>
                      <a:pt x="554642" y="676117"/>
                    </a:cubicBezTo>
                    <a:cubicBezTo>
                      <a:pt x="554642" y="676117"/>
                      <a:pt x="554642" y="675402"/>
                      <a:pt x="554642" y="674687"/>
                    </a:cubicBezTo>
                    <a:close/>
                    <a:moveTo>
                      <a:pt x="1105315" y="476250"/>
                    </a:moveTo>
                    <a:cubicBezTo>
                      <a:pt x="1114637" y="485613"/>
                      <a:pt x="1133997" y="510102"/>
                      <a:pt x="1178454" y="510102"/>
                    </a:cubicBezTo>
                    <a:cubicBezTo>
                      <a:pt x="1220759" y="510102"/>
                      <a:pt x="1237968" y="489935"/>
                      <a:pt x="1248724" y="476250"/>
                    </a:cubicBezTo>
                    <a:cubicBezTo>
                      <a:pt x="1254460" y="476250"/>
                      <a:pt x="1340506" y="487054"/>
                      <a:pt x="1348393" y="546836"/>
                    </a:cubicBezTo>
                    <a:cubicBezTo>
                      <a:pt x="1348393" y="547556"/>
                      <a:pt x="1348393" y="547556"/>
                      <a:pt x="1348393" y="548276"/>
                    </a:cubicBezTo>
                    <a:cubicBezTo>
                      <a:pt x="1348393" y="551157"/>
                      <a:pt x="1346242" y="554038"/>
                      <a:pt x="1343374" y="554038"/>
                    </a:cubicBezTo>
                    <a:cubicBezTo>
                      <a:pt x="1343374" y="554038"/>
                      <a:pt x="1343374" y="554038"/>
                      <a:pt x="1012817" y="554038"/>
                    </a:cubicBezTo>
                    <a:cubicBezTo>
                      <a:pt x="1009948" y="554038"/>
                      <a:pt x="1007080" y="551157"/>
                      <a:pt x="1007797" y="548276"/>
                    </a:cubicBezTo>
                    <a:cubicBezTo>
                      <a:pt x="1007797" y="546836"/>
                      <a:pt x="1007797" y="544675"/>
                      <a:pt x="1008514" y="543234"/>
                    </a:cubicBezTo>
                    <a:cubicBezTo>
                      <a:pt x="1015685" y="478411"/>
                      <a:pt x="1099579" y="476250"/>
                      <a:pt x="1105315" y="476250"/>
                    </a:cubicBezTo>
                    <a:close/>
                    <a:moveTo>
                      <a:pt x="690450" y="468312"/>
                    </a:moveTo>
                    <a:cubicBezTo>
                      <a:pt x="767250" y="468312"/>
                      <a:pt x="825387" y="531153"/>
                      <a:pt x="825387" y="607562"/>
                    </a:cubicBezTo>
                    <a:cubicBezTo>
                      <a:pt x="825387" y="623986"/>
                      <a:pt x="826105" y="638982"/>
                      <a:pt x="820363" y="653978"/>
                    </a:cubicBezTo>
                    <a:cubicBezTo>
                      <a:pt x="820363" y="653978"/>
                      <a:pt x="817492" y="661119"/>
                      <a:pt x="806008" y="674687"/>
                    </a:cubicBezTo>
                    <a:cubicBezTo>
                      <a:pt x="806008" y="674687"/>
                      <a:pt x="806008" y="674687"/>
                      <a:pt x="795960" y="674687"/>
                    </a:cubicBezTo>
                    <a:cubicBezTo>
                      <a:pt x="795960" y="674687"/>
                      <a:pt x="795960" y="670403"/>
                      <a:pt x="794524" y="573285"/>
                    </a:cubicBezTo>
                    <a:cubicBezTo>
                      <a:pt x="779451" y="651122"/>
                      <a:pt x="617239" y="578998"/>
                      <a:pt x="617239" y="578998"/>
                    </a:cubicBezTo>
                    <a:cubicBezTo>
                      <a:pt x="577045" y="592566"/>
                      <a:pt x="584223" y="673259"/>
                      <a:pt x="584223" y="673259"/>
                    </a:cubicBezTo>
                    <a:cubicBezTo>
                      <a:pt x="584223" y="673259"/>
                      <a:pt x="584223" y="673259"/>
                      <a:pt x="574892" y="671831"/>
                    </a:cubicBezTo>
                    <a:cubicBezTo>
                      <a:pt x="574892" y="671831"/>
                      <a:pt x="574892" y="667546"/>
                      <a:pt x="561254" y="655406"/>
                    </a:cubicBezTo>
                    <a:cubicBezTo>
                      <a:pt x="556230" y="640410"/>
                      <a:pt x="556948" y="624700"/>
                      <a:pt x="556948" y="607562"/>
                    </a:cubicBezTo>
                    <a:cubicBezTo>
                      <a:pt x="556948" y="531153"/>
                      <a:pt x="614368" y="468312"/>
                      <a:pt x="690450" y="468312"/>
                    </a:cubicBezTo>
                    <a:close/>
                    <a:moveTo>
                      <a:pt x="128400" y="468312"/>
                    </a:moveTo>
                    <a:cubicBezTo>
                      <a:pt x="128400" y="468312"/>
                      <a:pt x="139838" y="484743"/>
                      <a:pt x="163427" y="492601"/>
                    </a:cubicBezTo>
                    <a:cubicBezTo>
                      <a:pt x="163427" y="492601"/>
                      <a:pt x="163427" y="492601"/>
                      <a:pt x="189875" y="497602"/>
                    </a:cubicBezTo>
                    <a:cubicBezTo>
                      <a:pt x="189875" y="497602"/>
                      <a:pt x="189875" y="497602"/>
                      <a:pt x="215609" y="492601"/>
                    </a:cubicBezTo>
                    <a:cubicBezTo>
                      <a:pt x="239198" y="484743"/>
                      <a:pt x="251350" y="468312"/>
                      <a:pt x="251350" y="468312"/>
                    </a:cubicBezTo>
                    <a:cubicBezTo>
                      <a:pt x="251350" y="468312"/>
                      <a:pt x="304961" y="469027"/>
                      <a:pt x="332840" y="481885"/>
                    </a:cubicBezTo>
                    <a:cubicBezTo>
                      <a:pt x="356429" y="492601"/>
                      <a:pt x="373584" y="532606"/>
                      <a:pt x="379303" y="548322"/>
                    </a:cubicBezTo>
                    <a:cubicBezTo>
                      <a:pt x="380018" y="551180"/>
                      <a:pt x="377873" y="554037"/>
                      <a:pt x="375014" y="554037"/>
                    </a:cubicBezTo>
                    <a:cubicBezTo>
                      <a:pt x="375014" y="554037"/>
                      <a:pt x="375014" y="554037"/>
                      <a:pt x="4736" y="554037"/>
                    </a:cubicBezTo>
                    <a:cubicBezTo>
                      <a:pt x="1162" y="554037"/>
                      <a:pt x="-982" y="551180"/>
                      <a:pt x="447" y="548322"/>
                    </a:cubicBezTo>
                    <a:cubicBezTo>
                      <a:pt x="6166" y="532606"/>
                      <a:pt x="22607" y="492601"/>
                      <a:pt x="46196" y="481885"/>
                    </a:cubicBezTo>
                    <a:cubicBezTo>
                      <a:pt x="74789" y="469027"/>
                      <a:pt x="128400" y="468312"/>
                      <a:pt x="128400" y="468312"/>
                    </a:cubicBezTo>
                    <a:close/>
                    <a:moveTo>
                      <a:pt x="689222" y="441325"/>
                    </a:moveTo>
                    <a:cubicBezTo>
                      <a:pt x="526410" y="441325"/>
                      <a:pt x="394304" y="573236"/>
                      <a:pt x="394304" y="735807"/>
                    </a:cubicBezTo>
                    <a:cubicBezTo>
                      <a:pt x="394304" y="799266"/>
                      <a:pt x="414299" y="857735"/>
                      <a:pt x="447861" y="905508"/>
                    </a:cubicBezTo>
                    <a:cubicBezTo>
                      <a:pt x="447861" y="905508"/>
                      <a:pt x="447861" y="905508"/>
                      <a:pt x="448575" y="904795"/>
                    </a:cubicBezTo>
                    <a:cubicBezTo>
                      <a:pt x="458572" y="883404"/>
                      <a:pt x="474282" y="857735"/>
                      <a:pt x="497133" y="847039"/>
                    </a:cubicBezTo>
                    <a:cubicBezTo>
                      <a:pt x="532123" y="832066"/>
                      <a:pt x="592820" y="829927"/>
                      <a:pt x="605674" y="829927"/>
                    </a:cubicBezTo>
                    <a:cubicBezTo>
                      <a:pt x="605674" y="829927"/>
                      <a:pt x="606388" y="830640"/>
                      <a:pt x="607102" y="832066"/>
                    </a:cubicBezTo>
                    <a:cubicBezTo>
                      <a:pt x="636380" y="925473"/>
                      <a:pt x="654946" y="989645"/>
                      <a:pt x="662087" y="1016028"/>
                    </a:cubicBezTo>
                    <a:cubicBezTo>
                      <a:pt x="662087" y="1016028"/>
                      <a:pt x="662087" y="1016028"/>
                      <a:pt x="664229" y="1023871"/>
                    </a:cubicBezTo>
                    <a:cubicBezTo>
                      <a:pt x="664943" y="1026723"/>
                      <a:pt x="667800" y="1028862"/>
                      <a:pt x="670656" y="1028862"/>
                    </a:cubicBezTo>
                    <a:cubicBezTo>
                      <a:pt x="670656" y="1028862"/>
                      <a:pt x="670656" y="1028862"/>
                      <a:pt x="678511" y="1029575"/>
                    </a:cubicBezTo>
                    <a:cubicBezTo>
                      <a:pt x="685652" y="1030288"/>
                      <a:pt x="693507" y="1030288"/>
                      <a:pt x="700648" y="1029575"/>
                    </a:cubicBezTo>
                    <a:cubicBezTo>
                      <a:pt x="700648" y="1029575"/>
                      <a:pt x="700648" y="1029575"/>
                      <a:pt x="708503" y="1028862"/>
                    </a:cubicBezTo>
                    <a:cubicBezTo>
                      <a:pt x="712073" y="1028862"/>
                      <a:pt x="714215" y="1026723"/>
                      <a:pt x="714929" y="1023871"/>
                    </a:cubicBezTo>
                    <a:cubicBezTo>
                      <a:pt x="714929" y="1023871"/>
                      <a:pt x="714929" y="1023871"/>
                      <a:pt x="719214" y="1010323"/>
                    </a:cubicBezTo>
                    <a:cubicBezTo>
                      <a:pt x="727783" y="983941"/>
                      <a:pt x="743493" y="931890"/>
                      <a:pt x="772770" y="832066"/>
                    </a:cubicBezTo>
                    <a:cubicBezTo>
                      <a:pt x="772770" y="830640"/>
                      <a:pt x="774199" y="829927"/>
                      <a:pt x="775627" y="829927"/>
                    </a:cubicBezTo>
                    <a:cubicBezTo>
                      <a:pt x="788480" y="829927"/>
                      <a:pt x="849178" y="832066"/>
                      <a:pt x="883454" y="847039"/>
                    </a:cubicBezTo>
                    <a:cubicBezTo>
                      <a:pt x="894879" y="852744"/>
                      <a:pt x="904162" y="862013"/>
                      <a:pt x="912731" y="871995"/>
                    </a:cubicBezTo>
                    <a:cubicBezTo>
                      <a:pt x="912731" y="871995"/>
                      <a:pt x="912731" y="871995"/>
                      <a:pt x="932012" y="903369"/>
                    </a:cubicBezTo>
                    <a:lnTo>
                      <a:pt x="934154" y="901230"/>
                    </a:lnTo>
                    <a:cubicBezTo>
                      <a:pt x="966288" y="854170"/>
                      <a:pt x="984854" y="797127"/>
                      <a:pt x="984854" y="735807"/>
                    </a:cubicBezTo>
                    <a:cubicBezTo>
                      <a:pt x="984854" y="573236"/>
                      <a:pt x="852748" y="441325"/>
                      <a:pt x="689222" y="441325"/>
                    </a:cubicBezTo>
                    <a:close/>
                    <a:moveTo>
                      <a:pt x="720134" y="410928"/>
                    </a:moveTo>
                    <a:cubicBezTo>
                      <a:pt x="782985" y="416646"/>
                      <a:pt x="844408" y="440946"/>
                      <a:pt x="897261" y="483828"/>
                    </a:cubicBezTo>
                    <a:cubicBezTo>
                      <a:pt x="1019393" y="584601"/>
                      <a:pt x="1050104" y="757560"/>
                      <a:pt x="975825" y="891924"/>
                    </a:cubicBezTo>
                    <a:cubicBezTo>
                      <a:pt x="1061532" y="962680"/>
                      <a:pt x="1061532" y="962680"/>
                      <a:pt x="1061532" y="962680"/>
                    </a:cubicBezTo>
                    <a:cubicBezTo>
                      <a:pt x="1065103" y="966254"/>
                      <a:pt x="1065817" y="971971"/>
                      <a:pt x="1062960" y="975545"/>
                    </a:cubicBezTo>
                    <a:cubicBezTo>
                      <a:pt x="1001537" y="1050589"/>
                      <a:pt x="1001537" y="1050589"/>
                      <a:pt x="1001537" y="1050589"/>
                    </a:cubicBezTo>
                    <a:cubicBezTo>
                      <a:pt x="998680" y="1054162"/>
                      <a:pt x="992967" y="1054877"/>
                      <a:pt x="988681" y="1052018"/>
                    </a:cubicBezTo>
                    <a:cubicBezTo>
                      <a:pt x="904403" y="981977"/>
                      <a:pt x="904403" y="981977"/>
                      <a:pt x="904403" y="981977"/>
                    </a:cubicBezTo>
                    <a:cubicBezTo>
                      <a:pt x="787270" y="1084180"/>
                      <a:pt x="608715" y="1090612"/>
                      <a:pt x="484440" y="988409"/>
                    </a:cubicBezTo>
                    <a:cubicBezTo>
                      <a:pt x="345167" y="874057"/>
                      <a:pt x="324454" y="669651"/>
                      <a:pt x="438016" y="529569"/>
                    </a:cubicBezTo>
                    <a:cubicBezTo>
                      <a:pt x="509438" y="442375"/>
                      <a:pt x="615857" y="401637"/>
                      <a:pt x="720134" y="410928"/>
                    </a:cubicBezTo>
                    <a:close/>
                    <a:moveTo>
                      <a:pt x="89504" y="352425"/>
                    </a:moveTo>
                    <a:cubicBezTo>
                      <a:pt x="89504" y="352425"/>
                      <a:pt x="89504" y="352425"/>
                      <a:pt x="100228" y="356723"/>
                    </a:cubicBezTo>
                    <a:cubicBezTo>
                      <a:pt x="102373" y="361021"/>
                      <a:pt x="105232" y="365318"/>
                      <a:pt x="109522" y="368184"/>
                    </a:cubicBezTo>
                    <a:cubicBezTo>
                      <a:pt x="110952" y="368900"/>
                      <a:pt x="111667" y="369616"/>
                      <a:pt x="111667" y="370333"/>
                    </a:cubicBezTo>
                    <a:cubicBezTo>
                      <a:pt x="120961" y="391822"/>
                      <a:pt x="136690" y="429070"/>
                      <a:pt x="143124" y="434084"/>
                    </a:cubicBezTo>
                    <a:cubicBezTo>
                      <a:pt x="152418" y="441964"/>
                      <a:pt x="176726" y="457723"/>
                      <a:pt x="190310" y="457723"/>
                    </a:cubicBezTo>
                    <a:cubicBezTo>
                      <a:pt x="204609" y="457723"/>
                      <a:pt x="228917" y="441964"/>
                      <a:pt x="238211" y="434084"/>
                    </a:cubicBezTo>
                    <a:cubicBezTo>
                      <a:pt x="244646" y="429070"/>
                      <a:pt x="260374" y="391822"/>
                      <a:pt x="268954" y="370333"/>
                    </a:cubicBezTo>
                    <a:cubicBezTo>
                      <a:pt x="269669" y="369616"/>
                      <a:pt x="270384" y="368900"/>
                      <a:pt x="271098" y="368184"/>
                    </a:cubicBezTo>
                    <a:cubicBezTo>
                      <a:pt x="276103" y="365318"/>
                      <a:pt x="278248" y="361021"/>
                      <a:pt x="279678" y="356723"/>
                    </a:cubicBezTo>
                    <a:cubicBezTo>
                      <a:pt x="279678" y="356723"/>
                      <a:pt x="279678" y="356723"/>
                      <a:pt x="291117" y="352425"/>
                    </a:cubicBezTo>
                    <a:cubicBezTo>
                      <a:pt x="291117" y="352425"/>
                      <a:pt x="291117" y="352425"/>
                      <a:pt x="290402" y="353141"/>
                    </a:cubicBezTo>
                    <a:cubicBezTo>
                      <a:pt x="289687" y="357439"/>
                      <a:pt x="286827" y="368900"/>
                      <a:pt x="276818" y="376063"/>
                    </a:cubicBezTo>
                    <a:cubicBezTo>
                      <a:pt x="271813" y="387524"/>
                      <a:pt x="256085" y="427638"/>
                      <a:pt x="246790" y="439098"/>
                    </a:cubicBezTo>
                    <a:cubicBezTo>
                      <a:pt x="246790" y="439098"/>
                      <a:pt x="246790" y="439098"/>
                      <a:pt x="246790" y="459155"/>
                    </a:cubicBezTo>
                    <a:cubicBezTo>
                      <a:pt x="246790" y="459155"/>
                      <a:pt x="246790" y="459155"/>
                      <a:pt x="244646" y="461304"/>
                    </a:cubicBezTo>
                    <a:cubicBezTo>
                      <a:pt x="244646" y="462020"/>
                      <a:pt x="241786" y="465602"/>
                      <a:pt x="236781" y="469900"/>
                    </a:cubicBezTo>
                    <a:cubicBezTo>
                      <a:pt x="236781" y="469900"/>
                      <a:pt x="236781" y="469900"/>
                      <a:pt x="236781" y="446262"/>
                    </a:cubicBezTo>
                    <a:cubicBezTo>
                      <a:pt x="224627" y="455574"/>
                      <a:pt x="204609" y="467035"/>
                      <a:pt x="190310" y="467035"/>
                    </a:cubicBezTo>
                    <a:cubicBezTo>
                      <a:pt x="176726" y="467035"/>
                      <a:pt x="156708" y="455574"/>
                      <a:pt x="143839" y="446262"/>
                    </a:cubicBezTo>
                    <a:cubicBezTo>
                      <a:pt x="143839" y="446262"/>
                      <a:pt x="143839" y="446262"/>
                      <a:pt x="143839" y="469900"/>
                    </a:cubicBezTo>
                    <a:cubicBezTo>
                      <a:pt x="138835" y="465602"/>
                      <a:pt x="136690" y="462020"/>
                      <a:pt x="135975" y="461304"/>
                    </a:cubicBezTo>
                    <a:cubicBezTo>
                      <a:pt x="135975" y="461304"/>
                      <a:pt x="135975" y="461304"/>
                      <a:pt x="134545" y="459155"/>
                    </a:cubicBezTo>
                    <a:cubicBezTo>
                      <a:pt x="134545" y="459155"/>
                      <a:pt x="134545" y="459155"/>
                      <a:pt x="134545" y="439098"/>
                    </a:cubicBezTo>
                    <a:cubicBezTo>
                      <a:pt x="125251" y="427638"/>
                      <a:pt x="108807" y="387524"/>
                      <a:pt x="104517" y="376063"/>
                    </a:cubicBezTo>
                    <a:cubicBezTo>
                      <a:pt x="93793" y="369616"/>
                      <a:pt x="90934" y="358872"/>
                      <a:pt x="89504" y="353141"/>
                    </a:cubicBezTo>
                    <a:cubicBezTo>
                      <a:pt x="89504" y="353141"/>
                      <a:pt x="89504" y="353141"/>
                      <a:pt x="89504" y="352425"/>
                    </a:cubicBezTo>
                    <a:close/>
                    <a:moveTo>
                      <a:pt x="1277828" y="347662"/>
                    </a:moveTo>
                    <a:cubicBezTo>
                      <a:pt x="1278542" y="348378"/>
                      <a:pt x="1278542" y="349095"/>
                      <a:pt x="1277828" y="349095"/>
                    </a:cubicBezTo>
                    <a:cubicBezTo>
                      <a:pt x="1277113" y="354826"/>
                      <a:pt x="1274256" y="367005"/>
                      <a:pt x="1263540" y="374885"/>
                    </a:cubicBezTo>
                    <a:cubicBezTo>
                      <a:pt x="1258540" y="387064"/>
                      <a:pt x="1244967" y="426467"/>
                      <a:pt x="1234965" y="438646"/>
                    </a:cubicBezTo>
                    <a:cubicBezTo>
                      <a:pt x="1234965" y="438646"/>
                      <a:pt x="1234965" y="438646"/>
                      <a:pt x="1234965" y="478049"/>
                    </a:cubicBezTo>
                    <a:cubicBezTo>
                      <a:pt x="1232108" y="481631"/>
                      <a:pt x="1228536" y="484496"/>
                      <a:pt x="1224250" y="487362"/>
                    </a:cubicBezTo>
                    <a:cubicBezTo>
                      <a:pt x="1224250" y="487362"/>
                      <a:pt x="1224250" y="487362"/>
                      <a:pt x="1224250" y="447959"/>
                    </a:cubicBezTo>
                    <a:cubicBezTo>
                      <a:pt x="1211391" y="457989"/>
                      <a:pt x="1192103" y="470168"/>
                      <a:pt x="1177815" y="470168"/>
                    </a:cubicBezTo>
                    <a:cubicBezTo>
                      <a:pt x="1164242" y="470168"/>
                      <a:pt x="1144954" y="457989"/>
                      <a:pt x="1132095" y="448676"/>
                    </a:cubicBezTo>
                    <a:cubicBezTo>
                      <a:pt x="1132095" y="448676"/>
                      <a:pt x="1132095" y="448676"/>
                      <a:pt x="1132095" y="487362"/>
                    </a:cubicBezTo>
                    <a:cubicBezTo>
                      <a:pt x="1127809" y="484496"/>
                      <a:pt x="1124952" y="481631"/>
                      <a:pt x="1121380" y="478765"/>
                    </a:cubicBezTo>
                    <a:cubicBezTo>
                      <a:pt x="1121380" y="478765"/>
                      <a:pt x="1121380" y="478765"/>
                      <a:pt x="1121380" y="438646"/>
                    </a:cubicBezTo>
                    <a:cubicBezTo>
                      <a:pt x="1112093" y="426467"/>
                      <a:pt x="1097805" y="387064"/>
                      <a:pt x="1093519" y="374885"/>
                    </a:cubicBezTo>
                    <a:cubicBezTo>
                      <a:pt x="1082803" y="367721"/>
                      <a:pt x="1079946" y="356259"/>
                      <a:pt x="1078517" y="349811"/>
                    </a:cubicBezTo>
                    <a:cubicBezTo>
                      <a:pt x="1078517" y="349811"/>
                      <a:pt x="1078517" y="349811"/>
                      <a:pt x="1078517" y="349095"/>
                    </a:cubicBezTo>
                    <a:cubicBezTo>
                      <a:pt x="1078517" y="349095"/>
                      <a:pt x="1078517" y="349095"/>
                      <a:pt x="1090662" y="354826"/>
                    </a:cubicBezTo>
                    <a:cubicBezTo>
                      <a:pt x="1092090" y="359124"/>
                      <a:pt x="1094948" y="363423"/>
                      <a:pt x="1100663" y="366289"/>
                    </a:cubicBezTo>
                    <a:cubicBezTo>
                      <a:pt x="1101377" y="367005"/>
                      <a:pt x="1101377" y="367721"/>
                      <a:pt x="1102092" y="369154"/>
                    </a:cubicBezTo>
                    <a:cubicBezTo>
                      <a:pt x="1109950" y="391363"/>
                      <a:pt x="1124952" y="427900"/>
                      <a:pt x="1130667" y="433631"/>
                    </a:cubicBezTo>
                    <a:cubicBezTo>
                      <a:pt x="1139953" y="442228"/>
                      <a:pt x="1164957" y="459422"/>
                      <a:pt x="1177815" y="459422"/>
                    </a:cubicBezTo>
                    <a:cubicBezTo>
                      <a:pt x="1192103" y="459422"/>
                      <a:pt x="1216392" y="442228"/>
                      <a:pt x="1225678" y="433631"/>
                    </a:cubicBezTo>
                    <a:cubicBezTo>
                      <a:pt x="1232108" y="427900"/>
                      <a:pt x="1246395" y="391363"/>
                      <a:pt x="1254253" y="369154"/>
                    </a:cubicBezTo>
                    <a:cubicBezTo>
                      <a:pt x="1254968" y="367721"/>
                      <a:pt x="1255682" y="367005"/>
                      <a:pt x="1256397" y="366289"/>
                    </a:cubicBezTo>
                    <a:cubicBezTo>
                      <a:pt x="1262112" y="362706"/>
                      <a:pt x="1264969" y="358408"/>
                      <a:pt x="1266398" y="353393"/>
                    </a:cubicBezTo>
                    <a:cubicBezTo>
                      <a:pt x="1266398" y="353393"/>
                      <a:pt x="1266398" y="353393"/>
                      <a:pt x="1277828" y="347662"/>
                    </a:cubicBezTo>
                    <a:close/>
                    <a:moveTo>
                      <a:pt x="610174" y="263525"/>
                    </a:moveTo>
                    <a:cubicBezTo>
                      <a:pt x="610174" y="263525"/>
                      <a:pt x="650119" y="297100"/>
                      <a:pt x="668665" y="312102"/>
                    </a:cubicBezTo>
                    <a:cubicBezTo>
                      <a:pt x="669379" y="312817"/>
                      <a:pt x="670805" y="312817"/>
                      <a:pt x="671519" y="312102"/>
                    </a:cubicBezTo>
                    <a:cubicBezTo>
                      <a:pt x="697198" y="292100"/>
                      <a:pt x="730724" y="263525"/>
                      <a:pt x="730724" y="263525"/>
                    </a:cubicBezTo>
                    <a:cubicBezTo>
                      <a:pt x="730724" y="263525"/>
                      <a:pt x="782082" y="264239"/>
                      <a:pt x="810615" y="277812"/>
                    </a:cubicBezTo>
                    <a:cubicBezTo>
                      <a:pt x="833441" y="288528"/>
                      <a:pt x="849847" y="328533"/>
                      <a:pt x="855553" y="343535"/>
                    </a:cubicBezTo>
                    <a:cubicBezTo>
                      <a:pt x="856267" y="346392"/>
                      <a:pt x="854127" y="349250"/>
                      <a:pt x="851274" y="349250"/>
                    </a:cubicBezTo>
                    <a:cubicBezTo>
                      <a:pt x="851274" y="349250"/>
                      <a:pt x="851274" y="349250"/>
                      <a:pt x="488910" y="349250"/>
                    </a:cubicBezTo>
                    <a:cubicBezTo>
                      <a:pt x="485344" y="349250"/>
                      <a:pt x="483204" y="346392"/>
                      <a:pt x="484630" y="343535"/>
                    </a:cubicBezTo>
                    <a:cubicBezTo>
                      <a:pt x="490337" y="328533"/>
                      <a:pt x="506743" y="288528"/>
                      <a:pt x="529569" y="277812"/>
                    </a:cubicBezTo>
                    <a:cubicBezTo>
                      <a:pt x="557388" y="264239"/>
                      <a:pt x="610174" y="263525"/>
                      <a:pt x="610174" y="263525"/>
                    </a:cubicBezTo>
                    <a:close/>
                    <a:moveTo>
                      <a:pt x="1176585" y="200025"/>
                    </a:moveTo>
                    <a:cubicBezTo>
                      <a:pt x="1235141" y="200025"/>
                      <a:pt x="1280129" y="242935"/>
                      <a:pt x="1280129" y="297287"/>
                    </a:cubicBezTo>
                    <a:cubicBezTo>
                      <a:pt x="1280129" y="308730"/>
                      <a:pt x="1280129" y="319457"/>
                      <a:pt x="1276559" y="329469"/>
                    </a:cubicBezTo>
                    <a:cubicBezTo>
                      <a:pt x="1275845" y="329469"/>
                      <a:pt x="1274416" y="334476"/>
                      <a:pt x="1265847" y="343773"/>
                    </a:cubicBezTo>
                    <a:cubicBezTo>
                      <a:pt x="1265847" y="344488"/>
                      <a:pt x="1265133" y="344488"/>
                      <a:pt x="1264419" y="344488"/>
                    </a:cubicBezTo>
                    <a:cubicBezTo>
                      <a:pt x="1264419" y="344488"/>
                      <a:pt x="1264419" y="344488"/>
                      <a:pt x="1259420" y="344488"/>
                    </a:cubicBezTo>
                    <a:cubicBezTo>
                      <a:pt x="1258706" y="344488"/>
                      <a:pt x="1257992" y="343773"/>
                      <a:pt x="1257992" y="342342"/>
                    </a:cubicBezTo>
                    <a:cubicBezTo>
                      <a:pt x="1257992" y="338051"/>
                      <a:pt x="1257278" y="323748"/>
                      <a:pt x="1256564" y="277263"/>
                    </a:cubicBezTo>
                    <a:cubicBezTo>
                      <a:pt x="1256564" y="275832"/>
                      <a:pt x="1254422" y="274402"/>
                      <a:pt x="1252993" y="275832"/>
                    </a:cubicBezTo>
                    <a:cubicBezTo>
                      <a:pt x="1238711" y="286560"/>
                      <a:pt x="1205863" y="283699"/>
                      <a:pt x="1202292" y="282984"/>
                    </a:cubicBezTo>
                    <a:cubicBezTo>
                      <a:pt x="1202292" y="282984"/>
                      <a:pt x="1202292" y="282984"/>
                      <a:pt x="1160160" y="287990"/>
                    </a:cubicBezTo>
                    <a:cubicBezTo>
                      <a:pt x="1158018" y="287990"/>
                      <a:pt x="1156590" y="286560"/>
                      <a:pt x="1158018" y="285129"/>
                    </a:cubicBezTo>
                    <a:cubicBezTo>
                      <a:pt x="1160160" y="282269"/>
                      <a:pt x="1161589" y="278693"/>
                      <a:pt x="1163017" y="275832"/>
                    </a:cubicBezTo>
                    <a:cubicBezTo>
                      <a:pt x="1163731" y="273687"/>
                      <a:pt x="1161589" y="272256"/>
                      <a:pt x="1160160" y="272972"/>
                    </a:cubicBezTo>
                    <a:cubicBezTo>
                      <a:pt x="1148021" y="282269"/>
                      <a:pt x="1128026" y="292281"/>
                      <a:pt x="1120885" y="295857"/>
                    </a:cubicBezTo>
                    <a:cubicBezTo>
                      <a:pt x="1119457" y="297287"/>
                      <a:pt x="1117314" y="295857"/>
                      <a:pt x="1118028" y="294426"/>
                    </a:cubicBezTo>
                    <a:cubicBezTo>
                      <a:pt x="1118028" y="294426"/>
                      <a:pt x="1118028" y="294426"/>
                      <a:pt x="1120171" y="280123"/>
                    </a:cubicBezTo>
                    <a:cubicBezTo>
                      <a:pt x="1120171" y="278693"/>
                      <a:pt x="1118743" y="277978"/>
                      <a:pt x="1117314" y="278693"/>
                    </a:cubicBezTo>
                    <a:cubicBezTo>
                      <a:pt x="1093035" y="288705"/>
                      <a:pt x="1094463" y="330900"/>
                      <a:pt x="1094463" y="340912"/>
                    </a:cubicBezTo>
                    <a:cubicBezTo>
                      <a:pt x="1094463" y="342342"/>
                      <a:pt x="1093749" y="343058"/>
                      <a:pt x="1092321" y="343058"/>
                    </a:cubicBezTo>
                    <a:cubicBezTo>
                      <a:pt x="1092321" y="343058"/>
                      <a:pt x="1092321" y="343058"/>
                      <a:pt x="1089464" y="342342"/>
                    </a:cubicBezTo>
                    <a:cubicBezTo>
                      <a:pt x="1088750" y="342342"/>
                      <a:pt x="1087322" y="342342"/>
                      <a:pt x="1087322" y="341627"/>
                    </a:cubicBezTo>
                    <a:cubicBezTo>
                      <a:pt x="1086608" y="340197"/>
                      <a:pt x="1084466" y="336621"/>
                      <a:pt x="1078039" y="330185"/>
                    </a:cubicBezTo>
                    <a:cubicBezTo>
                      <a:pt x="1073754" y="319457"/>
                      <a:pt x="1073754" y="308730"/>
                      <a:pt x="1073754" y="297287"/>
                    </a:cubicBezTo>
                    <a:cubicBezTo>
                      <a:pt x="1073754" y="242935"/>
                      <a:pt x="1118743" y="200025"/>
                      <a:pt x="1176585" y="200025"/>
                    </a:cubicBezTo>
                    <a:close/>
                    <a:moveTo>
                      <a:pt x="188723" y="200025"/>
                    </a:moveTo>
                    <a:cubicBezTo>
                      <a:pt x="244400" y="200025"/>
                      <a:pt x="287942" y="246315"/>
                      <a:pt x="287942" y="302574"/>
                    </a:cubicBezTo>
                    <a:cubicBezTo>
                      <a:pt x="287942" y="314681"/>
                      <a:pt x="287942" y="326787"/>
                      <a:pt x="283659" y="337470"/>
                    </a:cubicBezTo>
                    <a:cubicBezTo>
                      <a:pt x="283659" y="338182"/>
                      <a:pt x="283659" y="338182"/>
                      <a:pt x="283659" y="338182"/>
                    </a:cubicBezTo>
                    <a:cubicBezTo>
                      <a:pt x="273666" y="346016"/>
                      <a:pt x="273666" y="351001"/>
                      <a:pt x="273666" y="351001"/>
                    </a:cubicBezTo>
                    <a:cubicBezTo>
                      <a:pt x="267241" y="351001"/>
                      <a:pt x="267241" y="351001"/>
                      <a:pt x="267241" y="351001"/>
                    </a:cubicBezTo>
                    <a:cubicBezTo>
                      <a:pt x="267241" y="351001"/>
                      <a:pt x="272238" y="291180"/>
                      <a:pt x="242972" y="281922"/>
                    </a:cubicBezTo>
                    <a:cubicBezTo>
                      <a:pt x="242972" y="281922"/>
                      <a:pt x="124480" y="334621"/>
                      <a:pt x="113059" y="276937"/>
                    </a:cubicBezTo>
                    <a:cubicBezTo>
                      <a:pt x="111632" y="348152"/>
                      <a:pt x="111632" y="352425"/>
                      <a:pt x="111632" y="352425"/>
                    </a:cubicBezTo>
                    <a:cubicBezTo>
                      <a:pt x="104494" y="352425"/>
                      <a:pt x="104494" y="352425"/>
                      <a:pt x="104494" y="352425"/>
                    </a:cubicBezTo>
                    <a:cubicBezTo>
                      <a:pt x="95928" y="341030"/>
                      <a:pt x="93787" y="336758"/>
                      <a:pt x="93787" y="336758"/>
                    </a:cubicBezTo>
                    <a:cubicBezTo>
                      <a:pt x="89504" y="326075"/>
                      <a:pt x="90218" y="313969"/>
                      <a:pt x="90218" y="302574"/>
                    </a:cubicBezTo>
                    <a:cubicBezTo>
                      <a:pt x="90218" y="246315"/>
                      <a:pt x="133046" y="200025"/>
                      <a:pt x="188723" y="200025"/>
                    </a:cubicBezTo>
                    <a:close/>
                    <a:moveTo>
                      <a:pt x="759004" y="188912"/>
                    </a:moveTo>
                    <a:cubicBezTo>
                      <a:pt x="759739" y="207486"/>
                      <a:pt x="761208" y="238204"/>
                      <a:pt x="783243" y="240347"/>
                    </a:cubicBezTo>
                    <a:cubicBezTo>
                      <a:pt x="762677" y="260350"/>
                      <a:pt x="743579" y="259636"/>
                      <a:pt x="734030" y="257493"/>
                    </a:cubicBezTo>
                    <a:cubicBezTo>
                      <a:pt x="734030" y="257493"/>
                      <a:pt x="734030" y="257493"/>
                      <a:pt x="734030" y="239633"/>
                    </a:cubicBezTo>
                    <a:cubicBezTo>
                      <a:pt x="738437" y="233918"/>
                      <a:pt x="743579" y="224631"/>
                      <a:pt x="752393" y="205343"/>
                    </a:cubicBezTo>
                    <a:cubicBezTo>
                      <a:pt x="755331" y="198913"/>
                      <a:pt x="756800" y="193198"/>
                      <a:pt x="759004" y="188912"/>
                    </a:cubicBezTo>
                    <a:close/>
                    <a:moveTo>
                      <a:pt x="580565" y="188912"/>
                    </a:moveTo>
                    <a:cubicBezTo>
                      <a:pt x="582697" y="193913"/>
                      <a:pt x="585540" y="199628"/>
                      <a:pt x="587673" y="206057"/>
                    </a:cubicBezTo>
                    <a:cubicBezTo>
                      <a:pt x="596203" y="225346"/>
                      <a:pt x="601889" y="234632"/>
                      <a:pt x="605443" y="240347"/>
                    </a:cubicBezTo>
                    <a:cubicBezTo>
                      <a:pt x="605443" y="240347"/>
                      <a:pt x="605443" y="240347"/>
                      <a:pt x="605443" y="257493"/>
                    </a:cubicBezTo>
                    <a:cubicBezTo>
                      <a:pt x="596203" y="259636"/>
                      <a:pt x="577010" y="260350"/>
                      <a:pt x="557818" y="241062"/>
                    </a:cubicBezTo>
                    <a:cubicBezTo>
                      <a:pt x="578432" y="238919"/>
                      <a:pt x="579854" y="208200"/>
                      <a:pt x="580565" y="188912"/>
                    </a:cubicBezTo>
                    <a:close/>
                    <a:moveTo>
                      <a:pt x="770542" y="149225"/>
                    </a:moveTo>
                    <a:cubicBezTo>
                      <a:pt x="770542" y="149940"/>
                      <a:pt x="770542" y="149940"/>
                      <a:pt x="770542" y="149940"/>
                    </a:cubicBezTo>
                    <a:cubicBezTo>
                      <a:pt x="769823" y="154948"/>
                      <a:pt x="766947" y="166393"/>
                      <a:pt x="756162" y="172832"/>
                    </a:cubicBezTo>
                    <a:cubicBezTo>
                      <a:pt x="751129" y="184277"/>
                      <a:pt x="734593" y="223622"/>
                      <a:pt x="725965" y="235783"/>
                    </a:cubicBezTo>
                    <a:cubicBezTo>
                      <a:pt x="725965" y="235783"/>
                      <a:pt x="725965" y="235783"/>
                      <a:pt x="725965" y="255813"/>
                    </a:cubicBezTo>
                    <a:cubicBezTo>
                      <a:pt x="725965" y="255813"/>
                      <a:pt x="725965" y="255813"/>
                      <a:pt x="724527" y="257959"/>
                    </a:cubicBezTo>
                    <a:cubicBezTo>
                      <a:pt x="724527" y="257959"/>
                      <a:pt x="721651" y="261536"/>
                      <a:pt x="716618" y="265113"/>
                    </a:cubicBezTo>
                    <a:cubicBezTo>
                      <a:pt x="716618" y="265113"/>
                      <a:pt x="716618" y="265113"/>
                      <a:pt x="716618" y="242937"/>
                    </a:cubicBezTo>
                    <a:cubicBezTo>
                      <a:pt x="704396" y="252236"/>
                      <a:pt x="684264" y="262967"/>
                      <a:pt x="670604" y="262967"/>
                    </a:cubicBezTo>
                    <a:cubicBezTo>
                      <a:pt x="656943" y="262967"/>
                      <a:pt x="637531" y="252236"/>
                      <a:pt x="625308" y="242937"/>
                    </a:cubicBezTo>
                    <a:cubicBezTo>
                      <a:pt x="625308" y="242937"/>
                      <a:pt x="625308" y="242937"/>
                      <a:pt x="625308" y="265113"/>
                    </a:cubicBezTo>
                    <a:cubicBezTo>
                      <a:pt x="620275" y="261536"/>
                      <a:pt x="618118" y="257959"/>
                      <a:pt x="617399" y="257959"/>
                    </a:cubicBezTo>
                    <a:cubicBezTo>
                      <a:pt x="617399" y="257959"/>
                      <a:pt x="617399" y="257959"/>
                      <a:pt x="615961" y="255813"/>
                    </a:cubicBezTo>
                    <a:cubicBezTo>
                      <a:pt x="615961" y="255813"/>
                      <a:pt x="615961" y="255813"/>
                      <a:pt x="615961" y="235783"/>
                    </a:cubicBezTo>
                    <a:cubicBezTo>
                      <a:pt x="607334" y="223622"/>
                      <a:pt x="590797" y="184277"/>
                      <a:pt x="586483" y="172832"/>
                    </a:cubicBezTo>
                    <a:cubicBezTo>
                      <a:pt x="575699" y="166393"/>
                      <a:pt x="573542" y="156378"/>
                      <a:pt x="572104" y="150656"/>
                    </a:cubicBezTo>
                    <a:cubicBezTo>
                      <a:pt x="572104" y="149940"/>
                      <a:pt x="572104" y="149940"/>
                      <a:pt x="572104" y="149940"/>
                    </a:cubicBezTo>
                    <a:cubicBezTo>
                      <a:pt x="572104" y="149940"/>
                      <a:pt x="572104" y="149940"/>
                      <a:pt x="582169" y="154948"/>
                    </a:cubicBezTo>
                    <a:cubicBezTo>
                      <a:pt x="583607" y="158525"/>
                      <a:pt x="586483" y="162817"/>
                      <a:pt x="592235" y="164963"/>
                    </a:cubicBezTo>
                    <a:cubicBezTo>
                      <a:pt x="592954" y="165678"/>
                      <a:pt x="593673" y="166393"/>
                      <a:pt x="594392" y="167824"/>
                    </a:cubicBezTo>
                    <a:cubicBezTo>
                      <a:pt x="603020" y="188570"/>
                      <a:pt x="618118" y="225053"/>
                      <a:pt x="623870" y="230776"/>
                    </a:cubicBezTo>
                    <a:cubicBezTo>
                      <a:pt x="633936" y="238645"/>
                      <a:pt x="656943" y="253667"/>
                      <a:pt x="670604" y="253667"/>
                    </a:cubicBezTo>
                    <a:cubicBezTo>
                      <a:pt x="684264" y="253667"/>
                      <a:pt x="708710" y="238645"/>
                      <a:pt x="718056" y="230776"/>
                    </a:cubicBezTo>
                    <a:cubicBezTo>
                      <a:pt x="723808" y="225053"/>
                      <a:pt x="738907" y="188570"/>
                      <a:pt x="747534" y="167824"/>
                    </a:cubicBezTo>
                    <a:cubicBezTo>
                      <a:pt x="748253" y="166393"/>
                      <a:pt x="748972" y="165678"/>
                      <a:pt x="749691" y="164963"/>
                    </a:cubicBezTo>
                    <a:cubicBezTo>
                      <a:pt x="755443" y="162817"/>
                      <a:pt x="758319" y="158525"/>
                      <a:pt x="759757" y="154948"/>
                    </a:cubicBezTo>
                    <a:cubicBezTo>
                      <a:pt x="759757" y="154948"/>
                      <a:pt x="759757" y="154948"/>
                      <a:pt x="770542" y="149225"/>
                    </a:cubicBezTo>
                    <a:close/>
                    <a:moveTo>
                      <a:pt x="671324" y="0"/>
                    </a:moveTo>
                    <a:cubicBezTo>
                      <a:pt x="725967" y="0"/>
                      <a:pt x="769824" y="44268"/>
                      <a:pt x="769824" y="99959"/>
                    </a:cubicBezTo>
                    <a:cubicBezTo>
                      <a:pt x="769824" y="111383"/>
                      <a:pt x="770543" y="122807"/>
                      <a:pt x="766229" y="133517"/>
                    </a:cubicBezTo>
                    <a:cubicBezTo>
                      <a:pt x="766229" y="133517"/>
                      <a:pt x="764791" y="138515"/>
                      <a:pt x="755445" y="148511"/>
                    </a:cubicBezTo>
                    <a:cubicBezTo>
                      <a:pt x="754726" y="149225"/>
                      <a:pt x="754726" y="149225"/>
                      <a:pt x="754007" y="149225"/>
                    </a:cubicBezTo>
                    <a:cubicBezTo>
                      <a:pt x="754007" y="149225"/>
                      <a:pt x="754007" y="149225"/>
                      <a:pt x="748255" y="149225"/>
                    </a:cubicBezTo>
                    <a:cubicBezTo>
                      <a:pt x="747536" y="149225"/>
                      <a:pt x="747536" y="149225"/>
                      <a:pt x="747536" y="149225"/>
                    </a:cubicBezTo>
                    <a:cubicBezTo>
                      <a:pt x="747536" y="149225"/>
                      <a:pt x="747536" y="149225"/>
                      <a:pt x="617401" y="79968"/>
                    </a:cubicBezTo>
                    <a:cubicBezTo>
                      <a:pt x="617401" y="79968"/>
                      <a:pt x="617401" y="79968"/>
                      <a:pt x="616682" y="79968"/>
                    </a:cubicBezTo>
                    <a:cubicBezTo>
                      <a:pt x="586485" y="89250"/>
                      <a:pt x="587204" y="149225"/>
                      <a:pt x="577138" y="140657"/>
                    </a:cubicBezTo>
                    <a:cubicBezTo>
                      <a:pt x="573543" y="129233"/>
                      <a:pt x="572105" y="111383"/>
                      <a:pt x="572105" y="99959"/>
                    </a:cubicBezTo>
                    <a:cubicBezTo>
                      <a:pt x="572105" y="44268"/>
                      <a:pt x="615244" y="0"/>
                      <a:pt x="67132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DB9608F6-9453-4308-8A20-3FFAD5E0B1C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40204" y="5049199"/>
              <a:ext cx="844780" cy="843965"/>
              <a:chOff x="5273675" y="2606675"/>
              <a:chExt cx="1646238" cy="1644650"/>
            </a:xfrm>
          </p:grpSpPr>
          <p:sp>
            <p:nvSpPr>
              <p:cNvPr id="61" name="AutoShape 3">
                <a:extLst>
                  <a:ext uri="{FF2B5EF4-FFF2-40B4-BE49-F238E27FC236}">
                    <a16:creationId xmlns:a16="http://schemas.microsoft.com/office/drawing/2014/main" id="{38E9D437-5057-48F4-9C44-8BF66365BED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174">
                <a:extLst>
                  <a:ext uri="{FF2B5EF4-FFF2-40B4-BE49-F238E27FC236}">
                    <a16:creationId xmlns:a16="http://schemas.microsoft.com/office/drawing/2014/main" id="{F69002F8-F5A5-4B6B-ACD7-496288F461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5113" y="2930525"/>
                <a:ext cx="1502259" cy="993775"/>
              </a:xfrm>
              <a:custGeom>
                <a:avLst/>
                <a:gdLst>
                  <a:gd name="connsiteX0" fmla="*/ 484981 w 1502259"/>
                  <a:gd name="connsiteY0" fmla="*/ 385763 h 993775"/>
                  <a:gd name="connsiteX1" fmla="*/ 619125 w 1502259"/>
                  <a:gd name="connsiteY1" fmla="*/ 519113 h 993775"/>
                  <a:gd name="connsiteX2" fmla="*/ 484981 w 1502259"/>
                  <a:gd name="connsiteY2" fmla="*/ 652463 h 993775"/>
                  <a:gd name="connsiteX3" fmla="*/ 350837 w 1502259"/>
                  <a:gd name="connsiteY3" fmla="*/ 519113 h 993775"/>
                  <a:gd name="connsiteX4" fmla="*/ 484981 w 1502259"/>
                  <a:gd name="connsiteY4" fmla="*/ 385763 h 993775"/>
                  <a:gd name="connsiteX5" fmla="*/ 485774 w 1502259"/>
                  <a:gd name="connsiteY5" fmla="*/ 246062 h 993775"/>
                  <a:gd name="connsiteX6" fmla="*/ 214311 w 1502259"/>
                  <a:gd name="connsiteY6" fmla="*/ 518319 h 993775"/>
                  <a:gd name="connsiteX7" fmla="*/ 485774 w 1502259"/>
                  <a:gd name="connsiteY7" fmla="*/ 790576 h 993775"/>
                  <a:gd name="connsiteX8" fmla="*/ 757237 w 1502259"/>
                  <a:gd name="connsiteY8" fmla="*/ 518319 h 993775"/>
                  <a:gd name="connsiteX9" fmla="*/ 485774 w 1502259"/>
                  <a:gd name="connsiteY9" fmla="*/ 246062 h 993775"/>
                  <a:gd name="connsiteX10" fmla="*/ 485774 w 1502259"/>
                  <a:gd name="connsiteY10" fmla="*/ 215899 h 993775"/>
                  <a:gd name="connsiteX11" fmla="*/ 788987 w 1502259"/>
                  <a:gd name="connsiteY11" fmla="*/ 519112 h 993775"/>
                  <a:gd name="connsiteX12" fmla="*/ 485774 w 1502259"/>
                  <a:gd name="connsiteY12" fmla="*/ 822325 h 993775"/>
                  <a:gd name="connsiteX13" fmla="*/ 182561 w 1502259"/>
                  <a:gd name="connsiteY13" fmla="*/ 519112 h 993775"/>
                  <a:gd name="connsiteX14" fmla="*/ 485774 w 1502259"/>
                  <a:gd name="connsiteY14" fmla="*/ 215899 h 993775"/>
                  <a:gd name="connsiteX15" fmla="*/ 1210014 w 1502259"/>
                  <a:gd name="connsiteY15" fmla="*/ 159164 h 993775"/>
                  <a:gd name="connsiteX16" fmla="*/ 1160255 w 1502259"/>
                  <a:gd name="connsiteY16" fmla="*/ 169871 h 993775"/>
                  <a:gd name="connsiteX17" fmla="*/ 1094623 w 1502259"/>
                  <a:gd name="connsiteY17" fmla="*/ 338509 h 993775"/>
                  <a:gd name="connsiteX18" fmla="*/ 1262270 w 1502259"/>
                  <a:gd name="connsiteY18" fmla="*/ 405679 h 993775"/>
                  <a:gd name="connsiteX19" fmla="*/ 1327189 w 1502259"/>
                  <a:gd name="connsiteY19" fmla="*/ 237040 h 993775"/>
                  <a:gd name="connsiteX20" fmla="*/ 1210014 w 1502259"/>
                  <a:gd name="connsiteY20" fmla="*/ 159164 h 993775"/>
                  <a:gd name="connsiteX21" fmla="*/ 485339 w 1502259"/>
                  <a:gd name="connsiteY21" fmla="*/ 63500 h 993775"/>
                  <a:gd name="connsiteX22" fmla="*/ 434623 w 1502259"/>
                  <a:gd name="connsiteY22" fmla="*/ 65640 h 993775"/>
                  <a:gd name="connsiteX23" fmla="*/ 399621 w 1502259"/>
                  <a:gd name="connsiteY23" fmla="*/ 159813 h 993775"/>
                  <a:gd name="connsiteX24" fmla="*/ 391050 w 1502259"/>
                  <a:gd name="connsiteY24" fmla="*/ 161953 h 993775"/>
                  <a:gd name="connsiteX25" fmla="*/ 326047 w 1502259"/>
                  <a:gd name="connsiteY25" fmla="*/ 183356 h 993775"/>
                  <a:gd name="connsiteX26" fmla="*/ 318904 w 1502259"/>
                  <a:gd name="connsiteY26" fmla="*/ 186923 h 993775"/>
                  <a:gd name="connsiteX27" fmla="*/ 233901 w 1502259"/>
                  <a:gd name="connsiteY27" fmla="*/ 138410 h 993775"/>
                  <a:gd name="connsiteX28" fmla="*/ 193899 w 1502259"/>
                  <a:gd name="connsiteY28" fmla="*/ 169087 h 993775"/>
                  <a:gd name="connsiteX29" fmla="*/ 156755 w 1502259"/>
                  <a:gd name="connsiteY29" fmla="*/ 204045 h 993775"/>
                  <a:gd name="connsiteX30" fmla="*/ 186756 w 1502259"/>
                  <a:gd name="connsiteY30" fmla="*/ 288229 h 993775"/>
                  <a:gd name="connsiteX31" fmla="*/ 181042 w 1502259"/>
                  <a:gd name="connsiteY31" fmla="*/ 295364 h 993775"/>
                  <a:gd name="connsiteX32" fmla="*/ 136754 w 1502259"/>
                  <a:gd name="connsiteY32" fmla="*/ 365993 h 993775"/>
                  <a:gd name="connsiteX33" fmla="*/ 133183 w 1502259"/>
                  <a:gd name="connsiteY33" fmla="*/ 373127 h 993775"/>
                  <a:gd name="connsiteX34" fmla="*/ 49608 w 1502259"/>
                  <a:gd name="connsiteY34" fmla="*/ 388823 h 993775"/>
                  <a:gd name="connsiteX35" fmla="*/ 38893 w 1502259"/>
                  <a:gd name="connsiteY35" fmla="*/ 438049 h 993775"/>
                  <a:gd name="connsiteX36" fmla="*/ 31750 w 1502259"/>
                  <a:gd name="connsiteY36" fmla="*/ 488702 h 993775"/>
                  <a:gd name="connsiteX37" fmla="*/ 101753 w 1502259"/>
                  <a:gd name="connsiteY37" fmla="*/ 530081 h 993775"/>
                  <a:gd name="connsiteX38" fmla="*/ 102467 w 1502259"/>
                  <a:gd name="connsiteY38" fmla="*/ 537929 h 993775"/>
                  <a:gd name="connsiteX39" fmla="*/ 118896 w 1502259"/>
                  <a:gd name="connsiteY39" fmla="*/ 627107 h 993775"/>
                  <a:gd name="connsiteX40" fmla="*/ 121039 w 1502259"/>
                  <a:gd name="connsiteY40" fmla="*/ 635668 h 993775"/>
                  <a:gd name="connsiteX41" fmla="*/ 68895 w 1502259"/>
                  <a:gd name="connsiteY41" fmla="*/ 699163 h 993775"/>
                  <a:gd name="connsiteX42" fmla="*/ 92467 w 1502259"/>
                  <a:gd name="connsiteY42" fmla="*/ 744109 h 993775"/>
                  <a:gd name="connsiteX43" fmla="*/ 119611 w 1502259"/>
                  <a:gd name="connsiteY43" fmla="*/ 786914 h 993775"/>
                  <a:gd name="connsiteX44" fmla="*/ 206757 w 1502259"/>
                  <a:gd name="connsiteY44" fmla="*/ 772646 h 993775"/>
                  <a:gd name="connsiteX45" fmla="*/ 212471 w 1502259"/>
                  <a:gd name="connsiteY45" fmla="*/ 777640 h 993775"/>
                  <a:gd name="connsiteX46" fmla="*/ 274617 w 1502259"/>
                  <a:gd name="connsiteY46" fmla="*/ 827580 h 993775"/>
                  <a:gd name="connsiteX47" fmla="*/ 281760 w 1502259"/>
                  <a:gd name="connsiteY47" fmla="*/ 831860 h 993775"/>
                  <a:gd name="connsiteX48" fmla="*/ 282474 w 1502259"/>
                  <a:gd name="connsiteY48" fmla="*/ 923892 h 993775"/>
                  <a:gd name="connsiteX49" fmla="*/ 329619 w 1502259"/>
                  <a:gd name="connsiteY49" fmla="*/ 943868 h 993775"/>
                  <a:gd name="connsiteX50" fmla="*/ 378192 w 1502259"/>
                  <a:gd name="connsiteY50" fmla="*/ 958850 h 993775"/>
                  <a:gd name="connsiteX51" fmla="*/ 441051 w 1502259"/>
                  <a:gd name="connsiteY51" fmla="*/ 886081 h 993775"/>
                  <a:gd name="connsiteX52" fmla="*/ 448909 w 1502259"/>
                  <a:gd name="connsiteY52" fmla="*/ 886794 h 993775"/>
                  <a:gd name="connsiteX53" fmla="*/ 485339 w 1502259"/>
                  <a:gd name="connsiteY53" fmla="*/ 888221 h 993775"/>
                  <a:gd name="connsiteX54" fmla="*/ 521055 w 1502259"/>
                  <a:gd name="connsiteY54" fmla="*/ 886794 h 993775"/>
                  <a:gd name="connsiteX55" fmla="*/ 528912 w 1502259"/>
                  <a:gd name="connsiteY55" fmla="*/ 886081 h 993775"/>
                  <a:gd name="connsiteX56" fmla="*/ 591057 w 1502259"/>
                  <a:gd name="connsiteY56" fmla="*/ 958850 h 993775"/>
                  <a:gd name="connsiteX57" fmla="*/ 639630 w 1502259"/>
                  <a:gd name="connsiteY57" fmla="*/ 943868 h 993775"/>
                  <a:gd name="connsiteX58" fmla="*/ 686775 w 1502259"/>
                  <a:gd name="connsiteY58" fmla="*/ 924606 h 993775"/>
                  <a:gd name="connsiteX59" fmla="*/ 687489 w 1502259"/>
                  <a:gd name="connsiteY59" fmla="*/ 832574 h 993775"/>
                  <a:gd name="connsiteX60" fmla="*/ 695347 w 1502259"/>
                  <a:gd name="connsiteY60" fmla="*/ 828293 h 993775"/>
                  <a:gd name="connsiteX61" fmla="*/ 758206 w 1502259"/>
                  <a:gd name="connsiteY61" fmla="*/ 778353 h 993775"/>
                  <a:gd name="connsiteX62" fmla="*/ 763921 w 1502259"/>
                  <a:gd name="connsiteY62" fmla="*/ 772646 h 993775"/>
                  <a:gd name="connsiteX63" fmla="*/ 850353 w 1502259"/>
                  <a:gd name="connsiteY63" fmla="*/ 786914 h 993775"/>
                  <a:gd name="connsiteX64" fmla="*/ 877497 w 1502259"/>
                  <a:gd name="connsiteY64" fmla="*/ 744109 h 993775"/>
                  <a:gd name="connsiteX65" fmla="*/ 900355 w 1502259"/>
                  <a:gd name="connsiteY65" fmla="*/ 699163 h 993775"/>
                  <a:gd name="connsiteX66" fmla="*/ 849638 w 1502259"/>
                  <a:gd name="connsiteY66" fmla="*/ 636381 h 993775"/>
                  <a:gd name="connsiteX67" fmla="*/ 852496 w 1502259"/>
                  <a:gd name="connsiteY67" fmla="*/ 627820 h 993775"/>
                  <a:gd name="connsiteX68" fmla="*/ 868211 w 1502259"/>
                  <a:gd name="connsiteY68" fmla="*/ 538642 h 993775"/>
                  <a:gd name="connsiteX69" fmla="*/ 868211 w 1502259"/>
                  <a:gd name="connsiteY69" fmla="*/ 530081 h 993775"/>
                  <a:gd name="connsiteX70" fmla="*/ 938213 w 1502259"/>
                  <a:gd name="connsiteY70" fmla="*/ 488702 h 993775"/>
                  <a:gd name="connsiteX71" fmla="*/ 931784 w 1502259"/>
                  <a:gd name="connsiteY71" fmla="*/ 438762 h 993775"/>
                  <a:gd name="connsiteX72" fmla="*/ 920355 w 1502259"/>
                  <a:gd name="connsiteY72" fmla="*/ 389536 h 993775"/>
                  <a:gd name="connsiteX73" fmla="*/ 838209 w 1502259"/>
                  <a:gd name="connsiteY73" fmla="*/ 373841 h 993775"/>
                  <a:gd name="connsiteX74" fmla="*/ 834638 w 1502259"/>
                  <a:gd name="connsiteY74" fmla="*/ 366706 h 993775"/>
                  <a:gd name="connsiteX75" fmla="*/ 790350 w 1502259"/>
                  <a:gd name="connsiteY75" fmla="*/ 295364 h 993775"/>
                  <a:gd name="connsiteX76" fmla="*/ 784636 w 1502259"/>
                  <a:gd name="connsiteY76" fmla="*/ 288229 h 993775"/>
                  <a:gd name="connsiteX77" fmla="*/ 813923 w 1502259"/>
                  <a:gd name="connsiteY77" fmla="*/ 204045 h 993775"/>
                  <a:gd name="connsiteX78" fmla="*/ 776779 w 1502259"/>
                  <a:gd name="connsiteY78" fmla="*/ 169801 h 993775"/>
                  <a:gd name="connsiteX79" fmla="*/ 736777 w 1502259"/>
                  <a:gd name="connsiteY79" fmla="*/ 139123 h 993775"/>
                  <a:gd name="connsiteX80" fmla="*/ 651774 w 1502259"/>
                  <a:gd name="connsiteY80" fmla="*/ 186923 h 993775"/>
                  <a:gd name="connsiteX81" fmla="*/ 644631 w 1502259"/>
                  <a:gd name="connsiteY81" fmla="*/ 183356 h 993775"/>
                  <a:gd name="connsiteX82" fmla="*/ 578914 w 1502259"/>
                  <a:gd name="connsiteY82" fmla="*/ 161953 h 993775"/>
                  <a:gd name="connsiteX83" fmla="*/ 571056 w 1502259"/>
                  <a:gd name="connsiteY83" fmla="*/ 159813 h 993775"/>
                  <a:gd name="connsiteX84" fmla="*/ 536055 w 1502259"/>
                  <a:gd name="connsiteY84" fmla="*/ 65640 h 993775"/>
                  <a:gd name="connsiteX85" fmla="*/ 485339 w 1502259"/>
                  <a:gd name="connsiteY85" fmla="*/ 63500 h 993775"/>
                  <a:gd name="connsiteX86" fmla="*/ 485339 w 1502259"/>
                  <a:gd name="connsiteY86" fmla="*/ 31750 h 993775"/>
                  <a:gd name="connsiteX87" fmla="*/ 548861 w 1502259"/>
                  <a:gd name="connsiteY87" fmla="*/ 35318 h 993775"/>
                  <a:gd name="connsiteX88" fmla="*/ 558139 w 1502259"/>
                  <a:gd name="connsiteY88" fmla="*/ 36032 h 993775"/>
                  <a:gd name="connsiteX89" fmla="*/ 594540 w 1502259"/>
                  <a:gd name="connsiteY89" fmla="*/ 133091 h 993775"/>
                  <a:gd name="connsiteX90" fmla="*/ 649497 w 1502259"/>
                  <a:gd name="connsiteY90" fmla="*/ 151646 h 993775"/>
                  <a:gd name="connsiteX91" fmla="*/ 738000 w 1502259"/>
                  <a:gd name="connsiteY91" fmla="*/ 101690 h 993775"/>
                  <a:gd name="connsiteX92" fmla="*/ 745851 w 1502259"/>
                  <a:gd name="connsiteY92" fmla="*/ 106685 h 993775"/>
                  <a:gd name="connsiteX93" fmla="*/ 796526 w 1502259"/>
                  <a:gd name="connsiteY93" fmla="*/ 145223 h 993775"/>
                  <a:gd name="connsiteX94" fmla="*/ 843632 w 1502259"/>
                  <a:gd name="connsiteY94" fmla="*/ 188757 h 993775"/>
                  <a:gd name="connsiteX95" fmla="*/ 850056 w 1502259"/>
                  <a:gd name="connsiteY95" fmla="*/ 195894 h 993775"/>
                  <a:gd name="connsiteX96" fmla="*/ 820079 w 1502259"/>
                  <a:gd name="connsiteY96" fmla="*/ 282248 h 993775"/>
                  <a:gd name="connsiteX97" fmla="*/ 858621 w 1502259"/>
                  <a:gd name="connsiteY97" fmla="*/ 345764 h 993775"/>
                  <a:gd name="connsiteX98" fmla="*/ 944983 w 1502259"/>
                  <a:gd name="connsiteY98" fmla="*/ 361465 h 993775"/>
                  <a:gd name="connsiteX99" fmla="*/ 947837 w 1502259"/>
                  <a:gd name="connsiteY99" fmla="*/ 370743 h 993775"/>
                  <a:gd name="connsiteX100" fmla="*/ 962112 w 1502259"/>
                  <a:gd name="connsiteY100" fmla="*/ 432832 h 993775"/>
                  <a:gd name="connsiteX101" fmla="*/ 969963 w 1502259"/>
                  <a:gd name="connsiteY101" fmla="*/ 496348 h 993775"/>
                  <a:gd name="connsiteX102" fmla="*/ 969963 w 1502259"/>
                  <a:gd name="connsiteY102" fmla="*/ 505626 h 993775"/>
                  <a:gd name="connsiteX103" fmla="*/ 898590 w 1502259"/>
                  <a:gd name="connsiteY103" fmla="*/ 548446 h 993775"/>
                  <a:gd name="connsiteX104" fmla="*/ 883602 w 1502259"/>
                  <a:gd name="connsiteY104" fmla="*/ 629091 h 993775"/>
                  <a:gd name="connsiteX105" fmla="*/ 937132 w 1502259"/>
                  <a:gd name="connsiteY105" fmla="*/ 694034 h 993775"/>
                  <a:gd name="connsiteX106" fmla="*/ 932849 w 1502259"/>
                  <a:gd name="connsiteY106" fmla="*/ 702598 h 993775"/>
                  <a:gd name="connsiteX107" fmla="*/ 904300 w 1502259"/>
                  <a:gd name="connsiteY107" fmla="*/ 759692 h 993775"/>
                  <a:gd name="connsiteX108" fmla="*/ 869327 w 1502259"/>
                  <a:gd name="connsiteY108" fmla="*/ 813217 h 993775"/>
                  <a:gd name="connsiteX109" fmla="*/ 863617 w 1502259"/>
                  <a:gd name="connsiteY109" fmla="*/ 821067 h 993775"/>
                  <a:gd name="connsiteX110" fmla="*/ 774400 w 1502259"/>
                  <a:gd name="connsiteY110" fmla="*/ 806080 h 993775"/>
                  <a:gd name="connsiteX111" fmla="*/ 718729 w 1502259"/>
                  <a:gd name="connsiteY111" fmla="*/ 850328 h 993775"/>
                  <a:gd name="connsiteX112" fmla="*/ 718016 w 1502259"/>
                  <a:gd name="connsiteY112" fmla="*/ 943818 h 993775"/>
                  <a:gd name="connsiteX113" fmla="*/ 709451 w 1502259"/>
                  <a:gd name="connsiteY113" fmla="*/ 948100 h 993775"/>
                  <a:gd name="connsiteX114" fmla="*/ 650211 w 1502259"/>
                  <a:gd name="connsiteY114" fmla="*/ 973079 h 993775"/>
                  <a:gd name="connsiteX115" fmla="*/ 589544 w 1502259"/>
                  <a:gd name="connsiteY115" fmla="*/ 991634 h 993775"/>
                  <a:gd name="connsiteX116" fmla="*/ 580265 w 1502259"/>
                  <a:gd name="connsiteY116" fmla="*/ 993775 h 993775"/>
                  <a:gd name="connsiteX117" fmla="*/ 516029 w 1502259"/>
                  <a:gd name="connsiteY117" fmla="*/ 918126 h 993775"/>
                  <a:gd name="connsiteX118" fmla="*/ 454648 w 1502259"/>
                  <a:gd name="connsiteY118" fmla="*/ 918126 h 993775"/>
                  <a:gd name="connsiteX119" fmla="*/ 389698 w 1502259"/>
                  <a:gd name="connsiteY119" fmla="*/ 993775 h 993775"/>
                  <a:gd name="connsiteX120" fmla="*/ 380420 w 1502259"/>
                  <a:gd name="connsiteY120" fmla="*/ 991634 h 993775"/>
                  <a:gd name="connsiteX121" fmla="*/ 319039 w 1502259"/>
                  <a:gd name="connsiteY121" fmla="*/ 973079 h 993775"/>
                  <a:gd name="connsiteX122" fmla="*/ 260513 w 1502259"/>
                  <a:gd name="connsiteY122" fmla="*/ 948100 h 993775"/>
                  <a:gd name="connsiteX123" fmla="*/ 251948 w 1502259"/>
                  <a:gd name="connsiteY123" fmla="*/ 943818 h 993775"/>
                  <a:gd name="connsiteX124" fmla="*/ 250520 w 1502259"/>
                  <a:gd name="connsiteY124" fmla="*/ 849614 h 993775"/>
                  <a:gd name="connsiteX125" fmla="*/ 196277 w 1502259"/>
                  <a:gd name="connsiteY125" fmla="*/ 806080 h 993775"/>
                  <a:gd name="connsiteX126" fmla="*/ 106346 w 1502259"/>
                  <a:gd name="connsiteY126" fmla="*/ 820354 h 993775"/>
                  <a:gd name="connsiteX127" fmla="*/ 100637 w 1502259"/>
                  <a:gd name="connsiteY127" fmla="*/ 813217 h 993775"/>
                  <a:gd name="connsiteX128" fmla="*/ 65664 w 1502259"/>
                  <a:gd name="connsiteY128" fmla="*/ 759692 h 993775"/>
                  <a:gd name="connsiteX129" fmla="*/ 36401 w 1502259"/>
                  <a:gd name="connsiteY129" fmla="*/ 702598 h 993775"/>
                  <a:gd name="connsiteX130" fmla="*/ 32832 w 1502259"/>
                  <a:gd name="connsiteY130" fmla="*/ 694034 h 993775"/>
                  <a:gd name="connsiteX131" fmla="*/ 86362 w 1502259"/>
                  <a:gd name="connsiteY131" fmla="*/ 628377 h 993775"/>
                  <a:gd name="connsiteX132" fmla="*/ 72087 w 1502259"/>
                  <a:gd name="connsiteY132" fmla="*/ 548446 h 993775"/>
                  <a:gd name="connsiteX133" fmla="*/ 0 w 1502259"/>
                  <a:gd name="connsiteY133" fmla="*/ 505626 h 993775"/>
                  <a:gd name="connsiteX134" fmla="*/ 714 w 1502259"/>
                  <a:gd name="connsiteY134" fmla="*/ 495635 h 993775"/>
                  <a:gd name="connsiteX135" fmla="*/ 7851 w 1502259"/>
                  <a:gd name="connsiteY135" fmla="*/ 432832 h 993775"/>
                  <a:gd name="connsiteX136" fmla="*/ 22840 w 1502259"/>
                  <a:gd name="connsiteY136" fmla="*/ 370029 h 993775"/>
                  <a:gd name="connsiteX137" fmla="*/ 24981 w 1502259"/>
                  <a:gd name="connsiteY137" fmla="*/ 361465 h 993775"/>
                  <a:gd name="connsiteX138" fmla="*/ 112056 w 1502259"/>
                  <a:gd name="connsiteY138" fmla="*/ 345051 h 993775"/>
                  <a:gd name="connsiteX139" fmla="*/ 151312 w 1502259"/>
                  <a:gd name="connsiteY139" fmla="*/ 282248 h 993775"/>
                  <a:gd name="connsiteX140" fmla="*/ 121335 w 1502259"/>
                  <a:gd name="connsiteY140" fmla="*/ 195894 h 993775"/>
                  <a:gd name="connsiteX141" fmla="*/ 127758 w 1502259"/>
                  <a:gd name="connsiteY141" fmla="*/ 188757 h 993775"/>
                  <a:gd name="connsiteX142" fmla="*/ 174151 w 1502259"/>
                  <a:gd name="connsiteY142" fmla="*/ 145223 h 993775"/>
                  <a:gd name="connsiteX143" fmla="*/ 224826 w 1502259"/>
                  <a:gd name="connsiteY143" fmla="*/ 106685 h 993775"/>
                  <a:gd name="connsiteX144" fmla="*/ 232677 w 1502259"/>
                  <a:gd name="connsiteY144" fmla="*/ 101690 h 993775"/>
                  <a:gd name="connsiteX145" fmla="*/ 321180 w 1502259"/>
                  <a:gd name="connsiteY145" fmla="*/ 150933 h 993775"/>
                  <a:gd name="connsiteX146" fmla="*/ 376137 w 1502259"/>
                  <a:gd name="connsiteY146" fmla="*/ 133091 h 993775"/>
                  <a:gd name="connsiteX147" fmla="*/ 412538 w 1502259"/>
                  <a:gd name="connsiteY147" fmla="*/ 36032 h 993775"/>
                  <a:gd name="connsiteX148" fmla="*/ 421816 w 1502259"/>
                  <a:gd name="connsiteY148" fmla="*/ 35318 h 993775"/>
                  <a:gd name="connsiteX149" fmla="*/ 485339 w 1502259"/>
                  <a:gd name="connsiteY149" fmla="*/ 31750 h 993775"/>
                  <a:gd name="connsiteX150" fmla="*/ 1155526 w 1502259"/>
                  <a:gd name="connsiteY150" fmla="*/ 0 h 993775"/>
                  <a:gd name="connsiteX151" fmla="*/ 1191969 w 1502259"/>
                  <a:gd name="connsiteY151" fmla="*/ 33520 h 993775"/>
                  <a:gd name="connsiteX152" fmla="*/ 1285578 w 1502259"/>
                  <a:gd name="connsiteY152" fmla="*/ 44218 h 993775"/>
                  <a:gd name="connsiteX153" fmla="*/ 1328452 w 1502259"/>
                  <a:gd name="connsiteY153" fmla="*/ 19970 h 993775"/>
                  <a:gd name="connsiteX154" fmla="*/ 1427777 w 1502259"/>
                  <a:gd name="connsiteY154" fmla="*/ 92716 h 993775"/>
                  <a:gd name="connsiteX155" fmla="*/ 1418487 w 1502259"/>
                  <a:gd name="connsiteY155" fmla="*/ 139787 h 993775"/>
                  <a:gd name="connsiteX156" fmla="*/ 1443497 w 1502259"/>
                  <a:gd name="connsiteY156" fmla="*/ 186144 h 993775"/>
                  <a:gd name="connsiteX157" fmla="*/ 1459218 w 1502259"/>
                  <a:gd name="connsiteY157" fmla="*/ 233215 h 993775"/>
                  <a:gd name="connsiteX158" fmla="*/ 1500663 w 1502259"/>
                  <a:gd name="connsiteY158" fmla="*/ 258177 h 993775"/>
                  <a:gd name="connsiteX159" fmla="*/ 1487086 w 1502259"/>
                  <a:gd name="connsiteY159" fmla="*/ 379421 h 993775"/>
                  <a:gd name="connsiteX160" fmla="*/ 1442068 w 1502259"/>
                  <a:gd name="connsiteY160" fmla="*/ 393685 h 993775"/>
                  <a:gd name="connsiteX161" fmla="*/ 1379186 w 1502259"/>
                  <a:gd name="connsiteY161" fmla="*/ 479982 h 993775"/>
                  <a:gd name="connsiteX162" fmla="*/ 1379186 w 1502259"/>
                  <a:gd name="connsiteY162" fmla="*/ 528479 h 993775"/>
                  <a:gd name="connsiteX163" fmla="*/ 1326308 w 1502259"/>
                  <a:gd name="connsiteY163" fmla="*/ 558433 h 993775"/>
                  <a:gd name="connsiteX164" fmla="*/ 1269857 w 1502259"/>
                  <a:gd name="connsiteY164" fmla="*/ 576263 h 993775"/>
                  <a:gd name="connsiteX165" fmla="*/ 1233414 w 1502259"/>
                  <a:gd name="connsiteY165" fmla="*/ 543456 h 993775"/>
                  <a:gd name="connsiteX166" fmla="*/ 1128373 w 1502259"/>
                  <a:gd name="connsiteY166" fmla="*/ 529905 h 993775"/>
                  <a:gd name="connsiteX167" fmla="*/ 1086928 w 1502259"/>
                  <a:gd name="connsiteY167" fmla="*/ 554154 h 993775"/>
                  <a:gd name="connsiteX168" fmla="*/ 990461 w 1502259"/>
                  <a:gd name="connsiteY168" fmla="*/ 479982 h 993775"/>
                  <a:gd name="connsiteX169" fmla="*/ 1001894 w 1502259"/>
                  <a:gd name="connsiteY169" fmla="*/ 432911 h 993775"/>
                  <a:gd name="connsiteX170" fmla="*/ 978314 w 1502259"/>
                  <a:gd name="connsiteY170" fmla="*/ 389406 h 993775"/>
                  <a:gd name="connsiteX171" fmla="*/ 961878 w 1502259"/>
                  <a:gd name="connsiteY171" fmla="*/ 338769 h 993775"/>
                  <a:gd name="connsiteX172" fmla="*/ 920434 w 1502259"/>
                  <a:gd name="connsiteY172" fmla="*/ 314520 h 993775"/>
                  <a:gd name="connsiteX173" fmla="*/ 936869 w 1502259"/>
                  <a:gd name="connsiteY173" fmla="*/ 190424 h 993775"/>
                  <a:gd name="connsiteX174" fmla="*/ 983316 w 1502259"/>
                  <a:gd name="connsiteY174" fmla="*/ 175447 h 993775"/>
                  <a:gd name="connsiteX175" fmla="*/ 1041196 w 1502259"/>
                  <a:gd name="connsiteY175" fmla="*/ 99848 h 993775"/>
                  <a:gd name="connsiteX176" fmla="*/ 1041196 w 1502259"/>
                  <a:gd name="connsiteY176" fmla="*/ 49211 h 993775"/>
                  <a:gd name="connsiteX177" fmla="*/ 1095503 w 1502259"/>
                  <a:gd name="connsiteY177" fmla="*/ 18543 h 993775"/>
                  <a:gd name="connsiteX178" fmla="*/ 1155526 w 1502259"/>
                  <a:gd name="connsiteY178" fmla="*/ 0 h 993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</a:cxnLst>
                <a:rect l="l" t="t" r="r" b="b"/>
                <a:pathLst>
                  <a:path w="1502259" h="993775">
                    <a:moveTo>
                      <a:pt x="484981" y="385763"/>
                    </a:moveTo>
                    <a:cubicBezTo>
                      <a:pt x="559067" y="385763"/>
                      <a:pt x="619125" y="445466"/>
                      <a:pt x="619125" y="519113"/>
                    </a:cubicBezTo>
                    <a:cubicBezTo>
                      <a:pt x="619125" y="592760"/>
                      <a:pt x="559067" y="652463"/>
                      <a:pt x="484981" y="652463"/>
                    </a:cubicBezTo>
                    <a:cubicBezTo>
                      <a:pt x="410895" y="652463"/>
                      <a:pt x="350837" y="592760"/>
                      <a:pt x="350837" y="519113"/>
                    </a:cubicBezTo>
                    <a:cubicBezTo>
                      <a:pt x="350837" y="445466"/>
                      <a:pt x="410895" y="385763"/>
                      <a:pt x="484981" y="385763"/>
                    </a:cubicBezTo>
                    <a:close/>
                    <a:moveTo>
                      <a:pt x="485774" y="246062"/>
                    </a:moveTo>
                    <a:cubicBezTo>
                      <a:pt x="335849" y="246062"/>
                      <a:pt x="214311" y="367956"/>
                      <a:pt x="214311" y="518319"/>
                    </a:cubicBezTo>
                    <a:cubicBezTo>
                      <a:pt x="214311" y="668682"/>
                      <a:pt x="335849" y="790576"/>
                      <a:pt x="485774" y="790576"/>
                    </a:cubicBezTo>
                    <a:cubicBezTo>
                      <a:pt x="635699" y="790576"/>
                      <a:pt x="757237" y="668682"/>
                      <a:pt x="757237" y="518319"/>
                    </a:cubicBezTo>
                    <a:cubicBezTo>
                      <a:pt x="757237" y="367956"/>
                      <a:pt x="635699" y="246062"/>
                      <a:pt x="485774" y="246062"/>
                    </a:cubicBezTo>
                    <a:close/>
                    <a:moveTo>
                      <a:pt x="485774" y="215899"/>
                    </a:moveTo>
                    <a:cubicBezTo>
                      <a:pt x="653234" y="215899"/>
                      <a:pt x="788987" y="351652"/>
                      <a:pt x="788987" y="519112"/>
                    </a:cubicBezTo>
                    <a:cubicBezTo>
                      <a:pt x="788987" y="686572"/>
                      <a:pt x="653234" y="822325"/>
                      <a:pt x="485774" y="822325"/>
                    </a:cubicBezTo>
                    <a:cubicBezTo>
                      <a:pt x="318314" y="822325"/>
                      <a:pt x="182561" y="686572"/>
                      <a:pt x="182561" y="519112"/>
                    </a:cubicBezTo>
                    <a:cubicBezTo>
                      <a:pt x="182561" y="351652"/>
                      <a:pt x="318314" y="215899"/>
                      <a:pt x="485774" y="215899"/>
                    </a:cubicBezTo>
                    <a:close/>
                    <a:moveTo>
                      <a:pt x="1210014" y="159164"/>
                    </a:moveTo>
                    <a:cubicBezTo>
                      <a:pt x="1193383" y="159286"/>
                      <a:pt x="1176485" y="162725"/>
                      <a:pt x="1160255" y="169871"/>
                    </a:cubicBezTo>
                    <a:cubicBezTo>
                      <a:pt x="1096049" y="197739"/>
                      <a:pt x="1066800" y="272769"/>
                      <a:pt x="1094623" y="338509"/>
                    </a:cubicBezTo>
                    <a:cubicBezTo>
                      <a:pt x="1122445" y="403535"/>
                      <a:pt x="1197352" y="434976"/>
                      <a:pt x="1262270" y="405679"/>
                    </a:cubicBezTo>
                    <a:cubicBezTo>
                      <a:pt x="1326476" y="378525"/>
                      <a:pt x="1355725" y="302066"/>
                      <a:pt x="1327189" y="237040"/>
                    </a:cubicBezTo>
                    <a:cubicBezTo>
                      <a:pt x="1307393" y="188271"/>
                      <a:pt x="1259907" y="158795"/>
                      <a:pt x="1210014" y="159164"/>
                    </a:cubicBezTo>
                    <a:close/>
                    <a:moveTo>
                      <a:pt x="485339" y="63500"/>
                    </a:moveTo>
                    <a:cubicBezTo>
                      <a:pt x="485339" y="63500"/>
                      <a:pt x="459624" y="63500"/>
                      <a:pt x="434623" y="65640"/>
                    </a:cubicBezTo>
                    <a:cubicBezTo>
                      <a:pt x="399621" y="159813"/>
                      <a:pt x="399621" y="159813"/>
                      <a:pt x="399621" y="159813"/>
                    </a:cubicBezTo>
                    <a:cubicBezTo>
                      <a:pt x="391050" y="161953"/>
                      <a:pt x="391050" y="161953"/>
                      <a:pt x="391050" y="161953"/>
                    </a:cubicBezTo>
                    <a:cubicBezTo>
                      <a:pt x="368906" y="166947"/>
                      <a:pt x="347477" y="174081"/>
                      <a:pt x="326047" y="183356"/>
                    </a:cubicBezTo>
                    <a:cubicBezTo>
                      <a:pt x="318904" y="186923"/>
                      <a:pt x="318904" y="186923"/>
                      <a:pt x="318904" y="186923"/>
                    </a:cubicBezTo>
                    <a:cubicBezTo>
                      <a:pt x="233901" y="138410"/>
                      <a:pt x="233901" y="138410"/>
                      <a:pt x="233901" y="138410"/>
                    </a:cubicBezTo>
                    <a:cubicBezTo>
                      <a:pt x="213900" y="152678"/>
                      <a:pt x="194614" y="169087"/>
                      <a:pt x="193899" y="169087"/>
                    </a:cubicBezTo>
                    <a:cubicBezTo>
                      <a:pt x="193899" y="169801"/>
                      <a:pt x="173898" y="186209"/>
                      <a:pt x="156755" y="204045"/>
                    </a:cubicBezTo>
                    <a:cubicBezTo>
                      <a:pt x="186756" y="288229"/>
                      <a:pt x="186756" y="288229"/>
                      <a:pt x="186756" y="288229"/>
                    </a:cubicBezTo>
                    <a:cubicBezTo>
                      <a:pt x="181042" y="295364"/>
                      <a:pt x="181042" y="295364"/>
                      <a:pt x="181042" y="295364"/>
                    </a:cubicBezTo>
                    <a:cubicBezTo>
                      <a:pt x="163184" y="316766"/>
                      <a:pt x="148898" y="341023"/>
                      <a:pt x="136754" y="365993"/>
                    </a:cubicBezTo>
                    <a:cubicBezTo>
                      <a:pt x="133183" y="373127"/>
                      <a:pt x="133183" y="373127"/>
                      <a:pt x="133183" y="373127"/>
                    </a:cubicBezTo>
                    <a:cubicBezTo>
                      <a:pt x="49608" y="388823"/>
                      <a:pt x="49608" y="388823"/>
                      <a:pt x="49608" y="388823"/>
                    </a:cubicBezTo>
                    <a:cubicBezTo>
                      <a:pt x="43179" y="412366"/>
                      <a:pt x="38893" y="438049"/>
                      <a:pt x="38893" y="438049"/>
                    </a:cubicBezTo>
                    <a:cubicBezTo>
                      <a:pt x="38893" y="438762"/>
                      <a:pt x="33893" y="463732"/>
                      <a:pt x="31750" y="488702"/>
                    </a:cubicBezTo>
                    <a:cubicBezTo>
                      <a:pt x="101753" y="530081"/>
                      <a:pt x="101753" y="530081"/>
                      <a:pt x="101753" y="530081"/>
                    </a:cubicBezTo>
                    <a:cubicBezTo>
                      <a:pt x="102467" y="537929"/>
                      <a:pt x="102467" y="537929"/>
                      <a:pt x="102467" y="537929"/>
                    </a:cubicBezTo>
                    <a:cubicBezTo>
                      <a:pt x="103896" y="568606"/>
                      <a:pt x="109610" y="598570"/>
                      <a:pt x="118896" y="627107"/>
                    </a:cubicBezTo>
                    <a:cubicBezTo>
                      <a:pt x="121039" y="635668"/>
                      <a:pt x="121039" y="635668"/>
                      <a:pt x="121039" y="635668"/>
                    </a:cubicBezTo>
                    <a:cubicBezTo>
                      <a:pt x="68895" y="699163"/>
                      <a:pt x="68895" y="699163"/>
                      <a:pt x="68895" y="699163"/>
                    </a:cubicBezTo>
                    <a:cubicBezTo>
                      <a:pt x="79609" y="721279"/>
                      <a:pt x="92467" y="743395"/>
                      <a:pt x="92467" y="744109"/>
                    </a:cubicBezTo>
                    <a:cubicBezTo>
                      <a:pt x="92467" y="744109"/>
                      <a:pt x="105324" y="766225"/>
                      <a:pt x="119611" y="786914"/>
                    </a:cubicBezTo>
                    <a:cubicBezTo>
                      <a:pt x="206757" y="772646"/>
                      <a:pt x="206757" y="772646"/>
                      <a:pt x="206757" y="772646"/>
                    </a:cubicBezTo>
                    <a:cubicBezTo>
                      <a:pt x="212471" y="777640"/>
                      <a:pt x="212471" y="777640"/>
                      <a:pt x="212471" y="777640"/>
                    </a:cubicBezTo>
                    <a:cubicBezTo>
                      <a:pt x="230329" y="796902"/>
                      <a:pt x="251759" y="813311"/>
                      <a:pt x="274617" y="827580"/>
                    </a:cubicBezTo>
                    <a:cubicBezTo>
                      <a:pt x="281760" y="831860"/>
                      <a:pt x="281760" y="831860"/>
                      <a:pt x="281760" y="831860"/>
                    </a:cubicBezTo>
                    <a:cubicBezTo>
                      <a:pt x="282474" y="923892"/>
                      <a:pt x="282474" y="923892"/>
                      <a:pt x="282474" y="923892"/>
                    </a:cubicBezTo>
                    <a:cubicBezTo>
                      <a:pt x="305332" y="934594"/>
                      <a:pt x="329619" y="943868"/>
                      <a:pt x="329619" y="943868"/>
                    </a:cubicBezTo>
                    <a:cubicBezTo>
                      <a:pt x="329619" y="943868"/>
                      <a:pt x="354620" y="952429"/>
                      <a:pt x="378192" y="958850"/>
                    </a:cubicBezTo>
                    <a:cubicBezTo>
                      <a:pt x="441051" y="886081"/>
                      <a:pt x="441051" y="886081"/>
                      <a:pt x="441051" y="886081"/>
                    </a:cubicBezTo>
                    <a:cubicBezTo>
                      <a:pt x="448909" y="886794"/>
                      <a:pt x="448909" y="886794"/>
                      <a:pt x="448909" y="886794"/>
                    </a:cubicBezTo>
                    <a:cubicBezTo>
                      <a:pt x="461052" y="887508"/>
                      <a:pt x="473910" y="888221"/>
                      <a:pt x="485339" y="888221"/>
                    </a:cubicBezTo>
                    <a:cubicBezTo>
                      <a:pt x="497482" y="888221"/>
                      <a:pt x="508911" y="887508"/>
                      <a:pt x="521055" y="886794"/>
                    </a:cubicBezTo>
                    <a:cubicBezTo>
                      <a:pt x="528912" y="886081"/>
                      <a:pt x="528912" y="886081"/>
                      <a:pt x="528912" y="886081"/>
                    </a:cubicBezTo>
                    <a:cubicBezTo>
                      <a:pt x="591057" y="958850"/>
                      <a:pt x="591057" y="958850"/>
                      <a:pt x="591057" y="958850"/>
                    </a:cubicBezTo>
                    <a:cubicBezTo>
                      <a:pt x="615344" y="952429"/>
                      <a:pt x="639630" y="943868"/>
                      <a:pt x="639630" y="943868"/>
                    </a:cubicBezTo>
                    <a:cubicBezTo>
                      <a:pt x="640345" y="943868"/>
                      <a:pt x="664631" y="934594"/>
                      <a:pt x="686775" y="924606"/>
                    </a:cubicBezTo>
                    <a:cubicBezTo>
                      <a:pt x="687489" y="832574"/>
                      <a:pt x="687489" y="832574"/>
                      <a:pt x="687489" y="832574"/>
                    </a:cubicBezTo>
                    <a:cubicBezTo>
                      <a:pt x="695347" y="828293"/>
                      <a:pt x="695347" y="828293"/>
                      <a:pt x="695347" y="828293"/>
                    </a:cubicBezTo>
                    <a:cubicBezTo>
                      <a:pt x="718205" y="814025"/>
                      <a:pt x="738920" y="796902"/>
                      <a:pt x="758206" y="778353"/>
                    </a:cubicBezTo>
                    <a:cubicBezTo>
                      <a:pt x="763921" y="772646"/>
                      <a:pt x="763921" y="772646"/>
                      <a:pt x="763921" y="772646"/>
                    </a:cubicBezTo>
                    <a:cubicBezTo>
                      <a:pt x="850353" y="786914"/>
                      <a:pt x="850353" y="786914"/>
                      <a:pt x="850353" y="786914"/>
                    </a:cubicBezTo>
                    <a:cubicBezTo>
                      <a:pt x="863925" y="766938"/>
                      <a:pt x="877497" y="744822"/>
                      <a:pt x="877497" y="744109"/>
                    </a:cubicBezTo>
                    <a:cubicBezTo>
                      <a:pt x="877497" y="744109"/>
                      <a:pt x="890354" y="721993"/>
                      <a:pt x="900355" y="699163"/>
                    </a:cubicBezTo>
                    <a:cubicBezTo>
                      <a:pt x="849638" y="636381"/>
                      <a:pt x="849638" y="636381"/>
                      <a:pt x="849638" y="636381"/>
                    </a:cubicBezTo>
                    <a:cubicBezTo>
                      <a:pt x="852496" y="627820"/>
                      <a:pt x="852496" y="627820"/>
                      <a:pt x="852496" y="627820"/>
                    </a:cubicBezTo>
                    <a:cubicBezTo>
                      <a:pt x="861067" y="599283"/>
                      <a:pt x="866782" y="569319"/>
                      <a:pt x="868211" y="538642"/>
                    </a:cubicBezTo>
                    <a:cubicBezTo>
                      <a:pt x="868211" y="530081"/>
                      <a:pt x="868211" y="530081"/>
                      <a:pt x="868211" y="530081"/>
                    </a:cubicBezTo>
                    <a:cubicBezTo>
                      <a:pt x="938213" y="488702"/>
                      <a:pt x="938213" y="488702"/>
                      <a:pt x="938213" y="488702"/>
                    </a:cubicBezTo>
                    <a:cubicBezTo>
                      <a:pt x="936070" y="464446"/>
                      <a:pt x="931784" y="438762"/>
                      <a:pt x="931784" y="438762"/>
                    </a:cubicBezTo>
                    <a:cubicBezTo>
                      <a:pt x="931070" y="438049"/>
                      <a:pt x="926784" y="413079"/>
                      <a:pt x="920355" y="389536"/>
                    </a:cubicBezTo>
                    <a:cubicBezTo>
                      <a:pt x="838209" y="373841"/>
                      <a:pt x="838209" y="373841"/>
                      <a:pt x="838209" y="373841"/>
                    </a:cubicBezTo>
                    <a:cubicBezTo>
                      <a:pt x="834638" y="366706"/>
                      <a:pt x="834638" y="366706"/>
                      <a:pt x="834638" y="366706"/>
                    </a:cubicBezTo>
                    <a:cubicBezTo>
                      <a:pt x="822495" y="341023"/>
                      <a:pt x="807494" y="317480"/>
                      <a:pt x="790350" y="295364"/>
                    </a:cubicBezTo>
                    <a:cubicBezTo>
                      <a:pt x="784636" y="288229"/>
                      <a:pt x="784636" y="288229"/>
                      <a:pt x="784636" y="288229"/>
                    </a:cubicBezTo>
                    <a:cubicBezTo>
                      <a:pt x="813923" y="204045"/>
                      <a:pt x="813923" y="204045"/>
                      <a:pt x="813923" y="204045"/>
                    </a:cubicBezTo>
                    <a:cubicBezTo>
                      <a:pt x="796779" y="186209"/>
                      <a:pt x="776779" y="169801"/>
                      <a:pt x="776779" y="169801"/>
                    </a:cubicBezTo>
                    <a:cubicBezTo>
                      <a:pt x="776779" y="169801"/>
                      <a:pt x="756778" y="152678"/>
                      <a:pt x="736777" y="139123"/>
                    </a:cubicBezTo>
                    <a:cubicBezTo>
                      <a:pt x="651774" y="186923"/>
                      <a:pt x="651774" y="186923"/>
                      <a:pt x="651774" y="186923"/>
                    </a:cubicBezTo>
                    <a:cubicBezTo>
                      <a:pt x="644631" y="183356"/>
                      <a:pt x="644631" y="183356"/>
                      <a:pt x="644631" y="183356"/>
                    </a:cubicBezTo>
                    <a:cubicBezTo>
                      <a:pt x="623201" y="174081"/>
                      <a:pt x="601772" y="166947"/>
                      <a:pt x="578914" y="161953"/>
                    </a:cubicBezTo>
                    <a:cubicBezTo>
                      <a:pt x="571056" y="159813"/>
                      <a:pt x="571056" y="159813"/>
                      <a:pt x="571056" y="159813"/>
                    </a:cubicBezTo>
                    <a:cubicBezTo>
                      <a:pt x="536055" y="65640"/>
                      <a:pt x="536055" y="65640"/>
                      <a:pt x="536055" y="65640"/>
                    </a:cubicBezTo>
                    <a:cubicBezTo>
                      <a:pt x="511768" y="63500"/>
                      <a:pt x="486053" y="63500"/>
                      <a:pt x="485339" y="63500"/>
                    </a:cubicBezTo>
                    <a:close/>
                    <a:moveTo>
                      <a:pt x="485339" y="31750"/>
                    </a:moveTo>
                    <a:cubicBezTo>
                      <a:pt x="486766" y="31750"/>
                      <a:pt x="520312" y="31750"/>
                      <a:pt x="548861" y="35318"/>
                    </a:cubicBezTo>
                    <a:cubicBezTo>
                      <a:pt x="558139" y="36032"/>
                      <a:pt x="558139" y="36032"/>
                      <a:pt x="558139" y="36032"/>
                    </a:cubicBezTo>
                    <a:cubicBezTo>
                      <a:pt x="594540" y="133091"/>
                      <a:pt x="594540" y="133091"/>
                      <a:pt x="594540" y="133091"/>
                    </a:cubicBezTo>
                    <a:cubicBezTo>
                      <a:pt x="613097" y="138087"/>
                      <a:pt x="631654" y="143796"/>
                      <a:pt x="649497" y="151646"/>
                    </a:cubicBezTo>
                    <a:cubicBezTo>
                      <a:pt x="738000" y="101690"/>
                      <a:pt x="738000" y="101690"/>
                      <a:pt x="738000" y="101690"/>
                    </a:cubicBezTo>
                    <a:cubicBezTo>
                      <a:pt x="745851" y="106685"/>
                      <a:pt x="745851" y="106685"/>
                      <a:pt x="745851" y="106685"/>
                    </a:cubicBezTo>
                    <a:cubicBezTo>
                      <a:pt x="770118" y="123100"/>
                      <a:pt x="795812" y="144510"/>
                      <a:pt x="796526" y="145223"/>
                    </a:cubicBezTo>
                    <a:cubicBezTo>
                      <a:pt x="797954" y="145937"/>
                      <a:pt x="823648" y="168061"/>
                      <a:pt x="843632" y="188757"/>
                    </a:cubicBezTo>
                    <a:cubicBezTo>
                      <a:pt x="850056" y="195894"/>
                      <a:pt x="850056" y="195894"/>
                      <a:pt x="850056" y="195894"/>
                    </a:cubicBezTo>
                    <a:cubicBezTo>
                      <a:pt x="820079" y="282248"/>
                      <a:pt x="820079" y="282248"/>
                      <a:pt x="820079" y="282248"/>
                    </a:cubicBezTo>
                    <a:cubicBezTo>
                      <a:pt x="835068" y="302230"/>
                      <a:pt x="847915" y="322927"/>
                      <a:pt x="858621" y="345764"/>
                    </a:cubicBezTo>
                    <a:cubicBezTo>
                      <a:pt x="944983" y="361465"/>
                      <a:pt x="944983" y="361465"/>
                      <a:pt x="944983" y="361465"/>
                    </a:cubicBezTo>
                    <a:cubicBezTo>
                      <a:pt x="947837" y="370743"/>
                      <a:pt x="947837" y="370743"/>
                      <a:pt x="947837" y="370743"/>
                    </a:cubicBezTo>
                    <a:cubicBezTo>
                      <a:pt x="955689" y="398576"/>
                      <a:pt x="962112" y="431404"/>
                      <a:pt x="962112" y="432832"/>
                    </a:cubicBezTo>
                    <a:cubicBezTo>
                      <a:pt x="962112" y="434259"/>
                      <a:pt x="967822" y="467802"/>
                      <a:pt x="969963" y="496348"/>
                    </a:cubicBezTo>
                    <a:cubicBezTo>
                      <a:pt x="969963" y="505626"/>
                      <a:pt x="969963" y="505626"/>
                      <a:pt x="969963" y="505626"/>
                    </a:cubicBezTo>
                    <a:cubicBezTo>
                      <a:pt x="898590" y="548446"/>
                      <a:pt x="898590" y="548446"/>
                      <a:pt x="898590" y="548446"/>
                    </a:cubicBezTo>
                    <a:cubicBezTo>
                      <a:pt x="896449" y="575565"/>
                      <a:pt x="891453" y="602685"/>
                      <a:pt x="883602" y="629091"/>
                    </a:cubicBezTo>
                    <a:cubicBezTo>
                      <a:pt x="937132" y="694034"/>
                      <a:pt x="937132" y="694034"/>
                      <a:pt x="937132" y="694034"/>
                    </a:cubicBezTo>
                    <a:cubicBezTo>
                      <a:pt x="932849" y="702598"/>
                      <a:pt x="932849" y="702598"/>
                      <a:pt x="932849" y="702598"/>
                    </a:cubicBezTo>
                    <a:cubicBezTo>
                      <a:pt x="921429" y="729718"/>
                      <a:pt x="905014" y="758978"/>
                      <a:pt x="904300" y="759692"/>
                    </a:cubicBezTo>
                    <a:cubicBezTo>
                      <a:pt x="903586" y="761119"/>
                      <a:pt x="886456" y="790380"/>
                      <a:pt x="869327" y="813217"/>
                    </a:cubicBezTo>
                    <a:cubicBezTo>
                      <a:pt x="863617" y="821067"/>
                      <a:pt x="863617" y="821067"/>
                      <a:pt x="863617" y="821067"/>
                    </a:cubicBezTo>
                    <a:cubicBezTo>
                      <a:pt x="774400" y="806080"/>
                      <a:pt x="774400" y="806080"/>
                      <a:pt x="774400" y="806080"/>
                    </a:cubicBezTo>
                    <a:cubicBezTo>
                      <a:pt x="757271" y="822495"/>
                      <a:pt x="738714" y="836768"/>
                      <a:pt x="718729" y="850328"/>
                    </a:cubicBezTo>
                    <a:cubicBezTo>
                      <a:pt x="718016" y="943818"/>
                      <a:pt x="718016" y="943818"/>
                      <a:pt x="718016" y="943818"/>
                    </a:cubicBezTo>
                    <a:cubicBezTo>
                      <a:pt x="709451" y="948100"/>
                      <a:pt x="709451" y="948100"/>
                      <a:pt x="709451" y="948100"/>
                    </a:cubicBezTo>
                    <a:cubicBezTo>
                      <a:pt x="683043" y="960946"/>
                      <a:pt x="651638" y="973079"/>
                      <a:pt x="650211" y="973079"/>
                    </a:cubicBezTo>
                    <a:cubicBezTo>
                      <a:pt x="648783" y="973792"/>
                      <a:pt x="617379" y="985211"/>
                      <a:pt x="589544" y="991634"/>
                    </a:cubicBezTo>
                    <a:cubicBezTo>
                      <a:pt x="580265" y="993775"/>
                      <a:pt x="580265" y="993775"/>
                      <a:pt x="580265" y="993775"/>
                    </a:cubicBezTo>
                    <a:cubicBezTo>
                      <a:pt x="516029" y="918126"/>
                      <a:pt x="516029" y="918126"/>
                      <a:pt x="516029" y="918126"/>
                    </a:cubicBezTo>
                    <a:cubicBezTo>
                      <a:pt x="495331" y="919554"/>
                      <a:pt x="474633" y="919554"/>
                      <a:pt x="454648" y="918126"/>
                    </a:cubicBezTo>
                    <a:cubicBezTo>
                      <a:pt x="389698" y="993775"/>
                      <a:pt x="389698" y="993775"/>
                      <a:pt x="389698" y="993775"/>
                    </a:cubicBezTo>
                    <a:cubicBezTo>
                      <a:pt x="380420" y="991634"/>
                      <a:pt x="380420" y="991634"/>
                      <a:pt x="380420" y="991634"/>
                    </a:cubicBezTo>
                    <a:cubicBezTo>
                      <a:pt x="351871" y="985211"/>
                      <a:pt x="320466" y="973792"/>
                      <a:pt x="319039" y="973079"/>
                    </a:cubicBezTo>
                    <a:cubicBezTo>
                      <a:pt x="317611" y="972365"/>
                      <a:pt x="286207" y="960946"/>
                      <a:pt x="260513" y="948100"/>
                    </a:cubicBezTo>
                    <a:cubicBezTo>
                      <a:pt x="251948" y="943818"/>
                      <a:pt x="251948" y="943818"/>
                      <a:pt x="251948" y="943818"/>
                    </a:cubicBezTo>
                    <a:cubicBezTo>
                      <a:pt x="250520" y="849614"/>
                      <a:pt x="250520" y="849614"/>
                      <a:pt x="250520" y="849614"/>
                    </a:cubicBezTo>
                    <a:cubicBezTo>
                      <a:pt x="231250" y="836768"/>
                      <a:pt x="213406" y="821781"/>
                      <a:pt x="196277" y="806080"/>
                    </a:cubicBezTo>
                    <a:cubicBezTo>
                      <a:pt x="106346" y="820354"/>
                      <a:pt x="106346" y="820354"/>
                      <a:pt x="106346" y="820354"/>
                    </a:cubicBezTo>
                    <a:cubicBezTo>
                      <a:pt x="100637" y="813217"/>
                      <a:pt x="100637" y="813217"/>
                      <a:pt x="100637" y="813217"/>
                    </a:cubicBezTo>
                    <a:cubicBezTo>
                      <a:pt x="82793" y="789666"/>
                      <a:pt x="66377" y="761119"/>
                      <a:pt x="65664" y="759692"/>
                    </a:cubicBezTo>
                    <a:cubicBezTo>
                      <a:pt x="64950" y="758265"/>
                      <a:pt x="47820" y="729004"/>
                      <a:pt x="36401" y="702598"/>
                    </a:cubicBezTo>
                    <a:cubicBezTo>
                      <a:pt x="32832" y="694034"/>
                      <a:pt x="32832" y="694034"/>
                      <a:pt x="32832" y="694034"/>
                    </a:cubicBezTo>
                    <a:cubicBezTo>
                      <a:pt x="86362" y="628377"/>
                      <a:pt x="86362" y="628377"/>
                      <a:pt x="86362" y="628377"/>
                    </a:cubicBezTo>
                    <a:cubicBezTo>
                      <a:pt x="78511" y="601971"/>
                      <a:pt x="74228" y="575565"/>
                      <a:pt x="72087" y="548446"/>
                    </a:cubicBezTo>
                    <a:cubicBezTo>
                      <a:pt x="0" y="505626"/>
                      <a:pt x="0" y="505626"/>
                      <a:pt x="0" y="505626"/>
                    </a:cubicBezTo>
                    <a:cubicBezTo>
                      <a:pt x="714" y="495635"/>
                      <a:pt x="714" y="495635"/>
                      <a:pt x="714" y="495635"/>
                    </a:cubicBezTo>
                    <a:cubicBezTo>
                      <a:pt x="2141" y="467088"/>
                      <a:pt x="7851" y="434259"/>
                      <a:pt x="7851" y="432832"/>
                    </a:cubicBezTo>
                    <a:cubicBezTo>
                      <a:pt x="8565" y="431404"/>
                      <a:pt x="14275" y="397862"/>
                      <a:pt x="22840" y="370029"/>
                    </a:cubicBezTo>
                    <a:cubicBezTo>
                      <a:pt x="24981" y="361465"/>
                      <a:pt x="24981" y="361465"/>
                      <a:pt x="24981" y="361465"/>
                    </a:cubicBezTo>
                    <a:cubicBezTo>
                      <a:pt x="112056" y="345051"/>
                      <a:pt x="112056" y="345051"/>
                      <a:pt x="112056" y="345051"/>
                    </a:cubicBezTo>
                    <a:cubicBezTo>
                      <a:pt x="123476" y="322927"/>
                      <a:pt x="136323" y="301517"/>
                      <a:pt x="151312" y="282248"/>
                    </a:cubicBezTo>
                    <a:cubicBezTo>
                      <a:pt x="121335" y="195894"/>
                      <a:pt x="121335" y="195894"/>
                      <a:pt x="121335" y="195894"/>
                    </a:cubicBezTo>
                    <a:cubicBezTo>
                      <a:pt x="127758" y="188757"/>
                      <a:pt x="127758" y="188757"/>
                      <a:pt x="127758" y="188757"/>
                    </a:cubicBezTo>
                    <a:cubicBezTo>
                      <a:pt x="147029" y="167347"/>
                      <a:pt x="173437" y="145937"/>
                      <a:pt x="174151" y="145223"/>
                    </a:cubicBezTo>
                    <a:cubicBezTo>
                      <a:pt x="175579" y="143796"/>
                      <a:pt x="201273" y="122386"/>
                      <a:pt x="224826" y="106685"/>
                    </a:cubicBezTo>
                    <a:cubicBezTo>
                      <a:pt x="232677" y="101690"/>
                      <a:pt x="232677" y="101690"/>
                      <a:pt x="232677" y="101690"/>
                    </a:cubicBezTo>
                    <a:cubicBezTo>
                      <a:pt x="321180" y="150933"/>
                      <a:pt x="321180" y="150933"/>
                      <a:pt x="321180" y="150933"/>
                    </a:cubicBezTo>
                    <a:cubicBezTo>
                      <a:pt x="339023" y="143796"/>
                      <a:pt x="357580" y="137373"/>
                      <a:pt x="376137" y="133091"/>
                    </a:cubicBezTo>
                    <a:cubicBezTo>
                      <a:pt x="412538" y="36032"/>
                      <a:pt x="412538" y="36032"/>
                      <a:pt x="412538" y="36032"/>
                    </a:cubicBezTo>
                    <a:cubicBezTo>
                      <a:pt x="421816" y="35318"/>
                      <a:pt x="421816" y="35318"/>
                      <a:pt x="421816" y="35318"/>
                    </a:cubicBezTo>
                    <a:cubicBezTo>
                      <a:pt x="450366" y="31750"/>
                      <a:pt x="483911" y="31750"/>
                      <a:pt x="485339" y="31750"/>
                    </a:cubicBezTo>
                    <a:close/>
                    <a:moveTo>
                      <a:pt x="1155526" y="0"/>
                    </a:moveTo>
                    <a:cubicBezTo>
                      <a:pt x="1155526" y="0"/>
                      <a:pt x="1155526" y="0"/>
                      <a:pt x="1191969" y="33520"/>
                    </a:cubicBezTo>
                    <a:cubicBezTo>
                      <a:pt x="1224125" y="30668"/>
                      <a:pt x="1254851" y="34234"/>
                      <a:pt x="1285578" y="44218"/>
                    </a:cubicBezTo>
                    <a:cubicBezTo>
                      <a:pt x="1285578" y="44218"/>
                      <a:pt x="1285578" y="44218"/>
                      <a:pt x="1328452" y="19970"/>
                    </a:cubicBezTo>
                    <a:cubicBezTo>
                      <a:pt x="1365609" y="36373"/>
                      <a:pt x="1400623" y="62048"/>
                      <a:pt x="1427777" y="92716"/>
                    </a:cubicBezTo>
                    <a:cubicBezTo>
                      <a:pt x="1427777" y="92716"/>
                      <a:pt x="1427777" y="92716"/>
                      <a:pt x="1418487" y="139787"/>
                    </a:cubicBezTo>
                    <a:cubicBezTo>
                      <a:pt x="1427777" y="154764"/>
                      <a:pt x="1437066" y="170454"/>
                      <a:pt x="1443497" y="186144"/>
                    </a:cubicBezTo>
                    <a:cubicBezTo>
                      <a:pt x="1449928" y="201835"/>
                      <a:pt x="1455645" y="217525"/>
                      <a:pt x="1459218" y="233215"/>
                    </a:cubicBezTo>
                    <a:cubicBezTo>
                      <a:pt x="1459218" y="233215"/>
                      <a:pt x="1459218" y="233215"/>
                      <a:pt x="1500663" y="258177"/>
                    </a:cubicBezTo>
                    <a:cubicBezTo>
                      <a:pt x="1504950" y="299543"/>
                      <a:pt x="1500663" y="341621"/>
                      <a:pt x="1487086" y="379421"/>
                    </a:cubicBezTo>
                    <a:cubicBezTo>
                      <a:pt x="1487086" y="379421"/>
                      <a:pt x="1487086" y="379421"/>
                      <a:pt x="1442068" y="393685"/>
                    </a:cubicBezTo>
                    <a:cubicBezTo>
                      <a:pt x="1427062" y="425779"/>
                      <a:pt x="1405625" y="455733"/>
                      <a:pt x="1379186" y="479982"/>
                    </a:cubicBezTo>
                    <a:cubicBezTo>
                      <a:pt x="1379186" y="479982"/>
                      <a:pt x="1379186" y="479982"/>
                      <a:pt x="1379186" y="528479"/>
                    </a:cubicBezTo>
                    <a:cubicBezTo>
                      <a:pt x="1362037" y="539890"/>
                      <a:pt x="1344887" y="549875"/>
                      <a:pt x="1326308" y="558433"/>
                    </a:cubicBezTo>
                    <a:cubicBezTo>
                      <a:pt x="1307729" y="566278"/>
                      <a:pt x="1287722" y="571984"/>
                      <a:pt x="1269857" y="576263"/>
                    </a:cubicBezTo>
                    <a:cubicBezTo>
                      <a:pt x="1269857" y="576263"/>
                      <a:pt x="1269857" y="576263"/>
                      <a:pt x="1233414" y="543456"/>
                    </a:cubicBezTo>
                    <a:cubicBezTo>
                      <a:pt x="1196971" y="546309"/>
                      <a:pt x="1161958" y="542030"/>
                      <a:pt x="1128373" y="529905"/>
                    </a:cubicBezTo>
                    <a:cubicBezTo>
                      <a:pt x="1128373" y="529905"/>
                      <a:pt x="1128373" y="529905"/>
                      <a:pt x="1086928" y="554154"/>
                    </a:cubicBezTo>
                    <a:cubicBezTo>
                      <a:pt x="1050485" y="536324"/>
                      <a:pt x="1017615" y="512075"/>
                      <a:pt x="990461" y="479982"/>
                    </a:cubicBezTo>
                    <a:cubicBezTo>
                      <a:pt x="990461" y="479982"/>
                      <a:pt x="990461" y="479982"/>
                      <a:pt x="1001894" y="432911"/>
                    </a:cubicBezTo>
                    <a:cubicBezTo>
                      <a:pt x="992605" y="419360"/>
                      <a:pt x="985459" y="404383"/>
                      <a:pt x="978314" y="389406"/>
                    </a:cubicBezTo>
                    <a:cubicBezTo>
                      <a:pt x="970453" y="373002"/>
                      <a:pt x="965451" y="355172"/>
                      <a:pt x="961878" y="338769"/>
                    </a:cubicBezTo>
                    <a:cubicBezTo>
                      <a:pt x="961878" y="338769"/>
                      <a:pt x="961878" y="338769"/>
                      <a:pt x="920434" y="314520"/>
                    </a:cubicBezTo>
                    <a:cubicBezTo>
                      <a:pt x="917575" y="271015"/>
                      <a:pt x="922577" y="228936"/>
                      <a:pt x="936869" y="190424"/>
                    </a:cubicBezTo>
                    <a:cubicBezTo>
                      <a:pt x="936869" y="190424"/>
                      <a:pt x="936869" y="190424"/>
                      <a:pt x="983316" y="175447"/>
                    </a:cubicBezTo>
                    <a:cubicBezTo>
                      <a:pt x="996892" y="146919"/>
                      <a:pt x="1016900" y="121957"/>
                      <a:pt x="1041196" y="99848"/>
                    </a:cubicBezTo>
                    <a:cubicBezTo>
                      <a:pt x="1041196" y="99848"/>
                      <a:pt x="1041196" y="99848"/>
                      <a:pt x="1041196" y="49211"/>
                    </a:cubicBezTo>
                    <a:cubicBezTo>
                      <a:pt x="1056916" y="37800"/>
                      <a:pt x="1076209" y="27102"/>
                      <a:pt x="1095503" y="18543"/>
                    </a:cubicBezTo>
                    <a:cubicBezTo>
                      <a:pt x="1115511" y="9272"/>
                      <a:pt x="1135519" y="4279"/>
                      <a:pt x="115552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id="{9E1776F3-9F5B-4489-A136-D7E6FDFFBB13}"/>
              </a:ext>
            </a:extLst>
          </p:cNvPr>
          <p:cNvSpPr txBox="1"/>
          <p:nvPr/>
        </p:nvSpPr>
        <p:spPr>
          <a:xfrm>
            <a:off x="5550570" y="2979052"/>
            <a:ext cx="4158981" cy="3187521"/>
          </a:xfrm>
          <a:prstGeom prst="rect">
            <a:avLst/>
          </a:prstGeom>
          <a:noFill/>
          <a:ln w="19050" cap="rnd" cmpd="sng" algn="ctr">
            <a:solidFill>
              <a:srgbClr val="FF0000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B26AF61B-07E0-48EE-B6A2-71F04D3A5BB6}"/>
              </a:ext>
            </a:extLst>
          </p:cNvPr>
          <p:cNvSpPr/>
          <p:nvPr/>
        </p:nvSpPr>
        <p:spPr>
          <a:xfrm>
            <a:off x="3043005" y="1666875"/>
            <a:ext cx="5295516" cy="687492"/>
          </a:xfrm>
          <a:prstGeom prst="roundRect">
            <a:avLst>
              <a:gd name="adj" fmla="val 18329"/>
            </a:avLst>
          </a:prstGeom>
          <a:solidFill>
            <a:srgbClr val="F2F2F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>
                <a:solidFill>
                  <a:schemeClr val="tx1"/>
                </a:solidFill>
              </a:rPr>
              <a:t>The </a:t>
            </a:r>
            <a:r>
              <a:rPr lang="en-US" sz="1200" b="1">
                <a:solidFill>
                  <a:schemeClr val="tx1"/>
                </a:solidFill>
              </a:rPr>
              <a:t>Market Maker </a:t>
            </a:r>
            <a:r>
              <a:rPr lang="en-US" sz="1200">
                <a:solidFill>
                  <a:schemeClr val="tx1"/>
                </a:solidFill>
              </a:rPr>
              <a:t>and </a:t>
            </a:r>
            <a:r>
              <a:rPr lang="en-US" sz="1200" b="1">
                <a:solidFill>
                  <a:schemeClr val="tx1"/>
                </a:solidFill>
              </a:rPr>
              <a:t>Business Service Reps </a:t>
            </a:r>
            <a:r>
              <a:rPr lang="en-US" sz="1200">
                <a:solidFill>
                  <a:schemeClr val="tx1"/>
                </a:solidFill>
              </a:rPr>
              <a:t>within their region need to have strong relationships, as they complement each others work to support employer's hiring need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491E8B3-1D57-4BA5-A080-86CFB82A69CF}"/>
              </a:ext>
            </a:extLst>
          </p:cNvPr>
          <p:cNvGrpSpPr/>
          <p:nvPr/>
        </p:nvGrpSpPr>
        <p:grpSpPr>
          <a:xfrm>
            <a:off x="3163100" y="1764693"/>
            <a:ext cx="465926" cy="457807"/>
            <a:chOff x="3163100" y="1764693"/>
            <a:chExt cx="465926" cy="457807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E34A0559-1CA1-4654-9007-A691A4E9F120}"/>
                </a:ext>
              </a:extLst>
            </p:cNvPr>
            <p:cNvGrpSpPr/>
            <p:nvPr/>
          </p:nvGrpSpPr>
          <p:grpSpPr>
            <a:xfrm>
              <a:off x="3168390" y="1764693"/>
              <a:ext cx="455345" cy="455345"/>
              <a:chOff x="4140983" y="3005466"/>
              <a:chExt cx="2978968" cy="2978968"/>
            </a:xfrm>
          </p:grpSpPr>
          <p:sp>
            <p:nvSpPr>
              <p:cNvPr id="100" name="AutoShape 3">
                <a:extLst>
                  <a:ext uri="{FF2B5EF4-FFF2-40B4-BE49-F238E27FC236}">
                    <a16:creationId xmlns:a16="http://schemas.microsoft.com/office/drawing/2014/main" id="{11DEC41C-756A-4491-8306-55CF77BED8A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4140983" y="3005466"/>
                <a:ext cx="2978968" cy="29789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5">
                <a:extLst>
                  <a:ext uri="{FF2B5EF4-FFF2-40B4-BE49-F238E27FC236}">
                    <a16:creationId xmlns:a16="http://schemas.microsoft.com/office/drawing/2014/main" id="{883872BC-A6DC-4840-A2F3-D57772A91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1985" y="3005466"/>
                <a:ext cx="1557966" cy="1985979"/>
              </a:xfrm>
              <a:custGeom>
                <a:avLst/>
                <a:gdLst>
                  <a:gd name="T0" fmla="*/ 30 w 628"/>
                  <a:gd name="T1" fmla="*/ 152 h 800"/>
                  <a:gd name="T2" fmla="*/ 41 w 628"/>
                  <a:gd name="T3" fmla="*/ 151 h 800"/>
                  <a:gd name="T4" fmla="*/ 137 w 628"/>
                  <a:gd name="T5" fmla="*/ 131 h 800"/>
                  <a:gd name="T6" fmla="*/ 237 w 628"/>
                  <a:gd name="T7" fmla="*/ 231 h 800"/>
                  <a:gd name="T8" fmla="*/ 137 w 628"/>
                  <a:gd name="T9" fmla="*/ 331 h 800"/>
                  <a:gd name="T10" fmla="*/ 41 w 628"/>
                  <a:gd name="T11" fmla="*/ 311 h 800"/>
                  <a:gd name="T12" fmla="*/ 29 w 628"/>
                  <a:gd name="T13" fmla="*/ 310 h 800"/>
                  <a:gd name="T14" fmla="*/ 1 w 628"/>
                  <a:gd name="T15" fmla="*/ 341 h 800"/>
                  <a:gd name="T16" fmla="*/ 21 w 628"/>
                  <a:gd name="T17" fmla="*/ 572 h 800"/>
                  <a:gd name="T18" fmla="*/ 22 w 628"/>
                  <a:gd name="T19" fmla="*/ 586 h 800"/>
                  <a:gd name="T20" fmla="*/ 36 w 628"/>
                  <a:gd name="T21" fmla="*/ 584 h 800"/>
                  <a:gd name="T22" fmla="*/ 267 w 628"/>
                  <a:gd name="T23" fmla="*/ 564 h 800"/>
                  <a:gd name="T24" fmla="*/ 298 w 628"/>
                  <a:gd name="T25" fmla="*/ 593 h 800"/>
                  <a:gd name="T26" fmla="*/ 297 w 628"/>
                  <a:gd name="T27" fmla="*/ 604 h 800"/>
                  <a:gd name="T28" fmla="*/ 277 w 628"/>
                  <a:gd name="T29" fmla="*/ 700 h 800"/>
                  <a:gd name="T30" fmla="*/ 377 w 628"/>
                  <a:gd name="T31" fmla="*/ 800 h 800"/>
                  <a:gd name="T32" fmla="*/ 477 w 628"/>
                  <a:gd name="T33" fmla="*/ 700 h 800"/>
                  <a:gd name="T34" fmla="*/ 457 w 628"/>
                  <a:gd name="T35" fmla="*/ 604 h 800"/>
                  <a:gd name="T36" fmla="*/ 456 w 628"/>
                  <a:gd name="T37" fmla="*/ 593 h 800"/>
                  <a:gd name="T38" fmla="*/ 487 w 628"/>
                  <a:gd name="T39" fmla="*/ 565 h 800"/>
                  <a:gd name="T40" fmla="*/ 628 w 628"/>
                  <a:gd name="T41" fmla="*/ 575 h 800"/>
                  <a:gd name="T42" fmla="*/ 628 w 628"/>
                  <a:gd name="T43" fmla="*/ 0 h 800"/>
                  <a:gd name="T44" fmla="*/ 10 w 628"/>
                  <a:gd name="T45" fmla="*/ 0 h 800"/>
                  <a:gd name="T46" fmla="*/ 2 w 628"/>
                  <a:gd name="T47" fmla="*/ 121 h 800"/>
                  <a:gd name="T48" fmla="*/ 30 w 628"/>
                  <a:gd name="T49" fmla="*/ 152 h 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28" h="800">
                    <a:moveTo>
                      <a:pt x="30" y="152"/>
                    </a:moveTo>
                    <a:cubicBezTo>
                      <a:pt x="33" y="153"/>
                      <a:pt x="37" y="152"/>
                      <a:pt x="41" y="151"/>
                    </a:cubicBezTo>
                    <a:cubicBezTo>
                      <a:pt x="77" y="138"/>
                      <a:pt x="114" y="131"/>
                      <a:pt x="137" y="131"/>
                    </a:cubicBezTo>
                    <a:cubicBezTo>
                      <a:pt x="192" y="131"/>
                      <a:pt x="237" y="176"/>
                      <a:pt x="237" y="231"/>
                    </a:cubicBezTo>
                    <a:cubicBezTo>
                      <a:pt x="237" y="286"/>
                      <a:pt x="192" y="331"/>
                      <a:pt x="137" y="331"/>
                    </a:cubicBezTo>
                    <a:cubicBezTo>
                      <a:pt x="114" y="331"/>
                      <a:pt x="77" y="324"/>
                      <a:pt x="41" y="311"/>
                    </a:cubicBezTo>
                    <a:cubicBezTo>
                      <a:pt x="37" y="310"/>
                      <a:pt x="33" y="309"/>
                      <a:pt x="29" y="310"/>
                    </a:cubicBezTo>
                    <a:cubicBezTo>
                      <a:pt x="14" y="310"/>
                      <a:pt x="0" y="324"/>
                      <a:pt x="1" y="341"/>
                    </a:cubicBezTo>
                    <a:cubicBezTo>
                      <a:pt x="4" y="415"/>
                      <a:pt x="10" y="492"/>
                      <a:pt x="21" y="572"/>
                    </a:cubicBezTo>
                    <a:cubicBezTo>
                      <a:pt x="21" y="576"/>
                      <a:pt x="22" y="581"/>
                      <a:pt x="22" y="586"/>
                    </a:cubicBezTo>
                    <a:cubicBezTo>
                      <a:pt x="27" y="585"/>
                      <a:pt x="32" y="584"/>
                      <a:pt x="36" y="584"/>
                    </a:cubicBezTo>
                    <a:cubicBezTo>
                      <a:pt x="116" y="573"/>
                      <a:pt x="193" y="567"/>
                      <a:pt x="267" y="564"/>
                    </a:cubicBezTo>
                    <a:cubicBezTo>
                      <a:pt x="284" y="563"/>
                      <a:pt x="298" y="577"/>
                      <a:pt x="298" y="593"/>
                    </a:cubicBezTo>
                    <a:cubicBezTo>
                      <a:pt x="299" y="596"/>
                      <a:pt x="298" y="600"/>
                      <a:pt x="297" y="604"/>
                    </a:cubicBezTo>
                    <a:cubicBezTo>
                      <a:pt x="284" y="640"/>
                      <a:pt x="277" y="677"/>
                      <a:pt x="277" y="700"/>
                    </a:cubicBezTo>
                    <a:cubicBezTo>
                      <a:pt x="277" y="755"/>
                      <a:pt x="322" y="800"/>
                      <a:pt x="377" y="800"/>
                    </a:cubicBezTo>
                    <a:cubicBezTo>
                      <a:pt x="432" y="800"/>
                      <a:pt x="477" y="755"/>
                      <a:pt x="477" y="700"/>
                    </a:cubicBezTo>
                    <a:cubicBezTo>
                      <a:pt x="477" y="677"/>
                      <a:pt x="470" y="641"/>
                      <a:pt x="457" y="604"/>
                    </a:cubicBezTo>
                    <a:cubicBezTo>
                      <a:pt x="456" y="601"/>
                      <a:pt x="455" y="597"/>
                      <a:pt x="456" y="593"/>
                    </a:cubicBezTo>
                    <a:cubicBezTo>
                      <a:pt x="457" y="577"/>
                      <a:pt x="470" y="564"/>
                      <a:pt x="487" y="565"/>
                    </a:cubicBezTo>
                    <a:cubicBezTo>
                      <a:pt x="536" y="567"/>
                      <a:pt x="583" y="570"/>
                      <a:pt x="628" y="575"/>
                    </a:cubicBezTo>
                    <a:cubicBezTo>
                      <a:pt x="628" y="0"/>
                      <a:pt x="628" y="0"/>
                      <a:pt x="628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6" y="39"/>
                      <a:pt x="3" y="79"/>
                      <a:pt x="2" y="121"/>
                    </a:cubicBezTo>
                    <a:cubicBezTo>
                      <a:pt x="1" y="138"/>
                      <a:pt x="14" y="151"/>
                      <a:pt x="30" y="152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">
                <a:extLst>
                  <a:ext uri="{FF2B5EF4-FFF2-40B4-BE49-F238E27FC236}">
                    <a16:creationId xmlns:a16="http://schemas.microsoft.com/office/drawing/2014/main" id="{CAFB4359-0083-4027-AF31-A687337D1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5464" y="4403641"/>
                <a:ext cx="2034487" cy="1580793"/>
              </a:xfrm>
              <a:custGeom>
                <a:avLst/>
                <a:gdLst>
                  <a:gd name="T0" fmla="*/ 648 w 820"/>
                  <a:gd name="T1" fmla="*/ 30 h 637"/>
                  <a:gd name="T2" fmla="*/ 649 w 820"/>
                  <a:gd name="T3" fmla="*/ 41 h 637"/>
                  <a:gd name="T4" fmla="*/ 669 w 820"/>
                  <a:gd name="T5" fmla="*/ 137 h 637"/>
                  <a:gd name="T6" fmla="*/ 569 w 820"/>
                  <a:gd name="T7" fmla="*/ 237 h 637"/>
                  <a:gd name="T8" fmla="*/ 469 w 820"/>
                  <a:gd name="T9" fmla="*/ 137 h 637"/>
                  <a:gd name="T10" fmla="*/ 489 w 820"/>
                  <a:gd name="T11" fmla="*/ 41 h 637"/>
                  <a:gd name="T12" fmla="*/ 490 w 820"/>
                  <a:gd name="T13" fmla="*/ 30 h 637"/>
                  <a:gd name="T14" fmla="*/ 459 w 820"/>
                  <a:gd name="T15" fmla="*/ 1 h 637"/>
                  <a:gd name="T16" fmla="*/ 228 w 820"/>
                  <a:gd name="T17" fmla="*/ 21 h 637"/>
                  <a:gd name="T18" fmla="*/ 214 w 820"/>
                  <a:gd name="T19" fmla="*/ 23 h 637"/>
                  <a:gd name="T20" fmla="*/ 216 w 820"/>
                  <a:gd name="T21" fmla="*/ 36 h 637"/>
                  <a:gd name="T22" fmla="*/ 236 w 820"/>
                  <a:gd name="T23" fmla="*/ 267 h 637"/>
                  <a:gd name="T24" fmla="*/ 207 w 820"/>
                  <a:gd name="T25" fmla="*/ 299 h 637"/>
                  <a:gd name="T26" fmla="*/ 196 w 820"/>
                  <a:gd name="T27" fmla="*/ 297 h 637"/>
                  <a:gd name="T28" fmla="*/ 100 w 820"/>
                  <a:gd name="T29" fmla="*/ 277 h 637"/>
                  <a:gd name="T30" fmla="*/ 0 w 820"/>
                  <a:gd name="T31" fmla="*/ 377 h 637"/>
                  <a:gd name="T32" fmla="*/ 100 w 820"/>
                  <a:gd name="T33" fmla="*/ 477 h 637"/>
                  <a:gd name="T34" fmla="*/ 196 w 820"/>
                  <a:gd name="T35" fmla="*/ 457 h 637"/>
                  <a:gd name="T36" fmla="*/ 207 w 820"/>
                  <a:gd name="T37" fmla="*/ 456 h 637"/>
                  <a:gd name="T38" fmla="*/ 235 w 820"/>
                  <a:gd name="T39" fmla="*/ 487 h 637"/>
                  <a:gd name="T40" fmla="*/ 224 w 820"/>
                  <a:gd name="T41" fmla="*/ 637 h 637"/>
                  <a:gd name="T42" fmla="*/ 820 w 820"/>
                  <a:gd name="T43" fmla="*/ 637 h 637"/>
                  <a:gd name="T44" fmla="*/ 820 w 820"/>
                  <a:gd name="T45" fmla="*/ 12 h 637"/>
                  <a:gd name="T46" fmla="*/ 679 w 820"/>
                  <a:gd name="T47" fmla="*/ 2 h 637"/>
                  <a:gd name="T48" fmla="*/ 648 w 820"/>
                  <a:gd name="T49" fmla="*/ 30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20" h="637">
                    <a:moveTo>
                      <a:pt x="648" y="30"/>
                    </a:moveTo>
                    <a:cubicBezTo>
                      <a:pt x="647" y="34"/>
                      <a:pt x="648" y="38"/>
                      <a:pt x="649" y="41"/>
                    </a:cubicBezTo>
                    <a:cubicBezTo>
                      <a:pt x="662" y="78"/>
                      <a:pt x="669" y="114"/>
                      <a:pt x="669" y="137"/>
                    </a:cubicBezTo>
                    <a:cubicBezTo>
                      <a:pt x="669" y="192"/>
                      <a:pt x="624" y="237"/>
                      <a:pt x="569" y="237"/>
                    </a:cubicBezTo>
                    <a:cubicBezTo>
                      <a:pt x="514" y="237"/>
                      <a:pt x="469" y="192"/>
                      <a:pt x="469" y="137"/>
                    </a:cubicBezTo>
                    <a:cubicBezTo>
                      <a:pt x="469" y="114"/>
                      <a:pt x="476" y="77"/>
                      <a:pt x="489" y="41"/>
                    </a:cubicBezTo>
                    <a:cubicBezTo>
                      <a:pt x="490" y="37"/>
                      <a:pt x="491" y="33"/>
                      <a:pt x="490" y="30"/>
                    </a:cubicBezTo>
                    <a:cubicBezTo>
                      <a:pt x="490" y="14"/>
                      <a:pt x="476" y="0"/>
                      <a:pt x="459" y="1"/>
                    </a:cubicBezTo>
                    <a:cubicBezTo>
                      <a:pt x="385" y="4"/>
                      <a:pt x="308" y="10"/>
                      <a:pt x="228" y="21"/>
                    </a:cubicBezTo>
                    <a:cubicBezTo>
                      <a:pt x="224" y="21"/>
                      <a:pt x="219" y="22"/>
                      <a:pt x="214" y="23"/>
                    </a:cubicBezTo>
                    <a:cubicBezTo>
                      <a:pt x="215" y="27"/>
                      <a:pt x="216" y="32"/>
                      <a:pt x="216" y="36"/>
                    </a:cubicBezTo>
                    <a:cubicBezTo>
                      <a:pt x="227" y="116"/>
                      <a:pt x="233" y="193"/>
                      <a:pt x="236" y="267"/>
                    </a:cubicBezTo>
                    <a:cubicBezTo>
                      <a:pt x="237" y="285"/>
                      <a:pt x="223" y="298"/>
                      <a:pt x="207" y="299"/>
                    </a:cubicBezTo>
                    <a:cubicBezTo>
                      <a:pt x="204" y="299"/>
                      <a:pt x="200" y="298"/>
                      <a:pt x="196" y="297"/>
                    </a:cubicBezTo>
                    <a:cubicBezTo>
                      <a:pt x="160" y="284"/>
                      <a:pt x="123" y="277"/>
                      <a:pt x="100" y="277"/>
                    </a:cubicBezTo>
                    <a:cubicBezTo>
                      <a:pt x="45" y="277"/>
                      <a:pt x="0" y="322"/>
                      <a:pt x="0" y="377"/>
                    </a:cubicBezTo>
                    <a:cubicBezTo>
                      <a:pt x="0" y="432"/>
                      <a:pt x="45" y="477"/>
                      <a:pt x="100" y="477"/>
                    </a:cubicBezTo>
                    <a:cubicBezTo>
                      <a:pt x="123" y="477"/>
                      <a:pt x="159" y="470"/>
                      <a:pt x="196" y="457"/>
                    </a:cubicBezTo>
                    <a:cubicBezTo>
                      <a:pt x="199" y="456"/>
                      <a:pt x="203" y="456"/>
                      <a:pt x="207" y="456"/>
                    </a:cubicBezTo>
                    <a:cubicBezTo>
                      <a:pt x="223" y="457"/>
                      <a:pt x="236" y="470"/>
                      <a:pt x="235" y="487"/>
                    </a:cubicBezTo>
                    <a:cubicBezTo>
                      <a:pt x="233" y="540"/>
                      <a:pt x="229" y="590"/>
                      <a:pt x="224" y="637"/>
                    </a:cubicBezTo>
                    <a:cubicBezTo>
                      <a:pt x="820" y="637"/>
                      <a:pt x="820" y="637"/>
                      <a:pt x="820" y="637"/>
                    </a:cubicBezTo>
                    <a:cubicBezTo>
                      <a:pt x="820" y="12"/>
                      <a:pt x="820" y="12"/>
                      <a:pt x="820" y="12"/>
                    </a:cubicBezTo>
                    <a:cubicBezTo>
                      <a:pt x="775" y="7"/>
                      <a:pt x="728" y="4"/>
                      <a:pt x="679" y="2"/>
                    </a:cubicBezTo>
                    <a:cubicBezTo>
                      <a:pt x="662" y="1"/>
                      <a:pt x="649" y="14"/>
                      <a:pt x="648" y="30"/>
                    </a:cubicBezTo>
                    <a:close/>
                  </a:path>
                </a:pathLst>
              </a:custGeom>
              <a:solidFill>
                <a:srgbClr val="2E5D1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:a16="http://schemas.microsoft.com/office/drawing/2014/main" id="{6F5BA738-766D-4367-B230-E6C804688E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0983" y="3005466"/>
                <a:ext cx="2008806" cy="1509458"/>
              </a:xfrm>
              <a:custGeom>
                <a:avLst/>
                <a:gdLst>
                  <a:gd name="T0" fmla="*/ 0 w 809"/>
                  <a:gd name="T1" fmla="*/ 598 h 608"/>
                  <a:gd name="T2" fmla="*/ 130 w 809"/>
                  <a:gd name="T3" fmla="*/ 606 h 608"/>
                  <a:gd name="T4" fmla="*/ 161 w 809"/>
                  <a:gd name="T5" fmla="*/ 578 h 608"/>
                  <a:gd name="T6" fmla="*/ 160 w 809"/>
                  <a:gd name="T7" fmla="*/ 567 h 608"/>
                  <a:gd name="T8" fmla="*/ 140 w 809"/>
                  <a:gd name="T9" fmla="*/ 471 h 608"/>
                  <a:gd name="T10" fmla="*/ 240 w 809"/>
                  <a:gd name="T11" fmla="*/ 371 h 608"/>
                  <a:gd name="T12" fmla="*/ 340 w 809"/>
                  <a:gd name="T13" fmla="*/ 471 h 608"/>
                  <a:gd name="T14" fmla="*/ 320 w 809"/>
                  <a:gd name="T15" fmla="*/ 567 h 608"/>
                  <a:gd name="T16" fmla="*/ 318 w 809"/>
                  <a:gd name="T17" fmla="*/ 579 h 608"/>
                  <a:gd name="T18" fmla="*/ 350 w 809"/>
                  <a:gd name="T19" fmla="*/ 607 h 608"/>
                  <a:gd name="T20" fmla="*/ 581 w 809"/>
                  <a:gd name="T21" fmla="*/ 587 h 608"/>
                  <a:gd name="T22" fmla="*/ 594 w 809"/>
                  <a:gd name="T23" fmla="*/ 586 h 608"/>
                  <a:gd name="T24" fmla="*/ 593 w 809"/>
                  <a:gd name="T25" fmla="*/ 572 h 608"/>
                  <a:gd name="T26" fmla="*/ 573 w 809"/>
                  <a:gd name="T27" fmla="*/ 341 h 608"/>
                  <a:gd name="T28" fmla="*/ 601 w 809"/>
                  <a:gd name="T29" fmla="*/ 310 h 608"/>
                  <a:gd name="T30" fmla="*/ 613 w 809"/>
                  <a:gd name="T31" fmla="*/ 311 h 608"/>
                  <a:gd name="T32" fmla="*/ 709 w 809"/>
                  <a:gd name="T33" fmla="*/ 331 h 608"/>
                  <a:gd name="T34" fmla="*/ 809 w 809"/>
                  <a:gd name="T35" fmla="*/ 231 h 608"/>
                  <a:gd name="T36" fmla="*/ 709 w 809"/>
                  <a:gd name="T37" fmla="*/ 131 h 608"/>
                  <a:gd name="T38" fmla="*/ 613 w 809"/>
                  <a:gd name="T39" fmla="*/ 151 h 608"/>
                  <a:gd name="T40" fmla="*/ 602 w 809"/>
                  <a:gd name="T41" fmla="*/ 152 h 608"/>
                  <a:gd name="T42" fmla="*/ 574 w 809"/>
                  <a:gd name="T43" fmla="*/ 121 h 608"/>
                  <a:gd name="T44" fmla="*/ 582 w 809"/>
                  <a:gd name="T45" fmla="*/ 0 h 608"/>
                  <a:gd name="T46" fmla="*/ 0 w 809"/>
                  <a:gd name="T47" fmla="*/ 0 h 608"/>
                  <a:gd name="T48" fmla="*/ 0 w 809"/>
                  <a:gd name="T49" fmla="*/ 598 h 6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09" h="608">
                    <a:moveTo>
                      <a:pt x="0" y="598"/>
                    </a:moveTo>
                    <a:cubicBezTo>
                      <a:pt x="41" y="601"/>
                      <a:pt x="85" y="604"/>
                      <a:pt x="130" y="606"/>
                    </a:cubicBezTo>
                    <a:cubicBezTo>
                      <a:pt x="147" y="607"/>
                      <a:pt x="160" y="594"/>
                      <a:pt x="161" y="578"/>
                    </a:cubicBezTo>
                    <a:cubicBezTo>
                      <a:pt x="161" y="575"/>
                      <a:pt x="161" y="571"/>
                      <a:pt x="160" y="567"/>
                    </a:cubicBezTo>
                    <a:cubicBezTo>
                      <a:pt x="147" y="531"/>
                      <a:pt x="140" y="494"/>
                      <a:pt x="140" y="471"/>
                    </a:cubicBezTo>
                    <a:cubicBezTo>
                      <a:pt x="140" y="416"/>
                      <a:pt x="185" y="371"/>
                      <a:pt x="240" y="371"/>
                    </a:cubicBezTo>
                    <a:cubicBezTo>
                      <a:pt x="295" y="371"/>
                      <a:pt x="340" y="416"/>
                      <a:pt x="340" y="471"/>
                    </a:cubicBezTo>
                    <a:cubicBezTo>
                      <a:pt x="340" y="494"/>
                      <a:pt x="333" y="531"/>
                      <a:pt x="320" y="567"/>
                    </a:cubicBezTo>
                    <a:cubicBezTo>
                      <a:pt x="319" y="571"/>
                      <a:pt x="318" y="575"/>
                      <a:pt x="318" y="579"/>
                    </a:cubicBezTo>
                    <a:cubicBezTo>
                      <a:pt x="319" y="594"/>
                      <a:pt x="332" y="608"/>
                      <a:pt x="350" y="607"/>
                    </a:cubicBezTo>
                    <a:cubicBezTo>
                      <a:pt x="424" y="604"/>
                      <a:pt x="501" y="598"/>
                      <a:pt x="581" y="587"/>
                    </a:cubicBezTo>
                    <a:cubicBezTo>
                      <a:pt x="585" y="587"/>
                      <a:pt x="590" y="586"/>
                      <a:pt x="594" y="586"/>
                    </a:cubicBezTo>
                    <a:cubicBezTo>
                      <a:pt x="594" y="581"/>
                      <a:pt x="593" y="576"/>
                      <a:pt x="593" y="572"/>
                    </a:cubicBezTo>
                    <a:cubicBezTo>
                      <a:pt x="582" y="492"/>
                      <a:pt x="576" y="415"/>
                      <a:pt x="573" y="341"/>
                    </a:cubicBezTo>
                    <a:cubicBezTo>
                      <a:pt x="572" y="324"/>
                      <a:pt x="586" y="310"/>
                      <a:pt x="601" y="310"/>
                    </a:cubicBezTo>
                    <a:cubicBezTo>
                      <a:pt x="605" y="309"/>
                      <a:pt x="609" y="310"/>
                      <a:pt x="613" y="311"/>
                    </a:cubicBezTo>
                    <a:cubicBezTo>
                      <a:pt x="649" y="324"/>
                      <a:pt x="686" y="331"/>
                      <a:pt x="709" y="331"/>
                    </a:cubicBezTo>
                    <a:cubicBezTo>
                      <a:pt x="764" y="331"/>
                      <a:pt x="809" y="286"/>
                      <a:pt x="809" y="231"/>
                    </a:cubicBezTo>
                    <a:cubicBezTo>
                      <a:pt x="809" y="176"/>
                      <a:pt x="764" y="131"/>
                      <a:pt x="709" y="131"/>
                    </a:cubicBezTo>
                    <a:cubicBezTo>
                      <a:pt x="686" y="131"/>
                      <a:pt x="649" y="138"/>
                      <a:pt x="613" y="151"/>
                    </a:cubicBezTo>
                    <a:cubicBezTo>
                      <a:pt x="609" y="152"/>
                      <a:pt x="605" y="153"/>
                      <a:pt x="602" y="152"/>
                    </a:cubicBezTo>
                    <a:cubicBezTo>
                      <a:pt x="586" y="151"/>
                      <a:pt x="573" y="138"/>
                      <a:pt x="574" y="121"/>
                    </a:cubicBezTo>
                    <a:cubicBezTo>
                      <a:pt x="575" y="79"/>
                      <a:pt x="578" y="39"/>
                      <a:pt x="582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598"/>
                    </a:lnTo>
                    <a:close/>
                  </a:path>
                </a:pathLst>
              </a:custGeom>
              <a:solidFill>
                <a:srgbClr val="99C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8">
                <a:extLst>
                  <a:ext uri="{FF2B5EF4-FFF2-40B4-BE49-F238E27FC236}">
                    <a16:creationId xmlns:a16="http://schemas.microsoft.com/office/drawing/2014/main" id="{C937563A-F6C8-4122-BB29-8FD1B0E0F5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0983" y="3927120"/>
                <a:ext cx="1532285" cy="2057314"/>
              </a:xfrm>
              <a:custGeom>
                <a:avLst/>
                <a:gdLst>
                  <a:gd name="T0" fmla="*/ 587 w 617"/>
                  <a:gd name="T1" fmla="*/ 648 h 829"/>
                  <a:gd name="T2" fmla="*/ 576 w 617"/>
                  <a:gd name="T3" fmla="*/ 649 h 829"/>
                  <a:gd name="T4" fmla="*/ 480 w 617"/>
                  <a:gd name="T5" fmla="*/ 669 h 829"/>
                  <a:gd name="T6" fmla="*/ 380 w 617"/>
                  <a:gd name="T7" fmla="*/ 569 h 829"/>
                  <a:gd name="T8" fmla="*/ 480 w 617"/>
                  <a:gd name="T9" fmla="*/ 469 h 829"/>
                  <a:gd name="T10" fmla="*/ 576 w 617"/>
                  <a:gd name="T11" fmla="*/ 489 h 829"/>
                  <a:gd name="T12" fmla="*/ 587 w 617"/>
                  <a:gd name="T13" fmla="*/ 491 h 829"/>
                  <a:gd name="T14" fmla="*/ 616 w 617"/>
                  <a:gd name="T15" fmla="*/ 459 h 829"/>
                  <a:gd name="T16" fmla="*/ 596 w 617"/>
                  <a:gd name="T17" fmla="*/ 228 h 829"/>
                  <a:gd name="T18" fmla="*/ 594 w 617"/>
                  <a:gd name="T19" fmla="*/ 215 h 829"/>
                  <a:gd name="T20" fmla="*/ 581 w 617"/>
                  <a:gd name="T21" fmla="*/ 216 h 829"/>
                  <a:gd name="T22" fmla="*/ 350 w 617"/>
                  <a:gd name="T23" fmla="*/ 236 h 829"/>
                  <a:gd name="T24" fmla="*/ 318 w 617"/>
                  <a:gd name="T25" fmla="*/ 208 h 829"/>
                  <a:gd name="T26" fmla="*/ 320 w 617"/>
                  <a:gd name="T27" fmla="*/ 196 h 829"/>
                  <a:gd name="T28" fmla="*/ 340 w 617"/>
                  <a:gd name="T29" fmla="*/ 100 h 829"/>
                  <a:gd name="T30" fmla="*/ 240 w 617"/>
                  <a:gd name="T31" fmla="*/ 0 h 829"/>
                  <a:gd name="T32" fmla="*/ 140 w 617"/>
                  <a:gd name="T33" fmla="*/ 100 h 829"/>
                  <a:gd name="T34" fmla="*/ 160 w 617"/>
                  <a:gd name="T35" fmla="*/ 196 h 829"/>
                  <a:gd name="T36" fmla="*/ 161 w 617"/>
                  <a:gd name="T37" fmla="*/ 207 h 829"/>
                  <a:gd name="T38" fmla="*/ 130 w 617"/>
                  <a:gd name="T39" fmla="*/ 235 h 829"/>
                  <a:gd name="T40" fmla="*/ 0 w 617"/>
                  <a:gd name="T41" fmla="*/ 227 h 829"/>
                  <a:gd name="T42" fmla="*/ 0 w 617"/>
                  <a:gd name="T43" fmla="*/ 829 h 829"/>
                  <a:gd name="T44" fmla="*/ 604 w 617"/>
                  <a:gd name="T45" fmla="*/ 829 h 829"/>
                  <a:gd name="T46" fmla="*/ 615 w 617"/>
                  <a:gd name="T47" fmla="*/ 679 h 829"/>
                  <a:gd name="T48" fmla="*/ 587 w 617"/>
                  <a:gd name="T49" fmla="*/ 648 h 8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17" h="829">
                    <a:moveTo>
                      <a:pt x="587" y="648"/>
                    </a:moveTo>
                    <a:cubicBezTo>
                      <a:pt x="583" y="648"/>
                      <a:pt x="579" y="648"/>
                      <a:pt x="576" y="649"/>
                    </a:cubicBezTo>
                    <a:cubicBezTo>
                      <a:pt x="539" y="662"/>
                      <a:pt x="503" y="669"/>
                      <a:pt x="480" y="669"/>
                    </a:cubicBezTo>
                    <a:cubicBezTo>
                      <a:pt x="425" y="669"/>
                      <a:pt x="380" y="624"/>
                      <a:pt x="380" y="569"/>
                    </a:cubicBezTo>
                    <a:cubicBezTo>
                      <a:pt x="380" y="514"/>
                      <a:pt x="425" y="469"/>
                      <a:pt x="480" y="469"/>
                    </a:cubicBezTo>
                    <a:cubicBezTo>
                      <a:pt x="503" y="469"/>
                      <a:pt x="540" y="476"/>
                      <a:pt x="576" y="489"/>
                    </a:cubicBezTo>
                    <a:cubicBezTo>
                      <a:pt x="580" y="490"/>
                      <a:pt x="584" y="491"/>
                      <a:pt x="587" y="491"/>
                    </a:cubicBezTo>
                    <a:cubicBezTo>
                      <a:pt x="603" y="490"/>
                      <a:pt x="617" y="477"/>
                      <a:pt x="616" y="459"/>
                    </a:cubicBezTo>
                    <a:cubicBezTo>
                      <a:pt x="613" y="385"/>
                      <a:pt x="607" y="308"/>
                      <a:pt x="596" y="228"/>
                    </a:cubicBezTo>
                    <a:cubicBezTo>
                      <a:pt x="596" y="224"/>
                      <a:pt x="595" y="219"/>
                      <a:pt x="594" y="215"/>
                    </a:cubicBezTo>
                    <a:cubicBezTo>
                      <a:pt x="590" y="215"/>
                      <a:pt x="585" y="216"/>
                      <a:pt x="581" y="216"/>
                    </a:cubicBezTo>
                    <a:cubicBezTo>
                      <a:pt x="501" y="227"/>
                      <a:pt x="424" y="233"/>
                      <a:pt x="350" y="236"/>
                    </a:cubicBezTo>
                    <a:cubicBezTo>
                      <a:pt x="332" y="237"/>
                      <a:pt x="319" y="223"/>
                      <a:pt x="318" y="208"/>
                    </a:cubicBezTo>
                    <a:cubicBezTo>
                      <a:pt x="318" y="204"/>
                      <a:pt x="319" y="200"/>
                      <a:pt x="320" y="196"/>
                    </a:cubicBezTo>
                    <a:cubicBezTo>
                      <a:pt x="333" y="160"/>
                      <a:pt x="340" y="123"/>
                      <a:pt x="340" y="100"/>
                    </a:cubicBezTo>
                    <a:cubicBezTo>
                      <a:pt x="340" y="45"/>
                      <a:pt x="295" y="0"/>
                      <a:pt x="240" y="0"/>
                    </a:cubicBezTo>
                    <a:cubicBezTo>
                      <a:pt x="185" y="0"/>
                      <a:pt x="140" y="45"/>
                      <a:pt x="140" y="100"/>
                    </a:cubicBezTo>
                    <a:cubicBezTo>
                      <a:pt x="140" y="123"/>
                      <a:pt x="147" y="160"/>
                      <a:pt x="160" y="196"/>
                    </a:cubicBezTo>
                    <a:cubicBezTo>
                      <a:pt x="161" y="200"/>
                      <a:pt x="161" y="204"/>
                      <a:pt x="161" y="207"/>
                    </a:cubicBezTo>
                    <a:cubicBezTo>
                      <a:pt x="160" y="223"/>
                      <a:pt x="147" y="236"/>
                      <a:pt x="130" y="235"/>
                    </a:cubicBezTo>
                    <a:cubicBezTo>
                      <a:pt x="85" y="233"/>
                      <a:pt x="41" y="230"/>
                      <a:pt x="0" y="227"/>
                    </a:cubicBezTo>
                    <a:cubicBezTo>
                      <a:pt x="0" y="829"/>
                      <a:pt x="0" y="829"/>
                      <a:pt x="0" y="829"/>
                    </a:cubicBezTo>
                    <a:cubicBezTo>
                      <a:pt x="604" y="829"/>
                      <a:pt x="604" y="829"/>
                      <a:pt x="604" y="829"/>
                    </a:cubicBezTo>
                    <a:cubicBezTo>
                      <a:pt x="609" y="782"/>
                      <a:pt x="613" y="732"/>
                      <a:pt x="615" y="679"/>
                    </a:cubicBezTo>
                    <a:cubicBezTo>
                      <a:pt x="616" y="662"/>
                      <a:pt x="603" y="649"/>
                      <a:pt x="587" y="648"/>
                    </a:cubicBezTo>
                    <a:close/>
                  </a:path>
                </a:pathLst>
              </a:custGeom>
              <a:solidFill>
                <a:srgbClr val="5BBB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488F2F12-8ED9-45D3-8450-6C9C5FD5DB39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302083" y="3103542"/>
                <a:ext cx="843151" cy="843965"/>
                <a:chOff x="5273675" y="2605088"/>
                <a:chExt cx="1644650" cy="1646237"/>
              </a:xfrm>
            </p:grpSpPr>
            <p:sp>
              <p:nvSpPr>
                <p:cNvPr id="122" name="AutoShape 3">
                  <a:extLst>
                    <a:ext uri="{FF2B5EF4-FFF2-40B4-BE49-F238E27FC236}">
                      <a16:creationId xmlns:a16="http://schemas.microsoft.com/office/drawing/2014/main" id="{D34DE9DC-5FE2-4727-9AA9-A060440DB06E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675" y="2605088"/>
                  <a:ext cx="1644650" cy="16462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23" name="Group 122">
                  <a:extLst>
                    <a:ext uri="{FF2B5EF4-FFF2-40B4-BE49-F238E27FC236}">
                      <a16:creationId xmlns:a16="http://schemas.microsoft.com/office/drawing/2014/main" id="{33CB0697-CD2C-45C3-96EB-E85346F0D004}"/>
                    </a:ext>
                  </a:extLst>
                </p:cNvPr>
                <p:cNvGrpSpPr/>
                <p:nvPr/>
              </p:nvGrpSpPr>
              <p:grpSpPr>
                <a:xfrm>
                  <a:off x="5531036" y="2776581"/>
                  <a:ext cx="1129929" cy="1303250"/>
                  <a:chOff x="5528729" y="2776624"/>
                  <a:chExt cx="1129929" cy="1303250"/>
                </a:xfrm>
              </p:grpSpPr>
              <p:sp>
                <p:nvSpPr>
                  <p:cNvPr id="124" name="Freeform 156">
                    <a:extLst>
                      <a:ext uri="{FF2B5EF4-FFF2-40B4-BE49-F238E27FC236}">
                        <a16:creationId xmlns:a16="http://schemas.microsoft.com/office/drawing/2014/main" id="{DAC84C73-D38E-4B24-AD84-B95A3C5C74D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28729" y="2776624"/>
                    <a:ext cx="1129929" cy="1303250"/>
                  </a:xfrm>
                  <a:custGeom>
                    <a:avLst/>
                    <a:gdLst>
                      <a:gd name="connsiteX0" fmla="*/ 289198 w 1129929"/>
                      <a:gd name="connsiteY0" fmla="*/ 853988 h 1303250"/>
                      <a:gd name="connsiteX1" fmla="*/ 35540 w 1129929"/>
                      <a:gd name="connsiteY1" fmla="*/ 1184870 h 1303250"/>
                      <a:gd name="connsiteX2" fmla="*/ 71981 w 1129929"/>
                      <a:gd name="connsiteY2" fmla="*/ 1245615 h 1303250"/>
                      <a:gd name="connsiteX3" fmla="*/ 119140 w 1129929"/>
                      <a:gd name="connsiteY3" fmla="*/ 1267769 h 1303250"/>
                      <a:gd name="connsiteX4" fmla="*/ 140576 w 1129929"/>
                      <a:gd name="connsiteY4" fmla="*/ 1264911 h 1303250"/>
                      <a:gd name="connsiteX5" fmla="*/ 394234 w 1129929"/>
                      <a:gd name="connsiteY5" fmla="*/ 933314 h 1303250"/>
                      <a:gd name="connsiteX6" fmla="*/ 289198 w 1129929"/>
                      <a:gd name="connsiteY6" fmla="*/ 853988 h 1303250"/>
                      <a:gd name="connsiteX7" fmla="*/ 283534 w 1129929"/>
                      <a:gd name="connsiteY7" fmla="*/ 814143 h 1303250"/>
                      <a:gd name="connsiteX8" fmla="*/ 296390 w 1129929"/>
                      <a:gd name="connsiteY8" fmla="*/ 817004 h 1303250"/>
                      <a:gd name="connsiteX9" fmla="*/ 427812 w 1129929"/>
                      <a:gd name="connsiteY9" fmla="*/ 917828 h 1303250"/>
                      <a:gd name="connsiteX10" fmla="*/ 431383 w 1129929"/>
                      <a:gd name="connsiteY10" fmla="*/ 942141 h 1303250"/>
                      <a:gd name="connsiteX11" fmla="*/ 167825 w 1129929"/>
                      <a:gd name="connsiteY11" fmla="*/ 1285373 h 1303250"/>
                      <a:gd name="connsiteX12" fmla="*/ 128541 w 1129929"/>
                      <a:gd name="connsiteY12" fmla="*/ 1303250 h 1303250"/>
                      <a:gd name="connsiteX13" fmla="*/ 114256 w 1129929"/>
                      <a:gd name="connsiteY13" fmla="*/ 1301820 h 1303250"/>
                      <a:gd name="connsiteX14" fmla="*/ 52117 w 1129929"/>
                      <a:gd name="connsiteY14" fmla="*/ 1273217 h 1303250"/>
                      <a:gd name="connsiteX15" fmla="*/ 8547 w 1129929"/>
                      <a:gd name="connsiteY15" fmla="*/ 1165242 h 1303250"/>
                      <a:gd name="connsiteX16" fmla="*/ 272106 w 1129929"/>
                      <a:gd name="connsiteY16" fmla="*/ 819864 h 1303250"/>
                      <a:gd name="connsiteX17" fmla="*/ 283534 w 1129929"/>
                      <a:gd name="connsiteY17" fmla="*/ 814143 h 1303250"/>
                      <a:gd name="connsiteX18" fmla="*/ 715344 w 1129929"/>
                      <a:gd name="connsiteY18" fmla="*/ 573000 h 1303250"/>
                      <a:gd name="connsiteX19" fmla="*/ 729007 w 1129929"/>
                      <a:gd name="connsiteY19" fmla="*/ 600174 h 1303250"/>
                      <a:gd name="connsiteX20" fmla="*/ 757772 w 1129929"/>
                      <a:gd name="connsiteY20" fmla="*/ 603034 h 1303250"/>
                      <a:gd name="connsiteX21" fmla="*/ 737637 w 1129929"/>
                      <a:gd name="connsiteY21" fmla="*/ 623772 h 1303250"/>
                      <a:gd name="connsiteX22" fmla="*/ 741951 w 1129929"/>
                      <a:gd name="connsiteY22" fmla="*/ 652375 h 1303250"/>
                      <a:gd name="connsiteX23" fmla="*/ 715344 w 1129929"/>
                      <a:gd name="connsiteY23" fmla="*/ 637358 h 1303250"/>
                      <a:gd name="connsiteX24" fmla="*/ 689455 w 1129929"/>
                      <a:gd name="connsiteY24" fmla="*/ 652375 h 1303250"/>
                      <a:gd name="connsiteX25" fmla="*/ 693770 w 1129929"/>
                      <a:gd name="connsiteY25" fmla="*/ 623772 h 1303250"/>
                      <a:gd name="connsiteX26" fmla="*/ 673634 w 1129929"/>
                      <a:gd name="connsiteY26" fmla="*/ 603034 h 1303250"/>
                      <a:gd name="connsiteX27" fmla="*/ 703119 w 1129929"/>
                      <a:gd name="connsiteY27" fmla="*/ 600174 h 1303250"/>
                      <a:gd name="connsiteX28" fmla="*/ 715344 w 1129929"/>
                      <a:gd name="connsiteY28" fmla="*/ 573000 h 1303250"/>
                      <a:gd name="connsiteX29" fmla="*/ 616222 w 1129929"/>
                      <a:gd name="connsiteY29" fmla="*/ 573000 h 1303250"/>
                      <a:gd name="connsiteX30" fmla="*/ 629598 w 1129929"/>
                      <a:gd name="connsiteY30" fmla="*/ 600174 h 1303250"/>
                      <a:gd name="connsiteX31" fmla="*/ 657759 w 1129929"/>
                      <a:gd name="connsiteY31" fmla="*/ 603034 h 1303250"/>
                      <a:gd name="connsiteX32" fmla="*/ 636638 w 1129929"/>
                      <a:gd name="connsiteY32" fmla="*/ 623772 h 1303250"/>
                      <a:gd name="connsiteX33" fmla="*/ 641567 w 1129929"/>
                      <a:gd name="connsiteY33" fmla="*/ 652375 h 1303250"/>
                      <a:gd name="connsiteX34" fmla="*/ 616222 w 1129929"/>
                      <a:gd name="connsiteY34" fmla="*/ 637358 h 1303250"/>
                      <a:gd name="connsiteX35" fmla="*/ 591581 w 1129929"/>
                      <a:gd name="connsiteY35" fmla="*/ 652375 h 1303250"/>
                      <a:gd name="connsiteX36" fmla="*/ 595805 w 1129929"/>
                      <a:gd name="connsiteY36" fmla="*/ 623772 h 1303250"/>
                      <a:gd name="connsiteX37" fmla="*/ 576796 w 1129929"/>
                      <a:gd name="connsiteY37" fmla="*/ 603034 h 1303250"/>
                      <a:gd name="connsiteX38" fmla="*/ 604253 w 1129929"/>
                      <a:gd name="connsiteY38" fmla="*/ 600174 h 1303250"/>
                      <a:gd name="connsiteX39" fmla="*/ 616222 w 1129929"/>
                      <a:gd name="connsiteY39" fmla="*/ 573000 h 1303250"/>
                      <a:gd name="connsiteX40" fmla="*/ 521234 w 1129929"/>
                      <a:gd name="connsiteY40" fmla="*/ 573000 h 1303250"/>
                      <a:gd name="connsiteX41" fmla="*/ 534092 w 1129929"/>
                      <a:gd name="connsiteY41" fmla="*/ 600174 h 1303250"/>
                      <a:gd name="connsiteX42" fmla="*/ 564096 w 1129929"/>
                      <a:gd name="connsiteY42" fmla="*/ 603034 h 1303250"/>
                      <a:gd name="connsiteX43" fmla="*/ 542665 w 1129929"/>
                      <a:gd name="connsiteY43" fmla="*/ 623772 h 1303250"/>
                      <a:gd name="connsiteX44" fmla="*/ 547666 w 1129929"/>
                      <a:gd name="connsiteY44" fmla="*/ 652375 h 1303250"/>
                      <a:gd name="connsiteX45" fmla="*/ 521234 w 1129929"/>
                      <a:gd name="connsiteY45" fmla="*/ 637358 h 1303250"/>
                      <a:gd name="connsiteX46" fmla="*/ 494802 w 1129929"/>
                      <a:gd name="connsiteY46" fmla="*/ 652375 h 1303250"/>
                      <a:gd name="connsiteX47" fmla="*/ 499088 w 1129929"/>
                      <a:gd name="connsiteY47" fmla="*/ 623772 h 1303250"/>
                      <a:gd name="connsiteX48" fmla="*/ 478371 w 1129929"/>
                      <a:gd name="connsiteY48" fmla="*/ 603034 h 1303250"/>
                      <a:gd name="connsiteX49" fmla="*/ 507661 w 1129929"/>
                      <a:gd name="connsiteY49" fmla="*/ 600174 h 1303250"/>
                      <a:gd name="connsiteX50" fmla="*/ 521234 w 1129929"/>
                      <a:gd name="connsiteY50" fmla="*/ 573000 h 1303250"/>
                      <a:gd name="connsiteX51" fmla="*/ 598151 w 1129929"/>
                      <a:gd name="connsiteY51" fmla="*/ 292013 h 1303250"/>
                      <a:gd name="connsiteX52" fmla="*/ 601732 w 1129929"/>
                      <a:gd name="connsiteY52" fmla="*/ 297731 h 1303250"/>
                      <a:gd name="connsiteX53" fmla="*/ 611760 w 1129929"/>
                      <a:gd name="connsiteY53" fmla="*/ 302734 h 1303250"/>
                      <a:gd name="connsiteX54" fmla="*/ 622505 w 1129929"/>
                      <a:gd name="connsiteY54" fmla="*/ 319888 h 1303250"/>
                      <a:gd name="connsiteX55" fmla="*/ 626087 w 1129929"/>
                      <a:gd name="connsiteY55" fmla="*/ 323462 h 1303250"/>
                      <a:gd name="connsiteX56" fmla="*/ 661186 w 1129929"/>
                      <a:gd name="connsiteY56" fmla="*/ 397081 h 1303250"/>
                      <a:gd name="connsiteX57" fmla="*/ 714909 w 1129929"/>
                      <a:gd name="connsiteY57" fmla="*/ 423527 h 1303250"/>
                      <a:gd name="connsiteX58" fmla="*/ 770065 w 1129929"/>
                      <a:gd name="connsiteY58" fmla="*/ 397081 h 1303250"/>
                      <a:gd name="connsiteX59" fmla="*/ 804448 w 1129929"/>
                      <a:gd name="connsiteY59" fmla="*/ 323462 h 1303250"/>
                      <a:gd name="connsiteX60" fmla="*/ 807313 w 1129929"/>
                      <a:gd name="connsiteY60" fmla="*/ 320603 h 1303250"/>
                      <a:gd name="connsiteX61" fmla="*/ 815909 w 1129929"/>
                      <a:gd name="connsiteY61" fmla="*/ 312026 h 1303250"/>
                      <a:gd name="connsiteX62" fmla="*/ 832384 w 1129929"/>
                      <a:gd name="connsiteY62" fmla="*/ 307023 h 1303250"/>
                      <a:gd name="connsiteX63" fmla="*/ 815909 w 1129929"/>
                      <a:gd name="connsiteY63" fmla="*/ 330610 h 1303250"/>
                      <a:gd name="connsiteX64" fmla="*/ 777945 w 1129929"/>
                      <a:gd name="connsiteY64" fmla="*/ 406373 h 1303250"/>
                      <a:gd name="connsiteX65" fmla="*/ 776512 w 1129929"/>
                      <a:gd name="connsiteY65" fmla="*/ 408517 h 1303250"/>
                      <a:gd name="connsiteX66" fmla="*/ 776512 w 1129929"/>
                      <a:gd name="connsiteY66" fmla="*/ 427101 h 1303250"/>
                      <a:gd name="connsiteX67" fmla="*/ 763618 w 1129929"/>
                      <a:gd name="connsiteY67" fmla="*/ 438537 h 1303250"/>
                      <a:gd name="connsiteX68" fmla="*/ 763618 w 1129929"/>
                      <a:gd name="connsiteY68" fmla="*/ 418524 h 1303250"/>
                      <a:gd name="connsiteX69" fmla="*/ 714909 w 1129929"/>
                      <a:gd name="connsiteY69" fmla="*/ 437107 h 1303250"/>
                      <a:gd name="connsiteX70" fmla="*/ 671931 w 1129929"/>
                      <a:gd name="connsiteY70" fmla="*/ 420668 h 1303250"/>
                      <a:gd name="connsiteX71" fmla="*/ 671931 w 1129929"/>
                      <a:gd name="connsiteY71" fmla="*/ 442825 h 1303250"/>
                      <a:gd name="connsiteX72" fmla="*/ 658321 w 1129929"/>
                      <a:gd name="connsiteY72" fmla="*/ 431389 h 1303250"/>
                      <a:gd name="connsiteX73" fmla="*/ 658321 w 1129929"/>
                      <a:gd name="connsiteY73" fmla="*/ 412091 h 1303250"/>
                      <a:gd name="connsiteX74" fmla="*/ 651874 w 1129929"/>
                      <a:gd name="connsiteY74" fmla="*/ 406373 h 1303250"/>
                      <a:gd name="connsiteX75" fmla="*/ 615342 w 1129929"/>
                      <a:gd name="connsiteY75" fmla="*/ 331324 h 1303250"/>
                      <a:gd name="connsiteX76" fmla="*/ 597434 w 1129929"/>
                      <a:gd name="connsiteY76" fmla="*/ 294872 h 1303250"/>
                      <a:gd name="connsiteX77" fmla="*/ 598151 w 1129929"/>
                      <a:gd name="connsiteY77" fmla="*/ 292013 h 1303250"/>
                      <a:gd name="connsiteX78" fmla="*/ 710144 w 1129929"/>
                      <a:gd name="connsiteY78" fmla="*/ 50713 h 1303250"/>
                      <a:gd name="connsiteX79" fmla="*/ 705856 w 1129929"/>
                      <a:gd name="connsiteY79" fmla="*/ 51429 h 1303250"/>
                      <a:gd name="connsiteX80" fmla="*/ 702998 w 1129929"/>
                      <a:gd name="connsiteY80" fmla="*/ 51429 h 1303250"/>
                      <a:gd name="connsiteX81" fmla="*/ 695136 w 1129929"/>
                      <a:gd name="connsiteY81" fmla="*/ 51429 h 1303250"/>
                      <a:gd name="connsiteX82" fmla="*/ 694421 w 1129929"/>
                      <a:gd name="connsiteY82" fmla="*/ 51429 h 1303250"/>
                      <a:gd name="connsiteX83" fmla="*/ 351372 w 1129929"/>
                      <a:gd name="connsiteY83" fmla="*/ 417783 h 1303250"/>
                      <a:gd name="connsiteX84" fmla="*/ 635102 w 1129929"/>
                      <a:gd name="connsiteY84" fmla="*/ 775552 h 1303250"/>
                      <a:gd name="connsiteX85" fmla="*/ 717291 w 1129929"/>
                      <a:gd name="connsiteY85" fmla="*/ 784138 h 1303250"/>
                      <a:gd name="connsiteX86" fmla="*/ 801624 w 1129929"/>
                      <a:gd name="connsiteY86" fmla="*/ 774836 h 1303250"/>
                      <a:gd name="connsiteX87" fmla="*/ 1083210 w 1129929"/>
                      <a:gd name="connsiteY87" fmla="*/ 417783 h 1303250"/>
                      <a:gd name="connsiteX88" fmla="*/ 770893 w 1129929"/>
                      <a:gd name="connsiteY88" fmla="*/ 55006 h 1303250"/>
                      <a:gd name="connsiteX89" fmla="*/ 770178 w 1129929"/>
                      <a:gd name="connsiteY89" fmla="*/ 55006 h 1303250"/>
                      <a:gd name="connsiteX90" fmla="*/ 758743 w 1129929"/>
                      <a:gd name="connsiteY90" fmla="*/ 53575 h 1303250"/>
                      <a:gd name="connsiteX91" fmla="*/ 757314 w 1129929"/>
                      <a:gd name="connsiteY91" fmla="*/ 52860 h 1303250"/>
                      <a:gd name="connsiteX92" fmla="*/ 751596 w 1129929"/>
                      <a:gd name="connsiteY92" fmla="*/ 52860 h 1303250"/>
                      <a:gd name="connsiteX93" fmla="*/ 748023 w 1129929"/>
                      <a:gd name="connsiteY93" fmla="*/ 52144 h 1303250"/>
                      <a:gd name="connsiteX94" fmla="*/ 743735 w 1129929"/>
                      <a:gd name="connsiteY94" fmla="*/ 52144 h 1303250"/>
                      <a:gd name="connsiteX95" fmla="*/ 738017 w 1129929"/>
                      <a:gd name="connsiteY95" fmla="*/ 51429 h 1303250"/>
                      <a:gd name="connsiteX96" fmla="*/ 735873 w 1129929"/>
                      <a:gd name="connsiteY96" fmla="*/ 51429 h 1303250"/>
                      <a:gd name="connsiteX97" fmla="*/ 726582 w 1129929"/>
                      <a:gd name="connsiteY97" fmla="*/ 51429 h 1303250"/>
                      <a:gd name="connsiteX98" fmla="*/ 725153 w 1129929"/>
                      <a:gd name="connsiteY98" fmla="*/ 51429 h 1303250"/>
                      <a:gd name="connsiteX99" fmla="*/ 718006 w 1129929"/>
                      <a:gd name="connsiteY99" fmla="*/ 50713 h 1303250"/>
                      <a:gd name="connsiteX100" fmla="*/ 715147 w 1129929"/>
                      <a:gd name="connsiteY100" fmla="*/ 50713 h 1303250"/>
                      <a:gd name="connsiteX101" fmla="*/ 710144 w 1129929"/>
                      <a:gd name="connsiteY101" fmla="*/ 50713 h 1303250"/>
                      <a:gd name="connsiteX102" fmla="*/ 701396 w 1129929"/>
                      <a:gd name="connsiteY102" fmla="*/ 312 h 1303250"/>
                      <a:gd name="connsiteX103" fmla="*/ 968363 w 1129929"/>
                      <a:gd name="connsiteY103" fmla="*/ 83938 h 1303250"/>
                      <a:gd name="connsiteX104" fmla="*/ 1045455 w 1129929"/>
                      <a:gd name="connsiteY104" fmla="*/ 665036 h 1303250"/>
                      <a:gd name="connsiteX105" fmla="*/ 1032607 w 1129929"/>
                      <a:gd name="connsiteY105" fmla="*/ 681475 h 1303250"/>
                      <a:gd name="connsiteX106" fmla="*/ 1032607 w 1129929"/>
                      <a:gd name="connsiteY106" fmla="*/ 680760 h 1303250"/>
                      <a:gd name="connsiteX107" fmla="*/ 907689 w 1129929"/>
                      <a:gd name="connsiteY107" fmla="*/ 780112 h 1303250"/>
                      <a:gd name="connsiteX108" fmla="*/ 909116 w 1129929"/>
                      <a:gd name="connsiteY108" fmla="*/ 780112 h 1303250"/>
                      <a:gd name="connsiteX109" fmla="*/ 527224 w 1129929"/>
                      <a:gd name="connsiteY109" fmla="*/ 780826 h 1303250"/>
                      <a:gd name="connsiteX110" fmla="*/ 525083 w 1129929"/>
                      <a:gd name="connsiteY110" fmla="*/ 780826 h 1303250"/>
                      <a:gd name="connsiteX111" fmla="*/ 442280 w 1129929"/>
                      <a:gd name="connsiteY111" fmla="*/ 887325 h 1303250"/>
                      <a:gd name="connsiteX112" fmla="*/ 439425 w 1129929"/>
                      <a:gd name="connsiteY112" fmla="*/ 885181 h 1303250"/>
                      <a:gd name="connsiteX113" fmla="*/ 368757 w 1129929"/>
                      <a:gd name="connsiteY113" fmla="*/ 830859 h 1303250"/>
                      <a:gd name="connsiteX114" fmla="*/ 326641 w 1129929"/>
                      <a:gd name="connsiteY114" fmla="*/ 799410 h 1303250"/>
                      <a:gd name="connsiteX115" fmla="*/ 326641 w 1129929"/>
                      <a:gd name="connsiteY115" fmla="*/ 798695 h 1303250"/>
                      <a:gd name="connsiteX116" fmla="*/ 357336 w 1129929"/>
                      <a:gd name="connsiteY116" fmla="*/ 758669 h 1303250"/>
                      <a:gd name="connsiteX117" fmla="*/ 410158 w 1129929"/>
                      <a:gd name="connsiteY117" fmla="*/ 690767 h 1303250"/>
                      <a:gd name="connsiteX118" fmla="*/ 410872 w 1129929"/>
                      <a:gd name="connsiteY118" fmla="*/ 689338 h 1303250"/>
                      <a:gd name="connsiteX119" fmla="*/ 402306 w 1129929"/>
                      <a:gd name="connsiteY119" fmla="*/ 680760 h 1303250"/>
                      <a:gd name="connsiteX120" fmla="*/ 388744 w 1129929"/>
                      <a:gd name="connsiteY120" fmla="*/ 161847 h 1303250"/>
                      <a:gd name="connsiteX121" fmla="*/ 701396 w 1129929"/>
                      <a:gd name="connsiteY121" fmla="*/ 312 h 1303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</a:cxnLst>
                    <a:rect l="l" t="t" r="r" b="b"/>
                    <a:pathLst>
                      <a:path w="1129929" h="1303250">
                        <a:moveTo>
                          <a:pt x="289198" y="853988"/>
                        </a:moveTo>
                        <a:cubicBezTo>
                          <a:pt x="289198" y="853988"/>
                          <a:pt x="289198" y="853988"/>
                          <a:pt x="35540" y="1184870"/>
                        </a:cubicBezTo>
                        <a:cubicBezTo>
                          <a:pt x="29109" y="1193446"/>
                          <a:pt x="40542" y="1222032"/>
                          <a:pt x="71981" y="1245615"/>
                        </a:cubicBezTo>
                        <a:cubicBezTo>
                          <a:pt x="86986" y="1257049"/>
                          <a:pt x="104849" y="1264911"/>
                          <a:pt x="119140" y="1267769"/>
                        </a:cubicBezTo>
                        <a:cubicBezTo>
                          <a:pt x="129143" y="1269913"/>
                          <a:pt x="137718" y="1267769"/>
                          <a:pt x="140576" y="1264911"/>
                        </a:cubicBezTo>
                        <a:cubicBezTo>
                          <a:pt x="140576" y="1264911"/>
                          <a:pt x="140576" y="1264911"/>
                          <a:pt x="394234" y="933314"/>
                        </a:cubicBezTo>
                        <a:cubicBezTo>
                          <a:pt x="394234" y="933314"/>
                          <a:pt x="394234" y="933314"/>
                          <a:pt x="289198" y="853988"/>
                        </a:cubicBezTo>
                        <a:close/>
                        <a:moveTo>
                          <a:pt x="283534" y="814143"/>
                        </a:moveTo>
                        <a:cubicBezTo>
                          <a:pt x="288533" y="812713"/>
                          <a:pt x="292819" y="814858"/>
                          <a:pt x="296390" y="817004"/>
                        </a:cubicBezTo>
                        <a:cubicBezTo>
                          <a:pt x="296390" y="817004"/>
                          <a:pt x="296390" y="817004"/>
                          <a:pt x="427812" y="917828"/>
                        </a:cubicBezTo>
                        <a:cubicBezTo>
                          <a:pt x="435669" y="923549"/>
                          <a:pt x="437097" y="934275"/>
                          <a:pt x="431383" y="942141"/>
                        </a:cubicBezTo>
                        <a:cubicBezTo>
                          <a:pt x="431383" y="942141"/>
                          <a:pt x="431383" y="942141"/>
                          <a:pt x="167825" y="1285373"/>
                        </a:cubicBezTo>
                        <a:cubicBezTo>
                          <a:pt x="159254" y="1296815"/>
                          <a:pt x="145683" y="1303250"/>
                          <a:pt x="128541" y="1303250"/>
                        </a:cubicBezTo>
                        <a:cubicBezTo>
                          <a:pt x="124256" y="1303250"/>
                          <a:pt x="118542" y="1302535"/>
                          <a:pt x="114256" y="1301820"/>
                        </a:cubicBezTo>
                        <a:cubicBezTo>
                          <a:pt x="94257" y="1298960"/>
                          <a:pt x="72116" y="1287519"/>
                          <a:pt x="52117" y="1273217"/>
                        </a:cubicBezTo>
                        <a:cubicBezTo>
                          <a:pt x="5690" y="1238179"/>
                          <a:pt x="-12166" y="1192415"/>
                          <a:pt x="8547" y="1165242"/>
                        </a:cubicBezTo>
                        <a:cubicBezTo>
                          <a:pt x="8547" y="1165242"/>
                          <a:pt x="8547" y="1165242"/>
                          <a:pt x="272106" y="819864"/>
                        </a:cubicBezTo>
                        <a:cubicBezTo>
                          <a:pt x="274963" y="817004"/>
                          <a:pt x="279248" y="814858"/>
                          <a:pt x="283534" y="814143"/>
                        </a:cubicBezTo>
                        <a:close/>
                        <a:moveTo>
                          <a:pt x="715344" y="573000"/>
                        </a:moveTo>
                        <a:cubicBezTo>
                          <a:pt x="715344" y="573000"/>
                          <a:pt x="715344" y="573000"/>
                          <a:pt x="729007" y="600174"/>
                        </a:cubicBezTo>
                        <a:cubicBezTo>
                          <a:pt x="729007" y="600174"/>
                          <a:pt x="729007" y="600174"/>
                          <a:pt x="757772" y="603034"/>
                        </a:cubicBezTo>
                        <a:cubicBezTo>
                          <a:pt x="757772" y="603034"/>
                          <a:pt x="757772" y="603034"/>
                          <a:pt x="737637" y="623772"/>
                        </a:cubicBezTo>
                        <a:cubicBezTo>
                          <a:pt x="737637" y="623772"/>
                          <a:pt x="737637" y="623772"/>
                          <a:pt x="741951" y="652375"/>
                        </a:cubicBezTo>
                        <a:cubicBezTo>
                          <a:pt x="741951" y="652375"/>
                          <a:pt x="741951" y="652375"/>
                          <a:pt x="715344" y="637358"/>
                        </a:cubicBezTo>
                        <a:cubicBezTo>
                          <a:pt x="715344" y="637358"/>
                          <a:pt x="715344" y="637358"/>
                          <a:pt x="689455" y="652375"/>
                        </a:cubicBezTo>
                        <a:cubicBezTo>
                          <a:pt x="689455" y="652375"/>
                          <a:pt x="689455" y="652375"/>
                          <a:pt x="693770" y="623772"/>
                        </a:cubicBezTo>
                        <a:cubicBezTo>
                          <a:pt x="693770" y="623772"/>
                          <a:pt x="693770" y="623772"/>
                          <a:pt x="673634" y="603034"/>
                        </a:cubicBezTo>
                        <a:cubicBezTo>
                          <a:pt x="673634" y="603034"/>
                          <a:pt x="673634" y="603034"/>
                          <a:pt x="703119" y="600174"/>
                        </a:cubicBezTo>
                        <a:cubicBezTo>
                          <a:pt x="703119" y="600174"/>
                          <a:pt x="703119" y="600174"/>
                          <a:pt x="715344" y="573000"/>
                        </a:cubicBezTo>
                        <a:close/>
                        <a:moveTo>
                          <a:pt x="616222" y="573000"/>
                        </a:moveTo>
                        <a:cubicBezTo>
                          <a:pt x="616222" y="573000"/>
                          <a:pt x="616222" y="573000"/>
                          <a:pt x="629598" y="600174"/>
                        </a:cubicBezTo>
                        <a:cubicBezTo>
                          <a:pt x="629598" y="600174"/>
                          <a:pt x="629598" y="600174"/>
                          <a:pt x="657759" y="603034"/>
                        </a:cubicBezTo>
                        <a:cubicBezTo>
                          <a:pt x="657759" y="603034"/>
                          <a:pt x="657759" y="603034"/>
                          <a:pt x="636638" y="623772"/>
                        </a:cubicBezTo>
                        <a:cubicBezTo>
                          <a:pt x="636638" y="623772"/>
                          <a:pt x="636638" y="623772"/>
                          <a:pt x="641567" y="652375"/>
                        </a:cubicBezTo>
                        <a:cubicBezTo>
                          <a:pt x="641567" y="652375"/>
                          <a:pt x="641567" y="652375"/>
                          <a:pt x="616222" y="637358"/>
                        </a:cubicBezTo>
                        <a:cubicBezTo>
                          <a:pt x="616222" y="637358"/>
                          <a:pt x="616222" y="637358"/>
                          <a:pt x="591581" y="652375"/>
                        </a:cubicBezTo>
                        <a:cubicBezTo>
                          <a:pt x="591581" y="652375"/>
                          <a:pt x="591581" y="652375"/>
                          <a:pt x="595805" y="623772"/>
                        </a:cubicBezTo>
                        <a:cubicBezTo>
                          <a:pt x="595805" y="623772"/>
                          <a:pt x="595805" y="623772"/>
                          <a:pt x="576796" y="603034"/>
                        </a:cubicBezTo>
                        <a:cubicBezTo>
                          <a:pt x="576796" y="603034"/>
                          <a:pt x="576796" y="603034"/>
                          <a:pt x="604253" y="600174"/>
                        </a:cubicBezTo>
                        <a:cubicBezTo>
                          <a:pt x="604253" y="600174"/>
                          <a:pt x="604253" y="600174"/>
                          <a:pt x="616222" y="573000"/>
                        </a:cubicBezTo>
                        <a:close/>
                        <a:moveTo>
                          <a:pt x="521234" y="573000"/>
                        </a:moveTo>
                        <a:cubicBezTo>
                          <a:pt x="521234" y="573000"/>
                          <a:pt x="521234" y="573000"/>
                          <a:pt x="534092" y="600174"/>
                        </a:cubicBezTo>
                        <a:cubicBezTo>
                          <a:pt x="534092" y="600174"/>
                          <a:pt x="534092" y="600174"/>
                          <a:pt x="564096" y="603034"/>
                        </a:cubicBezTo>
                        <a:cubicBezTo>
                          <a:pt x="564096" y="603034"/>
                          <a:pt x="564096" y="603034"/>
                          <a:pt x="542665" y="623772"/>
                        </a:cubicBezTo>
                        <a:cubicBezTo>
                          <a:pt x="542665" y="623772"/>
                          <a:pt x="542665" y="623772"/>
                          <a:pt x="547666" y="652375"/>
                        </a:cubicBezTo>
                        <a:cubicBezTo>
                          <a:pt x="547666" y="652375"/>
                          <a:pt x="547666" y="652375"/>
                          <a:pt x="521234" y="637358"/>
                        </a:cubicBezTo>
                        <a:cubicBezTo>
                          <a:pt x="521234" y="637358"/>
                          <a:pt x="521234" y="637358"/>
                          <a:pt x="494802" y="652375"/>
                        </a:cubicBezTo>
                        <a:cubicBezTo>
                          <a:pt x="494802" y="652375"/>
                          <a:pt x="494802" y="652375"/>
                          <a:pt x="499088" y="623772"/>
                        </a:cubicBezTo>
                        <a:cubicBezTo>
                          <a:pt x="499088" y="623772"/>
                          <a:pt x="499088" y="623772"/>
                          <a:pt x="478371" y="603034"/>
                        </a:cubicBezTo>
                        <a:cubicBezTo>
                          <a:pt x="478371" y="603034"/>
                          <a:pt x="478371" y="603034"/>
                          <a:pt x="507661" y="600174"/>
                        </a:cubicBezTo>
                        <a:cubicBezTo>
                          <a:pt x="507661" y="600174"/>
                          <a:pt x="507661" y="600174"/>
                          <a:pt x="521234" y="573000"/>
                        </a:cubicBezTo>
                        <a:close/>
                        <a:moveTo>
                          <a:pt x="598151" y="292013"/>
                        </a:moveTo>
                        <a:cubicBezTo>
                          <a:pt x="598867" y="294157"/>
                          <a:pt x="600299" y="296302"/>
                          <a:pt x="601732" y="297731"/>
                        </a:cubicBezTo>
                        <a:cubicBezTo>
                          <a:pt x="604597" y="302020"/>
                          <a:pt x="609612" y="302734"/>
                          <a:pt x="611760" y="302734"/>
                        </a:cubicBezTo>
                        <a:cubicBezTo>
                          <a:pt x="613193" y="309167"/>
                          <a:pt x="616058" y="317744"/>
                          <a:pt x="622505" y="319888"/>
                        </a:cubicBezTo>
                        <a:cubicBezTo>
                          <a:pt x="623938" y="321318"/>
                          <a:pt x="625370" y="321318"/>
                          <a:pt x="626087" y="323462"/>
                        </a:cubicBezTo>
                        <a:cubicBezTo>
                          <a:pt x="636831" y="350623"/>
                          <a:pt x="654739" y="391363"/>
                          <a:pt x="661186" y="397081"/>
                        </a:cubicBezTo>
                        <a:cubicBezTo>
                          <a:pt x="671931" y="406373"/>
                          <a:pt x="700583" y="423527"/>
                          <a:pt x="714909" y="423527"/>
                        </a:cubicBezTo>
                        <a:cubicBezTo>
                          <a:pt x="730668" y="423527"/>
                          <a:pt x="759321" y="406373"/>
                          <a:pt x="770065" y="397081"/>
                        </a:cubicBezTo>
                        <a:cubicBezTo>
                          <a:pt x="775796" y="391363"/>
                          <a:pt x="793703" y="350623"/>
                          <a:pt x="804448" y="323462"/>
                        </a:cubicBezTo>
                        <a:cubicBezTo>
                          <a:pt x="805164" y="322033"/>
                          <a:pt x="805881" y="321318"/>
                          <a:pt x="807313" y="320603"/>
                        </a:cubicBezTo>
                        <a:cubicBezTo>
                          <a:pt x="811611" y="318459"/>
                          <a:pt x="814476" y="315600"/>
                          <a:pt x="815909" y="312026"/>
                        </a:cubicBezTo>
                        <a:cubicBezTo>
                          <a:pt x="821640" y="311311"/>
                          <a:pt x="827370" y="309167"/>
                          <a:pt x="832384" y="307023"/>
                        </a:cubicBezTo>
                        <a:cubicBezTo>
                          <a:pt x="830952" y="313456"/>
                          <a:pt x="826654" y="324177"/>
                          <a:pt x="815909" y="330610"/>
                        </a:cubicBezTo>
                        <a:cubicBezTo>
                          <a:pt x="809462" y="345619"/>
                          <a:pt x="789406" y="397081"/>
                          <a:pt x="777945" y="406373"/>
                        </a:cubicBezTo>
                        <a:cubicBezTo>
                          <a:pt x="777228" y="407088"/>
                          <a:pt x="777228" y="407802"/>
                          <a:pt x="776512" y="408517"/>
                        </a:cubicBezTo>
                        <a:cubicBezTo>
                          <a:pt x="776512" y="427101"/>
                          <a:pt x="776512" y="427101"/>
                          <a:pt x="776512" y="427101"/>
                        </a:cubicBezTo>
                        <a:cubicBezTo>
                          <a:pt x="774363" y="429245"/>
                          <a:pt x="769349" y="433533"/>
                          <a:pt x="763618" y="438537"/>
                        </a:cubicBezTo>
                        <a:cubicBezTo>
                          <a:pt x="763618" y="418524"/>
                          <a:pt x="763618" y="418524"/>
                          <a:pt x="763618" y="418524"/>
                        </a:cubicBezTo>
                        <a:cubicBezTo>
                          <a:pt x="748576" y="427101"/>
                          <a:pt x="729235" y="437107"/>
                          <a:pt x="714909" y="437107"/>
                        </a:cubicBezTo>
                        <a:cubicBezTo>
                          <a:pt x="703448" y="437107"/>
                          <a:pt x="685540" y="429245"/>
                          <a:pt x="671931" y="420668"/>
                        </a:cubicBezTo>
                        <a:cubicBezTo>
                          <a:pt x="671931" y="442825"/>
                          <a:pt x="671931" y="442825"/>
                          <a:pt x="671931" y="442825"/>
                        </a:cubicBezTo>
                        <a:cubicBezTo>
                          <a:pt x="666916" y="438537"/>
                          <a:pt x="662619" y="434248"/>
                          <a:pt x="658321" y="431389"/>
                        </a:cubicBezTo>
                        <a:cubicBezTo>
                          <a:pt x="658321" y="412091"/>
                          <a:pt x="658321" y="412091"/>
                          <a:pt x="658321" y="412091"/>
                        </a:cubicBezTo>
                        <a:cubicBezTo>
                          <a:pt x="656172" y="409947"/>
                          <a:pt x="654023" y="408517"/>
                          <a:pt x="651874" y="406373"/>
                        </a:cubicBezTo>
                        <a:cubicBezTo>
                          <a:pt x="641846" y="397081"/>
                          <a:pt x="621073" y="346334"/>
                          <a:pt x="615342" y="331324"/>
                        </a:cubicBezTo>
                        <a:cubicBezTo>
                          <a:pt x="600299" y="322747"/>
                          <a:pt x="597434" y="302020"/>
                          <a:pt x="597434" y="294872"/>
                        </a:cubicBezTo>
                        <a:cubicBezTo>
                          <a:pt x="597434" y="293443"/>
                          <a:pt x="597434" y="292728"/>
                          <a:pt x="598151" y="292013"/>
                        </a:cubicBezTo>
                        <a:close/>
                        <a:moveTo>
                          <a:pt x="710144" y="50713"/>
                        </a:moveTo>
                        <a:cubicBezTo>
                          <a:pt x="708715" y="51429"/>
                          <a:pt x="707286" y="51429"/>
                          <a:pt x="705856" y="51429"/>
                        </a:cubicBezTo>
                        <a:cubicBezTo>
                          <a:pt x="704427" y="51429"/>
                          <a:pt x="703712" y="51429"/>
                          <a:pt x="702998" y="51429"/>
                        </a:cubicBezTo>
                        <a:cubicBezTo>
                          <a:pt x="700139" y="51429"/>
                          <a:pt x="697995" y="51429"/>
                          <a:pt x="695136" y="51429"/>
                        </a:cubicBezTo>
                        <a:cubicBezTo>
                          <a:pt x="695136" y="51429"/>
                          <a:pt x="695136" y="51429"/>
                          <a:pt x="694421" y="51429"/>
                        </a:cubicBezTo>
                        <a:cubicBezTo>
                          <a:pt x="502886" y="63593"/>
                          <a:pt x="351372" y="223157"/>
                          <a:pt x="351372" y="417783"/>
                        </a:cubicBezTo>
                        <a:cubicBezTo>
                          <a:pt x="351372" y="591659"/>
                          <a:pt x="472869" y="738344"/>
                          <a:pt x="635102" y="775552"/>
                        </a:cubicBezTo>
                        <a:cubicBezTo>
                          <a:pt x="661546" y="781276"/>
                          <a:pt x="689418" y="784138"/>
                          <a:pt x="717291" y="784138"/>
                        </a:cubicBezTo>
                        <a:cubicBezTo>
                          <a:pt x="746593" y="784138"/>
                          <a:pt x="774466" y="781276"/>
                          <a:pt x="801624" y="774836"/>
                        </a:cubicBezTo>
                        <a:cubicBezTo>
                          <a:pt x="963143" y="736197"/>
                          <a:pt x="1083210" y="590943"/>
                          <a:pt x="1083210" y="417783"/>
                        </a:cubicBezTo>
                        <a:cubicBezTo>
                          <a:pt x="1083210" y="233890"/>
                          <a:pt x="948135" y="80766"/>
                          <a:pt x="770893" y="55006"/>
                        </a:cubicBezTo>
                        <a:cubicBezTo>
                          <a:pt x="770893" y="55006"/>
                          <a:pt x="770893" y="55006"/>
                          <a:pt x="770178" y="55006"/>
                        </a:cubicBezTo>
                        <a:cubicBezTo>
                          <a:pt x="766605" y="54291"/>
                          <a:pt x="763031" y="53575"/>
                          <a:pt x="758743" y="53575"/>
                        </a:cubicBezTo>
                        <a:cubicBezTo>
                          <a:pt x="758743" y="53575"/>
                          <a:pt x="758028" y="53575"/>
                          <a:pt x="757314" y="52860"/>
                        </a:cubicBezTo>
                        <a:cubicBezTo>
                          <a:pt x="755884" y="52860"/>
                          <a:pt x="753740" y="52860"/>
                          <a:pt x="751596" y="52860"/>
                        </a:cubicBezTo>
                        <a:cubicBezTo>
                          <a:pt x="750881" y="52860"/>
                          <a:pt x="749452" y="52144"/>
                          <a:pt x="748023" y="52144"/>
                        </a:cubicBezTo>
                        <a:cubicBezTo>
                          <a:pt x="746593" y="52144"/>
                          <a:pt x="745164" y="52144"/>
                          <a:pt x="743735" y="52144"/>
                        </a:cubicBezTo>
                        <a:cubicBezTo>
                          <a:pt x="742305" y="52144"/>
                          <a:pt x="740161" y="51429"/>
                          <a:pt x="738017" y="51429"/>
                        </a:cubicBezTo>
                        <a:cubicBezTo>
                          <a:pt x="737302" y="51429"/>
                          <a:pt x="736588" y="51429"/>
                          <a:pt x="735873" y="51429"/>
                        </a:cubicBezTo>
                        <a:cubicBezTo>
                          <a:pt x="733014" y="51429"/>
                          <a:pt x="730156" y="51429"/>
                          <a:pt x="726582" y="51429"/>
                        </a:cubicBezTo>
                        <a:cubicBezTo>
                          <a:pt x="726582" y="51429"/>
                          <a:pt x="725867" y="51429"/>
                          <a:pt x="725153" y="51429"/>
                        </a:cubicBezTo>
                        <a:cubicBezTo>
                          <a:pt x="723009" y="50713"/>
                          <a:pt x="720865" y="50713"/>
                          <a:pt x="718006" y="50713"/>
                        </a:cubicBezTo>
                        <a:cubicBezTo>
                          <a:pt x="717291" y="50713"/>
                          <a:pt x="715862" y="50713"/>
                          <a:pt x="715147" y="50713"/>
                        </a:cubicBezTo>
                        <a:cubicBezTo>
                          <a:pt x="713718" y="50713"/>
                          <a:pt x="711574" y="50713"/>
                          <a:pt x="710144" y="50713"/>
                        </a:cubicBezTo>
                        <a:close/>
                        <a:moveTo>
                          <a:pt x="701396" y="312"/>
                        </a:moveTo>
                        <a:cubicBezTo>
                          <a:pt x="794192" y="-3262"/>
                          <a:pt x="889129" y="23899"/>
                          <a:pt x="968363" y="83938"/>
                        </a:cubicBezTo>
                        <a:cubicBezTo>
                          <a:pt x="1148959" y="224031"/>
                          <a:pt x="1183222" y="482773"/>
                          <a:pt x="1045455" y="665036"/>
                        </a:cubicBezTo>
                        <a:cubicBezTo>
                          <a:pt x="1041886" y="670039"/>
                          <a:pt x="1036890" y="675757"/>
                          <a:pt x="1032607" y="681475"/>
                        </a:cubicBezTo>
                        <a:cubicBezTo>
                          <a:pt x="1032607" y="681475"/>
                          <a:pt x="1032607" y="681475"/>
                          <a:pt x="1032607" y="680760"/>
                        </a:cubicBezTo>
                        <a:cubicBezTo>
                          <a:pt x="997630" y="721502"/>
                          <a:pt x="955514" y="755095"/>
                          <a:pt x="907689" y="780112"/>
                        </a:cubicBezTo>
                        <a:cubicBezTo>
                          <a:pt x="907689" y="780112"/>
                          <a:pt x="907689" y="780112"/>
                          <a:pt x="909116" y="780112"/>
                        </a:cubicBezTo>
                        <a:cubicBezTo>
                          <a:pt x="791337" y="841581"/>
                          <a:pt x="647859" y="844440"/>
                          <a:pt x="527224" y="780826"/>
                        </a:cubicBezTo>
                        <a:cubicBezTo>
                          <a:pt x="527224" y="780826"/>
                          <a:pt x="527224" y="780826"/>
                          <a:pt x="525083" y="780826"/>
                        </a:cubicBezTo>
                        <a:cubicBezTo>
                          <a:pt x="521514" y="784400"/>
                          <a:pt x="507951" y="801554"/>
                          <a:pt x="442280" y="887325"/>
                        </a:cubicBezTo>
                        <a:cubicBezTo>
                          <a:pt x="442280" y="887325"/>
                          <a:pt x="442280" y="887325"/>
                          <a:pt x="439425" y="885181"/>
                        </a:cubicBezTo>
                        <a:cubicBezTo>
                          <a:pt x="439425" y="885181"/>
                          <a:pt x="439425" y="885181"/>
                          <a:pt x="368757" y="830859"/>
                        </a:cubicBezTo>
                        <a:cubicBezTo>
                          <a:pt x="368757" y="830859"/>
                          <a:pt x="368757" y="830859"/>
                          <a:pt x="326641" y="799410"/>
                        </a:cubicBezTo>
                        <a:cubicBezTo>
                          <a:pt x="326641" y="799410"/>
                          <a:pt x="326641" y="799410"/>
                          <a:pt x="326641" y="798695"/>
                        </a:cubicBezTo>
                        <a:cubicBezTo>
                          <a:pt x="326641" y="798695"/>
                          <a:pt x="326641" y="798695"/>
                          <a:pt x="357336" y="758669"/>
                        </a:cubicBezTo>
                        <a:cubicBezTo>
                          <a:pt x="357336" y="758669"/>
                          <a:pt x="357336" y="758669"/>
                          <a:pt x="410158" y="690767"/>
                        </a:cubicBezTo>
                        <a:cubicBezTo>
                          <a:pt x="410158" y="690767"/>
                          <a:pt x="410158" y="690767"/>
                          <a:pt x="410872" y="689338"/>
                        </a:cubicBezTo>
                        <a:cubicBezTo>
                          <a:pt x="408017" y="686478"/>
                          <a:pt x="405161" y="683619"/>
                          <a:pt x="402306" y="680760"/>
                        </a:cubicBezTo>
                        <a:cubicBezTo>
                          <a:pt x="278816" y="534950"/>
                          <a:pt x="268822" y="319093"/>
                          <a:pt x="388744" y="161847"/>
                        </a:cubicBezTo>
                        <a:cubicBezTo>
                          <a:pt x="466550" y="60351"/>
                          <a:pt x="582902" y="5315"/>
                          <a:pt x="701396" y="31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5" name="Freeform 157">
                    <a:extLst>
                      <a:ext uri="{FF2B5EF4-FFF2-40B4-BE49-F238E27FC236}">
                        <a16:creationId xmlns:a16="http://schemas.microsoft.com/office/drawing/2014/main" id="{F3100D4E-5D12-42C6-ACDC-103C61B7AB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20378" y="2901949"/>
                    <a:ext cx="459797" cy="527050"/>
                  </a:xfrm>
                  <a:custGeom>
                    <a:avLst/>
                    <a:gdLst>
                      <a:gd name="connsiteX0" fmla="*/ 418875 w 459797"/>
                      <a:gd name="connsiteY0" fmla="*/ 447675 h 527050"/>
                      <a:gd name="connsiteX1" fmla="*/ 431575 w 459797"/>
                      <a:gd name="connsiteY1" fmla="*/ 474849 h 527050"/>
                      <a:gd name="connsiteX2" fmla="*/ 459797 w 459797"/>
                      <a:gd name="connsiteY2" fmla="*/ 477709 h 527050"/>
                      <a:gd name="connsiteX3" fmla="*/ 439336 w 459797"/>
                      <a:gd name="connsiteY3" fmla="*/ 498447 h 527050"/>
                      <a:gd name="connsiteX4" fmla="*/ 444275 w 459797"/>
                      <a:gd name="connsiteY4" fmla="*/ 527050 h 527050"/>
                      <a:gd name="connsiteX5" fmla="*/ 418875 w 459797"/>
                      <a:gd name="connsiteY5" fmla="*/ 512033 h 527050"/>
                      <a:gd name="connsiteX6" fmla="*/ 392769 w 459797"/>
                      <a:gd name="connsiteY6" fmla="*/ 527050 h 527050"/>
                      <a:gd name="connsiteX7" fmla="*/ 397708 w 459797"/>
                      <a:gd name="connsiteY7" fmla="*/ 498447 h 527050"/>
                      <a:gd name="connsiteX8" fmla="*/ 377247 w 459797"/>
                      <a:gd name="connsiteY8" fmla="*/ 477709 h 527050"/>
                      <a:gd name="connsiteX9" fmla="*/ 406175 w 459797"/>
                      <a:gd name="connsiteY9" fmla="*/ 474849 h 527050"/>
                      <a:gd name="connsiteX10" fmla="*/ 418875 w 459797"/>
                      <a:gd name="connsiteY10" fmla="*/ 447675 h 527050"/>
                      <a:gd name="connsiteX11" fmla="*/ 322126 w 459797"/>
                      <a:gd name="connsiteY11" fmla="*/ 447675 h 527050"/>
                      <a:gd name="connsiteX12" fmla="*/ 335560 w 459797"/>
                      <a:gd name="connsiteY12" fmla="*/ 474849 h 527050"/>
                      <a:gd name="connsiteX13" fmla="*/ 364548 w 459797"/>
                      <a:gd name="connsiteY13" fmla="*/ 477709 h 527050"/>
                      <a:gd name="connsiteX14" fmla="*/ 343337 w 459797"/>
                      <a:gd name="connsiteY14" fmla="*/ 498447 h 527050"/>
                      <a:gd name="connsiteX15" fmla="*/ 348286 w 459797"/>
                      <a:gd name="connsiteY15" fmla="*/ 527050 h 527050"/>
                      <a:gd name="connsiteX16" fmla="*/ 322126 w 459797"/>
                      <a:gd name="connsiteY16" fmla="*/ 512033 h 527050"/>
                      <a:gd name="connsiteX17" fmla="*/ 296672 w 459797"/>
                      <a:gd name="connsiteY17" fmla="*/ 527050 h 527050"/>
                      <a:gd name="connsiteX18" fmla="*/ 300207 w 459797"/>
                      <a:gd name="connsiteY18" fmla="*/ 498447 h 527050"/>
                      <a:gd name="connsiteX19" fmla="*/ 280410 w 459797"/>
                      <a:gd name="connsiteY19" fmla="*/ 477709 h 527050"/>
                      <a:gd name="connsiteX20" fmla="*/ 309399 w 459797"/>
                      <a:gd name="connsiteY20" fmla="*/ 474849 h 527050"/>
                      <a:gd name="connsiteX21" fmla="*/ 322126 w 459797"/>
                      <a:gd name="connsiteY21" fmla="*/ 447675 h 527050"/>
                      <a:gd name="connsiteX22" fmla="*/ 151503 w 459797"/>
                      <a:gd name="connsiteY22" fmla="*/ 307975 h 527050"/>
                      <a:gd name="connsiteX23" fmla="*/ 221475 w 459797"/>
                      <a:gd name="connsiteY23" fmla="*/ 367227 h 527050"/>
                      <a:gd name="connsiteX24" fmla="*/ 224331 w 459797"/>
                      <a:gd name="connsiteY24" fmla="*/ 367227 h 527050"/>
                      <a:gd name="connsiteX25" fmla="*/ 295730 w 459797"/>
                      <a:gd name="connsiteY25" fmla="*/ 307975 h 527050"/>
                      <a:gd name="connsiteX26" fmla="*/ 392120 w 459797"/>
                      <a:gd name="connsiteY26" fmla="*/ 324595 h 527050"/>
                      <a:gd name="connsiteX27" fmla="*/ 445669 w 459797"/>
                      <a:gd name="connsiteY27" fmla="*/ 404802 h 527050"/>
                      <a:gd name="connsiteX28" fmla="*/ 440671 w 459797"/>
                      <a:gd name="connsiteY28" fmla="*/ 412750 h 527050"/>
                      <a:gd name="connsiteX29" fmla="*/ 5848 w 459797"/>
                      <a:gd name="connsiteY29" fmla="*/ 412750 h 527050"/>
                      <a:gd name="connsiteX30" fmla="*/ 136 w 459797"/>
                      <a:gd name="connsiteY30" fmla="*/ 404802 h 527050"/>
                      <a:gd name="connsiteX31" fmla="*/ 55114 w 459797"/>
                      <a:gd name="connsiteY31" fmla="*/ 324595 h 527050"/>
                      <a:gd name="connsiteX32" fmla="*/ 151503 w 459797"/>
                      <a:gd name="connsiteY32" fmla="*/ 307975 h 527050"/>
                      <a:gd name="connsiteX33" fmla="*/ 224462 w 459797"/>
                      <a:gd name="connsiteY33" fmla="*/ 0 h 527050"/>
                      <a:gd name="connsiteX34" fmla="*/ 337666 w 459797"/>
                      <a:gd name="connsiteY34" fmla="*/ 115780 h 527050"/>
                      <a:gd name="connsiteX35" fmla="*/ 336954 w 459797"/>
                      <a:gd name="connsiteY35" fmla="*/ 137935 h 527050"/>
                      <a:gd name="connsiteX36" fmla="*/ 345497 w 459797"/>
                      <a:gd name="connsiteY36" fmla="*/ 162949 h 527050"/>
                      <a:gd name="connsiteX37" fmla="*/ 310611 w 459797"/>
                      <a:gd name="connsiteY37" fmla="*/ 172955 h 527050"/>
                      <a:gd name="connsiteX38" fmla="*/ 173201 w 459797"/>
                      <a:gd name="connsiteY38" fmla="*/ 90765 h 527050"/>
                      <a:gd name="connsiteX39" fmla="*/ 161809 w 459797"/>
                      <a:gd name="connsiteY39" fmla="*/ 97198 h 527050"/>
                      <a:gd name="connsiteX40" fmla="*/ 116955 w 459797"/>
                      <a:gd name="connsiteY40" fmla="*/ 163664 h 527050"/>
                      <a:gd name="connsiteX41" fmla="*/ 110547 w 459797"/>
                      <a:gd name="connsiteY41" fmla="*/ 115780 h 527050"/>
                      <a:gd name="connsiteX42" fmla="*/ 224462 w 459797"/>
                      <a:gd name="connsiteY42" fmla="*/ 0 h 5270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</a:cxnLst>
                    <a:rect l="l" t="t" r="r" b="b"/>
                    <a:pathLst>
                      <a:path w="459797" h="527050">
                        <a:moveTo>
                          <a:pt x="418875" y="447675"/>
                        </a:moveTo>
                        <a:cubicBezTo>
                          <a:pt x="418875" y="447675"/>
                          <a:pt x="418875" y="447675"/>
                          <a:pt x="431575" y="474849"/>
                        </a:cubicBezTo>
                        <a:cubicBezTo>
                          <a:pt x="431575" y="474849"/>
                          <a:pt x="431575" y="474849"/>
                          <a:pt x="459797" y="477709"/>
                        </a:cubicBezTo>
                        <a:cubicBezTo>
                          <a:pt x="459797" y="477709"/>
                          <a:pt x="459797" y="477709"/>
                          <a:pt x="439336" y="498447"/>
                        </a:cubicBezTo>
                        <a:cubicBezTo>
                          <a:pt x="439336" y="498447"/>
                          <a:pt x="439336" y="498447"/>
                          <a:pt x="444275" y="527050"/>
                        </a:cubicBezTo>
                        <a:cubicBezTo>
                          <a:pt x="444275" y="527050"/>
                          <a:pt x="444275" y="527050"/>
                          <a:pt x="418875" y="512033"/>
                        </a:cubicBezTo>
                        <a:cubicBezTo>
                          <a:pt x="418875" y="512033"/>
                          <a:pt x="418875" y="512033"/>
                          <a:pt x="392769" y="527050"/>
                        </a:cubicBezTo>
                        <a:cubicBezTo>
                          <a:pt x="392769" y="527050"/>
                          <a:pt x="392769" y="527050"/>
                          <a:pt x="397708" y="498447"/>
                        </a:cubicBezTo>
                        <a:cubicBezTo>
                          <a:pt x="397708" y="498447"/>
                          <a:pt x="397708" y="498447"/>
                          <a:pt x="377247" y="477709"/>
                        </a:cubicBezTo>
                        <a:cubicBezTo>
                          <a:pt x="377247" y="477709"/>
                          <a:pt x="377247" y="477709"/>
                          <a:pt x="406175" y="474849"/>
                        </a:cubicBezTo>
                        <a:cubicBezTo>
                          <a:pt x="406175" y="474849"/>
                          <a:pt x="406175" y="474849"/>
                          <a:pt x="418875" y="447675"/>
                        </a:cubicBezTo>
                        <a:close/>
                        <a:moveTo>
                          <a:pt x="322126" y="447675"/>
                        </a:moveTo>
                        <a:cubicBezTo>
                          <a:pt x="322126" y="447675"/>
                          <a:pt x="322126" y="447675"/>
                          <a:pt x="335560" y="474849"/>
                        </a:cubicBezTo>
                        <a:cubicBezTo>
                          <a:pt x="335560" y="474849"/>
                          <a:pt x="335560" y="474849"/>
                          <a:pt x="364548" y="477709"/>
                        </a:cubicBezTo>
                        <a:cubicBezTo>
                          <a:pt x="364548" y="477709"/>
                          <a:pt x="364548" y="477709"/>
                          <a:pt x="343337" y="498447"/>
                        </a:cubicBezTo>
                        <a:cubicBezTo>
                          <a:pt x="343337" y="498447"/>
                          <a:pt x="343337" y="498447"/>
                          <a:pt x="348286" y="527050"/>
                        </a:cubicBezTo>
                        <a:cubicBezTo>
                          <a:pt x="348286" y="527050"/>
                          <a:pt x="348286" y="527050"/>
                          <a:pt x="322126" y="512033"/>
                        </a:cubicBezTo>
                        <a:cubicBezTo>
                          <a:pt x="322126" y="512033"/>
                          <a:pt x="322126" y="512033"/>
                          <a:pt x="296672" y="527050"/>
                        </a:cubicBezTo>
                        <a:cubicBezTo>
                          <a:pt x="296672" y="527050"/>
                          <a:pt x="296672" y="527050"/>
                          <a:pt x="300207" y="498447"/>
                        </a:cubicBezTo>
                        <a:cubicBezTo>
                          <a:pt x="300207" y="498447"/>
                          <a:pt x="300207" y="498447"/>
                          <a:pt x="280410" y="477709"/>
                        </a:cubicBezTo>
                        <a:cubicBezTo>
                          <a:pt x="280410" y="477709"/>
                          <a:pt x="280410" y="477709"/>
                          <a:pt x="309399" y="474849"/>
                        </a:cubicBezTo>
                        <a:cubicBezTo>
                          <a:pt x="309399" y="474849"/>
                          <a:pt x="309399" y="474849"/>
                          <a:pt x="322126" y="447675"/>
                        </a:cubicBezTo>
                        <a:close/>
                        <a:moveTo>
                          <a:pt x="151503" y="307975"/>
                        </a:moveTo>
                        <a:cubicBezTo>
                          <a:pt x="151503" y="307975"/>
                          <a:pt x="199341" y="349163"/>
                          <a:pt x="221475" y="367227"/>
                        </a:cubicBezTo>
                        <a:cubicBezTo>
                          <a:pt x="222189" y="367950"/>
                          <a:pt x="223617" y="367950"/>
                          <a:pt x="224331" y="367227"/>
                        </a:cubicBezTo>
                        <a:cubicBezTo>
                          <a:pt x="255747" y="341937"/>
                          <a:pt x="295730" y="307975"/>
                          <a:pt x="295730" y="307975"/>
                        </a:cubicBezTo>
                        <a:cubicBezTo>
                          <a:pt x="295730" y="307975"/>
                          <a:pt x="358562" y="308698"/>
                          <a:pt x="392120" y="324595"/>
                        </a:cubicBezTo>
                        <a:cubicBezTo>
                          <a:pt x="419251" y="337601"/>
                          <a:pt x="438529" y="386737"/>
                          <a:pt x="445669" y="404802"/>
                        </a:cubicBezTo>
                        <a:cubicBezTo>
                          <a:pt x="447097" y="408415"/>
                          <a:pt x="444241" y="412750"/>
                          <a:pt x="440671" y="412750"/>
                        </a:cubicBezTo>
                        <a:cubicBezTo>
                          <a:pt x="440671" y="412750"/>
                          <a:pt x="440671" y="412750"/>
                          <a:pt x="5848" y="412750"/>
                        </a:cubicBezTo>
                        <a:cubicBezTo>
                          <a:pt x="1564" y="412750"/>
                          <a:pt x="-578" y="408415"/>
                          <a:pt x="136" y="404802"/>
                        </a:cubicBezTo>
                        <a:cubicBezTo>
                          <a:pt x="7276" y="386737"/>
                          <a:pt x="27268" y="337601"/>
                          <a:pt x="55114" y="324595"/>
                        </a:cubicBezTo>
                        <a:cubicBezTo>
                          <a:pt x="88672" y="308698"/>
                          <a:pt x="151503" y="307975"/>
                          <a:pt x="151503" y="307975"/>
                        </a:cubicBezTo>
                        <a:close/>
                        <a:moveTo>
                          <a:pt x="224462" y="0"/>
                        </a:moveTo>
                        <a:cubicBezTo>
                          <a:pt x="289252" y="0"/>
                          <a:pt x="337666" y="51457"/>
                          <a:pt x="337666" y="115780"/>
                        </a:cubicBezTo>
                        <a:cubicBezTo>
                          <a:pt x="337666" y="123641"/>
                          <a:pt x="337666" y="130788"/>
                          <a:pt x="336954" y="137935"/>
                        </a:cubicBezTo>
                        <a:cubicBezTo>
                          <a:pt x="336242" y="143652"/>
                          <a:pt x="338378" y="152943"/>
                          <a:pt x="345497" y="162949"/>
                        </a:cubicBezTo>
                        <a:cubicBezTo>
                          <a:pt x="345497" y="162949"/>
                          <a:pt x="322002" y="179387"/>
                          <a:pt x="310611" y="172955"/>
                        </a:cubicBezTo>
                        <a:cubicBezTo>
                          <a:pt x="298507" y="166522"/>
                          <a:pt x="244398" y="90051"/>
                          <a:pt x="173201" y="90765"/>
                        </a:cubicBezTo>
                        <a:cubicBezTo>
                          <a:pt x="173201" y="90765"/>
                          <a:pt x="164657" y="95054"/>
                          <a:pt x="161809" y="97198"/>
                        </a:cubicBezTo>
                        <a:cubicBezTo>
                          <a:pt x="129770" y="119353"/>
                          <a:pt x="128346" y="173669"/>
                          <a:pt x="116955" y="163664"/>
                        </a:cubicBezTo>
                        <a:cubicBezTo>
                          <a:pt x="112683" y="158661"/>
                          <a:pt x="110547" y="130073"/>
                          <a:pt x="110547" y="115780"/>
                        </a:cubicBezTo>
                        <a:cubicBezTo>
                          <a:pt x="110547" y="51457"/>
                          <a:pt x="160385" y="0"/>
                          <a:pt x="22446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F37CE18D-91AB-4711-9873-328E70CA3F3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193753" y="3372238"/>
                <a:ext cx="843965" cy="843965"/>
                <a:chOff x="5273040" y="2606040"/>
                <a:chExt cx="1645920" cy="1645920"/>
              </a:xfrm>
            </p:grpSpPr>
            <p:sp>
              <p:nvSpPr>
                <p:cNvPr id="120" name="AutoShape 3">
                  <a:extLst>
                    <a:ext uri="{FF2B5EF4-FFF2-40B4-BE49-F238E27FC236}">
                      <a16:creationId xmlns:a16="http://schemas.microsoft.com/office/drawing/2014/main" id="{9ACA0733-B3EA-4839-8E68-F880500DC4C1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040" y="2606040"/>
                  <a:ext cx="1645920" cy="16459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Freeform 165">
                  <a:extLst>
                    <a:ext uri="{FF2B5EF4-FFF2-40B4-BE49-F238E27FC236}">
                      <a16:creationId xmlns:a16="http://schemas.microsoft.com/office/drawing/2014/main" id="{2A193846-F7CF-4AE4-AD85-9F7C80D28B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06396" y="2654912"/>
                  <a:ext cx="1579208" cy="1548175"/>
                </a:xfrm>
                <a:custGeom>
                  <a:avLst/>
                  <a:gdLst>
                    <a:gd name="connsiteX0" fmla="*/ 790640 w 1579208"/>
                    <a:gd name="connsiteY0" fmla="*/ 1483535 h 1548175"/>
                    <a:gd name="connsiteX1" fmla="*/ 822960 w 1579208"/>
                    <a:gd name="connsiteY1" fmla="*/ 1515855 h 1548175"/>
                    <a:gd name="connsiteX2" fmla="*/ 790640 w 1579208"/>
                    <a:gd name="connsiteY2" fmla="*/ 1548175 h 1548175"/>
                    <a:gd name="connsiteX3" fmla="*/ 758320 w 1579208"/>
                    <a:gd name="connsiteY3" fmla="*/ 1515855 h 1548175"/>
                    <a:gd name="connsiteX4" fmla="*/ 790640 w 1579208"/>
                    <a:gd name="connsiteY4" fmla="*/ 1483535 h 1548175"/>
                    <a:gd name="connsiteX5" fmla="*/ 1231624 w 1579208"/>
                    <a:gd name="connsiteY5" fmla="*/ 1332186 h 1548175"/>
                    <a:gd name="connsiteX6" fmla="*/ 1242323 w 1579208"/>
                    <a:gd name="connsiteY6" fmla="*/ 1362284 h 1548175"/>
                    <a:gd name="connsiteX7" fmla="*/ 853591 w 1579208"/>
                    <a:gd name="connsiteY7" fmla="*/ 1521373 h 1548175"/>
                    <a:gd name="connsiteX8" fmla="*/ 845032 w 1579208"/>
                    <a:gd name="connsiteY8" fmla="*/ 1490559 h 1548175"/>
                    <a:gd name="connsiteX9" fmla="*/ 781499 w 1579208"/>
                    <a:gd name="connsiteY9" fmla="*/ 1329034 h 1548175"/>
                    <a:gd name="connsiteX10" fmla="*/ 797736 w 1579208"/>
                    <a:gd name="connsiteY10" fmla="*/ 1459458 h 1548175"/>
                    <a:gd name="connsiteX11" fmla="*/ 789971 w 1579208"/>
                    <a:gd name="connsiteY11" fmla="*/ 1458741 h 1548175"/>
                    <a:gd name="connsiteX12" fmla="*/ 766675 w 1579208"/>
                    <a:gd name="connsiteY12" fmla="*/ 1463041 h 1548175"/>
                    <a:gd name="connsiteX13" fmla="*/ 750439 w 1579208"/>
                    <a:gd name="connsiteY13" fmla="*/ 1331184 h 1548175"/>
                    <a:gd name="connsiteX14" fmla="*/ 758910 w 1579208"/>
                    <a:gd name="connsiteY14" fmla="*/ 1331184 h 1548175"/>
                    <a:gd name="connsiteX15" fmla="*/ 781499 w 1579208"/>
                    <a:gd name="connsiteY15" fmla="*/ 1329034 h 1548175"/>
                    <a:gd name="connsiteX16" fmla="*/ 1295138 w 1579208"/>
                    <a:gd name="connsiteY16" fmla="*/ 1288043 h 1548175"/>
                    <a:gd name="connsiteX17" fmla="*/ 1327458 w 1579208"/>
                    <a:gd name="connsiteY17" fmla="*/ 1320363 h 1548175"/>
                    <a:gd name="connsiteX18" fmla="*/ 1295138 w 1579208"/>
                    <a:gd name="connsiteY18" fmla="*/ 1352683 h 1548175"/>
                    <a:gd name="connsiteX19" fmla="*/ 1262818 w 1579208"/>
                    <a:gd name="connsiteY19" fmla="*/ 1320363 h 1548175"/>
                    <a:gd name="connsiteX20" fmla="*/ 1295138 w 1579208"/>
                    <a:gd name="connsiteY20" fmla="*/ 1288043 h 1548175"/>
                    <a:gd name="connsiteX21" fmla="*/ 259506 w 1579208"/>
                    <a:gd name="connsiteY21" fmla="*/ 1245476 h 1548175"/>
                    <a:gd name="connsiteX22" fmla="*/ 737827 w 1579208"/>
                    <a:gd name="connsiteY22" fmla="*/ 1484265 h 1548175"/>
                    <a:gd name="connsiteX23" fmla="*/ 726404 w 1579208"/>
                    <a:gd name="connsiteY23" fmla="*/ 1513490 h 1548175"/>
                    <a:gd name="connsiteX24" fmla="*/ 245942 w 1579208"/>
                    <a:gd name="connsiteY24" fmla="*/ 1273988 h 1548175"/>
                    <a:gd name="connsiteX25" fmla="*/ 259506 w 1579208"/>
                    <a:gd name="connsiteY25" fmla="*/ 1245476 h 1548175"/>
                    <a:gd name="connsiteX26" fmla="*/ 863074 w 1579208"/>
                    <a:gd name="connsiteY26" fmla="*/ 1239170 h 1548175"/>
                    <a:gd name="connsiteX27" fmla="*/ 1240747 w 1579208"/>
                    <a:gd name="connsiteY27" fmla="*/ 1295318 h 1548175"/>
                    <a:gd name="connsiteX28" fmla="*/ 1232164 w 1579208"/>
                    <a:gd name="connsiteY28" fmla="*/ 1325880 h 1548175"/>
                    <a:gd name="connsiteX29" fmla="*/ 854491 w 1579208"/>
                    <a:gd name="connsiteY29" fmla="*/ 1269732 h 1548175"/>
                    <a:gd name="connsiteX30" fmla="*/ 863074 w 1579208"/>
                    <a:gd name="connsiteY30" fmla="*/ 1239170 h 1548175"/>
                    <a:gd name="connsiteX31" fmla="*/ 176574 w 1579208"/>
                    <a:gd name="connsiteY31" fmla="*/ 1168225 h 1548175"/>
                    <a:gd name="connsiteX32" fmla="*/ 231754 w 1579208"/>
                    <a:gd name="connsiteY32" fmla="*/ 1222616 h 1548175"/>
                    <a:gd name="connsiteX33" fmla="*/ 176574 w 1579208"/>
                    <a:gd name="connsiteY33" fmla="*/ 1277007 h 1548175"/>
                    <a:gd name="connsiteX34" fmla="*/ 121394 w 1579208"/>
                    <a:gd name="connsiteY34" fmla="*/ 1222616 h 1548175"/>
                    <a:gd name="connsiteX35" fmla="*/ 176574 w 1579208"/>
                    <a:gd name="connsiteY35" fmla="*/ 1168225 h 1548175"/>
                    <a:gd name="connsiteX36" fmla="*/ 758322 w 1579208"/>
                    <a:gd name="connsiteY36" fmla="*/ 1146153 h 1548175"/>
                    <a:gd name="connsiteX37" fmla="*/ 832420 w 1579208"/>
                    <a:gd name="connsiteY37" fmla="*/ 1220251 h 1548175"/>
                    <a:gd name="connsiteX38" fmla="*/ 758322 w 1579208"/>
                    <a:gd name="connsiteY38" fmla="*/ 1294349 h 1548175"/>
                    <a:gd name="connsiteX39" fmla="*/ 684224 w 1579208"/>
                    <a:gd name="connsiteY39" fmla="*/ 1220251 h 1548175"/>
                    <a:gd name="connsiteX40" fmla="*/ 758322 w 1579208"/>
                    <a:gd name="connsiteY40" fmla="*/ 1146153 h 1548175"/>
                    <a:gd name="connsiteX41" fmla="*/ 638225 w 1579208"/>
                    <a:gd name="connsiteY41" fmla="*/ 1144576 h 1548175"/>
                    <a:gd name="connsiteX42" fmla="*/ 671611 w 1579208"/>
                    <a:gd name="connsiteY42" fmla="*/ 1166371 h 1548175"/>
                    <a:gd name="connsiteX43" fmla="*/ 657004 w 1579208"/>
                    <a:gd name="connsiteY43" fmla="*/ 1196603 h 1548175"/>
                    <a:gd name="connsiteX44" fmla="*/ 624314 w 1579208"/>
                    <a:gd name="connsiteY44" fmla="*/ 1176214 h 1548175"/>
                    <a:gd name="connsiteX45" fmla="*/ 638225 w 1579208"/>
                    <a:gd name="connsiteY45" fmla="*/ 1144576 h 1548175"/>
                    <a:gd name="connsiteX46" fmla="*/ 511399 w 1579208"/>
                    <a:gd name="connsiteY46" fmla="*/ 1136694 h 1548175"/>
                    <a:gd name="connsiteX47" fmla="*/ 519980 w 1579208"/>
                    <a:gd name="connsiteY47" fmla="*/ 1167392 h 1548175"/>
                    <a:gd name="connsiteX48" fmla="*/ 462774 w 1579208"/>
                    <a:gd name="connsiteY48" fmla="*/ 1178815 h 1548175"/>
                    <a:gd name="connsiteX49" fmla="*/ 311892 w 1579208"/>
                    <a:gd name="connsiteY49" fmla="*/ 1208799 h 1548175"/>
                    <a:gd name="connsiteX50" fmla="*/ 587197 w 1579208"/>
                    <a:gd name="connsiteY50" fmla="*/ 1216652 h 1548175"/>
                    <a:gd name="connsiteX51" fmla="*/ 653700 w 1579208"/>
                    <a:gd name="connsiteY51" fmla="*/ 1218794 h 1548175"/>
                    <a:gd name="connsiteX52" fmla="*/ 652984 w 1579208"/>
                    <a:gd name="connsiteY52" fmla="*/ 1225933 h 1548175"/>
                    <a:gd name="connsiteX53" fmla="*/ 655845 w 1579208"/>
                    <a:gd name="connsiteY53" fmla="*/ 1250206 h 1548175"/>
                    <a:gd name="connsiteX54" fmla="*/ 261121 w 1579208"/>
                    <a:gd name="connsiteY54" fmla="*/ 1238070 h 1548175"/>
                    <a:gd name="connsiteX55" fmla="*/ 262552 w 1579208"/>
                    <a:gd name="connsiteY55" fmla="*/ 1222364 h 1548175"/>
                    <a:gd name="connsiteX56" fmla="*/ 255401 w 1579208"/>
                    <a:gd name="connsiteY56" fmla="*/ 1188096 h 1548175"/>
                    <a:gd name="connsiteX57" fmla="*/ 511399 w 1579208"/>
                    <a:gd name="connsiteY57" fmla="*/ 1136694 h 1548175"/>
                    <a:gd name="connsiteX58" fmla="*/ 1425776 w 1579208"/>
                    <a:gd name="connsiteY58" fmla="*/ 1125658 h 1548175"/>
                    <a:gd name="connsiteX59" fmla="*/ 1447274 w 1579208"/>
                    <a:gd name="connsiteY59" fmla="*/ 1149369 h 1548175"/>
                    <a:gd name="connsiteX60" fmla="*/ 1345515 w 1579208"/>
                    <a:gd name="connsiteY60" fmla="*/ 1288043 h 1548175"/>
                    <a:gd name="connsiteX61" fmla="*/ 1321150 w 1579208"/>
                    <a:gd name="connsiteY61" fmla="*/ 1268643 h 1548175"/>
                    <a:gd name="connsiteX62" fmla="*/ 1425776 w 1579208"/>
                    <a:gd name="connsiteY62" fmla="*/ 1125658 h 1548175"/>
                    <a:gd name="connsiteX63" fmla="*/ 574654 w 1579208"/>
                    <a:gd name="connsiteY63" fmla="*/ 1103586 h 1548175"/>
                    <a:gd name="connsiteX64" fmla="*/ 606974 w 1579208"/>
                    <a:gd name="connsiteY64" fmla="*/ 1135906 h 1548175"/>
                    <a:gd name="connsiteX65" fmla="*/ 574654 w 1579208"/>
                    <a:gd name="connsiteY65" fmla="*/ 1168226 h 1548175"/>
                    <a:gd name="connsiteX66" fmla="*/ 542334 w 1579208"/>
                    <a:gd name="connsiteY66" fmla="*/ 1135906 h 1548175"/>
                    <a:gd name="connsiteX67" fmla="*/ 574654 w 1579208"/>
                    <a:gd name="connsiteY67" fmla="*/ 1103586 h 1548175"/>
                    <a:gd name="connsiteX68" fmla="*/ 1418628 w 1579208"/>
                    <a:gd name="connsiteY68" fmla="*/ 1090974 h 1548175"/>
                    <a:gd name="connsiteX69" fmla="*/ 1418628 w 1579208"/>
                    <a:gd name="connsiteY69" fmla="*/ 1097391 h 1548175"/>
                    <a:gd name="connsiteX70" fmla="*/ 1423628 w 1579208"/>
                    <a:gd name="connsiteY70" fmla="*/ 1122347 h 1548175"/>
                    <a:gd name="connsiteX71" fmla="*/ 863655 w 1579208"/>
                    <a:gd name="connsiteY71" fmla="*/ 1232864 h 1548175"/>
                    <a:gd name="connsiteX72" fmla="*/ 864369 w 1579208"/>
                    <a:gd name="connsiteY72" fmla="*/ 1226447 h 1548175"/>
                    <a:gd name="connsiteX73" fmla="*/ 860798 w 1579208"/>
                    <a:gd name="connsiteY73" fmla="*/ 1201491 h 1548175"/>
                    <a:gd name="connsiteX74" fmla="*/ 1418628 w 1579208"/>
                    <a:gd name="connsiteY74" fmla="*/ 1090974 h 1548175"/>
                    <a:gd name="connsiteX75" fmla="*/ 1481171 w 1579208"/>
                    <a:gd name="connsiteY75" fmla="*/ 1057866 h 1548175"/>
                    <a:gd name="connsiteX76" fmla="*/ 1513491 w 1579208"/>
                    <a:gd name="connsiteY76" fmla="*/ 1090186 h 1548175"/>
                    <a:gd name="connsiteX77" fmla="*/ 1481171 w 1579208"/>
                    <a:gd name="connsiteY77" fmla="*/ 1122506 h 1548175"/>
                    <a:gd name="connsiteX78" fmla="*/ 1448851 w 1579208"/>
                    <a:gd name="connsiteY78" fmla="*/ 1090186 h 1548175"/>
                    <a:gd name="connsiteX79" fmla="*/ 1481171 w 1579208"/>
                    <a:gd name="connsiteY79" fmla="*/ 1057866 h 1548175"/>
                    <a:gd name="connsiteX80" fmla="*/ 1309481 w 1579208"/>
                    <a:gd name="connsiteY80" fmla="*/ 912824 h 1548175"/>
                    <a:gd name="connsiteX81" fmla="*/ 1350214 w 1579208"/>
                    <a:gd name="connsiteY81" fmla="*/ 955030 h 1548175"/>
                    <a:gd name="connsiteX82" fmla="*/ 1440969 w 1579208"/>
                    <a:gd name="connsiteY82" fmla="*/ 1049456 h 1548175"/>
                    <a:gd name="connsiteX83" fmla="*/ 1422389 w 1579208"/>
                    <a:gd name="connsiteY83" fmla="*/ 1075209 h 1548175"/>
                    <a:gd name="connsiteX84" fmla="*/ 1405953 w 1579208"/>
                    <a:gd name="connsiteY84" fmla="*/ 1058041 h 1548175"/>
                    <a:gd name="connsiteX85" fmla="*/ 1288043 w 1579208"/>
                    <a:gd name="connsiteY85" fmla="*/ 935715 h 1548175"/>
                    <a:gd name="connsiteX86" fmla="*/ 1309481 w 1579208"/>
                    <a:gd name="connsiteY86" fmla="*/ 912824 h 1548175"/>
                    <a:gd name="connsiteX87" fmla="*/ 1156730 w 1579208"/>
                    <a:gd name="connsiteY87" fmla="*/ 900211 h 1548175"/>
                    <a:gd name="connsiteX88" fmla="*/ 1174532 w 1579208"/>
                    <a:gd name="connsiteY88" fmla="*/ 926699 h 1548175"/>
                    <a:gd name="connsiteX89" fmla="*/ 853375 w 1579208"/>
                    <a:gd name="connsiteY89" fmla="*/ 1180837 h 1548175"/>
                    <a:gd name="connsiteX90" fmla="*/ 835573 w 1579208"/>
                    <a:gd name="connsiteY90" fmla="*/ 1154349 h 1548175"/>
                    <a:gd name="connsiteX91" fmla="*/ 1156730 w 1579208"/>
                    <a:gd name="connsiteY91" fmla="*/ 900211 h 1548175"/>
                    <a:gd name="connsiteX92" fmla="*/ 60723 w 1579208"/>
                    <a:gd name="connsiteY92" fmla="*/ 816653 h 1548175"/>
                    <a:gd name="connsiteX93" fmla="*/ 163962 w 1579208"/>
                    <a:gd name="connsiteY93" fmla="*/ 1137717 h 1548175"/>
                    <a:gd name="connsiteX94" fmla="*/ 134058 w 1579208"/>
                    <a:gd name="connsiteY94" fmla="*/ 1147728 h 1548175"/>
                    <a:gd name="connsiteX95" fmla="*/ 31531 w 1579208"/>
                    <a:gd name="connsiteY95" fmla="*/ 828809 h 1548175"/>
                    <a:gd name="connsiteX96" fmla="*/ 60723 w 1579208"/>
                    <a:gd name="connsiteY96" fmla="*/ 816653 h 1548175"/>
                    <a:gd name="connsiteX97" fmla="*/ 1235519 w 1579208"/>
                    <a:gd name="connsiteY97" fmla="*/ 809523 h 1548175"/>
                    <a:gd name="connsiteX98" fmla="*/ 1290699 w 1579208"/>
                    <a:gd name="connsiteY98" fmla="*/ 864703 h 1548175"/>
                    <a:gd name="connsiteX99" fmla="*/ 1235519 w 1579208"/>
                    <a:gd name="connsiteY99" fmla="*/ 919883 h 1548175"/>
                    <a:gd name="connsiteX100" fmla="*/ 1180339 w 1579208"/>
                    <a:gd name="connsiteY100" fmla="*/ 864703 h 1548175"/>
                    <a:gd name="connsiteX101" fmla="*/ 1235519 w 1579208"/>
                    <a:gd name="connsiteY101" fmla="*/ 809523 h 1548175"/>
                    <a:gd name="connsiteX102" fmla="*/ 1513560 w 1579208"/>
                    <a:gd name="connsiteY102" fmla="*/ 797735 h 1548175"/>
                    <a:gd name="connsiteX103" fmla="*/ 1543445 w 1579208"/>
                    <a:gd name="connsiteY103" fmla="*/ 807744 h 1548175"/>
                    <a:gd name="connsiteX104" fmla="*/ 1495060 w 1579208"/>
                    <a:gd name="connsiteY104" fmla="*/ 1034365 h 1548175"/>
                    <a:gd name="connsiteX105" fmla="*/ 1482252 w 1579208"/>
                    <a:gd name="connsiteY105" fmla="*/ 1032936 h 1548175"/>
                    <a:gd name="connsiteX106" fmla="*/ 1463040 w 1579208"/>
                    <a:gd name="connsiteY106" fmla="*/ 1035795 h 1548175"/>
                    <a:gd name="connsiteX107" fmla="*/ 1513560 w 1579208"/>
                    <a:gd name="connsiteY107" fmla="*/ 797735 h 1548175"/>
                    <a:gd name="connsiteX108" fmla="*/ 79652 w 1579208"/>
                    <a:gd name="connsiteY108" fmla="*/ 783547 h 1548175"/>
                    <a:gd name="connsiteX109" fmla="*/ 540758 w 1579208"/>
                    <a:gd name="connsiteY109" fmla="*/ 1081849 h 1548175"/>
                    <a:gd name="connsiteX110" fmla="*/ 517166 w 1579208"/>
                    <a:gd name="connsiteY110" fmla="*/ 1108317 h 1548175"/>
                    <a:gd name="connsiteX111" fmla="*/ 64639 w 1579208"/>
                    <a:gd name="connsiteY111" fmla="*/ 811446 h 1548175"/>
                    <a:gd name="connsiteX112" fmla="*/ 79652 w 1579208"/>
                    <a:gd name="connsiteY112" fmla="*/ 783547 h 1548175"/>
                    <a:gd name="connsiteX113" fmla="*/ 1485399 w 1579208"/>
                    <a:gd name="connsiteY113" fmla="*/ 752016 h 1548175"/>
                    <a:gd name="connsiteX114" fmla="*/ 1496148 w 1579208"/>
                    <a:gd name="connsiteY114" fmla="*/ 781352 h 1548175"/>
                    <a:gd name="connsiteX115" fmla="*/ 1319860 w 1579208"/>
                    <a:gd name="connsiteY115" fmla="*/ 845033 h 1548175"/>
                    <a:gd name="connsiteX116" fmla="*/ 1306961 w 1579208"/>
                    <a:gd name="connsiteY116" fmla="*/ 816413 h 1548175"/>
                    <a:gd name="connsiteX117" fmla="*/ 1485399 w 1579208"/>
                    <a:gd name="connsiteY117" fmla="*/ 752016 h 1548175"/>
                    <a:gd name="connsiteX118" fmla="*/ 24437 w 1579208"/>
                    <a:gd name="connsiteY118" fmla="*/ 748862 h 1548175"/>
                    <a:gd name="connsiteX119" fmla="*/ 48874 w 1579208"/>
                    <a:gd name="connsiteY119" fmla="*/ 773299 h 1548175"/>
                    <a:gd name="connsiteX120" fmla="*/ 24437 w 1579208"/>
                    <a:gd name="connsiteY120" fmla="*/ 797736 h 1548175"/>
                    <a:gd name="connsiteX121" fmla="*/ 0 w 1579208"/>
                    <a:gd name="connsiteY121" fmla="*/ 773299 h 1548175"/>
                    <a:gd name="connsiteX122" fmla="*/ 24437 w 1579208"/>
                    <a:gd name="connsiteY122" fmla="*/ 748862 h 1548175"/>
                    <a:gd name="connsiteX123" fmla="*/ 578713 w 1579208"/>
                    <a:gd name="connsiteY123" fmla="*/ 722060 h 1548175"/>
                    <a:gd name="connsiteX124" fmla="*/ 655330 w 1579208"/>
                    <a:gd name="connsiteY124" fmla="*/ 927666 h 1548175"/>
                    <a:gd name="connsiteX125" fmla="*/ 728366 w 1579208"/>
                    <a:gd name="connsiteY125" fmla="*/ 1125420 h 1548175"/>
                    <a:gd name="connsiteX126" fmla="*/ 699724 w 1579208"/>
                    <a:gd name="connsiteY126" fmla="*/ 1138270 h 1548175"/>
                    <a:gd name="connsiteX127" fmla="*/ 548640 w 1579208"/>
                    <a:gd name="connsiteY127" fmla="*/ 732055 h 1548175"/>
                    <a:gd name="connsiteX128" fmla="*/ 578713 w 1579208"/>
                    <a:gd name="connsiteY128" fmla="*/ 722060 h 1548175"/>
                    <a:gd name="connsiteX129" fmla="*/ 1547677 w 1579208"/>
                    <a:gd name="connsiteY129" fmla="*/ 711777 h 1548175"/>
                    <a:gd name="connsiteX130" fmla="*/ 1579208 w 1579208"/>
                    <a:gd name="connsiteY130" fmla="*/ 744097 h 1548175"/>
                    <a:gd name="connsiteX131" fmla="*/ 1547677 w 1579208"/>
                    <a:gd name="connsiteY131" fmla="*/ 776417 h 1548175"/>
                    <a:gd name="connsiteX132" fmla="*/ 1516146 w 1579208"/>
                    <a:gd name="connsiteY132" fmla="*/ 744097 h 1548175"/>
                    <a:gd name="connsiteX133" fmla="*/ 1547677 w 1579208"/>
                    <a:gd name="connsiteY133" fmla="*/ 711777 h 1548175"/>
                    <a:gd name="connsiteX134" fmla="*/ 607527 w 1579208"/>
                    <a:gd name="connsiteY134" fmla="*/ 673188 h 1548175"/>
                    <a:gd name="connsiteX135" fmla="*/ 1161918 w 1579208"/>
                    <a:gd name="connsiteY135" fmla="*/ 822961 h 1548175"/>
                    <a:gd name="connsiteX136" fmla="*/ 1151188 w 1579208"/>
                    <a:gd name="connsiteY136" fmla="*/ 854492 h 1548175"/>
                    <a:gd name="connsiteX137" fmla="*/ 597512 w 1579208"/>
                    <a:gd name="connsiteY137" fmla="*/ 703286 h 1548175"/>
                    <a:gd name="connsiteX138" fmla="*/ 607527 w 1579208"/>
                    <a:gd name="connsiteY138" fmla="*/ 673188 h 1548175"/>
                    <a:gd name="connsiteX139" fmla="*/ 481567 w 1579208"/>
                    <a:gd name="connsiteY139" fmla="*/ 668458 h 1548175"/>
                    <a:gd name="connsiteX140" fmla="*/ 481567 w 1579208"/>
                    <a:gd name="connsiteY140" fmla="*/ 669167 h 1548175"/>
                    <a:gd name="connsiteX141" fmla="*/ 488731 w 1579208"/>
                    <a:gd name="connsiteY141" fmla="*/ 698233 h 1548175"/>
                    <a:gd name="connsiteX142" fmla="*/ 80401 w 1579208"/>
                    <a:gd name="connsiteY142" fmla="*/ 774088 h 1548175"/>
                    <a:gd name="connsiteX143" fmla="*/ 80401 w 1579208"/>
                    <a:gd name="connsiteY143" fmla="*/ 772670 h 1548175"/>
                    <a:gd name="connsiteX144" fmla="*/ 72521 w 1579208"/>
                    <a:gd name="connsiteY144" fmla="*/ 744313 h 1548175"/>
                    <a:gd name="connsiteX145" fmla="*/ 481567 w 1579208"/>
                    <a:gd name="connsiteY145" fmla="*/ 668458 h 1548175"/>
                    <a:gd name="connsiteX146" fmla="*/ 544699 w 1579208"/>
                    <a:gd name="connsiteY146" fmla="*/ 636927 h 1548175"/>
                    <a:gd name="connsiteX147" fmla="*/ 577019 w 1579208"/>
                    <a:gd name="connsiteY147" fmla="*/ 669247 h 1548175"/>
                    <a:gd name="connsiteX148" fmla="*/ 544699 w 1579208"/>
                    <a:gd name="connsiteY148" fmla="*/ 701567 h 1548175"/>
                    <a:gd name="connsiteX149" fmla="*/ 512379 w 1579208"/>
                    <a:gd name="connsiteY149" fmla="*/ 669247 h 1548175"/>
                    <a:gd name="connsiteX150" fmla="*/ 544699 w 1579208"/>
                    <a:gd name="connsiteY150" fmla="*/ 636927 h 1548175"/>
                    <a:gd name="connsiteX151" fmla="*/ 106317 w 1579208"/>
                    <a:gd name="connsiteY151" fmla="*/ 447740 h 1548175"/>
                    <a:gd name="connsiteX152" fmla="*/ 134006 w 1579208"/>
                    <a:gd name="connsiteY152" fmla="*/ 462094 h 1548175"/>
                    <a:gd name="connsiteX153" fmla="*/ 56619 w 1579208"/>
                    <a:gd name="connsiteY153" fmla="*/ 728366 h 1548175"/>
                    <a:gd name="connsiteX154" fmla="*/ 26801 w 1579208"/>
                    <a:gd name="connsiteY154" fmla="*/ 718318 h 1548175"/>
                    <a:gd name="connsiteX155" fmla="*/ 106317 w 1579208"/>
                    <a:gd name="connsiteY155" fmla="*/ 447740 h 1548175"/>
                    <a:gd name="connsiteX156" fmla="*/ 235307 w 1579208"/>
                    <a:gd name="connsiteY156" fmla="*/ 419363 h 1548175"/>
                    <a:gd name="connsiteX157" fmla="*/ 502921 w 1579208"/>
                    <a:gd name="connsiteY157" fmla="*/ 620685 h 1548175"/>
                    <a:gd name="connsiteX158" fmla="*/ 485032 w 1579208"/>
                    <a:gd name="connsiteY158" fmla="*/ 646386 h 1548175"/>
                    <a:gd name="connsiteX159" fmla="*/ 298991 w 1579208"/>
                    <a:gd name="connsiteY159" fmla="*/ 506460 h 1548175"/>
                    <a:gd name="connsiteX160" fmla="*/ 215988 w 1579208"/>
                    <a:gd name="connsiteY160" fmla="*/ 444350 h 1548175"/>
                    <a:gd name="connsiteX161" fmla="*/ 235307 w 1579208"/>
                    <a:gd name="connsiteY161" fmla="*/ 419363 h 1548175"/>
                    <a:gd name="connsiteX162" fmla="*/ 1349479 w 1579208"/>
                    <a:gd name="connsiteY162" fmla="*/ 406750 h 1548175"/>
                    <a:gd name="connsiteX163" fmla="*/ 1379483 w 1579208"/>
                    <a:gd name="connsiteY163" fmla="*/ 416017 h 1548175"/>
                    <a:gd name="connsiteX164" fmla="*/ 1273041 w 1579208"/>
                    <a:gd name="connsiteY164" fmla="*/ 786699 h 1548175"/>
                    <a:gd name="connsiteX165" fmla="*/ 1242322 w 1579208"/>
                    <a:gd name="connsiteY165" fmla="*/ 779571 h 1548175"/>
                    <a:gd name="connsiteX166" fmla="*/ 1349479 w 1579208"/>
                    <a:gd name="connsiteY166" fmla="*/ 406750 h 1548175"/>
                    <a:gd name="connsiteX167" fmla="*/ 1437959 w 1579208"/>
                    <a:gd name="connsiteY167" fmla="*/ 405174 h 1548175"/>
                    <a:gd name="connsiteX168" fmla="*/ 1533985 w 1579208"/>
                    <a:gd name="connsiteY168" fmla="*/ 683394 h 1548175"/>
                    <a:gd name="connsiteX169" fmla="*/ 1505321 w 1579208"/>
                    <a:gd name="connsiteY169" fmla="*/ 698413 h 1548175"/>
                    <a:gd name="connsiteX170" fmla="*/ 1407861 w 1579208"/>
                    <a:gd name="connsiteY170" fmla="*/ 415187 h 1548175"/>
                    <a:gd name="connsiteX171" fmla="*/ 1437959 w 1579208"/>
                    <a:gd name="connsiteY171" fmla="*/ 405174 h 1548175"/>
                    <a:gd name="connsiteX172" fmla="*/ 1038355 w 1579208"/>
                    <a:gd name="connsiteY172" fmla="*/ 340535 h 1548175"/>
                    <a:gd name="connsiteX173" fmla="*/ 1220251 w 1579208"/>
                    <a:gd name="connsiteY173" fmla="*/ 781587 h 1548175"/>
                    <a:gd name="connsiteX174" fmla="*/ 1190890 w 1579208"/>
                    <a:gd name="connsiteY174" fmla="*/ 793006 h 1548175"/>
                    <a:gd name="connsiteX175" fmla="*/ 1063419 w 1579208"/>
                    <a:gd name="connsiteY175" fmla="*/ 484698 h 1548175"/>
                    <a:gd name="connsiteX176" fmla="*/ 1008993 w 1579208"/>
                    <a:gd name="connsiteY176" fmla="*/ 352668 h 1548175"/>
                    <a:gd name="connsiteX177" fmla="*/ 1038355 w 1579208"/>
                    <a:gd name="connsiteY177" fmla="*/ 340535 h 1548175"/>
                    <a:gd name="connsiteX178" fmla="*/ 159232 w 1579208"/>
                    <a:gd name="connsiteY178" fmla="*/ 324770 h 1548175"/>
                    <a:gd name="connsiteX179" fmla="*/ 214412 w 1579208"/>
                    <a:gd name="connsiteY179" fmla="*/ 379950 h 1548175"/>
                    <a:gd name="connsiteX180" fmla="*/ 159232 w 1579208"/>
                    <a:gd name="connsiteY180" fmla="*/ 435130 h 1548175"/>
                    <a:gd name="connsiteX181" fmla="*/ 104052 w 1579208"/>
                    <a:gd name="connsiteY181" fmla="*/ 379950 h 1548175"/>
                    <a:gd name="connsiteX182" fmla="*/ 159232 w 1579208"/>
                    <a:gd name="connsiteY182" fmla="*/ 324770 h 1548175"/>
                    <a:gd name="connsiteX183" fmla="*/ 910703 w 1579208"/>
                    <a:gd name="connsiteY183" fmla="*/ 302698 h 1548175"/>
                    <a:gd name="connsiteX184" fmla="*/ 928589 w 1579208"/>
                    <a:gd name="connsiteY184" fmla="*/ 329090 h 1548175"/>
                    <a:gd name="connsiteX185" fmla="*/ 600918 w 1579208"/>
                    <a:gd name="connsiteY185" fmla="*/ 640080 h 1548175"/>
                    <a:gd name="connsiteX186" fmla="*/ 580171 w 1579208"/>
                    <a:gd name="connsiteY186" fmla="*/ 616542 h 1548175"/>
                    <a:gd name="connsiteX187" fmla="*/ 910703 w 1579208"/>
                    <a:gd name="connsiteY187" fmla="*/ 302698 h 1548175"/>
                    <a:gd name="connsiteX188" fmla="*/ 528145 w 1579208"/>
                    <a:gd name="connsiteY188" fmla="*/ 301121 h 1548175"/>
                    <a:gd name="connsiteX189" fmla="*/ 547493 w 1579208"/>
                    <a:gd name="connsiteY189" fmla="*/ 303973 h 1548175"/>
                    <a:gd name="connsiteX190" fmla="*/ 559676 w 1579208"/>
                    <a:gd name="connsiteY190" fmla="*/ 302547 h 1548175"/>
                    <a:gd name="connsiteX191" fmla="*/ 559676 w 1579208"/>
                    <a:gd name="connsiteY191" fmla="*/ 606972 h 1548175"/>
                    <a:gd name="connsiteX192" fmla="*/ 543910 w 1579208"/>
                    <a:gd name="connsiteY192" fmla="*/ 604833 h 1548175"/>
                    <a:gd name="connsiteX193" fmla="*/ 528145 w 1579208"/>
                    <a:gd name="connsiteY193" fmla="*/ 606972 h 1548175"/>
                    <a:gd name="connsiteX194" fmla="*/ 528145 w 1579208"/>
                    <a:gd name="connsiteY194" fmla="*/ 301121 h 1548175"/>
                    <a:gd name="connsiteX195" fmla="*/ 1391598 w 1579208"/>
                    <a:gd name="connsiteY195" fmla="*/ 256154 h 1548175"/>
                    <a:gd name="connsiteX196" fmla="*/ 1456237 w 1579208"/>
                    <a:gd name="connsiteY196" fmla="*/ 320793 h 1548175"/>
                    <a:gd name="connsiteX197" fmla="*/ 1391598 w 1579208"/>
                    <a:gd name="connsiteY197" fmla="*/ 385432 h 1548175"/>
                    <a:gd name="connsiteX198" fmla="*/ 1326959 w 1579208"/>
                    <a:gd name="connsiteY198" fmla="*/ 320793 h 1548175"/>
                    <a:gd name="connsiteX199" fmla="*/ 1391598 w 1579208"/>
                    <a:gd name="connsiteY199" fmla="*/ 256154 h 1548175"/>
                    <a:gd name="connsiteX200" fmla="*/ 1075209 w 1579208"/>
                    <a:gd name="connsiteY200" fmla="*/ 250672 h 1548175"/>
                    <a:gd name="connsiteX201" fmla="*/ 1302232 w 1579208"/>
                    <a:gd name="connsiteY201" fmla="*/ 287066 h 1548175"/>
                    <a:gd name="connsiteX202" fmla="*/ 1295827 w 1579208"/>
                    <a:gd name="connsiteY202" fmla="*/ 318464 h 1548175"/>
                    <a:gd name="connsiteX203" fmla="*/ 1075921 w 1579208"/>
                    <a:gd name="connsiteY203" fmla="*/ 282784 h 1548175"/>
                    <a:gd name="connsiteX204" fmla="*/ 1077344 w 1579208"/>
                    <a:gd name="connsiteY204" fmla="*/ 268512 h 1548175"/>
                    <a:gd name="connsiteX205" fmla="*/ 1075209 w 1579208"/>
                    <a:gd name="connsiteY205" fmla="*/ 250672 h 1548175"/>
                    <a:gd name="connsiteX206" fmla="*/ 990074 w 1579208"/>
                    <a:gd name="connsiteY206" fmla="*/ 212835 h 1548175"/>
                    <a:gd name="connsiteX207" fmla="*/ 1045254 w 1579208"/>
                    <a:gd name="connsiteY207" fmla="*/ 268015 h 1548175"/>
                    <a:gd name="connsiteX208" fmla="*/ 990074 w 1579208"/>
                    <a:gd name="connsiteY208" fmla="*/ 323195 h 1548175"/>
                    <a:gd name="connsiteX209" fmla="*/ 934894 w 1579208"/>
                    <a:gd name="connsiteY209" fmla="*/ 268015 h 1548175"/>
                    <a:gd name="connsiteX210" fmla="*/ 990074 w 1579208"/>
                    <a:gd name="connsiteY210" fmla="*/ 212835 h 1548175"/>
                    <a:gd name="connsiteX211" fmla="*/ 547852 w 1579208"/>
                    <a:gd name="connsiteY211" fmla="*/ 208105 h 1548175"/>
                    <a:gd name="connsiteX212" fmla="*/ 580172 w 1579208"/>
                    <a:gd name="connsiteY212" fmla="*/ 240425 h 1548175"/>
                    <a:gd name="connsiteX213" fmla="*/ 547852 w 1579208"/>
                    <a:gd name="connsiteY213" fmla="*/ 272745 h 1548175"/>
                    <a:gd name="connsiteX214" fmla="*/ 515532 w 1579208"/>
                    <a:gd name="connsiteY214" fmla="*/ 240425 h 1548175"/>
                    <a:gd name="connsiteX215" fmla="*/ 547852 w 1579208"/>
                    <a:gd name="connsiteY215" fmla="*/ 208105 h 1548175"/>
                    <a:gd name="connsiteX216" fmla="*/ 578955 w 1579208"/>
                    <a:gd name="connsiteY216" fmla="*/ 85134 h 1548175"/>
                    <a:gd name="connsiteX217" fmla="*/ 608548 w 1579208"/>
                    <a:gd name="connsiteY217" fmla="*/ 95776 h 1548175"/>
                    <a:gd name="connsiteX218" fmla="*/ 603495 w 1579208"/>
                    <a:gd name="connsiteY218" fmla="*/ 112803 h 1548175"/>
                    <a:gd name="connsiteX219" fmla="*/ 578955 w 1579208"/>
                    <a:gd name="connsiteY219" fmla="*/ 184457 h 1548175"/>
                    <a:gd name="connsiteX220" fmla="*/ 548640 w 1579208"/>
                    <a:gd name="connsiteY220" fmla="*/ 176653 h 1548175"/>
                    <a:gd name="connsiteX221" fmla="*/ 578955 w 1579208"/>
                    <a:gd name="connsiteY221" fmla="*/ 85134 h 1548175"/>
                    <a:gd name="connsiteX222" fmla="*/ 1053462 w 1579208"/>
                    <a:gd name="connsiteY222" fmla="*/ 67792 h 1548175"/>
                    <a:gd name="connsiteX223" fmla="*/ 1324303 w 1579208"/>
                    <a:gd name="connsiteY223" fmla="*/ 253270 h 1548175"/>
                    <a:gd name="connsiteX224" fmla="*/ 1305772 w 1579208"/>
                    <a:gd name="connsiteY224" fmla="*/ 279051 h 1548175"/>
                    <a:gd name="connsiteX225" fmla="*/ 1034218 w 1579208"/>
                    <a:gd name="connsiteY225" fmla="*/ 92857 h 1548175"/>
                    <a:gd name="connsiteX226" fmla="*/ 1053462 w 1579208"/>
                    <a:gd name="connsiteY226" fmla="*/ 67792 h 1548175"/>
                    <a:gd name="connsiteX227" fmla="*/ 556815 w 1579208"/>
                    <a:gd name="connsiteY227" fmla="*/ 56755 h 1548175"/>
                    <a:gd name="connsiteX228" fmla="*/ 575440 w 1579208"/>
                    <a:gd name="connsiteY228" fmla="*/ 81777 h 1548175"/>
                    <a:gd name="connsiteX229" fmla="*/ 236613 w 1579208"/>
                    <a:gd name="connsiteY229" fmla="*/ 324844 h 1548175"/>
                    <a:gd name="connsiteX230" fmla="*/ 484465 w 1579208"/>
                    <a:gd name="connsiteY230" fmla="*/ 243345 h 1548175"/>
                    <a:gd name="connsiteX231" fmla="*/ 493777 w 1579208"/>
                    <a:gd name="connsiteY231" fmla="*/ 273371 h 1548175"/>
                    <a:gd name="connsiteX232" fmla="*/ 241627 w 1579208"/>
                    <a:gd name="connsiteY232" fmla="*/ 356300 h 1548175"/>
                    <a:gd name="connsiteX233" fmla="*/ 206527 w 1579208"/>
                    <a:gd name="connsiteY233" fmla="*/ 307687 h 1548175"/>
                    <a:gd name="connsiteX234" fmla="*/ 556815 w 1579208"/>
                    <a:gd name="connsiteY234" fmla="*/ 56755 h 1548175"/>
                    <a:gd name="connsiteX235" fmla="*/ 677313 w 1579208"/>
                    <a:gd name="connsiteY235" fmla="*/ 23648 h 1548175"/>
                    <a:gd name="connsiteX236" fmla="*/ 932392 w 1579208"/>
                    <a:gd name="connsiteY236" fmla="*/ 29340 h 1548175"/>
                    <a:gd name="connsiteX237" fmla="*/ 930967 w 1579208"/>
                    <a:gd name="connsiteY237" fmla="*/ 42148 h 1548175"/>
                    <a:gd name="connsiteX238" fmla="*/ 945930 w 1579208"/>
                    <a:gd name="connsiteY238" fmla="*/ 83418 h 1548175"/>
                    <a:gd name="connsiteX239" fmla="*/ 616037 w 1579208"/>
                    <a:gd name="connsiteY239" fmla="*/ 225726 h 1548175"/>
                    <a:gd name="connsiteX240" fmla="*/ 909592 w 1579208"/>
                    <a:gd name="connsiteY240" fmla="*/ 234265 h 1548175"/>
                    <a:gd name="connsiteX241" fmla="*/ 903179 w 1579208"/>
                    <a:gd name="connsiteY241" fmla="*/ 264861 h 1548175"/>
                    <a:gd name="connsiteX242" fmla="*/ 608912 w 1579208"/>
                    <a:gd name="connsiteY242" fmla="*/ 257034 h 1548175"/>
                    <a:gd name="connsiteX243" fmla="*/ 611762 w 1579208"/>
                    <a:gd name="connsiteY243" fmla="*/ 239957 h 1548175"/>
                    <a:gd name="connsiteX244" fmla="*/ 597512 w 1579208"/>
                    <a:gd name="connsiteY244" fmla="*/ 200111 h 1548175"/>
                    <a:gd name="connsiteX245" fmla="*/ 920992 w 1579208"/>
                    <a:gd name="connsiteY245" fmla="*/ 59937 h 1548175"/>
                    <a:gd name="connsiteX246" fmla="*/ 674463 w 1579208"/>
                    <a:gd name="connsiteY246" fmla="*/ 54956 h 1548175"/>
                    <a:gd name="connsiteX247" fmla="*/ 678026 w 1579208"/>
                    <a:gd name="connsiteY247" fmla="*/ 32186 h 1548175"/>
                    <a:gd name="connsiteX248" fmla="*/ 677313 w 1579208"/>
                    <a:gd name="connsiteY248" fmla="*/ 23648 h 1548175"/>
                    <a:gd name="connsiteX249" fmla="*/ 995592 w 1579208"/>
                    <a:gd name="connsiteY249" fmla="*/ 11037 h 1548175"/>
                    <a:gd name="connsiteX250" fmla="*/ 1027912 w 1579208"/>
                    <a:gd name="connsiteY250" fmla="*/ 42568 h 1548175"/>
                    <a:gd name="connsiteX251" fmla="*/ 995592 w 1579208"/>
                    <a:gd name="connsiteY251" fmla="*/ 74099 h 1548175"/>
                    <a:gd name="connsiteX252" fmla="*/ 963272 w 1579208"/>
                    <a:gd name="connsiteY252" fmla="*/ 42568 h 1548175"/>
                    <a:gd name="connsiteX253" fmla="*/ 995592 w 1579208"/>
                    <a:gd name="connsiteY253" fmla="*/ 11037 h 1548175"/>
                    <a:gd name="connsiteX254" fmla="*/ 614067 w 1579208"/>
                    <a:gd name="connsiteY254" fmla="*/ 0 h 1548175"/>
                    <a:gd name="connsiteX255" fmla="*/ 646387 w 1579208"/>
                    <a:gd name="connsiteY255" fmla="*/ 32320 h 1548175"/>
                    <a:gd name="connsiteX256" fmla="*/ 614067 w 1579208"/>
                    <a:gd name="connsiteY256" fmla="*/ 64640 h 1548175"/>
                    <a:gd name="connsiteX257" fmla="*/ 581747 w 1579208"/>
                    <a:gd name="connsiteY257" fmla="*/ 32320 h 1548175"/>
                    <a:gd name="connsiteX258" fmla="*/ 614067 w 1579208"/>
                    <a:gd name="connsiteY258" fmla="*/ 0 h 15481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</a:cxnLst>
                  <a:rect l="l" t="t" r="r" b="b"/>
                  <a:pathLst>
                    <a:path w="1579208" h="1548175">
                      <a:moveTo>
                        <a:pt x="790640" y="1483535"/>
                      </a:moveTo>
                      <a:cubicBezTo>
                        <a:pt x="808490" y="1483535"/>
                        <a:pt x="822960" y="1498005"/>
                        <a:pt x="822960" y="1515855"/>
                      </a:cubicBezTo>
                      <a:cubicBezTo>
                        <a:pt x="822960" y="1533705"/>
                        <a:pt x="808490" y="1548175"/>
                        <a:pt x="790640" y="1548175"/>
                      </a:cubicBezTo>
                      <a:cubicBezTo>
                        <a:pt x="772790" y="1548175"/>
                        <a:pt x="758320" y="1533705"/>
                        <a:pt x="758320" y="1515855"/>
                      </a:cubicBezTo>
                      <a:cubicBezTo>
                        <a:pt x="758320" y="1498005"/>
                        <a:pt x="772790" y="1483535"/>
                        <a:pt x="790640" y="1483535"/>
                      </a:cubicBezTo>
                      <a:close/>
                      <a:moveTo>
                        <a:pt x="1231624" y="1332186"/>
                      </a:moveTo>
                      <a:cubicBezTo>
                        <a:pt x="1233051" y="1343652"/>
                        <a:pt x="1236617" y="1353685"/>
                        <a:pt x="1242323" y="1362284"/>
                      </a:cubicBezTo>
                      <a:cubicBezTo>
                        <a:pt x="1242323" y="1362284"/>
                        <a:pt x="1242323" y="1362284"/>
                        <a:pt x="853591" y="1521373"/>
                      </a:cubicBezTo>
                      <a:cubicBezTo>
                        <a:pt x="853591" y="1509907"/>
                        <a:pt x="850738" y="1499875"/>
                        <a:pt x="845032" y="1490559"/>
                      </a:cubicBezTo>
                      <a:close/>
                      <a:moveTo>
                        <a:pt x="781499" y="1329034"/>
                      </a:moveTo>
                      <a:cubicBezTo>
                        <a:pt x="781499" y="1329034"/>
                        <a:pt x="781499" y="1329034"/>
                        <a:pt x="797736" y="1459458"/>
                      </a:cubicBezTo>
                      <a:cubicBezTo>
                        <a:pt x="794912" y="1459458"/>
                        <a:pt x="792088" y="1458741"/>
                        <a:pt x="789971" y="1458741"/>
                      </a:cubicBezTo>
                      <a:cubicBezTo>
                        <a:pt x="781499" y="1458741"/>
                        <a:pt x="773734" y="1460175"/>
                        <a:pt x="766675" y="1463041"/>
                      </a:cubicBezTo>
                      <a:cubicBezTo>
                        <a:pt x="766675" y="1463041"/>
                        <a:pt x="766675" y="1463041"/>
                        <a:pt x="750439" y="1331184"/>
                      </a:cubicBezTo>
                      <a:cubicBezTo>
                        <a:pt x="753262" y="1331184"/>
                        <a:pt x="756086" y="1331184"/>
                        <a:pt x="758910" y="1331184"/>
                      </a:cubicBezTo>
                      <a:cubicBezTo>
                        <a:pt x="766675" y="1331184"/>
                        <a:pt x="773734" y="1330467"/>
                        <a:pt x="781499" y="1329034"/>
                      </a:cubicBezTo>
                      <a:close/>
                      <a:moveTo>
                        <a:pt x="1295138" y="1288043"/>
                      </a:moveTo>
                      <a:cubicBezTo>
                        <a:pt x="1312988" y="1288043"/>
                        <a:pt x="1327458" y="1302513"/>
                        <a:pt x="1327458" y="1320363"/>
                      </a:cubicBezTo>
                      <a:cubicBezTo>
                        <a:pt x="1327458" y="1338213"/>
                        <a:pt x="1312988" y="1352683"/>
                        <a:pt x="1295138" y="1352683"/>
                      </a:cubicBezTo>
                      <a:cubicBezTo>
                        <a:pt x="1277288" y="1352683"/>
                        <a:pt x="1262818" y="1338213"/>
                        <a:pt x="1262818" y="1320363"/>
                      </a:cubicBezTo>
                      <a:cubicBezTo>
                        <a:pt x="1262818" y="1302513"/>
                        <a:pt x="1277288" y="1288043"/>
                        <a:pt x="1295138" y="1288043"/>
                      </a:cubicBezTo>
                      <a:close/>
                      <a:moveTo>
                        <a:pt x="259506" y="1245476"/>
                      </a:moveTo>
                      <a:cubicBezTo>
                        <a:pt x="259506" y="1245476"/>
                        <a:pt x="259506" y="1245476"/>
                        <a:pt x="737827" y="1484265"/>
                      </a:cubicBezTo>
                      <a:cubicBezTo>
                        <a:pt x="732115" y="1492819"/>
                        <a:pt x="727832" y="1502798"/>
                        <a:pt x="726404" y="1513490"/>
                      </a:cubicBezTo>
                      <a:cubicBezTo>
                        <a:pt x="726404" y="1513490"/>
                        <a:pt x="726404" y="1513490"/>
                        <a:pt x="245942" y="1273988"/>
                      </a:cubicBezTo>
                      <a:cubicBezTo>
                        <a:pt x="252367" y="1265435"/>
                        <a:pt x="256650" y="1256168"/>
                        <a:pt x="259506" y="1245476"/>
                      </a:cubicBezTo>
                      <a:close/>
                      <a:moveTo>
                        <a:pt x="863074" y="1239170"/>
                      </a:moveTo>
                      <a:cubicBezTo>
                        <a:pt x="863074" y="1239170"/>
                        <a:pt x="863074" y="1239170"/>
                        <a:pt x="1240747" y="1295318"/>
                      </a:cubicBezTo>
                      <a:cubicBezTo>
                        <a:pt x="1235025" y="1304558"/>
                        <a:pt x="1232164" y="1315219"/>
                        <a:pt x="1232164" y="1325880"/>
                      </a:cubicBezTo>
                      <a:cubicBezTo>
                        <a:pt x="1232164" y="1325880"/>
                        <a:pt x="1232164" y="1325880"/>
                        <a:pt x="854491" y="1269732"/>
                      </a:cubicBezTo>
                      <a:cubicBezTo>
                        <a:pt x="858782" y="1259782"/>
                        <a:pt x="861644" y="1249831"/>
                        <a:pt x="863074" y="1239170"/>
                      </a:cubicBezTo>
                      <a:close/>
                      <a:moveTo>
                        <a:pt x="176574" y="1168225"/>
                      </a:moveTo>
                      <a:cubicBezTo>
                        <a:pt x="207049" y="1168225"/>
                        <a:pt x="231754" y="1192577"/>
                        <a:pt x="231754" y="1222616"/>
                      </a:cubicBezTo>
                      <a:cubicBezTo>
                        <a:pt x="231754" y="1252655"/>
                        <a:pt x="207049" y="1277007"/>
                        <a:pt x="176574" y="1277007"/>
                      </a:cubicBezTo>
                      <a:cubicBezTo>
                        <a:pt x="146099" y="1277007"/>
                        <a:pt x="121394" y="1252655"/>
                        <a:pt x="121394" y="1222616"/>
                      </a:cubicBezTo>
                      <a:cubicBezTo>
                        <a:pt x="121394" y="1192577"/>
                        <a:pt x="146099" y="1168225"/>
                        <a:pt x="176574" y="1168225"/>
                      </a:cubicBezTo>
                      <a:close/>
                      <a:moveTo>
                        <a:pt x="758322" y="1146153"/>
                      </a:moveTo>
                      <a:cubicBezTo>
                        <a:pt x="799245" y="1146153"/>
                        <a:pt x="832420" y="1179328"/>
                        <a:pt x="832420" y="1220251"/>
                      </a:cubicBezTo>
                      <a:cubicBezTo>
                        <a:pt x="832420" y="1261174"/>
                        <a:pt x="799245" y="1294349"/>
                        <a:pt x="758322" y="1294349"/>
                      </a:cubicBezTo>
                      <a:cubicBezTo>
                        <a:pt x="717399" y="1294349"/>
                        <a:pt x="684224" y="1261174"/>
                        <a:pt x="684224" y="1220251"/>
                      </a:cubicBezTo>
                      <a:cubicBezTo>
                        <a:pt x="684224" y="1179328"/>
                        <a:pt x="717399" y="1146153"/>
                        <a:pt x="758322" y="1146153"/>
                      </a:cubicBezTo>
                      <a:close/>
                      <a:moveTo>
                        <a:pt x="638225" y="1144576"/>
                      </a:moveTo>
                      <a:cubicBezTo>
                        <a:pt x="638225" y="1144576"/>
                        <a:pt x="638225" y="1144576"/>
                        <a:pt x="671611" y="1166371"/>
                      </a:cubicBezTo>
                      <a:cubicBezTo>
                        <a:pt x="665351" y="1175511"/>
                        <a:pt x="660482" y="1185354"/>
                        <a:pt x="657004" y="1196603"/>
                      </a:cubicBezTo>
                      <a:lnTo>
                        <a:pt x="624314" y="1176214"/>
                      </a:lnTo>
                      <a:cubicBezTo>
                        <a:pt x="631269" y="1167074"/>
                        <a:pt x="636138" y="1156528"/>
                        <a:pt x="638225" y="1144576"/>
                      </a:cubicBezTo>
                      <a:close/>
                      <a:moveTo>
                        <a:pt x="511399" y="1136694"/>
                      </a:moveTo>
                      <a:cubicBezTo>
                        <a:pt x="511399" y="1148117"/>
                        <a:pt x="514259" y="1158111"/>
                        <a:pt x="519980" y="1167392"/>
                      </a:cubicBezTo>
                      <a:cubicBezTo>
                        <a:pt x="519980" y="1167392"/>
                        <a:pt x="519980" y="1167392"/>
                        <a:pt x="462774" y="1178815"/>
                      </a:cubicBezTo>
                      <a:cubicBezTo>
                        <a:pt x="462774" y="1178815"/>
                        <a:pt x="462774" y="1178815"/>
                        <a:pt x="311892" y="1208799"/>
                      </a:cubicBezTo>
                      <a:cubicBezTo>
                        <a:pt x="311892" y="1208799"/>
                        <a:pt x="311892" y="1208799"/>
                        <a:pt x="587197" y="1216652"/>
                      </a:cubicBezTo>
                      <a:cubicBezTo>
                        <a:pt x="587197" y="1216652"/>
                        <a:pt x="587197" y="1216652"/>
                        <a:pt x="653700" y="1218794"/>
                      </a:cubicBezTo>
                      <a:cubicBezTo>
                        <a:pt x="652984" y="1220936"/>
                        <a:pt x="652984" y="1223791"/>
                        <a:pt x="652984" y="1225933"/>
                      </a:cubicBezTo>
                      <a:cubicBezTo>
                        <a:pt x="652984" y="1234500"/>
                        <a:pt x="654415" y="1242353"/>
                        <a:pt x="655845" y="1250206"/>
                      </a:cubicBezTo>
                      <a:cubicBezTo>
                        <a:pt x="655845" y="1250206"/>
                        <a:pt x="655845" y="1250206"/>
                        <a:pt x="261121" y="1238070"/>
                      </a:cubicBezTo>
                      <a:cubicBezTo>
                        <a:pt x="261836" y="1233072"/>
                        <a:pt x="262552" y="1228075"/>
                        <a:pt x="262552" y="1222364"/>
                      </a:cubicBezTo>
                      <a:cubicBezTo>
                        <a:pt x="262552" y="1210227"/>
                        <a:pt x="259691" y="1198091"/>
                        <a:pt x="255401" y="1188096"/>
                      </a:cubicBezTo>
                      <a:cubicBezTo>
                        <a:pt x="255401" y="1188096"/>
                        <a:pt x="255401" y="1188096"/>
                        <a:pt x="511399" y="1136694"/>
                      </a:cubicBezTo>
                      <a:close/>
                      <a:moveTo>
                        <a:pt x="1425776" y="1125658"/>
                      </a:moveTo>
                      <a:cubicBezTo>
                        <a:pt x="1430792" y="1134999"/>
                        <a:pt x="1437958" y="1143621"/>
                        <a:pt x="1447274" y="1149369"/>
                      </a:cubicBezTo>
                      <a:cubicBezTo>
                        <a:pt x="1447274" y="1149369"/>
                        <a:pt x="1447274" y="1149369"/>
                        <a:pt x="1345515" y="1288043"/>
                      </a:cubicBezTo>
                      <a:cubicBezTo>
                        <a:pt x="1339066" y="1280139"/>
                        <a:pt x="1330466" y="1272954"/>
                        <a:pt x="1321150" y="1268643"/>
                      </a:cubicBezTo>
                      <a:cubicBezTo>
                        <a:pt x="1321150" y="1268643"/>
                        <a:pt x="1321150" y="1268643"/>
                        <a:pt x="1425776" y="1125658"/>
                      </a:cubicBezTo>
                      <a:close/>
                      <a:moveTo>
                        <a:pt x="574654" y="1103586"/>
                      </a:moveTo>
                      <a:cubicBezTo>
                        <a:pt x="592504" y="1103586"/>
                        <a:pt x="606974" y="1118056"/>
                        <a:pt x="606974" y="1135906"/>
                      </a:cubicBezTo>
                      <a:cubicBezTo>
                        <a:pt x="606974" y="1153756"/>
                        <a:pt x="592504" y="1168226"/>
                        <a:pt x="574654" y="1168226"/>
                      </a:cubicBezTo>
                      <a:cubicBezTo>
                        <a:pt x="556804" y="1168226"/>
                        <a:pt x="542334" y="1153756"/>
                        <a:pt x="542334" y="1135906"/>
                      </a:cubicBezTo>
                      <a:cubicBezTo>
                        <a:pt x="542334" y="1118056"/>
                        <a:pt x="556804" y="1103586"/>
                        <a:pt x="574654" y="1103586"/>
                      </a:cubicBezTo>
                      <a:close/>
                      <a:moveTo>
                        <a:pt x="1418628" y="1090974"/>
                      </a:moveTo>
                      <a:cubicBezTo>
                        <a:pt x="1418628" y="1093113"/>
                        <a:pt x="1418628" y="1095252"/>
                        <a:pt x="1418628" y="1097391"/>
                      </a:cubicBezTo>
                      <a:cubicBezTo>
                        <a:pt x="1418628" y="1105947"/>
                        <a:pt x="1420057" y="1114504"/>
                        <a:pt x="1423628" y="1122347"/>
                      </a:cubicBezTo>
                      <a:cubicBezTo>
                        <a:pt x="1423628" y="1122347"/>
                        <a:pt x="1423628" y="1122347"/>
                        <a:pt x="863655" y="1232864"/>
                      </a:cubicBezTo>
                      <a:cubicBezTo>
                        <a:pt x="864369" y="1230725"/>
                        <a:pt x="864369" y="1228586"/>
                        <a:pt x="864369" y="1226447"/>
                      </a:cubicBezTo>
                      <a:cubicBezTo>
                        <a:pt x="864369" y="1217891"/>
                        <a:pt x="862941" y="1209335"/>
                        <a:pt x="860798" y="1201491"/>
                      </a:cubicBezTo>
                      <a:cubicBezTo>
                        <a:pt x="860798" y="1201491"/>
                        <a:pt x="860798" y="1201491"/>
                        <a:pt x="1418628" y="1090974"/>
                      </a:cubicBezTo>
                      <a:close/>
                      <a:moveTo>
                        <a:pt x="1481171" y="1057866"/>
                      </a:moveTo>
                      <a:cubicBezTo>
                        <a:pt x="1499021" y="1057866"/>
                        <a:pt x="1513491" y="1072336"/>
                        <a:pt x="1513491" y="1090186"/>
                      </a:cubicBezTo>
                      <a:cubicBezTo>
                        <a:pt x="1513491" y="1108036"/>
                        <a:pt x="1499021" y="1122506"/>
                        <a:pt x="1481171" y="1122506"/>
                      </a:cubicBezTo>
                      <a:cubicBezTo>
                        <a:pt x="1463321" y="1122506"/>
                        <a:pt x="1448851" y="1108036"/>
                        <a:pt x="1448851" y="1090186"/>
                      </a:cubicBezTo>
                      <a:cubicBezTo>
                        <a:pt x="1448851" y="1072336"/>
                        <a:pt x="1463321" y="1057866"/>
                        <a:pt x="1481171" y="1057866"/>
                      </a:cubicBezTo>
                      <a:close/>
                      <a:moveTo>
                        <a:pt x="1309481" y="912824"/>
                      </a:moveTo>
                      <a:cubicBezTo>
                        <a:pt x="1309481" y="912824"/>
                        <a:pt x="1309481" y="912824"/>
                        <a:pt x="1350214" y="955030"/>
                      </a:cubicBezTo>
                      <a:cubicBezTo>
                        <a:pt x="1350214" y="955030"/>
                        <a:pt x="1350214" y="955030"/>
                        <a:pt x="1440969" y="1049456"/>
                      </a:cubicBezTo>
                      <a:cubicBezTo>
                        <a:pt x="1432394" y="1055895"/>
                        <a:pt x="1426677" y="1065194"/>
                        <a:pt x="1422389" y="1075209"/>
                      </a:cubicBezTo>
                      <a:cubicBezTo>
                        <a:pt x="1422389" y="1075209"/>
                        <a:pt x="1422389" y="1075209"/>
                        <a:pt x="1405953" y="1058041"/>
                      </a:cubicBezTo>
                      <a:cubicBezTo>
                        <a:pt x="1405953" y="1058041"/>
                        <a:pt x="1405953" y="1058041"/>
                        <a:pt x="1288043" y="935715"/>
                      </a:cubicBezTo>
                      <a:cubicBezTo>
                        <a:pt x="1296619" y="929277"/>
                        <a:pt x="1303765" y="922124"/>
                        <a:pt x="1309481" y="912824"/>
                      </a:cubicBezTo>
                      <a:close/>
                      <a:moveTo>
                        <a:pt x="1156730" y="900211"/>
                      </a:moveTo>
                      <a:cubicBezTo>
                        <a:pt x="1161002" y="910233"/>
                        <a:pt x="1167411" y="918824"/>
                        <a:pt x="1174532" y="926699"/>
                      </a:cubicBezTo>
                      <a:lnTo>
                        <a:pt x="853375" y="1180837"/>
                      </a:lnTo>
                      <a:cubicBezTo>
                        <a:pt x="848391" y="1170815"/>
                        <a:pt x="842694" y="1162224"/>
                        <a:pt x="835573" y="1154349"/>
                      </a:cubicBezTo>
                      <a:cubicBezTo>
                        <a:pt x="835573" y="1154349"/>
                        <a:pt x="835573" y="1154349"/>
                        <a:pt x="1156730" y="900211"/>
                      </a:cubicBezTo>
                      <a:close/>
                      <a:moveTo>
                        <a:pt x="60723" y="816653"/>
                      </a:moveTo>
                      <a:lnTo>
                        <a:pt x="163962" y="1137717"/>
                      </a:lnTo>
                      <a:cubicBezTo>
                        <a:pt x="153282" y="1139147"/>
                        <a:pt x="143314" y="1142723"/>
                        <a:pt x="134058" y="1147728"/>
                      </a:cubicBezTo>
                      <a:cubicBezTo>
                        <a:pt x="134058" y="1147728"/>
                        <a:pt x="134058" y="1147728"/>
                        <a:pt x="31531" y="828809"/>
                      </a:cubicBezTo>
                      <a:cubicBezTo>
                        <a:pt x="42211" y="827379"/>
                        <a:pt x="52179" y="823089"/>
                        <a:pt x="60723" y="816653"/>
                      </a:cubicBezTo>
                      <a:close/>
                      <a:moveTo>
                        <a:pt x="1235519" y="809523"/>
                      </a:moveTo>
                      <a:cubicBezTo>
                        <a:pt x="1265994" y="809523"/>
                        <a:pt x="1290699" y="834228"/>
                        <a:pt x="1290699" y="864703"/>
                      </a:cubicBezTo>
                      <a:cubicBezTo>
                        <a:pt x="1290699" y="895178"/>
                        <a:pt x="1265994" y="919883"/>
                        <a:pt x="1235519" y="919883"/>
                      </a:cubicBezTo>
                      <a:cubicBezTo>
                        <a:pt x="1205044" y="919883"/>
                        <a:pt x="1180339" y="895178"/>
                        <a:pt x="1180339" y="864703"/>
                      </a:cubicBezTo>
                      <a:cubicBezTo>
                        <a:pt x="1180339" y="834228"/>
                        <a:pt x="1205044" y="809523"/>
                        <a:pt x="1235519" y="809523"/>
                      </a:cubicBezTo>
                      <a:close/>
                      <a:moveTo>
                        <a:pt x="1513560" y="797735"/>
                      </a:moveTo>
                      <a:cubicBezTo>
                        <a:pt x="1522099" y="803454"/>
                        <a:pt x="1532060" y="807029"/>
                        <a:pt x="1543445" y="807744"/>
                      </a:cubicBezTo>
                      <a:cubicBezTo>
                        <a:pt x="1543445" y="807744"/>
                        <a:pt x="1543445" y="807744"/>
                        <a:pt x="1495060" y="1034365"/>
                      </a:cubicBezTo>
                      <a:cubicBezTo>
                        <a:pt x="1490791" y="1033650"/>
                        <a:pt x="1486521" y="1032936"/>
                        <a:pt x="1482252" y="1032936"/>
                      </a:cubicBezTo>
                      <a:cubicBezTo>
                        <a:pt x="1475137" y="1032936"/>
                        <a:pt x="1468733" y="1034365"/>
                        <a:pt x="1463040" y="1035795"/>
                      </a:cubicBezTo>
                      <a:cubicBezTo>
                        <a:pt x="1463040" y="1035795"/>
                        <a:pt x="1463040" y="1035795"/>
                        <a:pt x="1513560" y="797735"/>
                      </a:cubicBezTo>
                      <a:close/>
                      <a:moveTo>
                        <a:pt x="79652" y="783547"/>
                      </a:moveTo>
                      <a:cubicBezTo>
                        <a:pt x="79652" y="783547"/>
                        <a:pt x="79652" y="783547"/>
                        <a:pt x="540758" y="1081849"/>
                      </a:cubicBezTo>
                      <a:cubicBezTo>
                        <a:pt x="530749" y="1088287"/>
                        <a:pt x="522885" y="1096872"/>
                        <a:pt x="517166" y="1108317"/>
                      </a:cubicBezTo>
                      <a:lnTo>
                        <a:pt x="64639" y="811446"/>
                      </a:lnTo>
                      <a:cubicBezTo>
                        <a:pt x="72503" y="803577"/>
                        <a:pt x="77507" y="794277"/>
                        <a:pt x="79652" y="783547"/>
                      </a:cubicBezTo>
                      <a:close/>
                      <a:moveTo>
                        <a:pt x="1485399" y="752016"/>
                      </a:moveTo>
                      <a:cubicBezTo>
                        <a:pt x="1486116" y="762749"/>
                        <a:pt x="1490415" y="772766"/>
                        <a:pt x="1496148" y="781352"/>
                      </a:cubicBezTo>
                      <a:cubicBezTo>
                        <a:pt x="1496148" y="781352"/>
                        <a:pt x="1496148" y="781352"/>
                        <a:pt x="1319860" y="845033"/>
                      </a:cubicBezTo>
                      <a:cubicBezTo>
                        <a:pt x="1317711" y="834300"/>
                        <a:pt x="1312694" y="824999"/>
                        <a:pt x="1306961" y="816413"/>
                      </a:cubicBezTo>
                      <a:cubicBezTo>
                        <a:pt x="1306961" y="816413"/>
                        <a:pt x="1306961" y="816413"/>
                        <a:pt x="1485399" y="752016"/>
                      </a:cubicBezTo>
                      <a:close/>
                      <a:moveTo>
                        <a:pt x="24437" y="748862"/>
                      </a:moveTo>
                      <a:cubicBezTo>
                        <a:pt x="37933" y="748862"/>
                        <a:pt x="48874" y="759803"/>
                        <a:pt x="48874" y="773299"/>
                      </a:cubicBezTo>
                      <a:cubicBezTo>
                        <a:pt x="48874" y="786795"/>
                        <a:pt x="37933" y="797736"/>
                        <a:pt x="24437" y="797736"/>
                      </a:cubicBezTo>
                      <a:cubicBezTo>
                        <a:pt x="10941" y="797736"/>
                        <a:pt x="0" y="786795"/>
                        <a:pt x="0" y="773299"/>
                      </a:cubicBezTo>
                      <a:cubicBezTo>
                        <a:pt x="0" y="759803"/>
                        <a:pt x="10941" y="748862"/>
                        <a:pt x="24437" y="748862"/>
                      </a:cubicBezTo>
                      <a:close/>
                      <a:moveTo>
                        <a:pt x="578713" y="722060"/>
                      </a:moveTo>
                      <a:cubicBezTo>
                        <a:pt x="578713" y="722060"/>
                        <a:pt x="578713" y="722060"/>
                        <a:pt x="655330" y="927666"/>
                      </a:cubicBezTo>
                      <a:cubicBezTo>
                        <a:pt x="655330" y="927666"/>
                        <a:pt x="655330" y="927666"/>
                        <a:pt x="728366" y="1125420"/>
                      </a:cubicBezTo>
                      <a:cubicBezTo>
                        <a:pt x="718341" y="1128275"/>
                        <a:pt x="709033" y="1132559"/>
                        <a:pt x="699724" y="1138270"/>
                      </a:cubicBezTo>
                      <a:cubicBezTo>
                        <a:pt x="699724" y="1138270"/>
                        <a:pt x="699724" y="1138270"/>
                        <a:pt x="548640" y="732055"/>
                      </a:cubicBezTo>
                      <a:cubicBezTo>
                        <a:pt x="560096" y="731341"/>
                        <a:pt x="570121" y="727771"/>
                        <a:pt x="578713" y="722060"/>
                      </a:cubicBezTo>
                      <a:close/>
                      <a:moveTo>
                        <a:pt x="1547677" y="711777"/>
                      </a:moveTo>
                      <a:cubicBezTo>
                        <a:pt x="1565091" y="711777"/>
                        <a:pt x="1579208" y="726247"/>
                        <a:pt x="1579208" y="744097"/>
                      </a:cubicBezTo>
                      <a:cubicBezTo>
                        <a:pt x="1579208" y="761947"/>
                        <a:pt x="1565091" y="776417"/>
                        <a:pt x="1547677" y="776417"/>
                      </a:cubicBezTo>
                      <a:cubicBezTo>
                        <a:pt x="1530263" y="776417"/>
                        <a:pt x="1516146" y="761947"/>
                        <a:pt x="1516146" y="744097"/>
                      </a:cubicBezTo>
                      <a:cubicBezTo>
                        <a:pt x="1516146" y="726247"/>
                        <a:pt x="1530263" y="711777"/>
                        <a:pt x="1547677" y="711777"/>
                      </a:cubicBezTo>
                      <a:close/>
                      <a:moveTo>
                        <a:pt x="607527" y="673188"/>
                      </a:moveTo>
                      <a:cubicBezTo>
                        <a:pt x="607527" y="673188"/>
                        <a:pt x="607527" y="673188"/>
                        <a:pt x="1161918" y="822961"/>
                      </a:cubicBezTo>
                      <a:cubicBezTo>
                        <a:pt x="1156195" y="832277"/>
                        <a:pt x="1152619" y="843026"/>
                        <a:pt x="1151188" y="854492"/>
                      </a:cubicBezTo>
                      <a:cubicBezTo>
                        <a:pt x="1151188" y="854492"/>
                        <a:pt x="1151188" y="854492"/>
                        <a:pt x="597512" y="703286"/>
                      </a:cubicBezTo>
                      <a:cubicBezTo>
                        <a:pt x="603234" y="693970"/>
                        <a:pt x="606811" y="683937"/>
                        <a:pt x="607527" y="673188"/>
                      </a:cubicBezTo>
                      <a:close/>
                      <a:moveTo>
                        <a:pt x="481567" y="668458"/>
                      </a:moveTo>
                      <a:cubicBezTo>
                        <a:pt x="481567" y="668458"/>
                        <a:pt x="481567" y="668458"/>
                        <a:pt x="481567" y="669167"/>
                      </a:cubicBezTo>
                      <a:cubicBezTo>
                        <a:pt x="481567" y="679801"/>
                        <a:pt x="484433" y="689726"/>
                        <a:pt x="488731" y="698233"/>
                      </a:cubicBezTo>
                      <a:cubicBezTo>
                        <a:pt x="488731" y="698233"/>
                        <a:pt x="488731" y="698233"/>
                        <a:pt x="80401" y="774088"/>
                      </a:cubicBezTo>
                      <a:cubicBezTo>
                        <a:pt x="80401" y="773379"/>
                        <a:pt x="80401" y="773379"/>
                        <a:pt x="80401" y="772670"/>
                      </a:cubicBezTo>
                      <a:cubicBezTo>
                        <a:pt x="80401" y="762036"/>
                        <a:pt x="77535" y="752111"/>
                        <a:pt x="72521" y="744313"/>
                      </a:cubicBezTo>
                      <a:cubicBezTo>
                        <a:pt x="72521" y="744313"/>
                        <a:pt x="72521" y="744313"/>
                        <a:pt x="481567" y="668458"/>
                      </a:cubicBezTo>
                      <a:close/>
                      <a:moveTo>
                        <a:pt x="544699" y="636927"/>
                      </a:moveTo>
                      <a:cubicBezTo>
                        <a:pt x="562549" y="636927"/>
                        <a:pt x="577019" y="651397"/>
                        <a:pt x="577019" y="669247"/>
                      </a:cubicBezTo>
                      <a:cubicBezTo>
                        <a:pt x="577019" y="687097"/>
                        <a:pt x="562549" y="701567"/>
                        <a:pt x="544699" y="701567"/>
                      </a:cubicBezTo>
                      <a:cubicBezTo>
                        <a:pt x="526849" y="701567"/>
                        <a:pt x="512379" y="687097"/>
                        <a:pt x="512379" y="669247"/>
                      </a:cubicBezTo>
                      <a:cubicBezTo>
                        <a:pt x="512379" y="651397"/>
                        <a:pt x="526849" y="636927"/>
                        <a:pt x="544699" y="636927"/>
                      </a:cubicBezTo>
                      <a:close/>
                      <a:moveTo>
                        <a:pt x="106317" y="447740"/>
                      </a:moveTo>
                      <a:cubicBezTo>
                        <a:pt x="114127" y="454200"/>
                        <a:pt x="124066" y="459224"/>
                        <a:pt x="134006" y="462094"/>
                      </a:cubicBezTo>
                      <a:lnTo>
                        <a:pt x="56619" y="728366"/>
                      </a:lnTo>
                      <a:cubicBezTo>
                        <a:pt x="48100" y="721907"/>
                        <a:pt x="38160" y="718318"/>
                        <a:pt x="26801" y="718318"/>
                      </a:cubicBezTo>
                      <a:cubicBezTo>
                        <a:pt x="26801" y="718318"/>
                        <a:pt x="26801" y="718318"/>
                        <a:pt x="106317" y="447740"/>
                      </a:cubicBezTo>
                      <a:close/>
                      <a:moveTo>
                        <a:pt x="235307" y="419363"/>
                      </a:moveTo>
                      <a:cubicBezTo>
                        <a:pt x="235307" y="419363"/>
                        <a:pt x="235307" y="419363"/>
                        <a:pt x="502921" y="620685"/>
                      </a:cubicBezTo>
                      <a:cubicBezTo>
                        <a:pt x="495050" y="627825"/>
                        <a:pt x="488610" y="636391"/>
                        <a:pt x="485032" y="646386"/>
                      </a:cubicBezTo>
                      <a:cubicBezTo>
                        <a:pt x="485032" y="646386"/>
                        <a:pt x="485032" y="646386"/>
                        <a:pt x="298991" y="506460"/>
                      </a:cubicBezTo>
                      <a:cubicBezTo>
                        <a:pt x="298991" y="506460"/>
                        <a:pt x="298991" y="506460"/>
                        <a:pt x="215988" y="444350"/>
                      </a:cubicBezTo>
                      <a:cubicBezTo>
                        <a:pt x="223859" y="437211"/>
                        <a:pt x="230299" y="428644"/>
                        <a:pt x="235307" y="419363"/>
                      </a:cubicBezTo>
                      <a:close/>
                      <a:moveTo>
                        <a:pt x="1349479" y="406750"/>
                      </a:moveTo>
                      <a:cubicBezTo>
                        <a:pt x="1358766" y="411740"/>
                        <a:pt x="1368768" y="414591"/>
                        <a:pt x="1379483" y="416017"/>
                      </a:cubicBezTo>
                      <a:cubicBezTo>
                        <a:pt x="1379483" y="416017"/>
                        <a:pt x="1379483" y="416017"/>
                        <a:pt x="1273041" y="786699"/>
                      </a:cubicBezTo>
                      <a:cubicBezTo>
                        <a:pt x="1263754" y="782422"/>
                        <a:pt x="1253038" y="780283"/>
                        <a:pt x="1242322" y="779571"/>
                      </a:cubicBezTo>
                      <a:cubicBezTo>
                        <a:pt x="1242322" y="779571"/>
                        <a:pt x="1242322" y="779571"/>
                        <a:pt x="1349479" y="406750"/>
                      </a:cubicBezTo>
                      <a:close/>
                      <a:moveTo>
                        <a:pt x="1437959" y="405174"/>
                      </a:moveTo>
                      <a:cubicBezTo>
                        <a:pt x="1437959" y="405174"/>
                        <a:pt x="1437959" y="405174"/>
                        <a:pt x="1533985" y="683394"/>
                      </a:cubicBezTo>
                      <a:cubicBezTo>
                        <a:pt x="1523236" y="685539"/>
                        <a:pt x="1513203" y="691261"/>
                        <a:pt x="1505321" y="698413"/>
                      </a:cubicBezTo>
                      <a:cubicBezTo>
                        <a:pt x="1505321" y="698413"/>
                        <a:pt x="1505321" y="698413"/>
                        <a:pt x="1407861" y="415187"/>
                      </a:cubicBezTo>
                      <a:cubicBezTo>
                        <a:pt x="1418610" y="413042"/>
                        <a:pt x="1428643" y="409465"/>
                        <a:pt x="1437959" y="405174"/>
                      </a:cubicBezTo>
                      <a:close/>
                      <a:moveTo>
                        <a:pt x="1038355" y="340535"/>
                      </a:moveTo>
                      <a:cubicBezTo>
                        <a:pt x="1038355" y="340535"/>
                        <a:pt x="1038355" y="340535"/>
                        <a:pt x="1220251" y="781587"/>
                      </a:cubicBezTo>
                      <a:cubicBezTo>
                        <a:pt x="1209509" y="783015"/>
                        <a:pt x="1199484" y="787297"/>
                        <a:pt x="1190890" y="793006"/>
                      </a:cubicBezTo>
                      <a:lnTo>
                        <a:pt x="1063419" y="484698"/>
                      </a:lnTo>
                      <a:cubicBezTo>
                        <a:pt x="1063419" y="484698"/>
                        <a:pt x="1063419" y="484698"/>
                        <a:pt x="1008993" y="352668"/>
                      </a:cubicBezTo>
                      <a:cubicBezTo>
                        <a:pt x="1019735" y="350527"/>
                        <a:pt x="1029760" y="346245"/>
                        <a:pt x="1038355" y="340535"/>
                      </a:cubicBezTo>
                      <a:close/>
                      <a:moveTo>
                        <a:pt x="159232" y="324770"/>
                      </a:moveTo>
                      <a:cubicBezTo>
                        <a:pt x="189707" y="324770"/>
                        <a:pt x="214412" y="349475"/>
                        <a:pt x="214412" y="379950"/>
                      </a:cubicBezTo>
                      <a:cubicBezTo>
                        <a:pt x="214412" y="410425"/>
                        <a:pt x="189707" y="435130"/>
                        <a:pt x="159232" y="435130"/>
                      </a:cubicBezTo>
                      <a:cubicBezTo>
                        <a:pt x="128757" y="435130"/>
                        <a:pt x="104052" y="410425"/>
                        <a:pt x="104052" y="379950"/>
                      </a:cubicBezTo>
                      <a:cubicBezTo>
                        <a:pt x="104052" y="349475"/>
                        <a:pt x="128757" y="324770"/>
                        <a:pt x="159232" y="324770"/>
                      </a:cubicBezTo>
                      <a:close/>
                      <a:moveTo>
                        <a:pt x="910703" y="302698"/>
                      </a:moveTo>
                      <a:cubicBezTo>
                        <a:pt x="914995" y="312684"/>
                        <a:pt x="921434" y="321243"/>
                        <a:pt x="928589" y="329090"/>
                      </a:cubicBezTo>
                      <a:lnTo>
                        <a:pt x="600918" y="640080"/>
                      </a:lnTo>
                      <a:cubicBezTo>
                        <a:pt x="595910" y="630807"/>
                        <a:pt x="588756" y="622961"/>
                        <a:pt x="580171" y="616542"/>
                      </a:cubicBezTo>
                      <a:cubicBezTo>
                        <a:pt x="580171" y="616542"/>
                        <a:pt x="580171" y="616542"/>
                        <a:pt x="910703" y="302698"/>
                      </a:cubicBezTo>
                      <a:close/>
                      <a:moveTo>
                        <a:pt x="528145" y="301121"/>
                      </a:moveTo>
                      <a:cubicBezTo>
                        <a:pt x="533878" y="302547"/>
                        <a:pt x="540327" y="303973"/>
                        <a:pt x="547493" y="303973"/>
                      </a:cubicBezTo>
                      <a:cubicBezTo>
                        <a:pt x="551076" y="303973"/>
                        <a:pt x="555376" y="303260"/>
                        <a:pt x="559676" y="302547"/>
                      </a:cubicBezTo>
                      <a:cubicBezTo>
                        <a:pt x="559676" y="302547"/>
                        <a:pt x="559676" y="302547"/>
                        <a:pt x="559676" y="606972"/>
                      </a:cubicBezTo>
                      <a:cubicBezTo>
                        <a:pt x="554659" y="605546"/>
                        <a:pt x="548927" y="604833"/>
                        <a:pt x="543910" y="604833"/>
                      </a:cubicBezTo>
                      <a:cubicBezTo>
                        <a:pt x="538177" y="604833"/>
                        <a:pt x="533161" y="605546"/>
                        <a:pt x="528145" y="606972"/>
                      </a:cubicBezTo>
                      <a:cubicBezTo>
                        <a:pt x="528145" y="606972"/>
                        <a:pt x="528145" y="606972"/>
                        <a:pt x="528145" y="301121"/>
                      </a:cubicBezTo>
                      <a:close/>
                      <a:moveTo>
                        <a:pt x="1391598" y="256154"/>
                      </a:moveTo>
                      <a:cubicBezTo>
                        <a:pt x="1427297" y="256154"/>
                        <a:pt x="1456237" y="285094"/>
                        <a:pt x="1456237" y="320793"/>
                      </a:cubicBezTo>
                      <a:cubicBezTo>
                        <a:pt x="1456237" y="356492"/>
                        <a:pt x="1427297" y="385432"/>
                        <a:pt x="1391598" y="385432"/>
                      </a:cubicBezTo>
                      <a:cubicBezTo>
                        <a:pt x="1355899" y="385432"/>
                        <a:pt x="1326959" y="356492"/>
                        <a:pt x="1326959" y="320793"/>
                      </a:cubicBezTo>
                      <a:cubicBezTo>
                        <a:pt x="1326959" y="285094"/>
                        <a:pt x="1355899" y="256154"/>
                        <a:pt x="1391598" y="256154"/>
                      </a:cubicBezTo>
                      <a:close/>
                      <a:moveTo>
                        <a:pt x="1075209" y="250672"/>
                      </a:moveTo>
                      <a:cubicBezTo>
                        <a:pt x="1075209" y="250672"/>
                        <a:pt x="1075209" y="250672"/>
                        <a:pt x="1302232" y="287066"/>
                      </a:cubicBezTo>
                      <a:cubicBezTo>
                        <a:pt x="1298674" y="297056"/>
                        <a:pt x="1296539" y="307760"/>
                        <a:pt x="1295827" y="318464"/>
                      </a:cubicBezTo>
                      <a:lnTo>
                        <a:pt x="1075921" y="282784"/>
                      </a:lnTo>
                      <a:cubicBezTo>
                        <a:pt x="1076633" y="277789"/>
                        <a:pt x="1077344" y="272794"/>
                        <a:pt x="1077344" y="268512"/>
                      </a:cubicBezTo>
                      <a:cubicBezTo>
                        <a:pt x="1077344" y="262090"/>
                        <a:pt x="1076633" y="256381"/>
                        <a:pt x="1075209" y="250672"/>
                      </a:cubicBezTo>
                      <a:close/>
                      <a:moveTo>
                        <a:pt x="990074" y="212835"/>
                      </a:moveTo>
                      <a:cubicBezTo>
                        <a:pt x="1020549" y="212835"/>
                        <a:pt x="1045254" y="237540"/>
                        <a:pt x="1045254" y="268015"/>
                      </a:cubicBezTo>
                      <a:cubicBezTo>
                        <a:pt x="1045254" y="298490"/>
                        <a:pt x="1020549" y="323195"/>
                        <a:pt x="990074" y="323195"/>
                      </a:cubicBezTo>
                      <a:cubicBezTo>
                        <a:pt x="959599" y="323195"/>
                        <a:pt x="934894" y="298490"/>
                        <a:pt x="934894" y="268015"/>
                      </a:cubicBezTo>
                      <a:cubicBezTo>
                        <a:pt x="934894" y="237540"/>
                        <a:pt x="959599" y="212835"/>
                        <a:pt x="990074" y="212835"/>
                      </a:cubicBezTo>
                      <a:close/>
                      <a:moveTo>
                        <a:pt x="547852" y="208105"/>
                      </a:moveTo>
                      <a:cubicBezTo>
                        <a:pt x="565702" y="208105"/>
                        <a:pt x="580172" y="222575"/>
                        <a:pt x="580172" y="240425"/>
                      </a:cubicBezTo>
                      <a:cubicBezTo>
                        <a:pt x="580172" y="258275"/>
                        <a:pt x="565702" y="272745"/>
                        <a:pt x="547852" y="272745"/>
                      </a:cubicBezTo>
                      <a:cubicBezTo>
                        <a:pt x="530002" y="272745"/>
                        <a:pt x="515532" y="258275"/>
                        <a:pt x="515532" y="240425"/>
                      </a:cubicBezTo>
                      <a:cubicBezTo>
                        <a:pt x="515532" y="222575"/>
                        <a:pt x="530002" y="208105"/>
                        <a:pt x="547852" y="208105"/>
                      </a:cubicBezTo>
                      <a:close/>
                      <a:moveTo>
                        <a:pt x="578955" y="85134"/>
                      </a:moveTo>
                      <a:cubicBezTo>
                        <a:pt x="587616" y="90810"/>
                        <a:pt x="597721" y="94357"/>
                        <a:pt x="608548" y="95776"/>
                      </a:cubicBezTo>
                      <a:cubicBezTo>
                        <a:pt x="608548" y="95776"/>
                        <a:pt x="608548" y="95776"/>
                        <a:pt x="603495" y="112803"/>
                      </a:cubicBezTo>
                      <a:cubicBezTo>
                        <a:pt x="603495" y="112803"/>
                        <a:pt x="603495" y="112803"/>
                        <a:pt x="578955" y="184457"/>
                      </a:cubicBezTo>
                      <a:cubicBezTo>
                        <a:pt x="570293" y="179491"/>
                        <a:pt x="559466" y="176653"/>
                        <a:pt x="548640" y="176653"/>
                      </a:cubicBezTo>
                      <a:cubicBezTo>
                        <a:pt x="548640" y="176653"/>
                        <a:pt x="548640" y="176653"/>
                        <a:pt x="578955" y="85134"/>
                      </a:cubicBezTo>
                      <a:close/>
                      <a:moveTo>
                        <a:pt x="1053462" y="67792"/>
                      </a:moveTo>
                      <a:cubicBezTo>
                        <a:pt x="1053462" y="67792"/>
                        <a:pt x="1053462" y="67792"/>
                        <a:pt x="1324303" y="253270"/>
                      </a:cubicBezTo>
                      <a:cubicBezTo>
                        <a:pt x="1317176" y="261148"/>
                        <a:pt x="1310761" y="269741"/>
                        <a:pt x="1305772" y="279051"/>
                      </a:cubicBezTo>
                      <a:cubicBezTo>
                        <a:pt x="1305772" y="279051"/>
                        <a:pt x="1305772" y="279051"/>
                        <a:pt x="1034218" y="92857"/>
                      </a:cubicBezTo>
                      <a:cubicBezTo>
                        <a:pt x="1042771" y="86412"/>
                        <a:pt x="1049186" y="77818"/>
                        <a:pt x="1053462" y="67792"/>
                      </a:cubicBezTo>
                      <a:close/>
                      <a:moveTo>
                        <a:pt x="556815" y="56755"/>
                      </a:moveTo>
                      <a:cubicBezTo>
                        <a:pt x="560397" y="66764"/>
                        <a:pt x="567560" y="75343"/>
                        <a:pt x="575440" y="81777"/>
                      </a:cubicBezTo>
                      <a:cubicBezTo>
                        <a:pt x="575440" y="81777"/>
                        <a:pt x="575440" y="81777"/>
                        <a:pt x="236613" y="324844"/>
                      </a:cubicBezTo>
                      <a:cubicBezTo>
                        <a:pt x="236613" y="324844"/>
                        <a:pt x="236613" y="324844"/>
                        <a:pt x="484465" y="243345"/>
                      </a:cubicBezTo>
                      <a:cubicBezTo>
                        <a:pt x="485181" y="254069"/>
                        <a:pt x="488047" y="264792"/>
                        <a:pt x="493777" y="273371"/>
                      </a:cubicBezTo>
                      <a:cubicBezTo>
                        <a:pt x="493777" y="273371"/>
                        <a:pt x="493777" y="273371"/>
                        <a:pt x="241627" y="356300"/>
                      </a:cubicBezTo>
                      <a:cubicBezTo>
                        <a:pt x="235897" y="336283"/>
                        <a:pt x="223002" y="319125"/>
                        <a:pt x="206527" y="307687"/>
                      </a:cubicBezTo>
                      <a:cubicBezTo>
                        <a:pt x="206527" y="307687"/>
                        <a:pt x="206527" y="307687"/>
                        <a:pt x="556815" y="56755"/>
                      </a:cubicBezTo>
                      <a:close/>
                      <a:moveTo>
                        <a:pt x="677313" y="23648"/>
                      </a:moveTo>
                      <a:cubicBezTo>
                        <a:pt x="677313" y="23648"/>
                        <a:pt x="677313" y="23648"/>
                        <a:pt x="932392" y="29340"/>
                      </a:cubicBezTo>
                      <a:cubicBezTo>
                        <a:pt x="931680" y="33609"/>
                        <a:pt x="930967" y="37879"/>
                        <a:pt x="930967" y="42148"/>
                      </a:cubicBezTo>
                      <a:cubicBezTo>
                        <a:pt x="930967" y="57802"/>
                        <a:pt x="936667" y="72745"/>
                        <a:pt x="945930" y="83418"/>
                      </a:cubicBezTo>
                      <a:cubicBezTo>
                        <a:pt x="945930" y="83418"/>
                        <a:pt x="945930" y="83418"/>
                        <a:pt x="616037" y="225726"/>
                      </a:cubicBezTo>
                      <a:cubicBezTo>
                        <a:pt x="616037" y="225726"/>
                        <a:pt x="616037" y="225726"/>
                        <a:pt x="909592" y="234265"/>
                      </a:cubicBezTo>
                      <a:cubicBezTo>
                        <a:pt x="906029" y="243515"/>
                        <a:pt x="903179" y="254188"/>
                        <a:pt x="903179" y="264861"/>
                      </a:cubicBezTo>
                      <a:cubicBezTo>
                        <a:pt x="903179" y="264861"/>
                        <a:pt x="903179" y="264861"/>
                        <a:pt x="608912" y="257034"/>
                      </a:cubicBezTo>
                      <a:cubicBezTo>
                        <a:pt x="611049" y="251342"/>
                        <a:pt x="611762" y="245649"/>
                        <a:pt x="611762" y="239957"/>
                      </a:cubicBezTo>
                      <a:cubicBezTo>
                        <a:pt x="611762" y="225015"/>
                        <a:pt x="606062" y="210784"/>
                        <a:pt x="597512" y="200111"/>
                      </a:cubicBezTo>
                      <a:cubicBezTo>
                        <a:pt x="597512" y="200111"/>
                        <a:pt x="597512" y="200111"/>
                        <a:pt x="920992" y="59937"/>
                      </a:cubicBezTo>
                      <a:lnTo>
                        <a:pt x="674463" y="54956"/>
                      </a:lnTo>
                      <a:cubicBezTo>
                        <a:pt x="676601" y="47840"/>
                        <a:pt x="678026" y="40013"/>
                        <a:pt x="678026" y="32186"/>
                      </a:cubicBezTo>
                      <a:cubicBezTo>
                        <a:pt x="678026" y="29340"/>
                        <a:pt x="678026" y="26494"/>
                        <a:pt x="677313" y="23648"/>
                      </a:cubicBezTo>
                      <a:close/>
                      <a:moveTo>
                        <a:pt x="995592" y="11037"/>
                      </a:moveTo>
                      <a:cubicBezTo>
                        <a:pt x="1013442" y="11037"/>
                        <a:pt x="1027912" y="25154"/>
                        <a:pt x="1027912" y="42568"/>
                      </a:cubicBezTo>
                      <a:cubicBezTo>
                        <a:pt x="1027912" y="59982"/>
                        <a:pt x="1013442" y="74099"/>
                        <a:pt x="995592" y="74099"/>
                      </a:cubicBezTo>
                      <a:cubicBezTo>
                        <a:pt x="977742" y="74099"/>
                        <a:pt x="963272" y="59982"/>
                        <a:pt x="963272" y="42568"/>
                      </a:cubicBezTo>
                      <a:cubicBezTo>
                        <a:pt x="963272" y="25154"/>
                        <a:pt x="977742" y="11037"/>
                        <a:pt x="995592" y="11037"/>
                      </a:cubicBezTo>
                      <a:close/>
                      <a:moveTo>
                        <a:pt x="614067" y="0"/>
                      </a:moveTo>
                      <a:cubicBezTo>
                        <a:pt x="631917" y="0"/>
                        <a:pt x="646387" y="14470"/>
                        <a:pt x="646387" y="32320"/>
                      </a:cubicBezTo>
                      <a:cubicBezTo>
                        <a:pt x="646387" y="50170"/>
                        <a:pt x="631917" y="64640"/>
                        <a:pt x="614067" y="64640"/>
                      </a:cubicBezTo>
                      <a:cubicBezTo>
                        <a:pt x="596217" y="64640"/>
                        <a:pt x="581747" y="50170"/>
                        <a:pt x="581747" y="32320"/>
                      </a:cubicBezTo>
                      <a:cubicBezTo>
                        <a:pt x="581747" y="14470"/>
                        <a:pt x="596217" y="0"/>
                        <a:pt x="614067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924CC346-C3EE-4C5C-BB72-07127AEDE29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210413" y="4729226"/>
                <a:ext cx="844780" cy="843965"/>
                <a:chOff x="5272881" y="2606675"/>
                <a:chExt cx="1646238" cy="1644650"/>
              </a:xfrm>
            </p:grpSpPr>
            <p:sp>
              <p:nvSpPr>
                <p:cNvPr id="118" name="AutoShape 3">
                  <a:extLst>
                    <a:ext uri="{FF2B5EF4-FFF2-40B4-BE49-F238E27FC236}">
                      <a16:creationId xmlns:a16="http://schemas.microsoft.com/office/drawing/2014/main" id="{3ABEC92C-81EB-4721-8C75-F4DF558A224D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2881" y="2606675"/>
                  <a:ext cx="1646238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Freeform 171">
                  <a:extLst>
                    <a:ext uri="{FF2B5EF4-FFF2-40B4-BE49-F238E27FC236}">
                      <a16:creationId xmlns:a16="http://schemas.microsoft.com/office/drawing/2014/main" id="{3F20CFB4-9B65-4D42-A77D-F28345B78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1976" y="2776537"/>
                  <a:ext cx="1369800" cy="1303338"/>
                </a:xfrm>
                <a:custGeom>
                  <a:avLst/>
                  <a:gdLst>
                    <a:gd name="connsiteX0" fmla="*/ 1103167 w 1369800"/>
                    <a:gd name="connsiteY0" fmla="*/ 1027113 h 1303338"/>
                    <a:gd name="connsiteX1" fmla="*/ 1061055 w 1369800"/>
                    <a:gd name="connsiteY1" fmla="*/ 1079144 h 1303338"/>
                    <a:gd name="connsiteX2" fmla="*/ 1294455 w 1369800"/>
                    <a:gd name="connsiteY2" fmla="*/ 1271588 h 1303338"/>
                    <a:gd name="connsiteX3" fmla="*/ 1320150 w 1369800"/>
                    <a:gd name="connsiteY3" fmla="*/ 1250918 h 1303338"/>
                    <a:gd name="connsiteX4" fmla="*/ 1320864 w 1369800"/>
                    <a:gd name="connsiteY4" fmla="*/ 1250205 h 1303338"/>
                    <a:gd name="connsiteX5" fmla="*/ 1321578 w 1369800"/>
                    <a:gd name="connsiteY5" fmla="*/ 1249493 h 1303338"/>
                    <a:gd name="connsiteX6" fmla="*/ 1337280 w 1369800"/>
                    <a:gd name="connsiteY6" fmla="*/ 1220270 h 1303338"/>
                    <a:gd name="connsiteX7" fmla="*/ 1103167 w 1369800"/>
                    <a:gd name="connsiteY7" fmla="*/ 1027113 h 1303338"/>
                    <a:gd name="connsiteX8" fmla="*/ 1099604 w 1369800"/>
                    <a:gd name="connsiteY8" fmla="*/ 988073 h 1303338"/>
                    <a:gd name="connsiteX9" fmla="*/ 1110985 w 1369800"/>
                    <a:gd name="connsiteY9" fmla="*/ 991559 h 1303338"/>
                    <a:gd name="connsiteX10" fmla="*/ 1361913 w 1369800"/>
                    <a:gd name="connsiteY10" fmla="*/ 1198220 h 1303338"/>
                    <a:gd name="connsiteX11" fmla="*/ 1346140 w 1369800"/>
                    <a:gd name="connsiteY11" fmla="*/ 1269729 h 1303338"/>
                    <a:gd name="connsiteX12" fmla="*/ 1293087 w 1369800"/>
                    <a:gd name="connsiteY12" fmla="*/ 1303338 h 1303338"/>
                    <a:gd name="connsiteX13" fmla="*/ 1278748 w 1369800"/>
                    <a:gd name="connsiteY13" fmla="*/ 1299048 h 1303338"/>
                    <a:gd name="connsiteX14" fmla="*/ 1028538 w 1369800"/>
                    <a:gd name="connsiteY14" fmla="*/ 1092387 h 1303338"/>
                    <a:gd name="connsiteX15" fmla="*/ 1026387 w 1369800"/>
                    <a:gd name="connsiteY15" fmla="*/ 1070219 h 1303338"/>
                    <a:gd name="connsiteX16" fmla="*/ 1088760 w 1369800"/>
                    <a:gd name="connsiteY16" fmla="*/ 993704 h 1303338"/>
                    <a:gd name="connsiteX17" fmla="*/ 1099604 w 1369800"/>
                    <a:gd name="connsiteY17" fmla="*/ 988073 h 1303338"/>
                    <a:gd name="connsiteX18" fmla="*/ 132391 w 1369800"/>
                    <a:gd name="connsiteY18" fmla="*/ 950912 h 1303338"/>
                    <a:gd name="connsiteX19" fmla="*/ 191621 w 1369800"/>
                    <a:gd name="connsiteY19" fmla="*/ 998775 h 1303338"/>
                    <a:gd name="connsiteX20" fmla="*/ 194476 w 1369800"/>
                    <a:gd name="connsiteY20" fmla="*/ 998775 h 1303338"/>
                    <a:gd name="connsiteX21" fmla="*/ 252993 w 1369800"/>
                    <a:gd name="connsiteY21" fmla="*/ 950912 h 1303338"/>
                    <a:gd name="connsiteX22" fmla="*/ 333632 w 1369800"/>
                    <a:gd name="connsiteY22" fmla="*/ 963771 h 1303338"/>
                    <a:gd name="connsiteX23" fmla="*/ 378590 w 1369800"/>
                    <a:gd name="connsiteY23" fmla="*/ 1029493 h 1303338"/>
                    <a:gd name="connsiteX24" fmla="*/ 374308 w 1369800"/>
                    <a:gd name="connsiteY24" fmla="*/ 1036637 h 1303338"/>
                    <a:gd name="connsiteX25" fmla="*/ 11076 w 1369800"/>
                    <a:gd name="connsiteY25" fmla="*/ 1036637 h 1303338"/>
                    <a:gd name="connsiteX26" fmla="*/ 6794 w 1369800"/>
                    <a:gd name="connsiteY26" fmla="*/ 1029493 h 1303338"/>
                    <a:gd name="connsiteX27" fmla="*/ 51752 w 1369800"/>
                    <a:gd name="connsiteY27" fmla="*/ 963771 h 1303338"/>
                    <a:gd name="connsiteX28" fmla="*/ 132391 w 1369800"/>
                    <a:gd name="connsiteY28" fmla="*/ 950912 h 1303338"/>
                    <a:gd name="connsiteX29" fmla="*/ 691518 w 1369800"/>
                    <a:gd name="connsiteY29" fmla="*/ 855662 h 1303338"/>
                    <a:gd name="connsiteX30" fmla="*/ 709707 w 1369800"/>
                    <a:gd name="connsiteY30" fmla="*/ 859965 h 1303338"/>
                    <a:gd name="connsiteX31" fmla="*/ 711106 w 1369800"/>
                    <a:gd name="connsiteY31" fmla="*/ 864985 h 1303338"/>
                    <a:gd name="connsiteX32" fmla="*/ 699213 w 1369800"/>
                    <a:gd name="connsiteY32" fmla="*/ 899409 h 1303338"/>
                    <a:gd name="connsiteX33" fmla="*/ 699213 w 1369800"/>
                    <a:gd name="connsiteY33" fmla="*/ 902278 h 1303338"/>
                    <a:gd name="connsiteX34" fmla="*/ 709707 w 1369800"/>
                    <a:gd name="connsiteY34" fmla="*/ 1014872 h 1303338"/>
                    <a:gd name="connsiteX35" fmla="*/ 706908 w 1369800"/>
                    <a:gd name="connsiteY35" fmla="*/ 1017741 h 1303338"/>
                    <a:gd name="connsiteX36" fmla="*/ 690818 w 1369800"/>
                    <a:gd name="connsiteY36" fmla="*/ 1019175 h 1303338"/>
                    <a:gd name="connsiteX37" fmla="*/ 674728 w 1369800"/>
                    <a:gd name="connsiteY37" fmla="*/ 1017741 h 1303338"/>
                    <a:gd name="connsiteX38" fmla="*/ 671929 w 1369800"/>
                    <a:gd name="connsiteY38" fmla="*/ 1014872 h 1303338"/>
                    <a:gd name="connsiteX39" fmla="*/ 683123 w 1369800"/>
                    <a:gd name="connsiteY39" fmla="*/ 900843 h 1303338"/>
                    <a:gd name="connsiteX40" fmla="*/ 683123 w 1369800"/>
                    <a:gd name="connsiteY40" fmla="*/ 899409 h 1303338"/>
                    <a:gd name="connsiteX41" fmla="*/ 670530 w 1369800"/>
                    <a:gd name="connsiteY41" fmla="*/ 864985 h 1303338"/>
                    <a:gd name="connsiteX42" fmla="*/ 671929 w 1369800"/>
                    <a:gd name="connsiteY42" fmla="*/ 859965 h 1303338"/>
                    <a:gd name="connsiteX43" fmla="*/ 691518 w 1369800"/>
                    <a:gd name="connsiteY43" fmla="*/ 855662 h 1303338"/>
                    <a:gd name="connsiteX44" fmla="*/ 92679 w 1369800"/>
                    <a:gd name="connsiteY44" fmla="*/ 836612 h 1303338"/>
                    <a:gd name="connsiteX45" fmla="*/ 103394 w 1369800"/>
                    <a:gd name="connsiteY45" fmla="*/ 841589 h 1303338"/>
                    <a:gd name="connsiteX46" fmla="*/ 113396 w 1369800"/>
                    <a:gd name="connsiteY46" fmla="*/ 853675 h 1303338"/>
                    <a:gd name="connsiteX47" fmla="*/ 115539 w 1369800"/>
                    <a:gd name="connsiteY47" fmla="*/ 855808 h 1303338"/>
                    <a:gd name="connsiteX48" fmla="*/ 144828 w 1369800"/>
                    <a:gd name="connsiteY48" fmla="*/ 917662 h 1303338"/>
                    <a:gd name="connsiteX49" fmla="*/ 192691 w 1369800"/>
                    <a:gd name="connsiteY49" fmla="*/ 941124 h 1303338"/>
                    <a:gd name="connsiteX50" fmla="*/ 239840 w 1369800"/>
                    <a:gd name="connsiteY50" fmla="*/ 917662 h 1303338"/>
                    <a:gd name="connsiteX51" fmla="*/ 270558 w 1369800"/>
                    <a:gd name="connsiteY51" fmla="*/ 855808 h 1303338"/>
                    <a:gd name="connsiteX52" fmla="*/ 272701 w 1369800"/>
                    <a:gd name="connsiteY52" fmla="*/ 853675 h 1303338"/>
                    <a:gd name="connsiteX53" fmla="*/ 281988 w 1369800"/>
                    <a:gd name="connsiteY53" fmla="*/ 841589 h 1303338"/>
                    <a:gd name="connsiteX54" fmla="*/ 292704 w 1369800"/>
                    <a:gd name="connsiteY54" fmla="*/ 836612 h 1303338"/>
                    <a:gd name="connsiteX55" fmla="*/ 292704 w 1369800"/>
                    <a:gd name="connsiteY55" fmla="*/ 837323 h 1303338"/>
                    <a:gd name="connsiteX56" fmla="*/ 278416 w 1369800"/>
                    <a:gd name="connsiteY56" fmla="*/ 860074 h 1303338"/>
                    <a:gd name="connsiteX57" fmla="*/ 247698 w 1369800"/>
                    <a:gd name="connsiteY57" fmla="*/ 922639 h 1303338"/>
                    <a:gd name="connsiteX58" fmla="*/ 247698 w 1369800"/>
                    <a:gd name="connsiteY58" fmla="*/ 942546 h 1303338"/>
                    <a:gd name="connsiteX59" fmla="*/ 246269 w 1369800"/>
                    <a:gd name="connsiteY59" fmla="*/ 944679 h 1303338"/>
                    <a:gd name="connsiteX60" fmla="*/ 238411 w 1369800"/>
                    <a:gd name="connsiteY60" fmla="*/ 952500 h 1303338"/>
                    <a:gd name="connsiteX61" fmla="*/ 238411 w 1369800"/>
                    <a:gd name="connsiteY61" fmla="*/ 929749 h 1303338"/>
                    <a:gd name="connsiteX62" fmla="*/ 192691 w 1369800"/>
                    <a:gd name="connsiteY62" fmla="*/ 950367 h 1303338"/>
                    <a:gd name="connsiteX63" fmla="*/ 146257 w 1369800"/>
                    <a:gd name="connsiteY63" fmla="*/ 929749 h 1303338"/>
                    <a:gd name="connsiteX64" fmla="*/ 146257 w 1369800"/>
                    <a:gd name="connsiteY64" fmla="*/ 952500 h 1303338"/>
                    <a:gd name="connsiteX65" fmla="*/ 138399 w 1369800"/>
                    <a:gd name="connsiteY65" fmla="*/ 944679 h 1303338"/>
                    <a:gd name="connsiteX66" fmla="*/ 136970 w 1369800"/>
                    <a:gd name="connsiteY66" fmla="*/ 942546 h 1303338"/>
                    <a:gd name="connsiteX67" fmla="*/ 136970 w 1369800"/>
                    <a:gd name="connsiteY67" fmla="*/ 922639 h 1303338"/>
                    <a:gd name="connsiteX68" fmla="*/ 107681 w 1369800"/>
                    <a:gd name="connsiteY68" fmla="*/ 860074 h 1303338"/>
                    <a:gd name="connsiteX69" fmla="*/ 92679 w 1369800"/>
                    <a:gd name="connsiteY69" fmla="*/ 837323 h 1303338"/>
                    <a:gd name="connsiteX70" fmla="*/ 92679 w 1369800"/>
                    <a:gd name="connsiteY70" fmla="*/ 836612 h 1303338"/>
                    <a:gd name="connsiteX71" fmla="*/ 192693 w 1369800"/>
                    <a:gd name="connsiteY71" fmla="*/ 687387 h 1303338"/>
                    <a:gd name="connsiteX72" fmla="*/ 291118 w 1369800"/>
                    <a:gd name="connsiteY72" fmla="*/ 786632 h 1303338"/>
                    <a:gd name="connsiteX73" fmla="*/ 285412 w 1369800"/>
                    <a:gd name="connsiteY73" fmla="*/ 827330 h 1303338"/>
                    <a:gd name="connsiteX74" fmla="*/ 247611 w 1369800"/>
                    <a:gd name="connsiteY74" fmla="*/ 767355 h 1303338"/>
                    <a:gd name="connsiteX75" fmla="*/ 246185 w 1369800"/>
                    <a:gd name="connsiteY75" fmla="*/ 767355 h 1303338"/>
                    <a:gd name="connsiteX76" fmla="*/ 117091 w 1369800"/>
                    <a:gd name="connsiteY76" fmla="*/ 835898 h 1303338"/>
                    <a:gd name="connsiteX77" fmla="*/ 116378 w 1369800"/>
                    <a:gd name="connsiteY77" fmla="*/ 835898 h 1303338"/>
                    <a:gd name="connsiteX78" fmla="*/ 109959 w 1369800"/>
                    <a:gd name="connsiteY78" fmla="*/ 835898 h 1303338"/>
                    <a:gd name="connsiteX79" fmla="*/ 108532 w 1369800"/>
                    <a:gd name="connsiteY79" fmla="*/ 835184 h 1303338"/>
                    <a:gd name="connsiteX80" fmla="*/ 97834 w 1369800"/>
                    <a:gd name="connsiteY80" fmla="*/ 820190 h 1303338"/>
                    <a:gd name="connsiteX81" fmla="*/ 94268 w 1369800"/>
                    <a:gd name="connsiteY81" fmla="*/ 786632 h 1303338"/>
                    <a:gd name="connsiteX82" fmla="*/ 192693 w 1369800"/>
                    <a:gd name="connsiteY82" fmla="*/ 687387 h 1303338"/>
                    <a:gd name="connsiteX83" fmla="*/ 554642 w 1369800"/>
                    <a:gd name="connsiteY83" fmla="*/ 674687 h 1303338"/>
                    <a:gd name="connsiteX84" fmla="*/ 568975 w 1369800"/>
                    <a:gd name="connsiteY84" fmla="*/ 681838 h 1303338"/>
                    <a:gd name="connsiteX85" fmla="*/ 583308 w 1369800"/>
                    <a:gd name="connsiteY85" fmla="*/ 697570 h 1303338"/>
                    <a:gd name="connsiteX86" fmla="*/ 586175 w 1369800"/>
                    <a:gd name="connsiteY86" fmla="*/ 700430 h 1303338"/>
                    <a:gd name="connsiteX87" fmla="*/ 627025 w 1369800"/>
                    <a:gd name="connsiteY87" fmla="*/ 784811 h 1303338"/>
                    <a:gd name="connsiteX88" fmla="*/ 691525 w 1369800"/>
                    <a:gd name="connsiteY88" fmla="*/ 816990 h 1303338"/>
                    <a:gd name="connsiteX89" fmla="*/ 756742 w 1369800"/>
                    <a:gd name="connsiteY89" fmla="*/ 784811 h 1303338"/>
                    <a:gd name="connsiteX90" fmla="*/ 797592 w 1369800"/>
                    <a:gd name="connsiteY90" fmla="*/ 700430 h 1303338"/>
                    <a:gd name="connsiteX91" fmla="*/ 800458 w 1369800"/>
                    <a:gd name="connsiteY91" fmla="*/ 697570 h 1303338"/>
                    <a:gd name="connsiteX92" fmla="*/ 814075 w 1369800"/>
                    <a:gd name="connsiteY92" fmla="*/ 681838 h 1303338"/>
                    <a:gd name="connsiteX93" fmla="*/ 827692 w 1369800"/>
                    <a:gd name="connsiteY93" fmla="*/ 674687 h 1303338"/>
                    <a:gd name="connsiteX94" fmla="*/ 827692 w 1369800"/>
                    <a:gd name="connsiteY94" fmla="*/ 675402 h 1303338"/>
                    <a:gd name="connsiteX95" fmla="*/ 808342 w 1369800"/>
                    <a:gd name="connsiteY95" fmla="*/ 706866 h 1303338"/>
                    <a:gd name="connsiteX96" fmla="*/ 767492 w 1369800"/>
                    <a:gd name="connsiteY96" fmla="*/ 791962 h 1303338"/>
                    <a:gd name="connsiteX97" fmla="*/ 767492 w 1369800"/>
                    <a:gd name="connsiteY97" fmla="*/ 819135 h 1303338"/>
                    <a:gd name="connsiteX98" fmla="*/ 765342 w 1369800"/>
                    <a:gd name="connsiteY98" fmla="*/ 821995 h 1303338"/>
                    <a:gd name="connsiteX99" fmla="*/ 754592 w 1369800"/>
                    <a:gd name="connsiteY99" fmla="*/ 833437 h 1303338"/>
                    <a:gd name="connsiteX100" fmla="*/ 754592 w 1369800"/>
                    <a:gd name="connsiteY100" fmla="*/ 802688 h 1303338"/>
                    <a:gd name="connsiteX101" fmla="*/ 691525 w 1369800"/>
                    <a:gd name="connsiteY101" fmla="*/ 829861 h 1303338"/>
                    <a:gd name="connsiteX102" fmla="*/ 629175 w 1369800"/>
                    <a:gd name="connsiteY102" fmla="*/ 802688 h 1303338"/>
                    <a:gd name="connsiteX103" fmla="*/ 629175 w 1369800"/>
                    <a:gd name="connsiteY103" fmla="*/ 833437 h 1303338"/>
                    <a:gd name="connsiteX104" fmla="*/ 618425 w 1369800"/>
                    <a:gd name="connsiteY104" fmla="*/ 821995 h 1303338"/>
                    <a:gd name="connsiteX105" fmla="*/ 616275 w 1369800"/>
                    <a:gd name="connsiteY105" fmla="*/ 819135 h 1303338"/>
                    <a:gd name="connsiteX106" fmla="*/ 616275 w 1369800"/>
                    <a:gd name="connsiteY106" fmla="*/ 791962 h 1303338"/>
                    <a:gd name="connsiteX107" fmla="*/ 574708 w 1369800"/>
                    <a:gd name="connsiteY107" fmla="*/ 706866 h 1303338"/>
                    <a:gd name="connsiteX108" fmla="*/ 554642 w 1369800"/>
                    <a:gd name="connsiteY108" fmla="*/ 676117 h 1303338"/>
                    <a:gd name="connsiteX109" fmla="*/ 554642 w 1369800"/>
                    <a:gd name="connsiteY109" fmla="*/ 674687 h 1303338"/>
                    <a:gd name="connsiteX110" fmla="*/ 1105315 w 1369800"/>
                    <a:gd name="connsiteY110" fmla="*/ 476250 h 1303338"/>
                    <a:gd name="connsiteX111" fmla="*/ 1178454 w 1369800"/>
                    <a:gd name="connsiteY111" fmla="*/ 510102 h 1303338"/>
                    <a:gd name="connsiteX112" fmla="*/ 1248724 w 1369800"/>
                    <a:gd name="connsiteY112" fmla="*/ 476250 h 1303338"/>
                    <a:gd name="connsiteX113" fmla="*/ 1348393 w 1369800"/>
                    <a:gd name="connsiteY113" fmla="*/ 546836 h 1303338"/>
                    <a:gd name="connsiteX114" fmla="*/ 1348393 w 1369800"/>
                    <a:gd name="connsiteY114" fmla="*/ 548276 h 1303338"/>
                    <a:gd name="connsiteX115" fmla="*/ 1343374 w 1369800"/>
                    <a:gd name="connsiteY115" fmla="*/ 554038 h 1303338"/>
                    <a:gd name="connsiteX116" fmla="*/ 1012817 w 1369800"/>
                    <a:gd name="connsiteY116" fmla="*/ 554038 h 1303338"/>
                    <a:gd name="connsiteX117" fmla="*/ 1007797 w 1369800"/>
                    <a:gd name="connsiteY117" fmla="*/ 548276 h 1303338"/>
                    <a:gd name="connsiteX118" fmla="*/ 1008514 w 1369800"/>
                    <a:gd name="connsiteY118" fmla="*/ 543234 h 1303338"/>
                    <a:gd name="connsiteX119" fmla="*/ 1105315 w 1369800"/>
                    <a:gd name="connsiteY119" fmla="*/ 476250 h 1303338"/>
                    <a:gd name="connsiteX120" fmla="*/ 690450 w 1369800"/>
                    <a:gd name="connsiteY120" fmla="*/ 468312 h 1303338"/>
                    <a:gd name="connsiteX121" fmla="*/ 825387 w 1369800"/>
                    <a:gd name="connsiteY121" fmla="*/ 607562 h 1303338"/>
                    <a:gd name="connsiteX122" fmla="*/ 820363 w 1369800"/>
                    <a:gd name="connsiteY122" fmla="*/ 653978 h 1303338"/>
                    <a:gd name="connsiteX123" fmla="*/ 806008 w 1369800"/>
                    <a:gd name="connsiteY123" fmla="*/ 674687 h 1303338"/>
                    <a:gd name="connsiteX124" fmla="*/ 795960 w 1369800"/>
                    <a:gd name="connsiteY124" fmla="*/ 674687 h 1303338"/>
                    <a:gd name="connsiteX125" fmla="*/ 794524 w 1369800"/>
                    <a:gd name="connsiteY125" fmla="*/ 573285 h 1303338"/>
                    <a:gd name="connsiteX126" fmla="*/ 617239 w 1369800"/>
                    <a:gd name="connsiteY126" fmla="*/ 578998 h 1303338"/>
                    <a:gd name="connsiteX127" fmla="*/ 584223 w 1369800"/>
                    <a:gd name="connsiteY127" fmla="*/ 673259 h 1303338"/>
                    <a:gd name="connsiteX128" fmla="*/ 574892 w 1369800"/>
                    <a:gd name="connsiteY128" fmla="*/ 671831 h 1303338"/>
                    <a:gd name="connsiteX129" fmla="*/ 561254 w 1369800"/>
                    <a:gd name="connsiteY129" fmla="*/ 655406 h 1303338"/>
                    <a:gd name="connsiteX130" fmla="*/ 556948 w 1369800"/>
                    <a:gd name="connsiteY130" fmla="*/ 607562 h 1303338"/>
                    <a:gd name="connsiteX131" fmla="*/ 690450 w 1369800"/>
                    <a:gd name="connsiteY131" fmla="*/ 468312 h 1303338"/>
                    <a:gd name="connsiteX132" fmla="*/ 128400 w 1369800"/>
                    <a:gd name="connsiteY132" fmla="*/ 468312 h 1303338"/>
                    <a:gd name="connsiteX133" fmla="*/ 163427 w 1369800"/>
                    <a:gd name="connsiteY133" fmla="*/ 492601 h 1303338"/>
                    <a:gd name="connsiteX134" fmla="*/ 189875 w 1369800"/>
                    <a:gd name="connsiteY134" fmla="*/ 497602 h 1303338"/>
                    <a:gd name="connsiteX135" fmla="*/ 215609 w 1369800"/>
                    <a:gd name="connsiteY135" fmla="*/ 492601 h 1303338"/>
                    <a:gd name="connsiteX136" fmla="*/ 251350 w 1369800"/>
                    <a:gd name="connsiteY136" fmla="*/ 468312 h 1303338"/>
                    <a:gd name="connsiteX137" fmla="*/ 332840 w 1369800"/>
                    <a:gd name="connsiteY137" fmla="*/ 481885 h 1303338"/>
                    <a:gd name="connsiteX138" fmla="*/ 379303 w 1369800"/>
                    <a:gd name="connsiteY138" fmla="*/ 548322 h 1303338"/>
                    <a:gd name="connsiteX139" fmla="*/ 375014 w 1369800"/>
                    <a:gd name="connsiteY139" fmla="*/ 554037 h 1303338"/>
                    <a:gd name="connsiteX140" fmla="*/ 4736 w 1369800"/>
                    <a:gd name="connsiteY140" fmla="*/ 554037 h 1303338"/>
                    <a:gd name="connsiteX141" fmla="*/ 447 w 1369800"/>
                    <a:gd name="connsiteY141" fmla="*/ 548322 h 1303338"/>
                    <a:gd name="connsiteX142" fmla="*/ 46196 w 1369800"/>
                    <a:gd name="connsiteY142" fmla="*/ 481885 h 1303338"/>
                    <a:gd name="connsiteX143" fmla="*/ 128400 w 1369800"/>
                    <a:gd name="connsiteY143" fmla="*/ 468312 h 1303338"/>
                    <a:gd name="connsiteX144" fmla="*/ 689222 w 1369800"/>
                    <a:gd name="connsiteY144" fmla="*/ 441325 h 1303338"/>
                    <a:gd name="connsiteX145" fmla="*/ 394304 w 1369800"/>
                    <a:gd name="connsiteY145" fmla="*/ 735807 h 1303338"/>
                    <a:gd name="connsiteX146" fmla="*/ 447861 w 1369800"/>
                    <a:gd name="connsiteY146" fmla="*/ 905508 h 1303338"/>
                    <a:gd name="connsiteX147" fmla="*/ 448575 w 1369800"/>
                    <a:gd name="connsiteY147" fmla="*/ 904795 h 1303338"/>
                    <a:gd name="connsiteX148" fmla="*/ 497133 w 1369800"/>
                    <a:gd name="connsiteY148" fmla="*/ 847039 h 1303338"/>
                    <a:gd name="connsiteX149" fmla="*/ 605674 w 1369800"/>
                    <a:gd name="connsiteY149" fmla="*/ 829927 h 1303338"/>
                    <a:gd name="connsiteX150" fmla="*/ 607102 w 1369800"/>
                    <a:gd name="connsiteY150" fmla="*/ 832066 h 1303338"/>
                    <a:gd name="connsiteX151" fmla="*/ 662087 w 1369800"/>
                    <a:gd name="connsiteY151" fmla="*/ 1016028 h 1303338"/>
                    <a:gd name="connsiteX152" fmla="*/ 664229 w 1369800"/>
                    <a:gd name="connsiteY152" fmla="*/ 1023871 h 1303338"/>
                    <a:gd name="connsiteX153" fmla="*/ 670656 w 1369800"/>
                    <a:gd name="connsiteY153" fmla="*/ 1028862 h 1303338"/>
                    <a:gd name="connsiteX154" fmla="*/ 678511 w 1369800"/>
                    <a:gd name="connsiteY154" fmla="*/ 1029575 h 1303338"/>
                    <a:gd name="connsiteX155" fmla="*/ 700648 w 1369800"/>
                    <a:gd name="connsiteY155" fmla="*/ 1029575 h 1303338"/>
                    <a:gd name="connsiteX156" fmla="*/ 708503 w 1369800"/>
                    <a:gd name="connsiteY156" fmla="*/ 1028862 h 1303338"/>
                    <a:gd name="connsiteX157" fmla="*/ 714929 w 1369800"/>
                    <a:gd name="connsiteY157" fmla="*/ 1023871 h 1303338"/>
                    <a:gd name="connsiteX158" fmla="*/ 719214 w 1369800"/>
                    <a:gd name="connsiteY158" fmla="*/ 1010323 h 1303338"/>
                    <a:gd name="connsiteX159" fmla="*/ 772770 w 1369800"/>
                    <a:gd name="connsiteY159" fmla="*/ 832066 h 1303338"/>
                    <a:gd name="connsiteX160" fmla="*/ 775627 w 1369800"/>
                    <a:gd name="connsiteY160" fmla="*/ 829927 h 1303338"/>
                    <a:gd name="connsiteX161" fmla="*/ 883454 w 1369800"/>
                    <a:gd name="connsiteY161" fmla="*/ 847039 h 1303338"/>
                    <a:gd name="connsiteX162" fmla="*/ 912731 w 1369800"/>
                    <a:gd name="connsiteY162" fmla="*/ 871995 h 1303338"/>
                    <a:gd name="connsiteX163" fmla="*/ 932012 w 1369800"/>
                    <a:gd name="connsiteY163" fmla="*/ 903369 h 1303338"/>
                    <a:gd name="connsiteX164" fmla="*/ 934154 w 1369800"/>
                    <a:gd name="connsiteY164" fmla="*/ 901230 h 1303338"/>
                    <a:gd name="connsiteX165" fmla="*/ 984854 w 1369800"/>
                    <a:gd name="connsiteY165" fmla="*/ 735807 h 1303338"/>
                    <a:gd name="connsiteX166" fmla="*/ 689222 w 1369800"/>
                    <a:gd name="connsiteY166" fmla="*/ 441325 h 1303338"/>
                    <a:gd name="connsiteX167" fmla="*/ 720134 w 1369800"/>
                    <a:gd name="connsiteY167" fmla="*/ 410928 h 1303338"/>
                    <a:gd name="connsiteX168" fmla="*/ 897261 w 1369800"/>
                    <a:gd name="connsiteY168" fmla="*/ 483828 h 1303338"/>
                    <a:gd name="connsiteX169" fmla="*/ 975825 w 1369800"/>
                    <a:gd name="connsiteY169" fmla="*/ 891924 h 1303338"/>
                    <a:gd name="connsiteX170" fmla="*/ 1061532 w 1369800"/>
                    <a:gd name="connsiteY170" fmla="*/ 962680 h 1303338"/>
                    <a:gd name="connsiteX171" fmla="*/ 1062960 w 1369800"/>
                    <a:gd name="connsiteY171" fmla="*/ 975545 h 1303338"/>
                    <a:gd name="connsiteX172" fmla="*/ 1001537 w 1369800"/>
                    <a:gd name="connsiteY172" fmla="*/ 1050589 h 1303338"/>
                    <a:gd name="connsiteX173" fmla="*/ 988681 w 1369800"/>
                    <a:gd name="connsiteY173" fmla="*/ 1052018 h 1303338"/>
                    <a:gd name="connsiteX174" fmla="*/ 904403 w 1369800"/>
                    <a:gd name="connsiteY174" fmla="*/ 981977 h 1303338"/>
                    <a:gd name="connsiteX175" fmla="*/ 484440 w 1369800"/>
                    <a:gd name="connsiteY175" fmla="*/ 988409 h 1303338"/>
                    <a:gd name="connsiteX176" fmla="*/ 438016 w 1369800"/>
                    <a:gd name="connsiteY176" fmla="*/ 529569 h 1303338"/>
                    <a:gd name="connsiteX177" fmla="*/ 720134 w 1369800"/>
                    <a:gd name="connsiteY177" fmla="*/ 410928 h 1303338"/>
                    <a:gd name="connsiteX178" fmla="*/ 89504 w 1369800"/>
                    <a:gd name="connsiteY178" fmla="*/ 352425 h 1303338"/>
                    <a:gd name="connsiteX179" fmla="*/ 100228 w 1369800"/>
                    <a:gd name="connsiteY179" fmla="*/ 356723 h 1303338"/>
                    <a:gd name="connsiteX180" fmla="*/ 109522 w 1369800"/>
                    <a:gd name="connsiteY180" fmla="*/ 368184 h 1303338"/>
                    <a:gd name="connsiteX181" fmla="*/ 111667 w 1369800"/>
                    <a:gd name="connsiteY181" fmla="*/ 370333 h 1303338"/>
                    <a:gd name="connsiteX182" fmla="*/ 143124 w 1369800"/>
                    <a:gd name="connsiteY182" fmla="*/ 434084 h 1303338"/>
                    <a:gd name="connsiteX183" fmla="*/ 190310 w 1369800"/>
                    <a:gd name="connsiteY183" fmla="*/ 457723 h 1303338"/>
                    <a:gd name="connsiteX184" fmla="*/ 238211 w 1369800"/>
                    <a:gd name="connsiteY184" fmla="*/ 434084 h 1303338"/>
                    <a:gd name="connsiteX185" fmla="*/ 268954 w 1369800"/>
                    <a:gd name="connsiteY185" fmla="*/ 370333 h 1303338"/>
                    <a:gd name="connsiteX186" fmla="*/ 271098 w 1369800"/>
                    <a:gd name="connsiteY186" fmla="*/ 368184 h 1303338"/>
                    <a:gd name="connsiteX187" fmla="*/ 279678 w 1369800"/>
                    <a:gd name="connsiteY187" fmla="*/ 356723 h 1303338"/>
                    <a:gd name="connsiteX188" fmla="*/ 291117 w 1369800"/>
                    <a:gd name="connsiteY188" fmla="*/ 352425 h 1303338"/>
                    <a:gd name="connsiteX189" fmla="*/ 290402 w 1369800"/>
                    <a:gd name="connsiteY189" fmla="*/ 353141 h 1303338"/>
                    <a:gd name="connsiteX190" fmla="*/ 276818 w 1369800"/>
                    <a:gd name="connsiteY190" fmla="*/ 376063 h 1303338"/>
                    <a:gd name="connsiteX191" fmla="*/ 246790 w 1369800"/>
                    <a:gd name="connsiteY191" fmla="*/ 439098 h 1303338"/>
                    <a:gd name="connsiteX192" fmla="*/ 246790 w 1369800"/>
                    <a:gd name="connsiteY192" fmla="*/ 459155 h 1303338"/>
                    <a:gd name="connsiteX193" fmla="*/ 244646 w 1369800"/>
                    <a:gd name="connsiteY193" fmla="*/ 461304 h 1303338"/>
                    <a:gd name="connsiteX194" fmla="*/ 236781 w 1369800"/>
                    <a:gd name="connsiteY194" fmla="*/ 469900 h 1303338"/>
                    <a:gd name="connsiteX195" fmla="*/ 236781 w 1369800"/>
                    <a:gd name="connsiteY195" fmla="*/ 446262 h 1303338"/>
                    <a:gd name="connsiteX196" fmla="*/ 190310 w 1369800"/>
                    <a:gd name="connsiteY196" fmla="*/ 467035 h 1303338"/>
                    <a:gd name="connsiteX197" fmla="*/ 143839 w 1369800"/>
                    <a:gd name="connsiteY197" fmla="*/ 446262 h 1303338"/>
                    <a:gd name="connsiteX198" fmla="*/ 143839 w 1369800"/>
                    <a:gd name="connsiteY198" fmla="*/ 469900 h 1303338"/>
                    <a:gd name="connsiteX199" fmla="*/ 135975 w 1369800"/>
                    <a:gd name="connsiteY199" fmla="*/ 461304 h 1303338"/>
                    <a:gd name="connsiteX200" fmla="*/ 134545 w 1369800"/>
                    <a:gd name="connsiteY200" fmla="*/ 459155 h 1303338"/>
                    <a:gd name="connsiteX201" fmla="*/ 134545 w 1369800"/>
                    <a:gd name="connsiteY201" fmla="*/ 439098 h 1303338"/>
                    <a:gd name="connsiteX202" fmla="*/ 104517 w 1369800"/>
                    <a:gd name="connsiteY202" fmla="*/ 376063 h 1303338"/>
                    <a:gd name="connsiteX203" fmla="*/ 89504 w 1369800"/>
                    <a:gd name="connsiteY203" fmla="*/ 353141 h 1303338"/>
                    <a:gd name="connsiteX204" fmla="*/ 89504 w 1369800"/>
                    <a:gd name="connsiteY204" fmla="*/ 352425 h 1303338"/>
                    <a:gd name="connsiteX205" fmla="*/ 1277828 w 1369800"/>
                    <a:gd name="connsiteY205" fmla="*/ 347662 h 1303338"/>
                    <a:gd name="connsiteX206" fmla="*/ 1277828 w 1369800"/>
                    <a:gd name="connsiteY206" fmla="*/ 349095 h 1303338"/>
                    <a:gd name="connsiteX207" fmla="*/ 1263540 w 1369800"/>
                    <a:gd name="connsiteY207" fmla="*/ 374885 h 1303338"/>
                    <a:gd name="connsiteX208" fmla="*/ 1234965 w 1369800"/>
                    <a:gd name="connsiteY208" fmla="*/ 438646 h 1303338"/>
                    <a:gd name="connsiteX209" fmla="*/ 1234965 w 1369800"/>
                    <a:gd name="connsiteY209" fmla="*/ 478049 h 1303338"/>
                    <a:gd name="connsiteX210" fmla="*/ 1224250 w 1369800"/>
                    <a:gd name="connsiteY210" fmla="*/ 487362 h 1303338"/>
                    <a:gd name="connsiteX211" fmla="*/ 1224250 w 1369800"/>
                    <a:gd name="connsiteY211" fmla="*/ 447959 h 1303338"/>
                    <a:gd name="connsiteX212" fmla="*/ 1177815 w 1369800"/>
                    <a:gd name="connsiteY212" fmla="*/ 470168 h 1303338"/>
                    <a:gd name="connsiteX213" fmla="*/ 1132095 w 1369800"/>
                    <a:gd name="connsiteY213" fmla="*/ 448676 h 1303338"/>
                    <a:gd name="connsiteX214" fmla="*/ 1132095 w 1369800"/>
                    <a:gd name="connsiteY214" fmla="*/ 487362 h 1303338"/>
                    <a:gd name="connsiteX215" fmla="*/ 1121380 w 1369800"/>
                    <a:gd name="connsiteY215" fmla="*/ 478765 h 1303338"/>
                    <a:gd name="connsiteX216" fmla="*/ 1121380 w 1369800"/>
                    <a:gd name="connsiteY216" fmla="*/ 438646 h 1303338"/>
                    <a:gd name="connsiteX217" fmla="*/ 1093519 w 1369800"/>
                    <a:gd name="connsiteY217" fmla="*/ 374885 h 1303338"/>
                    <a:gd name="connsiteX218" fmla="*/ 1078517 w 1369800"/>
                    <a:gd name="connsiteY218" fmla="*/ 349811 h 1303338"/>
                    <a:gd name="connsiteX219" fmla="*/ 1078517 w 1369800"/>
                    <a:gd name="connsiteY219" fmla="*/ 349095 h 1303338"/>
                    <a:gd name="connsiteX220" fmla="*/ 1090662 w 1369800"/>
                    <a:gd name="connsiteY220" fmla="*/ 354826 h 1303338"/>
                    <a:gd name="connsiteX221" fmla="*/ 1100663 w 1369800"/>
                    <a:gd name="connsiteY221" fmla="*/ 366289 h 1303338"/>
                    <a:gd name="connsiteX222" fmla="*/ 1102092 w 1369800"/>
                    <a:gd name="connsiteY222" fmla="*/ 369154 h 1303338"/>
                    <a:gd name="connsiteX223" fmla="*/ 1130667 w 1369800"/>
                    <a:gd name="connsiteY223" fmla="*/ 433631 h 1303338"/>
                    <a:gd name="connsiteX224" fmla="*/ 1177815 w 1369800"/>
                    <a:gd name="connsiteY224" fmla="*/ 459422 h 1303338"/>
                    <a:gd name="connsiteX225" fmla="*/ 1225678 w 1369800"/>
                    <a:gd name="connsiteY225" fmla="*/ 433631 h 1303338"/>
                    <a:gd name="connsiteX226" fmla="*/ 1254253 w 1369800"/>
                    <a:gd name="connsiteY226" fmla="*/ 369154 h 1303338"/>
                    <a:gd name="connsiteX227" fmla="*/ 1256397 w 1369800"/>
                    <a:gd name="connsiteY227" fmla="*/ 366289 h 1303338"/>
                    <a:gd name="connsiteX228" fmla="*/ 1266398 w 1369800"/>
                    <a:gd name="connsiteY228" fmla="*/ 353393 h 1303338"/>
                    <a:gd name="connsiteX229" fmla="*/ 1277828 w 1369800"/>
                    <a:gd name="connsiteY229" fmla="*/ 347662 h 1303338"/>
                    <a:gd name="connsiteX230" fmla="*/ 610174 w 1369800"/>
                    <a:gd name="connsiteY230" fmla="*/ 263525 h 1303338"/>
                    <a:gd name="connsiteX231" fmla="*/ 668665 w 1369800"/>
                    <a:gd name="connsiteY231" fmla="*/ 312102 h 1303338"/>
                    <a:gd name="connsiteX232" fmla="*/ 671519 w 1369800"/>
                    <a:gd name="connsiteY232" fmla="*/ 312102 h 1303338"/>
                    <a:gd name="connsiteX233" fmla="*/ 730724 w 1369800"/>
                    <a:gd name="connsiteY233" fmla="*/ 263525 h 1303338"/>
                    <a:gd name="connsiteX234" fmla="*/ 810615 w 1369800"/>
                    <a:gd name="connsiteY234" fmla="*/ 277812 h 1303338"/>
                    <a:gd name="connsiteX235" fmla="*/ 855553 w 1369800"/>
                    <a:gd name="connsiteY235" fmla="*/ 343535 h 1303338"/>
                    <a:gd name="connsiteX236" fmla="*/ 851274 w 1369800"/>
                    <a:gd name="connsiteY236" fmla="*/ 349250 h 1303338"/>
                    <a:gd name="connsiteX237" fmla="*/ 488910 w 1369800"/>
                    <a:gd name="connsiteY237" fmla="*/ 349250 h 1303338"/>
                    <a:gd name="connsiteX238" fmla="*/ 484630 w 1369800"/>
                    <a:gd name="connsiteY238" fmla="*/ 343535 h 1303338"/>
                    <a:gd name="connsiteX239" fmla="*/ 529569 w 1369800"/>
                    <a:gd name="connsiteY239" fmla="*/ 277812 h 1303338"/>
                    <a:gd name="connsiteX240" fmla="*/ 610174 w 1369800"/>
                    <a:gd name="connsiteY240" fmla="*/ 263525 h 1303338"/>
                    <a:gd name="connsiteX241" fmla="*/ 1176585 w 1369800"/>
                    <a:gd name="connsiteY241" fmla="*/ 200025 h 1303338"/>
                    <a:gd name="connsiteX242" fmla="*/ 1280129 w 1369800"/>
                    <a:gd name="connsiteY242" fmla="*/ 297287 h 1303338"/>
                    <a:gd name="connsiteX243" fmla="*/ 1276559 w 1369800"/>
                    <a:gd name="connsiteY243" fmla="*/ 329469 h 1303338"/>
                    <a:gd name="connsiteX244" fmla="*/ 1265847 w 1369800"/>
                    <a:gd name="connsiteY244" fmla="*/ 343773 h 1303338"/>
                    <a:gd name="connsiteX245" fmla="*/ 1264419 w 1369800"/>
                    <a:gd name="connsiteY245" fmla="*/ 344488 h 1303338"/>
                    <a:gd name="connsiteX246" fmla="*/ 1259420 w 1369800"/>
                    <a:gd name="connsiteY246" fmla="*/ 344488 h 1303338"/>
                    <a:gd name="connsiteX247" fmla="*/ 1257992 w 1369800"/>
                    <a:gd name="connsiteY247" fmla="*/ 342342 h 1303338"/>
                    <a:gd name="connsiteX248" fmla="*/ 1256564 w 1369800"/>
                    <a:gd name="connsiteY248" fmla="*/ 277263 h 1303338"/>
                    <a:gd name="connsiteX249" fmla="*/ 1252993 w 1369800"/>
                    <a:gd name="connsiteY249" fmla="*/ 275832 h 1303338"/>
                    <a:gd name="connsiteX250" fmla="*/ 1202292 w 1369800"/>
                    <a:gd name="connsiteY250" fmla="*/ 282984 h 1303338"/>
                    <a:gd name="connsiteX251" fmla="*/ 1160160 w 1369800"/>
                    <a:gd name="connsiteY251" fmla="*/ 287990 h 1303338"/>
                    <a:gd name="connsiteX252" fmla="*/ 1158018 w 1369800"/>
                    <a:gd name="connsiteY252" fmla="*/ 285129 h 1303338"/>
                    <a:gd name="connsiteX253" fmla="*/ 1163017 w 1369800"/>
                    <a:gd name="connsiteY253" fmla="*/ 275832 h 1303338"/>
                    <a:gd name="connsiteX254" fmla="*/ 1160160 w 1369800"/>
                    <a:gd name="connsiteY254" fmla="*/ 272972 h 1303338"/>
                    <a:gd name="connsiteX255" fmla="*/ 1120885 w 1369800"/>
                    <a:gd name="connsiteY255" fmla="*/ 295857 h 1303338"/>
                    <a:gd name="connsiteX256" fmla="*/ 1118028 w 1369800"/>
                    <a:gd name="connsiteY256" fmla="*/ 294426 h 1303338"/>
                    <a:gd name="connsiteX257" fmla="*/ 1120171 w 1369800"/>
                    <a:gd name="connsiteY257" fmla="*/ 280123 h 1303338"/>
                    <a:gd name="connsiteX258" fmla="*/ 1117314 w 1369800"/>
                    <a:gd name="connsiteY258" fmla="*/ 278693 h 1303338"/>
                    <a:gd name="connsiteX259" fmla="*/ 1094463 w 1369800"/>
                    <a:gd name="connsiteY259" fmla="*/ 340912 h 1303338"/>
                    <a:gd name="connsiteX260" fmla="*/ 1092321 w 1369800"/>
                    <a:gd name="connsiteY260" fmla="*/ 343058 h 1303338"/>
                    <a:gd name="connsiteX261" fmla="*/ 1089464 w 1369800"/>
                    <a:gd name="connsiteY261" fmla="*/ 342342 h 1303338"/>
                    <a:gd name="connsiteX262" fmla="*/ 1087322 w 1369800"/>
                    <a:gd name="connsiteY262" fmla="*/ 341627 h 1303338"/>
                    <a:gd name="connsiteX263" fmla="*/ 1078039 w 1369800"/>
                    <a:gd name="connsiteY263" fmla="*/ 330185 h 1303338"/>
                    <a:gd name="connsiteX264" fmla="*/ 1073754 w 1369800"/>
                    <a:gd name="connsiteY264" fmla="*/ 297287 h 1303338"/>
                    <a:gd name="connsiteX265" fmla="*/ 1176585 w 1369800"/>
                    <a:gd name="connsiteY265" fmla="*/ 200025 h 1303338"/>
                    <a:gd name="connsiteX266" fmla="*/ 188723 w 1369800"/>
                    <a:gd name="connsiteY266" fmla="*/ 200025 h 1303338"/>
                    <a:gd name="connsiteX267" fmla="*/ 287942 w 1369800"/>
                    <a:gd name="connsiteY267" fmla="*/ 302574 h 1303338"/>
                    <a:gd name="connsiteX268" fmla="*/ 283659 w 1369800"/>
                    <a:gd name="connsiteY268" fmla="*/ 337470 h 1303338"/>
                    <a:gd name="connsiteX269" fmla="*/ 283659 w 1369800"/>
                    <a:gd name="connsiteY269" fmla="*/ 338182 h 1303338"/>
                    <a:gd name="connsiteX270" fmla="*/ 273666 w 1369800"/>
                    <a:gd name="connsiteY270" fmla="*/ 351001 h 1303338"/>
                    <a:gd name="connsiteX271" fmla="*/ 267241 w 1369800"/>
                    <a:gd name="connsiteY271" fmla="*/ 351001 h 1303338"/>
                    <a:gd name="connsiteX272" fmla="*/ 242972 w 1369800"/>
                    <a:gd name="connsiteY272" fmla="*/ 281922 h 1303338"/>
                    <a:gd name="connsiteX273" fmla="*/ 113059 w 1369800"/>
                    <a:gd name="connsiteY273" fmla="*/ 276937 h 1303338"/>
                    <a:gd name="connsiteX274" fmla="*/ 111632 w 1369800"/>
                    <a:gd name="connsiteY274" fmla="*/ 352425 h 1303338"/>
                    <a:gd name="connsiteX275" fmla="*/ 104494 w 1369800"/>
                    <a:gd name="connsiteY275" fmla="*/ 352425 h 1303338"/>
                    <a:gd name="connsiteX276" fmla="*/ 93787 w 1369800"/>
                    <a:gd name="connsiteY276" fmla="*/ 336758 h 1303338"/>
                    <a:gd name="connsiteX277" fmla="*/ 90218 w 1369800"/>
                    <a:gd name="connsiteY277" fmla="*/ 302574 h 1303338"/>
                    <a:gd name="connsiteX278" fmla="*/ 188723 w 1369800"/>
                    <a:gd name="connsiteY278" fmla="*/ 200025 h 1303338"/>
                    <a:gd name="connsiteX279" fmla="*/ 759004 w 1369800"/>
                    <a:gd name="connsiteY279" fmla="*/ 188912 h 1303338"/>
                    <a:gd name="connsiteX280" fmla="*/ 783243 w 1369800"/>
                    <a:gd name="connsiteY280" fmla="*/ 240347 h 1303338"/>
                    <a:gd name="connsiteX281" fmla="*/ 734030 w 1369800"/>
                    <a:gd name="connsiteY281" fmla="*/ 257493 h 1303338"/>
                    <a:gd name="connsiteX282" fmla="*/ 734030 w 1369800"/>
                    <a:gd name="connsiteY282" fmla="*/ 239633 h 1303338"/>
                    <a:gd name="connsiteX283" fmla="*/ 752393 w 1369800"/>
                    <a:gd name="connsiteY283" fmla="*/ 205343 h 1303338"/>
                    <a:gd name="connsiteX284" fmla="*/ 759004 w 1369800"/>
                    <a:gd name="connsiteY284" fmla="*/ 188912 h 1303338"/>
                    <a:gd name="connsiteX285" fmla="*/ 580565 w 1369800"/>
                    <a:gd name="connsiteY285" fmla="*/ 188912 h 1303338"/>
                    <a:gd name="connsiteX286" fmla="*/ 587673 w 1369800"/>
                    <a:gd name="connsiteY286" fmla="*/ 206057 h 1303338"/>
                    <a:gd name="connsiteX287" fmla="*/ 605443 w 1369800"/>
                    <a:gd name="connsiteY287" fmla="*/ 240347 h 1303338"/>
                    <a:gd name="connsiteX288" fmla="*/ 605443 w 1369800"/>
                    <a:gd name="connsiteY288" fmla="*/ 257493 h 1303338"/>
                    <a:gd name="connsiteX289" fmla="*/ 557818 w 1369800"/>
                    <a:gd name="connsiteY289" fmla="*/ 241062 h 1303338"/>
                    <a:gd name="connsiteX290" fmla="*/ 580565 w 1369800"/>
                    <a:gd name="connsiteY290" fmla="*/ 188912 h 1303338"/>
                    <a:gd name="connsiteX291" fmla="*/ 770542 w 1369800"/>
                    <a:gd name="connsiteY291" fmla="*/ 149225 h 1303338"/>
                    <a:gd name="connsiteX292" fmla="*/ 770542 w 1369800"/>
                    <a:gd name="connsiteY292" fmla="*/ 149940 h 1303338"/>
                    <a:gd name="connsiteX293" fmla="*/ 756162 w 1369800"/>
                    <a:gd name="connsiteY293" fmla="*/ 172832 h 1303338"/>
                    <a:gd name="connsiteX294" fmla="*/ 725965 w 1369800"/>
                    <a:gd name="connsiteY294" fmla="*/ 235783 h 1303338"/>
                    <a:gd name="connsiteX295" fmla="*/ 725965 w 1369800"/>
                    <a:gd name="connsiteY295" fmla="*/ 255813 h 1303338"/>
                    <a:gd name="connsiteX296" fmla="*/ 724527 w 1369800"/>
                    <a:gd name="connsiteY296" fmla="*/ 257959 h 1303338"/>
                    <a:gd name="connsiteX297" fmla="*/ 716618 w 1369800"/>
                    <a:gd name="connsiteY297" fmla="*/ 265113 h 1303338"/>
                    <a:gd name="connsiteX298" fmla="*/ 716618 w 1369800"/>
                    <a:gd name="connsiteY298" fmla="*/ 242937 h 1303338"/>
                    <a:gd name="connsiteX299" fmla="*/ 670604 w 1369800"/>
                    <a:gd name="connsiteY299" fmla="*/ 262967 h 1303338"/>
                    <a:gd name="connsiteX300" fmla="*/ 625308 w 1369800"/>
                    <a:gd name="connsiteY300" fmla="*/ 242937 h 1303338"/>
                    <a:gd name="connsiteX301" fmla="*/ 625308 w 1369800"/>
                    <a:gd name="connsiteY301" fmla="*/ 265113 h 1303338"/>
                    <a:gd name="connsiteX302" fmla="*/ 617399 w 1369800"/>
                    <a:gd name="connsiteY302" fmla="*/ 257959 h 1303338"/>
                    <a:gd name="connsiteX303" fmla="*/ 615961 w 1369800"/>
                    <a:gd name="connsiteY303" fmla="*/ 255813 h 1303338"/>
                    <a:gd name="connsiteX304" fmla="*/ 615961 w 1369800"/>
                    <a:gd name="connsiteY304" fmla="*/ 235783 h 1303338"/>
                    <a:gd name="connsiteX305" fmla="*/ 586483 w 1369800"/>
                    <a:gd name="connsiteY305" fmla="*/ 172832 h 1303338"/>
                    <a:gd name="connsiteX306" fmla="*/ 572104 w 1369800"/>
                    <a:gd name="connsiteY306" fmla="*/ 150656 h 1303338"/>
                    <a:gd name="connsiteX307" fmla="*/ 572104 w 1369800"/>
                    <a:gd name="connsiteY307" fmla="*/ 149940 h 1303338"/>
                    <a:gd name="connsiteX308" fmla="*/ 582169 w 1369800"/>
                    <a:gd name="connsiteY308" fmla="*/ 154948 h 1303338"/>
                    <a:gd name="connsiteX309" fmla="*/ 592235 w 1369800"/>
                    <a:gd name="connsiteY309" fmla="*/ 164963 h 1303338"/>
                    <a:gd name="connsiteX310" fmla="*/ 594392 w 1369800"/>
                    <a:gd name="connsiteY310" fmla="*/ 167824 h 1303338"/>
                    <a:gd name="connsiteX311" fmla="*/ 623870 w 1369800"/>
                    <a:gd name="connsiteY311" fmla="*/ 230776 h 1303338"/>
                    <a:gd name="connsiteX312" fmla="*/ 670604 w 1369800"/>
                    <a:gd name="connsiteY312" fmla="*/ 253667 h 1303338"/>
                    <a:gd name="connsiteX313" fmla="*/ 718056 w 1369800"/>
                    <a:gd name="connsiteY313" fmla="*/ 230776 h 1303338"/>
                    <a:gd name="connsiteX314" fmla="*/ 747534 w 1369800"/>
                    <a:gd name="connsiteY314" fmla="*/ 167824 h 1303338"/>
                    <a:gd name="connsiteX315" fmla="*/ 749691 w 1369800"/>
                    <a:gd name="connsiteY315" fmla="*/ 164963 h 1303338"/>
                    <a:gd name="connsiteX316" fmla="*/ 759757 w 1369800"/>
                    <a:gd name="connsiteY316" fmla="*/ 154948 h 1303338"/>
                    <a:gd name="connsiteX317" fmla="*/ 770542 w 1369800"/>
                    <a:gd name="connsiteY317" fmla="*/ 149225 h 1303338"/>
                    <a:gd name="connsiteX318" fmla="*/ 671324 w 1369800"/>
                    <a:gd name="connsiteY318" fmla="*/ 0 h 1303338"/>
                    <a:gd name="connsiteX319" fmla="*/ 769824 w 1369800"/>
                    <a:gd name="connsiteY319" fmla="*/ 99959 h 1303338"/>
                    <a:gd name="connsiteX320" fmla="*/ 766229 w 1369800"/>
                    <a:gd name="connsiteY320" fmla="*/ 133517 h 1303338"/>
                    <a:gd name="connsiteX321" fmla="*/ 755445 w 1369800"/>
                    <a:gd name="connsiteY321" fmla="*/ 148511 h 1303338"/>
                    <a:gd name="connsiteX322" fmla="*/ 754007 w 1369800"/>
                    <a:gd name="connsiteY322" fmla="*/ 149225 h 1303338"/>
                    <a:gd name="connsiteX323" fmla="*/ 748255 w 1369800"/>
                    <a:gd name="connsiteY323" fmla="*/ 149225 h 1303338"/>
                    <a:gd name="connsiteX324" fmla="*/ 747536 w 1369800"/>
                    <a:gd name="connsiteY324" fmla="*/ 149225 h 1303338"/>
                    <a:gd name="connsiteX325" fmla="*/ 617401 w 1369800"/>
                    <a:gd name="connsiteY325" fmla="*/ 79968 h 1303338"/>
                    <a:gd name="connsiteX326" fmla="*/ 616682 w 1369800"/>
                    <a:gd name="connsiteY326" fmla="*/ 79968 h 1303338"/>
                    <a:gd name="connsiteX327" fmla="*/ 577138 w 1369800"/>
                    <a:gd name="connsiteY327" fmla="*/ 140657 h 1303338"/>
                    <a:gd name="connsiteX328" fmla="*/ 572105 w 1369800"/>
                    <a:gd name="connsiteY328" fmla="*/ 99959 h 1303338"/>
                    <a:gd name="connsiteX329" fmla="*/ 671324 w 1369800"/>
                    <a:gd name="connsiteY329" fmla="*/ 0 h 1303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  <a:cxn ang="0">
                      <a:pos x="connsiteX304" y="connsiteY304"/>
                    </a:cxn>
                    <a:cxn ang="0">
                      <a:pos x="connsiteX305" y="connsiteY305"/>
                    </a:cxn>
                    <a:cxn ang="0">
                      <a:pos x="connsiteX306" y="connsiteY306"/>
                    </a:cxn>
                    <a:cxn ang="0">
                      <a:pos x="connsiteX307" y="connsiteY307"/>
                    </a:cxn>
                    <a:cxn ang="0">
                      <a:pos x="connsiteX308" y="connsiteY308"/>
                    </a:cxn>
                    <a:cxn ang="0">
                      <a:pos x="connsiteX309" y="connsiteY309"/>
                    </a:cxn>
                    <a:cxn ang="0">
                      <a:pos x="connsiteX310" y="connsiteY310"/>
                    </a:cxn>
                    <a:cxn ang="0">
                      <a:pos x="connsiteX311" y="connsiteY311"/>
                    </a:cxn>
                    <a:cxn ang="0">
                      <a:pos x="connsiteX312" y="connsiteY312"/>
                    </a:cxn>
                    <a:cxn ang="0">
                      <a:pos x="connsiteX313" y="connsiteY313"/>
                    </a:cxn>
                    <a:cxn ang="0">
                      <a:pos x="connsiteX314" y="connsiteY314"/>
                    </a:cxn>
                    <a:cxn ang="0">
                      <a:pos x="connsiteX315" y="connsiteY315"/>
                    </a:cxn>
                    <a:cxn ang="0">
                      <a:pos x="connsiteX316" y="connsiteY316"/>
                    </a:cxn>
                    <a:cxn ang="0">
                      <a:pos x="connsiteX317" y="connsiteY317"/>
                    </a:cxn>
                    <a:cxn ang="0">
                      <a:pos x="connsiteX318" y="connsiteY318"/>
                    </a:cxn>
                    <a:cxn ang="0">
                      <a:pos x="connsiteX319" y="connsiteY319"/>
                    </a:cxn>
                    <a:cxn ang="0">
                      <a:pos x="connsiteX320" y="connsiteY320"/>
                    </a:cxn>
                    <a:cxn ang="0">
                      <a:pos x="connsiteX321" y="connsiteY321"/>
                    </a:cxn>
                    <a:cxn ang="0">
                      <a:pos x="connsiteX322" y="connsiteY322"/>
                    </a:cxn>
                    <a:cxn ang="0">
                      <a:pos x="connsiteX323" y="connsiteY323"/>
                    </a:cxn>
                    <a:cxn ang="0">
                      <a:pos x="connsiteX324" y="connsiteY324"/>
                    </a:cxn>
                    <a:cxn ang="0">
                      <a:pos x="connsiteX325" y="connsiteY325"/>
                    </a:cxn>
                    <a:cxn ang="0">
                      <a:pos x="connsiteX326" y="connsiteY326"/>
                    </a:cxn>
                    <a:cxn ang="0">
                      <a:pos x="connsiteX327" y="connsiteY327"/>
                    </a:cxn>
                    <a:cxn ang="0">
                      <a:pos x="connsiteX328" y="connsiteY328"/>
                    </a:cxn>
                    <a:cxn ang="0">
                      <a:pos x="connsiteX329" y="connsiteY329"/>
                    </a:cxn>
                  </a:cxnLst>
                  <a:rect l="l" t="t" r="r" b="b"/>
                  <a:pathLst>
                    <a:path w="1369800" h="1303338">
                      <a:moveTo>
                        <a:pt x="1103167" y="1027113"/>
                      </a:moveTo>
                      <a:cubicBezTo>
                        <a:pt x="1103167" y="1027113"/>
                        <a:pt x="1103167" y="1027113"/>
                        <a:pt x="1061055" y="1079144"/>
                      </a:cubicBezTo>
                      <a:cubicBezTo>
                        <a:pt x="1061055" y="1079144"/>
                        <a:pt x="1061055" y="1079144"/>
                        <a:pt x="1294455" y="1271588"/>
                      </a:cubicBezTo>
                      <a:cubicBezTo>
                        <a:pt x="1299451" y="1270163"/>
                        <a:pt x="1309444" y="1264461"/>
                        <a:pt x="1320150" y="1250918"/>
                      </a:cubicBezTo>
                      <a:cubicBezTo>
                        <a:pt x="1320150" y="1250918"/>
                        <a:pt x="1320150" y="1250918"/>
                        <a:pt x="1320864" y="1250205"/>
                      </a:cubicBezTo>
                      <a:lnTo>
                        <a:pt x="1321578" y="1249493"/>
                      </a:lnTo>
                      <a:cubicBezTo>
                        <a:pt x="1332284" y="1236663"/>
                        <a:pt x="1336566" y="1225259"/>
                        <a:pt x="1337280" y="1220270"/>
                      </a:cubicBezTo>
                      <a:cubicBezTo>
                        <a:pt x="1337280" y="1220270"/>
                        <a:pt x="1337280" y="1220270"/>
                        <a:pt x="1103167" y="1027113"/>
                      </a:cubicBezTo>
                      <a:close/>
                      <a:moveTo>
                        <a:pt x="1099604" y="988073"/>
                      </a:moveTo>
                      <a:cubicBezTo>
                        <a:pt x="1103637" y="987626"/>
                        <a:pt x="1107759" y="988699"/>
                        <a:pt x="1110985" y="991559"/>
                      </a:cubicBezTo>
                      <a:cubicBezTo>
                        <a:pt x="1110985" y="991559"/>
                        <a:pt x="1110985" y="991559"/>
                        <a:pt x="1361913" y="1198220"/>
                      </a:cubicBezTo>
                      <a:cubicBezTo>
                        <a:pt x="1376968" y="1210376"/>
                        <a:pt x="1369799" y="1242555"/>
                        <a:pt x="1346140" y="1269729"/>
                      </a:cubicBezTo>
                      <a:cubicBezTo>
                        <a:pt x="1329650" y="1291182"/>
                        <a:pt x="1308859" y="1303338"/>
                        <a:pt x="1293087" y="1303338"/>
                      </a:cubicBezTo>
                      <a:cubicBezTo>
                        <a:pt x="1287351" y="1303338"/>
                        <a:pt x="1283050" y="1301908"/>
                        <a:pt x="1278748" y="1299048"/>
                      </a:cubicBezTo>
                      <a:cubicBezTo>
                        <a:pt x="1278748" y="1299048"/>
                        <a:pt x="1278748" y="1299048"/>
                        <a:pt x="1028538" y="1092387"/>
                      </a:cubicBezTo>
                      <a:cubicBezTo>
                        <a:pt x="1022085" y="1086666"/>
                        <a:pt x="1021368" y="1076655"/>
                        <a:pt x="1026387" y="1070219"/>
                      </a:cubicBezTo>
                      <a:cubicBezTo>
                        <a:pt x="1026387" y="1070219"/>
                        <a:pt x="1026387" y="1070219"/>
                        <a:pt x="1088760" y="993704"/>
                      </a:cubicBezTo>
                      <a:cubicBezTo>
                        <a:pt x="1091628" y="990486"/>
                        <a:pt x="1095571" y="988520"/>
                        <a:pt x="1099604" y="988073"/>
                      </a:cubicBezTo>
                      <a:close/>
                      <a:moveTo>
                        <a:pt x="132391" y="950912"/>
                      </a:moveTo>
                      <a:cubicBezTo>
                        <a:pt x="132391" y="950912"/>
                        <a:pt x="172354" y="983773"/>
                        <a:pt x="191621" y="998775"/>
                      </a:cubicBezTo>
                      <a:cubicBezTo>
                        <a:pt x="192335" y="999490"/>
                        <a:pt x="193762" y="999490"/>
                        <a:pt x="194476" y="998775"/>
                      </a:cubicBezTo>
                      <a:cubicBezTo>
                        <a:pt x="220166" y="978058"/>
                        <a:pt x="252993" y="950912"/>
                        <a:pt x="252993" y="950912"/>
                      </a:cubicBezTo>
                      <a:cubicBezTo>
                        <a:pt x="252993" y="950912"/>
                        <a:pt x="305800" y="950912"/>
                        <a:pt x="333632" y="963771"/>
                      </a:cubicBezTo>
                      <a:cubicBezTo>
                        <a:pt x="357181" y="974486"/>
                        <a:pt x="372881" y="1014492"/>
                        <a:pt x="378590" y="1029493"/>
                      </a:cubicBezTo>
                      <a:cubicBezTo>
                        <a:pt x="380017" y="1032351"/>
                        <a:pt x="377876" y="1036637"/>
                        <a:pt x="374308" y="1036637"/>
                      </a:cubicBezTo>
                      <a:cubicBezTo>
                        <a:pt x="374308" y="1036637"/>
                        <a:pt x="374308" y="1036637"/>
                        <a:pt x="11076" y="1036637"/>
                      </a:cubicBezTo>
                      <a:cubicBezTo>
                        <a:pt x="7508" y="1036637"/>
                        <a:pt x="5367" y="1032351"/>
                        <a:pt x="6794" y="1029493"/>
                      </a:cubicBezTo>
                      <a:cubicBezTo>
                        <a:pt x="12503" y="1014492"/>
                        <a:pt x="28916" y="974486"/>
                        <a:pt x="51752" y="963771"/>
                      </a:cubicBezTo>
                      <a:cubicBezTo>
                        <a:pt x="80297" y="950912"/>
                        <a:pt x="132391" y="950912"/>
                        <a:pt x="132391" y="950912"/>
                      </a:cubicBezTo>
                      <a:close/>
                      <a:moveTo>
                        <a:pt x="691518" y="855662"/>
                      </a:moveTo>
                      <a:cubicBezTo>
                        <a:pt x="697814" y="855662"/>
                        <a:pt x="705509" y="857814"/>
                        <a:pt x="709707" y="859965"/>
                      </a:cubicBezTo>
                      <a:cubicBezTo>
                        <a:pt x="711106" y="859965"/>
                        <a:pt x="711805" y="862834"/>
                        <a:pt x="711106" y="864985"/>
                      </a:cubicBezTo>
                      <a:cubicBezTo>
                        <a:pt x="711106" y="864985"/>
                        <a:pt x="711106" y="864985"/>
                        <a:pt x="699213" y="899409"/>
                      </a:cubicBezTo>
                      <a:cubicBezTo>
                        <a:pt x="699213" y="900126"/>
                        <a:pt x="698513" y="900843"/>
                        <a:pt x="699213" y="902278"/>
                      </a:cubicBezTo>
                      <a:cubicBezTo>
                        <a:pt x="699213" y="902278"/>
                        <a:pt x="699213" y="894389"/>
                        <a:pt x="709707" y="1014872"/>
                      </a:cubicBezTo>
                      <a:cubicBezTo>
                        <a:pt x="709707" y="1016306"/>
                        <a:pt x="709007" y="1017741"/>
                        <a:pt x="706908" y="1017741"/>
                      </a:cubicBezTo>
                      <a:cubicBezTo>
                        <a:pt x="701312" y="1018458"/>
                        <a:pt x="696415" y="1019175"/>
                        <a:pt x="690818" y="1019175"/>
                      </a:cubicBezTo>
                      <a:cubicBezTo>
                        <a:pt x="685221" y="1019175"/>
                        <a:pt x="680324" y="1018458"/>
                        <a:pt x="674728" y="1017741"/>
                      </a:cubicBezTo>
                      <a:cubicBezTo>
                        <a:pt x="673329" y="1017741"/>
                        <a:pt x="671929" y="1016306"/>
                        <a:pt x="671929" y="1014872"/>
                      </a:cubicBezTo>
                      <a:cubicBezTo>
                        <a:pt x="673329" y="1004115"/>
                        <a:pt x="677526" y="963236"/>
                        <a:pt x="683123" y="900843"/>
                      </a:cubicBezTo>
                      <a:cubicBezTo>
                        <a:pt x="683123" y="900126"/>
                        <a:pt x="683123" y="900126"/>
                        <a:pt x="683123" y="899409"/>
                      </a:cubicBezTo>
                      <a:cubicBezTo>
                        <a:pt x="683123" y="899409"/>
                        <a:pt x="683123" y="899409"/>
                        <a:pt x="670530" y="864985"/>
                      </a:cubicBezTo>
                      <a:cubicBezTo>
                        <a:pt x="670530" y="862834"/>
                        <a:pt x="670530" y="859965"/>
                        <a:pt x="671929" y="859965"/>
                      </a:cubicBezTo>
                      <a:cubicBezTo>
                        <a:pt x="676127" y="857814"/>
                        <a:pt x="684522" y="855662"/>
                        <a:pt x="691518" y="855662"/>
                      </a:cubicBezTo>
                      <a:close/>
                      <a:moveTo>
                        <a:pt x="92679" y="836612"/>
                      </a:moveTo>
                      <a:cubicBezTo>
                        <a:pt x="92679" y="836612"/>
                        <a:pt x="92679" y="836612"/>
                        <a:pt x="103394" y="841589"/>
                      </a:cubicBezTo>
                      <a:cubicBezTo>
                        <a:pt x="104823" y="845854"/>
                        <a:pt x="107681" y="850120"/>
                        <a:pt x="113396" y="853675"/>
                      </a:cubicBezTo>
                      <a:cubicBezTo>
                        <a:pt x="114110" y="853675"/>
                        <a:pt x="114824" y="855097"/>
                        <a:pt x="115539" y="855808"/>
                      </a:cubicBezTo>
                      <a:cubicBezTo>
                        <a:pt x="124111" y="877137"/>
                        <a:pt x="139113" y="912686"/>
                        <a:pt x="144828" y="917662"/>
                      </a:cubicBezTo>
                      <a:cubicBezTo>
                        <a:pt x="154115" y="926194"/>
                        <a:pt x="179118" y="941124"/>
                        <a:pt x="192691" y="941124"/>
                      </a:cubicBezTo>
                      <a:cubicBezTo>
                        <a:pt x="205550" y="941124"/>
                        <a:pt x="230553" y="926194"/>
                        <a:pt x="239840" y="917662"/>
                      </a:cubicBezTo>
                      <a:cubicBezTo>
                        <a:pt x="245555" y="912686"/>
                        <a:pt x="261986" y="877137"/>
                        <a:pt x="270558" y="855808"/>
                      </a:cubicBezTo>
                      <a:cubicBezTo>
                        <a:pt x="271273" y="855097"/>
                        <a:pt x="271987" y="853675"/>
                        <a:pt x="272701" y="853675"/>
                      </a:cubicBezTo>
                      <a:cubicBezTo>
                        <a:pt x="277702" y="850120"/>
                        <a:pt x="280559" y="845854"/>
                        <a:pt x="281988" y="841589"/>
                      </a:cubicBezTo>
                      <a:cubicBezTo>
                        <a:pt x="281988" y="841589"/>
                        <a:pt x="281988" y="841589"/>
                        <a:pt x="292704" y="836612"/>
                      </a:cubicBezTo>
                      <a:cubicBezTo>
                        <a:pt x="292704" y="836612"/>
                        <a:pt x="292704" y="836612"/>
                        <a:pt x="292704" y="837323"/>
                      </a:cubicBezTo>
                      <a:cubicBezTo>
                        <a:pt x="291989" y="841589"/>
                        <a:pt x="289132" y="854386"/>
                        <a:pt x="278416" y="860074"/>
                      </a:cubicBezTo>
                      <a:cubicBezTo>
                        <a:pt x="274130" y="871449"/>
                        <a:pt x="256985" y="911264"/>
                        <a:pt x="247698" y="922639"/>
                      </a:cubicBezTo>
                      <a:cubicBezTo>
                        <a:pt x="247698" y="922639"/>
                        <a:pt x="247698" y="922639"/>
                        <a:pt x="247698" y="942546"/>
                      </a:cubicBezTo>
                      <a:cubicBezTo>
                        <a:pt x="247698" y="942546"/>
                        <a:pt x="247698" y="942546"/>
                        <a:pt x="246269" y="944679"/>
                      </a:cubicBezTo>
                      <a:cubicBezTo>
                        <a:pt x="246269" y="944679"/>
                        <a:pt x="243412" y="948234"/>
                        <a:pt x="238411" y="952500"/>
                      </a:cubicBezTo>
                      <a:cubicBezTo>
                        <a:pt x="238411" y="952500"/>
                        <a:pt x="238411" y="952500"/>
                        <a:pt x="238411" y="929749"/>
                      </a:cubicBezTo>
                      <a:cubicBezTo>
                        <a:pt x="226267" y="938991"/>
                        <a:pt x="205550" y="950367"/>
                        <a:pt x="192691" y="950367"/>
                      </a:cubicBezTo>
                      <a:cubicBezTo>
                        <a:pt x="179118" y="950367"/>
                        <a:pt x="159116" y="938991"/>
                        <a:pt x="146257" y="929749"/>
                      </a:cubicBezTo>
                      <a:cubicBezTo>
                        <a:pt x="146257" y="929749"/>
                        <a:pt x="146257" y="929749"/>
                        <a:pt x="146257" y="952500"/>
                      </a:cubicBezTo>
                      <a:cubicBezTo>
                        <a:pt x="141256" y="948234"/>
                        <a:pt x="139113" y="944679"/>
                        <a:pt x="138399" y="944679"/>
                      </a:cubicBezTo>
                      <a:cubicBezTo>
                        <a:pt x="138399" y="944679"/>
                        <a:pt x="138399" y="944679"/>
                        <a:pt x="136970" y="942546"/>
                      </a:cubicBezTo>
                      <a:cubicBezTo>
                        <a:pt x="136970" y="942546"/>
                        <a:pt x="136970" y="942546"/>
                        <a:pt x="136970" y="922639"/>
                      </a:cubicBezTo>
                      <a:cubicBezTo>
                        <a:pt x="128398" y="911264"/>
                        <a:pt x="111967" y="871449"/>
                        <a:pt x="107681" y="860074"/>
                      </a:cubicBezTo>
                      <a:cubicBezTo>
                        <a:pt x="96965" y="854386"/>
                        <a:pt x="94108" y="843722"/>
                        <a:pt x="92679" y="837323"/>
                      </a:cubicBezTo>
                      <a:cubicBezTo>
                        <a:pt x="92679" y="837323"/>
                        <a:pt x="92679" y="837323"/>
                        <a:pt x="92679" y="836612"/>
                      </a:cubicBezTo>
                      <a:close/>
                      <a:moveTo>
                        <a:pt x="192693" y="687387"/>
                      </a:moveTo>
                      <a:cubicBezTo>
                        <a:pt x="248324" y="687387"/>
                        <a:pt x="291118" y="732369"/>
                        <a:pt x="291118" y="786632"/>
                      </a:cubicBezTo>
                      <a:cubicBezTo>
                        <a:pt x="291118" y="798770"/>
                        <a:pt x="289691" y="817334"/>
                        <a:pt x="285412" y="827330"/>
                      </a:cubicBezTo>
                      <a:cubicBezTo>
                        <a:pt x="276140" y="836612"/>
                        <a:pt x="276853" y="776637"/>
                        <a:pt x="247611" y="767355"/>
                      </a:cubicBezTo>
                      <a:cubicBezTo>
                        <a:pt x="246898" y="767355"/>
                        <a:pt x="246898" y="767355"/>
                        <a:pt x="246185" y="767355"/>
                      </a:cubicBezTo>
                      <a:cubicBezTo>
                        <a:pt x="117091" y="835898"/>
                        <a:pt x="117091" y="835898"/>
                        <a:pt x="117091" y="835898"/>
                      </a:cubicBezTo>
                      <a:cubicBezTo>
                        <a:pt x="116378" y="835898"/>
                        <a:pt x="116378" y="835898"/>
                        <a:pt x="116378" y="835898"/>
                      </a:cubicBezTo>
                      <a:cubicBezTo>
                        <a:pt x="109959" y="835898"/>
                        <a:pt x="109959" y="835898"/>
                        <a:pt x="109959" y="835898"/>
                      </a:cubicBezTo>
                      <a:cubicBezTo>
                        <a:pt x="109245" y="835898"/>
                        <a:pt x="109245" y="835898"/>
                        <a:pt x="108532" y="835184"/>
                      </a:cubicBezTo>
                      <a:cubicBezTo>
                        <a:pt x="99974" y="825188"/>
                        <a:pt x="97834" y="820190"/>
                        <a:pt x="97834" y="820190"/>
                      </a:cubicBezTo>
                      <a:cubicBezTo>
                        <a:pt x="94268" y="810194"/>
                        <a:pt x="94268" y="798770"/>
                        <a:pt x="94268" y="786632"/>
                      </a:cubicBezTo>
                      <a:cubicBezTo>
                        <a:pt x="94268" y="732369"/>
                        <a:pt x="137061" y="687387"/>
                        <a:pt x="192693" y="687387"/>
                      </a:cubicBezTo>
                      <a:close/>
                      <a:moveTo>
                        <a:pt x="554642" y="674687"/>
                      </a:moveTo>
                      <a:cubicBezTo>
                        <a:pt x="554642" y="674687"/>
                        <a:pt x="554642" y="674687"/>
                        <a:pt x="568975" y="681838"/>
                      </a:cubicBezTo>
                      <a:cubicBezTo>
                        <a:pt x="571125" y="687558"/>
                        <a:pt x="575425" y="693279"/>
                        <a:pt x="583308" y="697570"/>
                      </a:cubicBezTo>
                      <a:cubicBezTo>
                        <a:pt x="584742" y="698285"/>
                        <a:pt x="585458" y="699000"/>
                        <a:pt x="586175" y="700430"/>
                      </a:cubicBezTo>
                      <a:cubicBezTo>
                        <a:pt x="597642" y="729034"/>
                        <a:pt x="619142" y="777660"/>
                        <a:pt x="627025" y="784811"/>
                      </a:cubicBezTo>
                      <a:cubicBezTo>
                        <a:pt x="639925" y="796252"/>
                        <a:pt x="672892" y="816990"/>
                        <a:pt x="691525" y="816990"/>
                      </a:cubicBezTo>
                      <a:cubicBezTo>
                        <a:pt x="710158" y="816990"/>
                        <a:pt x="743842" y="796252"/>
                        <a:pt x="756742" y="784811"/>
                      </a:cubicBezTo>
                      <a:cubicBezTo>
                        <a:pt x="764625" y="777660"/>
                        <a:pt x="785408" y="729034"/>
                        <a:pt x="797592" y="700430"/>
                      </a:cubicBezTo>
                      <a:cubicBezTo>
                        <a:pt x="797592" y="699000"/>
                        <a:pt x="799025" y="698285"/>
                        <a:pt x="800458" y="697570"/>
                      </a:cubicBezTo>
                      <a:cubicBezTo>
                        <a:pt x="807625" y="693279"/>
                        <a:pt x="811925" y="687558"/>
                        <a:pt x="814075" y="681838"/>
                      </a:cubicBezTo>
                      <a:cubicBezTo>
                        <a:pt x="814075" y="681838"/>
                        <a:pt x="814075" y="681838"/>
                        <a:pt x="827692" y="674687"/>
                      </a:cubicBezTo>
                      <a:cubicBezTo>
                        <a:pt x="827692" y="675402"/>
                        <a:pt x="827692" y="675402"/>
                        <a:pt x="827692" y="675402"/>
                      </a:cubicBezTo>
                      <a:cubicBezTo>
                        <a:pt x="826975" y="682553"/>
                        <a:pt x="822675" y="698285"/>
                        <a:pt x="808342" y="706866"/>
                      </a:cubicBezTo>
                      <a:cubicBezTo>
                        <a:pt x="801892" y="722598"/>
                        <a:pt x="779675" y="776230"/>
                        <a:pt x="767492" y="791962"/>
                      </a:cubicBezTo>
                      <a:cubicBezTo>
                        <a:pt x="767492" y="791962"/>
                        <a:pt x="767492" y="791962"/>
                        <a:pt x="767492" y="819135"/>
                      </a:cubicBezTo>
                      <a:cubicBezTo>
                        <a:pt x="767492" y="819135"/>
                        <a:pt x="767492" y="819135"/>
                        <a:pt x="765342" y="821995"/>
                      </a:cubicBezTo>
                      <a:cubicBezTo>
                        <a:pt x="765342" y="822711"/>
                        <a:pt x="761758" y="827001"/>
                        <a:pt x="754592" y="833437"/>
                      </a:cubicBezTo>
                      <a:cubicBezTo>
                        <a:pt x="754592" y="833437"/>
                        <a:pt x="754592" y="833437"/>
                        <a:pt x="754592" y="802688"/>
                      </a:cubicBezTo>
                      <a:cubicBezTo>
                        <a:pt x="737392" y="814129"/>
                        <a:pt x="710875" y="829861"/>
                        <a:pt x="691525" y="829861"/>
                      </a:cubicBezTo>
                      <a:cubicBezTo>
                        <a:pt x="672892" y="829861"/>
                        <a:pt x="645658" y="814129"/>
                        <a:pt x="629175" y="802688"/>
                      </a:cubicBezTo>
                      <a:cubicBezTo>
                        <a:pt x="629175" y="802688"/>
                        <a:pt x="629175" y="802688"/>
                        <a:pt x="629175" y="833437"/>
                      </a:cubicBezTo>
                      <a:cubicBezTo>
                        <a:pt x="622008" y="827716"/>
                        <a:pt x="618425" y="822711"/>
                        <a:pt x="618425" y="821995"/>
                      </a:cubicBezTo>
                      <a:cubicBezTo>
                        <a:pt x="618425" y="821995"/>
                        <a:pt x="618425" y="821995"/>
                        <a:pt x="616275" y="819135"/>
                      </a:cubicBezTo>
                      <a:cubicBezTo>
                        <a:pt x="616275" y="819135"/>
                        <a:pt x="616275" y="819135"/>
                        <a:pt x="616275" y="791962"/>
                      </a:cubicBezTo>
                      <a:cubicBezTo>
                        <a:pt x="604092" y="776230"/>
                        <a:pt x="581875" y="722598"/>
                        <a:pt x="574708" y="706866"/>
                      </a:cubicBezTo>
                      <a:cubicBezTo>
                        <a:pt x="560375" y="699000"/>
                        <a:pt x="556075" y="684698"/>
                        <a:pt x="554642" y="676117"/>
                      </a:cubicBezTo>
                      <a:cubicBezTo>
                        <a:pt x="554642" y="676117"/>
                        <a:pt x="554642" y="675402"/>
                        <a:pt x="554642" y="674687"/>
                      </a:cubicBezTo>
                      <a:close/>
                      <a:moveTo>
                        <a:pt x="1105315" y="476250"/>
                      </a:moveTo>
                      <a:cubicBezTo>
                        <a:pt x="1114637" y="485613"/>
                        <a:pt x="1133997" y="510102"/>
                        <a:pt x="1178454" y="510102"/>
                      </a:cubicBezTo>
                      <a:cubicBezTo>
                        <a:pt x="1220759" y="510102"/>
                        <a:pt x="1237968" y="489935"/>
                        <a:pt x="1248724" y="476250"/>
                      </a:cubicBezTo>
                      <a:cubicBezTo>
                        <a:pt x="1254460" y="476250"/>
                        <a:pt x="1340506" y="487054"/>
                        <a:pt x="1348393" y="546836"/>
                      </a:cubicBezTo>
                      <a:cubicBezTo>
                        <a:pt x="1348393" y="547556"/>
                        <a:pt x="1348393" y="547556"/>
                        <a:pt x="1348393" y="548276"/>
                      </a:cubicBezTo>
                      <a:cubicBezTo>
                        <a:pt x="1348393" y="551157"/>
                        <a:pt x="1346242" y="554038"/>
                        <a:pt x="1343374" y="554038"/>
                      </a:cubicBezTo>
                      <a:cubicBezTo>
                        <a:pt x="1343374" y="554038"/>
                        <a:pt x="1343374" y="554038"/>
                        <a:pt x="1012817" y="554038"/>
                      </a:cubicBezTo>
                      <a:cubicBezTo>
                        <a:pt x="1009948" y="554038"/>
                        <a:pt x="1007080" y="551157"/>
                        <a:pt x="1007797" y="548276"/>
                      </a:cubicBezTo>
                      <a:cubicBezTo>
                        <a:pt x="1007797" y="546836"/>
                        <a:pt x="1007797" y="544675"/>
                        <a:pt x="1008514" y="543234"/>
                      </a:cubicBezTo>
                      <a:cubicBezTo>
                        <a:pt x="1015685" y="478411"/>
                        <a:pt x="1099579" y="476250"/>
                        <a:pt x="1105315" y="476250"/>
                      </a:cubicBezTo>
                      <a:close/>
                      <a:moveTo>
                        <a:pt x="690450" y="468312"/>
                      </a:moveTo>
                      <a:cubicBezTo>
                        <a:pt x="767250" y="468312"/>
                        <a:pt x="825387" y="531153"/>
                        <a:pt x="825387" y="607562"/>
                      </a:cubicBezTo>
                      <a:cubicBezTo>
                        <a:pt x="825387" y="623986"/>
                        <a:pt x="826105" y="638982"/>
                        <a:pt x="820363" y="653978"/>
                      </a:cubicBezTo>
                      <a:cubicBezTo>
                        <a:pt x="820363" y="653978"/>
                        <a:pt x="817492" y="661119"/>
                        <a:pt x="806008" y="674687"/>
                      </a:cubicBezTo>
                      <a:cubicBezTo>
                        <a:pt x="806008" y="674687"/>
                        <a:pt x="806008" y="674687"/>
                        <a:pt x="795960" y="674687"/>
                      </a:cubicBezTo>
                      <a:cubicBezTo>
                        <a:pt x="795960" y="674687"/>
                        <a:pt x="795960" y="670403"/>
                        <a:pt x="794524" y="573285"/>
                      </a:cubicBezTo>
                      <a:cubicBezTo>
                        <a:pt x="779451" y="651122"/>
                        <a:pt x="617239" y="578998"/>
                        <a:pt x="617239" y="578998"/>
                      </a:cubicBezTo>
                      <a:cubicBezTo>
                        <a:pt x="577045" y="592566"/>
                        <a:pt x="584223" y="673259"/>
                        <a:pt x="584223" y="673259"/>
                      </a:cubicBezTo>
                      <a:cubicBezTo>
                        <a:pt x="584223" y="673259"/>
                        <a:pt x="584223" y="673259"/>
                        <a:pt x="574892" y="671831"/>
                      </a:cubicBezTo>
                      <a:cubicBezTo>
                        <a:pt x="574892" y="671831"/>
                        <a:pt x="574892" y="667546"/>
                        <a:pt x="561254" y="655406"/>
                      </a:cubicBezTo>
                      <a:cubicBezTo>
                        <a:pt x="556230" y="640410"/>
                        <a:pt x="556948" y="624700"/>
                        <a:pt x="556948" y="607562"/>
                      </a:cubicBezTo>
                      <a:cubicBezTo>
                        <a:pt x="556948" y="531153"/>
                        <a:pt x="614368" y="468312"/>
                        <a:pt x="690450" y="468312"/>
                      </a:cubicBezTo>
                      <a:close/>
                      <a:moveTo>
                        <a:pt x="128400" y="468312"/>
                      </a:moveTo>
                      <a:cubicBezTo>
                        <a:pt x="128400" y="468312"/>
                        <a:pt x="139838" y="484743"/>
                        <a:pt x="163427" y="492601"/>
                      </a:cubicBezTo>
                      <a:cubicBezTo>
                        <a:pt x="163427" y="492601"/>
                        <a:pt x="163427" y="492601"/>
                        <a:pt x="189875" y="497602"/>
                      </a:cubicBezTo>
                      <a:cubicBezTo>
                        <a:pt x="189875" y="497602"/>
                        <a:pt x="189875" y="497602"/>
                        <a:pt x="215609" y="492601"/>
                      </a:cubicBezTo>
                      <a:cubicBezTo>
                        <a:pt x="239198" y="484743"/>
                        <a:pt x="251350" y="468312"/>
                        <a:pt x="251350" y="468312"/>
                      </a:cubicBezTo>
                      <a:cubicBezTo>
                        <a:pt x="251350" y="468312"/>
                        <a:pt x="304961" y="469027"/>
                        <a:pt x="332840" y="481885"/>
                      </a:cubicBezTo>
                      <a:cubicBezTo>
                        <a:pt x="356429" y="492601"/>
                        <a:pt x="373584" y="532606"/>
                        <a:pt x="379303" y="548322"/>
                      </a:cubicBezTo>
                      <a:cubicBezTo>
                        <a:pt x="380018" y="551180"/>
                        <a:pt x="377873" y="554037"/>
                        <a:pt x="375014" y="554037"/>
                      </a:cubicBezTo>
                      <a:cubicBezTo>
                        <a:pt x="375014" y="554037"/>
                        <a:pt x="375014" y="554037"/>
                        <a:pt x="4736" y="554037"/>
                      </a:cubicBezTo>
                      <a:cubicBezTo>
                        <a:pt x="1162" y="554037"/>
                        <a:pt x="-982" y="551180"/>
                        <a:pt x="447" y="548322"/>
                      </a:cubicBezTo>
                      <a:cubicBezTo>
                        <a:pt x="6166" y="532606"/>
                        <a:pt x="22607" y="492601"/>
                        <a:pt x="46196" y="481885"/>
                      </a:cubicBezTo>
                      <a:cubicBezTo>
                        <a:pt x="74789" y="469027"/>
                        <a:pt x="128400" y="468312"/>
                        <a:pt x="128400" y="468312"/>
                      </a:cubicBezTo>
                      <a:close/>
                      <a:moveTo>
                        <a:pt x="689222" y="441325"/>
                      </a:moveTo>
                      <a:cubicBezTo>
                        <a:pt x="526410" y="441325"/>
                        <a:pt x="394304" y="573236"/>
                        <a:pt x="394304" y="735807"/>
                      </a:cubicBezTo>
                      <a:cubicBezTo>
                        <a:pt x="394304" y="799266"/>
                        <a:pt x="414299" y="857735"/>
                        <a:pt x="447861" y="905508"/>
                      </a:cubicBezTo>
                      <a:cubicBezTo>
                        <a:pt x="447861" y="905508"/>
                        <a:pt x="447861" y="905508"/>
                        <a:pt x="448575" y="904795"/>
                      </a:cubicBezTo>
                      <a:cubicBezTo>
                        <a:pt x="458572" y="883404"/>
                        <a:pt x="474282" y="857735"/>
                        <a:pt x="497133" y="847039"/>
                      </a:cubicBezTo>
                      <a:cubicBezTo>
                        <a:pt x="532123" y="832066"/>
                        <a:pt x="592820" y="829927"/>
                        <a:pt x="605674" y="829927"/>
                      </a:cubicBezTo>
                      <a:cubicBezTo>
                        <a:pt x="605674" y="829927"/>
                        <a:pt x="606388" y="830640"/>
                        <a:pt x="607102" y="832066"/>
                      </a:cubicBezTo>
                      <a:cubicBezTo>
                        <a:pt x="636380" y="925473"/>
                        <a:pt x="654946" y="989645"/>
                        <a:pt x="662087" y="1016028"/>
                      </a:cubicBezTo>
                      <a:cubicBezTo>
                        <a:pt x="662087" y="1016028"/>
                        <a:pt x="662087" y="1016028"/>
                        <a:pt x="664229" y="1023871"/>
                      </a:cubicBezTo>
                      <a:cubicBezTo>
                        <a:pt x="664943" y="1026723"/>
                        <a:pt x="667800" y="1028862"/>
                        <a:pt x="670656" y="1028862"/>
                      </a:cubicBezTo>
                      <a:cubicBezTo>
                        <a:pt x="670656" y="1028862"/>
                        <a:pt x="670656" y="1028862"/>
                        <a:pt x="678511" y="1029575"/>
                      </a:cubicBezTo>
                      <a:cubicBezTo>
                        <a:pt x="685652" y="1030288"/>
                        <a:pt x="693507" y="1030288"/>
                        <a:pt x="700648" y="1029575"/>
                      </a:cubicBezTo>
                      <a:cubicBezTo>
                        <a:pt x="700648" y="1029575"/>
                        <a:pt x="700648" y="1029575"/>
                        <a:pt x="708503" y="1028862"/>
                      </a:cubicBezTo>
                      <a:cubicBezTo>
                        <a:pt x="712073" y="1028862"/>
                        <a:pt x="714215" y="1026723"/>
                        <a:pt x="714929" y="1023871"/>
                      </a:cubicBezTo>
                      <a:cubicBezTo>
                        <a:pt x="714929" y="1023871"/>
                        <a:pt x="714929" y="1023871"/>
                        <a:pt x="719214" y="1010323"/>
                      </a:cubicBezTo>
                      <a:cubicBezTo>
                        <a:pt x="727783" y="983941"/>
                        <a:pt x="743493" y="931890"/>
                        <a:pt x="772770" y="832066"/>
                      </a:cubicBezTo>
                      <a:cubicBezTo>
                        <a:pt x="772770" y="830640"/>
                        <a:pt x="774199" y="829927"/>
                        <a:pt x="775627" y="829927"/>
                      </a:cubicBezTo>
                      <a:cubicBezTo>
                        <a:pt x="788480" y="829927"/>
                        <a:pt x="849178" y="832066"/>
                        <a:pt x="883454" y="847039"/>
                      </a:cubicBezTo>
                      <a:cubicBezTo>
                        <a:pt x="894879" y="852744"/>
                        <a:pt x="904162" y="862013"/>
                        <a:pt x="912731" y="871995"/>
                      </a:cubicBezTo>
                      <a:cubicBezTo>
                        <a:pt x="912731" y="871995"/>
                        <a:pt x="912731" y="871995"/>
                        <a:pt x="932012" y="903369"/>
                      </a:cubicBezTo>
                      <a:lnTo>
                        <a:pt x="934154" y="901230"/>
                      </a:lnTo>
                      <a:cubicBezTo>
                        <a:pt x="966288" y="854170"/>
                        <a:pt x="984854" y="797127"/>
                        <a:pt x="984854" y="735807"/>
                      </a:cubicBezTo>
                      <a:cubicBezTo>
                        <a:pt x="984854" y="573236"/>
                        <a:pt x="852748" y="441325"/>
                        <a:pt x="689222" y="441325"/>
                      </a:cubicBezTo>
                      <a:close/>
                      <a:moveTo>
                        <a:pt x="720134" y="410928"/>
                      </a:moveTo>
                      <a:cubicBezTo>
                        <a:pt x="782985" y="416646"/>
                        <a:pt x="844408" y="440946"/>
                        <a:pt x="897261" y="483828"/>
                      </a:cubicBezTo>
                      <a:cubicBezTo>
                        <a:pt x="1019393" y="584601"/>
                        <a:pt x="1050104" y="757560"/>
                        <a:pt x="975825" y="891924"/>
                      </a:cubicBezTo>
                      <a:cubicBezTo>
                        <a:pt x="1061532" y="962680"/>
                        <a:pt x="1061532" y="962680"/>
                        <a:pt x="1061532" y="962680"/>
                      </a:cubicBezTo>
                      <a:cubicBezTo>
                        <a:pt x="1065103" y="966254"/>
                        <a:pt x="1065817" y="971971"/>
                        <a:pt x="1062960" y="975545"/>
                      </a:cubicBezTo>
                      <a:cubicBezTo>
                        <a:pt x="1001537" y="1050589"/>
                        <a:pt x="1001537" y="1050589"/>
                        <a:pt x="1001537" y="1050589"/>
                      </a:cubicBezTo>
                      <a:cubicBezTo>
                        <a:pt x="998680" y="1054162"/>
                        <a:pt x="992967" y="1054877"/>
                        <a:pt x="988681" y="1052018"/>
                      </a:cubicBezTo>
                      <a:cubicBezTo>
                        <a:pt x="904403" y="981977"/>
                        <a:pt x="904403" y="981977"/>
                        <a:pt x="904403" y="981977"/>
                      </a:cubicBezTo>
                      <a:cubicBezTo>
                        <a:pt x="787270" y="1084180"/>
                        <a:pt x="608715" y="1090612"/>
                        <a:pt x="484440" y="988409"/>
                      </a:cubicBezTo>
                      <a:cubicBezTo>
                        <a:pt x="345167" y="874057"/>
                        <a:pt x="324454" y="669651"/>
                        <a:pt x="438016" y="529569"/>
                      </a:cubicBezTo>
                      <a:cubicBezTo>
                        <a:pt x="509438" y="442375"/>
                        <a:pt x="615857" y="401637"/>
                        <a:pt x="720134" y="410928"/>
                      </a:cubicBezTo>
                      <a:close/>
                      <a:moveTo>
                        <a:pt x="89504" y="352425"/>
                      </a:moveTo>
                      <a:cubicBezTo>
                        <a:pt x="89504" y="352425"/>
                        <a:pt x="89504" y="352425"/>
                        <a:pt x="100228" y="356723"/>
                      </a:cubicBezTo>
                      <a:cubicBezTo>
                        <a:pt x="102373" y="361021"/>
                        <a:pt x="105232" y="365318"/>
                        <a:pt x="109522" y="368184"/>
                      </a:cubicBezTo>
                      <a:cubicBezTo>
                        <a:pt x="110952" y="368900"/>
                        <a:pt x="111667" y="369616"/>
                        <a:pt x="111667" y="370333"/>
                      </a:cubicBezTo>
                      <a:cubicBezTo>
                        <a:pt x="120961" y="391822"/>
                        <a:pt x="136690" y="429070"/>
                        <a:pt x="143124" y="434084"/>
                      </a:cubicBezTo>
                      <a:cubicBezTo>
                        <a:pt x="152418" y="441964"/>
                        <a:pt x="176726" y="457723"/>
                        <a:pt x="190310" y="457723"/>
                      </a:cubicBezTo>
                      <a:cubicBezTo>
                        <a:pt x="204609" y="457723"/>
                        <a:pt x="228917" y="441964"/>
                        <a:pt x="238211" y="434084"/>
                      </a:cubicBezTo>
                      <a:cubicBezTo>
                        <a:pt x="244646" y="429070"/>
                        <a:pt x="260374" y="391822"/>
                        <a:pt x="268954" y="370333"/>
                      </a:cubicBezTo>
                      <a:cubicBezTo>
                        <a:pt x="269669" y="369616"/>
                        <a:pt x="270384" y="368900"/>
                        <a:pt x="271098" y="368184"/>
                      </a:cubicBezTo>
                      <a:cubicBezTo>
                        <a:pt x="276103" y="365318"/>
                        <a:pt x="278248" y="361021"/>
                        <a:pt x="279678" y="356723"/>
                      </a:cubicBezTo>
                      <a:cubicBezTo>
                        <a:pt x="279678" y="356723"/>
                        <a:pt x="279678" y="356723"/>
                        <a:pt x="291117" y="352425"/>
                      </a:cubicBezTo>
                      <a:cubicBezTo>
                        <a:pt x="291117" y="352425"/>
                        <a:pt x="291117" y="352425"/>
                        <a:pt x="290402" y="353141"/>
                      </a:cubicBezTo>
                      <a:cubicBezTo>
                        <a:pt x="289687" y="357439"/>
                        <a:pt x="286827" y="368900"/>
                        <a:pt x="276818" y="376063"/>
                      </a:cubicBezTo>
                      <a:cubicBezTo>
                        <a:pt x="271813" y="387524"/>
                        <a:pt x="256085" y="427638"/>
                        <a:pt x="246790" y="439098"/>
                      </a:cubicBezTo>
                      <a:cubicBezTo>
                        <a:pt x="246790" y="439098"/>
                        <a:pt x="246790" y="439098"/>
                        <a:pt x="246790" y="459155"/>
                      </a:cubicBezTo>
                      <a:cubicBezTo>
                        <a:pt x="246790" y="459155"/>
                        <a:pt x="246790" y="459155"/>
                        <a:pt x="244646" y="461304"/>
                      </a:cubicBezTo>
                      <a:cubicBezTo>
                        <a:pt x="244646" y="462020"/>
                        <a:pt x="241786" y="465602"/>
                        <a:pt x="236781" y="469900"/>
                      </a:cubicBezTo>
                      <a:cubicBezTo>
                        <a:pt x="236781" y="469900"/>
                        <a:pt x="236781" y="469900"/>
                        <a:pt x="236781" y="446262"/>
                      </a:cubicBezTo>
                      <a:cubicBezTo>
                        <a:pt x="224627" y="455574"/>
                        <a:pt x="204609" y="467035"/>
                        <a:pt x="190310" y="467035"/>
                      </a:cubicBezTo>
                      <a:cubicBezTo>
                        <a:pt x="176726" y="467035"/>
                        <a:pt x="156708" y="455574"/>
                        <a:pt x="143839" y="446262"/>
                      </a:cubicBezTo>
                      <a:cubicBezTo>
                        <a:pt x="143839" y="446262"/>
                        <a:pt x="143839" y="446262"/>
                        <a:pt x="143839" y="469900"/>
                      </a:cubicBezTo>
                      <a:cubicBezTo>
                        <a:pt x="138835" y="465602"/>
                        <a:pt x="136690" y="462020"/>
                        <a:pt x="135975" y="461304"/>
                      </a:cubicBezTo>
                      <a:cubicBezTo>
                        <a:pt x="135975" y="461304"/>
                        <a:pt x="135975" y="461304"/>
                        <a:pt x="134545" y="459155"/>
                      </a:cubicBezTo>
                      <a:cubicBezTo>
                        <a:pt x="134545" y="459155"/>
                        <a:pt x="134545" y="459155"/>
                        <a:pt x="134545" y="439098"/>
                      </a:cubicBezTo>
                      <a:cubicBezTo>
                        <a:pt x="125251" y="427638"/>
                        <a:pt x="108807" y="387524"/>
                        <a:pt x="104517" y="376063"/>
                      </a:cubicBezTo>
                      <a:cubicBezTo>
                        <a:pt x="93793" y="369616"/>
                        <a:pt x="90934" y="358872"/>
                        <a:pt x="89504" y="353141"/>
                      </a:cubicBezTo>
                      <a:cubicBezTo>
                        <a:pt x="89504" y="353141"/>
                        <a:pt x="89504" y="353141"/>
                        <a:pt x="89504" y="352425"/>
                      </a:cubicBezTo>
                      <a:close/>
                      <a:moveTo>
                        <a:pt x="1277828" y="347662"/>
                      </a:moveTo>
                      <a:cubicBezTo>
                        <a:pt x="1278542" y="348378"/>
                        <a:pt x="1278542" y="349095"/>
                        <a:pt x="1277828" y="349095"/>
                      </a:cubicBezTo>
                      <a:cubicBezTo>
                        <a:pt x="1277113" y="354826"/>
                        <a:pt x="1274256" y="367005"/>
                        <a:pt x="1263540" y="374885"/>
                      </a:cubicBezTo>
                      <a:cubicBezTo>
                        <a:pt x="1258540" y="387064"/>
                        <a:pt x="1244967" y="426467"/>
                        <a:pt x="1234965" y="438646"/>
                      </a:cubicBezTo>
                      <a:cubicBezTo>
                        <a:pt x="1234965" y="438646"/>
                        <a:pt x="1234965" y="438646"/>
                        <a:pt x="1234965" y="478049"/>
                      </a:cubicBezTo>
                      <a:cubicBezTo>
                        <a:pt x="1232108" y="481631"/>
                        <a:pt x="1228536" y="484496"/>
                        <a:pt x="1224250" y="487362"/>
                      </a:cubicBezTo>
                      <a:cubicBezTo>
                        <a:pt x="1224250" y="487362"/>
                        <a:pt x="1224250" y="487362"/>
                        <a:pt x="1224250" y="447959"/>
                      </a:cubicBezTo>
                      <a:cubicBezTo>
                        <a:pt x="1211391" y="457989"/>
                        <a:pt x="1192103" y="470168"/>
                        <a:pt x="1177815" y="470168"/>
                      </a:cubicBezTo>
                      <a:cubicBezTo>
                        <a:pt x="1164242" y="470168"/>
                        <a:pt x="1144954" y="457989"/>
                        <a:pt x="1132095" y="448676"/>
                      </a:cubicBezTo>
                      <a:cubicBezTo>
                        <a:pt x="1132095" y="448676"/>
                        <a:pt x="1132095" y="448676"/>
                        <a:pt x="1132095" y="487362"/>
                      </a:cubicBezTo>
                      <a:cubicBezTo>
                        <a:pt x="1127809" y="484496"/>
                        <a:pt x="1124952" y="481631"/>
                        <a:pt x="1121380" y="478765"/>
                      </a:cubicBezTo>
                      <a:cubicBezTo>
                        <a:pt x="1121380" y="478765"/>
                        <a:pt x="1121380" y="478765"/>
                        <a:pt x="1121380" y="438646"/>
                      </a:cubicBezTo>
                      <a:cubicBezTo>
                        <a:pt x="1112093" y="426467"/>
                        <a:pt x="1097805" y="387064"/>
                        <a:pt x="1093519" y="374885"/>
                      </a:cubicBezTo>
                      <a:cubicBezTo>
                        <a:pt x="1082803" y="367721"/>
                        <a:pt x="1079946" y="356259"/>
                        <a:pt x="1078517" y="349811"/>
                      </a:cubicBezTo>
                      <a:cubicBezTo>
                        <a:pt x="1078517" y="349811"/>
                        <a:pt x="1078517" y="349811"/>
                        <a:pt x="1078517" y="349095"/>
                      </a:cubicBezTo>
                      <a:cubicBezTo>
                        <a:pt x="1078517" y="349095"/>
                        <a:pt x="1078517" y="349095"/>
                        <a:pt x="1090662" y="354826"/>
                      </a:cubicBezTo>
                      <a:cubicBezTo>
                        <a:pt x="1092090" y="359124"/>
                        <a:pt x="1094948" y="363423"/>
                        <a:pt x="1100663" y="366289"/>
                      </a:cubicBezTo>
                      <a:cubicBezTo>
                        <a:pt x="1101377" y="367005"/>
                        <a:pt x="1101377" y="367721"/>
                        <a:pt x="1102092" y="369154"/>
                      </a:cubicBezTo>
                      <a:cubicBezTo>
                        <a:pt x="1109950" y="391363"/>
                        <a:pt x="1124952" y="427900"/>
                        <a:pt x="1130667" y="433631"/>
                      </a:cubicBezTo>
                      <a:cubicBezTo>
                        <a:pt x="1139953" y="442228"/>
                        <a:pt x="1164957" y="459422"/>
                        <a:pt x="1177815" y="459422"/>
                      </a:cubicBezTo>
                      <a:cubicBezTo>
                        <a:pt x="1192103" y="459422"/>
                        <a:pt x="1216392" y="442228"/>
                        <a:pt x="1225678" y="433631"/>
                      </a:cubicBezTo>
                      <a:cubicBezTo>
                        <a:pt x="1232108" y="427900"/>
                        <a:pt x="1246395" y="391363"/>
                        <a:pt x="1254253" y="369154"/>
                      </a:cubicBezTo>
                      <a:cubicBezTo>
                        <a:pt x="1254968" y="367721"/>
                        <a:pt x="1255682" y="367005"/>
                        <a:pt x="1256397" y="366289"/>
                      </a:cubicBezTo>
                      <a:cubicBezTo>
                        <a:pt x="1262112" y="362706"/>
                        <a:pt x="1264969" y="358408"/>
                        <a:pt x="1266398" y="353393"/>
                      </a:cubicBezTo>
                      <a:cubicBezTo>
                        <a:pt x="1266398" y="353393"/>
                        <a:pt x="1266398" y="353393"/>
                        <a:pt x="1277828" y="347662"/>
                      </a:cubicBezTo>
                      <a:close/>
                      <a:moveTo>
                        <a:pt x="610174" y="263525"/>
                      </a:moveTo>
                      <a:cubicBezTo>
                        <a:pt x="610174" y="263525"/>
                        <a:pt x="650119" y="297100"/>
                        <a:pt x="668665" y="312102"/>
                      </a:cubicBezTo>
                      <a:cubicBezTo>
                        <a:pt x="669379" y="312817"/>
                        <a:pt x="670805" y="312817"/>
                        <a:pt x="671519" y="312102"/>
                      </a:cubicBezTo>
                      <a:cubicBezTo>
                        <a:pt x="697198" y="292100"/>
                        <a:pt x="730724" y="263525"/>
                        <a:pt x="730724" y="263525"/>
                      </a:cubicBezTo>
                      <a:cubicBezTo>
                        <a:pt x="730724" y="263525"/>
                        <a:pt x="782082" y="264239"/>
                        <a:pt x="810615" y="277812"/>
                      </a:cubicBezTo>
                      <a:cubicBezTo>
                        <a:pt x="833441" y="288528"/>
                        <a:pt x="849847" y="328533"/>
                        <a:pt x="855553" y="343535"/>
                      </a:cubicBezTo>
                      <a:cubicBezTo>
                        <a:pt x="856267" y="346392"/>
                        <a:pt x="854127" y="349250"/>
                        <a:pt x="851274" y="349250"/>
                      </a:cubicBezTo>
                      <a:cubicBezTo>
                        <a:pt x="851274" y="349250"/>
                        <a:pt x="851274" y="349250"/>
                        <a:pt x="488910" y="349250"/>
                      </a:cubicBezTo>
                      <a:cubicBezTo>
                        <a:pt x="485344" y="349250"/>
                        <a:pt x="483204" y="346392"/>
                        <a:pt x="484630" y="343535"/>
                      </a:cubicBezTo>
                      <a:cubicBezTo>
                        <a:pt x="490337" y="328533"/>
                        <a:pt x="506743" y="288528"/>
                        <a:pt x="529569" y="277812"/>
                      </a:cubicBezTo>
                      <a:cubicBezTo>
                        <a:pt x="557388" y="264239"/>
                        <a:pt x="610174" y="263525"/>
                        <a:pt x="610174" y="263525"/>
                      </a:cubicBezTo>
                      <a:close/>
                      <a:moveTo>
                        <a:pt x="1176585" y="200025"/>
                      </a:moveTo>
                      <a:cubicBezTo>
                        <a:pt x="1235141" y="200025"/>
                        <a:pt x="1280129" y="242935"/>
                        <a:pt x="1280129" y="297287"/>
                      </a:cubicBezTo>
                      <a:cubicBezTo>
                        <a:pt x="1280129" y="308730"/>
                        <a:pt x="1280129" y="319457"/>
                        <a:pt x="1276559" y="329469"/>
                      </a:cubicBezTo>
                      <a:cubicBezTo>
                        <a:pt x="1275845" y="329469"/>
                        <a:pt x="1274416" y="334476"/>
                        <a:pt x="1265847" y="343773"/>
                      </a:cubicBezTo>
                      <a:cubicBezTo>
                        <a:pt x="1265847" y="344488"/>
                        <a:pt x="1265133" y="344488"/>
                        <a:pt x="1264419" y="344488"/>
                      </a:cubicBezTo>
                      <a:cubicBezTo>
                        <a:pt x="1264419" y="344488"/>
                        <a:pt x="1264419" y="344488"/>
                        <a:pt x="1259420" y="344488"/>
                      </a:cubicBezTo>
                      <a:cubicBezTo>
                        <a:pt x="1258706" y="344488"/>
                        <a:pt x="1257992" y="343773"/>
                        <a:pt x="1257992" y="342342"/>
                      </a:cubicBezTo>
                      <a:cubicBezTo>
                        <a:pt x="1257992" y="338051"/>
                        <a:pt x="1257278" y="323748"/>
                        <a:pt x="1256564" y="277263"/>
                      </a:cubicBezTo>
                      <a:cubicBezTo>
                        <a:pt x="1256564" y="275832"/>
                        <a:pt x="1254422" y="274402"/>
                        <a:pt x="1252993" y="275832"/>
                      </a:cubicBezTo>
                      <a:cubicBezTo>
                        <a:pt x="1238711" y="286560"/>
                        <a:pt x="1205863" y="283699"/>
                        <a:pt x="1202292" y="282984"/>
                      </a:cubicBezTo>
                      <a:cubicBezTo>
                        <a:pt x="1202292" y="282984"/>
                        <a:pt x="1202292" y="282984"/>
                        <a:pt x="1160160" y="287990"/>
                      </a:cubicBezTo>
                      <a:cubicBezTo>
                        <a:pt x="1158018" y="287990"/>
                        <a:pt x="1156590" y="286560"/>
                        <a:pt x="1158018" y="285129"/>
                      </a:cubicBezTo>
                      <a:cubicBezTo>
                        <a:pt x="1160160" y="282269"/>
                        <a:pt x="1161589" y="278693"/>
                        <a:pt x="1163017" y="275832"/>
                      </a:cubicBezTo>
                      <a:cubicBezTo>
                        <a:pt x="1163731" y="273687"/>
                        <a:pt x="1161589" y="272256"/>
                        <a:pt x="1160160" y="272972"/>
                      </a:cubicBezTo>
                      <a:cubicBezTo>
                        <a:pt x="1148021" y="282269"/>
                        <a:pt x="1128026" y="292281"/>
                        <a:pt x="1120885" y="295857"/>
                      </a:cubicBezTo>
                      <a:cubicBezTo>
                        <a:pt x="1119457" y="297287"/>
                        <a:pt x="1117314" y="295857"/>
                        <a:pt x="1118028" y="294426"/>
                      </a:cubicBezTo>
                      <a:cubicBezTo>
                        <a:pt x="1118028" y="294426"/>
                        <a:pt x="1118028" y="294426"/>
                        <a:pt x="1120171" y="280123"/>
                      </a:cubicBezTo>
                      <a:cubicBezTo>
                        <a:pt x="1120171" y="278693"/>
                        <a:pt x="1118743" y="277978"/>
                        <a:pt x="1117314" y="278693"/>
                      </a:cubicBezTo>
                      <a:cubicBezTo>
                        <a:pt x="1093035" y="288705"/>
                        <a:pt x="1094463" y="330900"/>
                        <a:pt x="1094463" y="340912"/>
                      </a:cubicBezTo>
                      <a:cubicBezTo>
                        <a:pt x="1094463" y="342342"/>
                        <a:pt x="1093749" y="343058"/>
                        <a:pt x="1092321" y="343058"/>
                      </a:cubicBezTo>
                      <a:cubicBezTo>
                        <a:pt x="1092321" y="343058"/>
                        <a:pt x="1092321" y="343058"/>
                        <a:pt x="1089464" y="342342"/>
                      </a:cubicBezTo>
                      <a:cubicBezTo>
                        <a:pt x="1088750" y="342342"/>
                        <a:pt x="1087322" y="342342"/>
                        <a:pt x="1087322" y="341627"/>
                      </a:cubicBezTo>
                      <a:cubicBezTo>
                        <a:pt x="1086608" y="340197"/>
                        <a:pt x="1084466" y="336621"/>
                        <a:pt x="1078039" y="330185"/>
                      </a:cubicBezTo>
                      <a:cubicBezTo>
                        <a:pt x="1073754" y="319457"/>
                        <a:pt x="1073754" y="308730"/>
                        <a:pt x="1073754" y="297287"/>
                      </a:cubicBezTo>
                      <a:cubicBezTo>
                        <a:pt x="1073754" y="242935"/>
                        <a:pt x="1118743" y="200025"/>
                        <a:pt x="1176585" y="200025"/>
                      </a:cubicBezTo>
                      <a:close/>
                      <a:moveTo>
                        <a:pt x="188723" y="200025"/>
                      </a:moveTo>
                      <a:cubicBezTo>
                        <a:pt x="244400" y="200025"/>
                        <a:pt x="287942" y="246315"/>
                        <a:pt x="287942" y="302574"/>
                      </a:cubicBezTo>
                      <a:cubicBezTo>
                        <a:pt x="287942" y="314681"/>
                        <a:pt x="287942" y="326787"/>
                        <a:pt x="283659" y="337470"/>
                      </a:cubicBezTo>
                      <a:cubicBezTo>
                        <a:pt x="283659" y="338182"/>
                        <a:pt x="283659" y="338182"/>
                        <a:pt x="283659" y="338182"/>
                      </a:cubicBezTo>
                      <a:cubicBezTo>
                        <a:pt x="273666" y="346016"/>
                        <a:pt x="273666" y="351001"/>
                        <a:pt x="273666" y="351001"/>
                      </a:cubicBezTo>
                      <a:cubicBezTo>
                        <a:pt x="267241" y="351001"/>
                        <a:pt x="267241" y="351001"/>
                        <a:pt x="267241" y="351001"/>
                      </a:cubicBezTo>
                      <a:cubicBezTo>
                        <a:pt x="267241" y="351001"/>
                        <a:pt x="272238" y="291180"/>
                        <a:pt x="242972" y="281922"/>
                      </a:cubicBezTo>
                      <a:cubicBezTo>
                        <a:pt x="242972" y="281922"/>
                        <a:pt x="124480" y="334621"/>
                        <a:pt x="113059" y="276937"/>
                      </a:cubicBezTo>
                      <a:cubicBezTo>
                        <a:pt x="111632" y="348152"/>
                        <a:pt x="111632" y="352425"/>
                        <a:pt x="111632" y="352425"/>
                      </a:cubicBezTo>
                      <a:cubicBezTo>
                        <a:pt x="104494" y="352425"/>
                        <a:pt x="104494" y="352425"/>
                        <a:pt x="104494" y="352425"/>
                      </a:cubicBezTo>
                      <a:cubicBezTo>
                        <a:pt x="95928" y="341030"/>
                        <a:pt x="93787" y="336758"/>
                        <a:pt x="93787" y="336758"/>
                      </a:cubicBezTo>
                      <a:cubicBezTo>
                        <a:pt x="89504" y="326075"/>
                        <a:pt x="90218" y="313969"/>
                        <a:pt x="90218" y="302574"/>
                      </a:cubicBezTo>
                      <a:cubicBezTo>
                        <a:pt x="90218" y="246315"/>
                        <a:pt x="133046" y="200025"/>
                        <a:pt x="188723" y="200025"/>
                      </a:cubicBezTo>
                      <a:close/>
                      <a:moveTo>
                        <a:pt x="759004" y="188912"/>
                      </a:moveTo>
                      <a:cubicBezTo>
                        <a:pt x="759739" y="207486"/>
                        <a:pt x="761208" y="238204"/>
                        <a:pt x="783243" y="240347"/>
                      </a:cubicBezTo>
                      <a:cubicBezTo>
                        <a:pt x="762677" y="260350"/>
                        <a:pt x="743579" y="259636"/>
                        <a:pt x="734030" y="257493"/>
                      </a:cubicBezTo>
                      <a:cubicBezTo>
                        <a:pt x="734030" y="257493"/>
                        <a:pt x="734030" y="257493"/>
                        <a:pt x="734030" y="239633"/>
                      </a:cubicBezTo>
                      <a:cubicBezTo>
                        <a:pt x="738437" y="233918"/>
                        <a:pt x="743579" y="224631"/>
                        <a:pt x="752393" y="205343"/>
                      </a:cubicBezTo>
                      <a:cubicBezTo>
                        <a:pt x="755331" y="198913"/>
                        <a:pt x="756800" y="193198"/>
                        <a:pt x="759004" y="188912"/>
                      </a:cubicBezTo>
                      <a:close/>
                      <a:moveTo>
                        <a:pt x="580565" y="188912"/>
                      </a:moveTo>
                      <a:cubicBezTo>
                        <a:pt x="582697" y="193913"/>
                        <a:pt x="585540" y="199628"/>
                        <a:pt x="587673" y="206057"/>
                      </a:cubicBezTo>
                      <a:cubicBezTo>
                        <a:pt x="596203" y="225346"/>
                        <a:pt x="601889" y="234632"/>
                        <a:pt x="605443" y="240347"/>
                      </a:cubicBezTo>
                      <a:cubicBezTo>
                        <a:pt x="605443" y="240347"/>
                        <a:pt x="605443" y="240347"/>
                        <a:pt x="605443" y="257493"/>
                      </a:cubicBezTo>
                      <a:cubicBezTo>
                        <a:pt x="596203" y="259636"/>
                        <a:pt x="577010" y="260350"/>
                        <a:pt x="557818" y="241062"/>
                      </a:cubicBezTo>
                      <a:cubicBezTo>
                        <a:pt x="578432" y="238919"/>
                        <a:pt x="579854" y="208200"/>
                        <a:pt x="580565" y="188912"/>
                      </a:cubicBezTo>
                      <a:close/>
                      <a:moveTo>
                        <a:pt x="770542" y="149225"/>
                      </a:moveTo>
                      <a:cubicBezTo>
                        <a:pt x="770542" y="149940"/>
                        <a:pt x="770542" y="149940"/>
                        <a:pt x="770542" y="149940"/>
                      </a:cubicBezTo>
                      <a:cubicBezTo>
                        <a:pt x="769823" y="154948"/>
                        <a:pt x="766947" y="166393"/>
                        <a:pt x="756162" y="172832"/>
                      </a:cubicBezTo>
                      <a:cubicBezTo>
                        <a:pt x="751129" y="184277"/>
                        <a:pt x="734593" y="223622"/>
                        <a:pt x="725965" y="235783"/>
                      </a:cubicBezTo>
                      <a:cubicBezTo>
                        <a:pt x="725965" y="235783"/>
                        <a:pt x="725965" y="235783"/>
                        <a:pt x="725965" y="255813"/>
                      </a:cubicBezTo>
                      <a:cubicBezTo>
                        <a:pt x="725965" y="255813"/>
                        <a:pt x="725965" y="255813"/>
                        <a:pt x="724527" y="257959"/>
                      </a:cubicBezTo>
                      <a:cubicBezTo>
                        <a:pt x="724527" y="257959"/>
                        <a:pt x="721651" y="261536"/>
                        <a:pt x="716618" y="265113"/>
                      </a:cubicBezTo>
                      <a:cubicBezTo>
                        <a:pt x="716618" y="265113"/>
                        <a:pt x="716618" y="265113"/>
                        <a:pt x="716618" y="242937"/>
                      </a:cubicBezTo>
                      <a:cubicBezTo>
                        <a:pt x="704396" y="252236"/>
                        <a:pt x="684264" y="262967"/>
                        <a:pt x="670604" y="262967"/>
                      </a:cubicBezTo>
                      <a:cubicBezTo>
                        <a:pt x="656943" y="262967"/>
                        <a:pt x="637531" y="252236"/>
                        <a:pt x="625308" y="242937"/>
                      </a:cubicBezTo>
                      <a:cubicBezTo>
                        <a:pt x="625308" y="242937"/>
                        <a:pt x="625308" y="242937"/>
                        <a:pt x="625308" y="265113"/>
                      </a:cubicBezTo>
                      <a:cubicBezTo>
                        <a:pt x="620275" y="261536"/>
                        <a:pt x="618118" y="257959"/>
                        <a:pt x="617399" y="257959"/>
                      </a:cubicBezTo>
                      <a:cubicBezTo>
                        <a:pt x="617399" y="257959"/>
                        <a:pt x="617399" y="257959"/>
                        <a:pt x="615961" y="255813"/>
                      </a:cubicBezTo>
                      <a:cubicBezTo>
                        <a:pt x="615961" y="255813"/>
                        <a:pt x="615961" y="255813"/>
                        <a:pt x="615961" y="235783"/>
                      </a:cubicBezTo>
                      <a:cubicBezTo>
                        <a:pt x="607334" y="223622"/>
                        <a:pt x="590797" y="184277"/>
                        <a:pt x="586483" y="172832"/>
                      </a:cubicBezTo>
                      <a:cubicBezTo>
                        <a:pt x="575699" y="166393"/>
                        <a:pt x="573542" y="156378"/>
                        <a:pt x="572104" y="150656"/>
                      </a:cubicBezTo>
                      <a:cubicBezTo>
                        <a:pt x="572104" y="149940"/>
                        <a:pt x="572104" y="149940"/>
                        <a:pt x="572104" y="149940"/>
                      </a:cubicBezTo>
                      <a:cubicBezTo>
                        <a:pt x="572104" y="149940"/>
                        <a:pt x="572104" y="149940"/>
                        <a:pt x="582169" y="154948"/>
                      </a:cubicBezTo>
                      <a:cubicBezTo>
                        <a:pt x="583607" y="158525"/>
                        <a:pt x="586483" y="162817"/>
                        <a:pt x="592235" y="164963"/>
                      </a:cubicBezTo>
                      <a:cubicBezTo>
                        <a:pt x="592954" y="165678"/>
                        <a:pt x="593673" y="166393"/>
                        <a:pt x="594392" y="167824"/>
                      </a:cubicBezTo>
                      <a:cubicBezTo>
                        <a:pt x="603020" y="188570"/>
                        <a:pt x="618118" y="225053"/>
                        <a:pt x="623870" y="230776"/>
                      </a:cubicBezTo>
                      <a:cubicBezTo>
                        <a:pt x="633936" y="238645"/>
                        <a:pt x="656943" y="253667"/>
                        <a:pt x="670604" y="253667"/>
                      </a:cubicBezTo>
                      <a:cubicBezTo>
                        <a:pt x="684264" y="253667"/>
                        <a:pt x="708710" y="238645"/>
                        <a:pt x="718056" y="230776"/>
                      </a:cubicBezTo>
                      <a:cubicBezTo>
                        <a:pt x="723808" y="225053"/>
                        <a:pt x="738907" y="188570"/>
                        <a:pt x="747534" y="167824"/>
                      </a:cubicBezTo>
                      <a:cubicBezTo>
                        <a:pt x="748253" y="166393"/>
                        <a:pt x="748972" y="165678"/>
                        <a:pt x="749691" y="164963"/>
                      </a:cubicBezTo>
                      <a:cubicBezTo>
                        <a:pt x="755443" y="162817"/>
                        <a:pt x="758319" y="158525"/>
                        <a:pt x="759757" y="154948"/>
                      </a:cubicBezTo>
                      <a:cubicBezTo>
                        <a:pt x="759757" y="154948"/>
                        <a:pt x="759757" y="154948"/>
                        <a:pt x="770542" y="149225"/>
                      </a:cubicBezTo>
                      <a:close/>
                      <a:moveTo>
                        <a:pt x="671324" y="0"/>
                      </a:moveTo>
                      <a:cubicBezTo>
                        <a:pt x="725967" y="0"/>
                        <a:pt x="769824" y="44268"/>
                        <a:pt x="769824" y="99959"/>
                      </a:cubicBezTo>
                      <a:cubicBezTo>
                        <a:pt x="769824" y="111383"/>
                        <a:pt x="770543" y="122807"/>
                        <a:pt x="766229" y="133517"/>
                      </a:cubicBezTo>
                      <a:cubicBezTo>
                        <a:pt x="766229" y="133517"/>
                        <a:pt x="764791" y="138515"/>
                        <a:pt x="755445" y="148511"/>
                      </a:cubicBezTo>
                      <a:cubicBezTo>
                        <a:pt x="754726" y="149225"/>
                        <a:pt x="754726" y="149225"/>
                        <a:pt x="754007" y="149225"/>
                      </a:cubicBezTo>
                      <a:cubicBezTo>
                        <a:pt x="754007" y="149225"/>
                        <a:pt x="754007" y="149225"/>
                        <a:pt x="748255" y="149225"/>
                      </a:cubicBezTo>
                      <a:cubicBezTo>
                        <a:pt x="747536" y="149225"/>
                        <a:pt x="747536" y="149225"/>
                        <a:pt x="747536" y="149225"/>
                      </a:cubicBezTo>
                      <a:cubicBezTo>
                        <a:pt x="747536" y="149225"/>
                        <a:pt x="747536" y="149225"/>
                        <a:pt x="617401" y="79968"/>
                      </a:cubicBezTo>
                      <a:cubicBezTo>
                        <a:pt x="617401" y="79968"/>
                        <a:pt x="617401" y="79968"/>
                        <a:pt x="616682" y="79968"/>
                      </a:cubicBezTo>
                      <a:cubicBezTo>
                        <a:pt x="586485" y="89250"/>
                        <a:pt x="587204" y="149225"/>
                        <a:pt x="577138" y="140657"/>
                      </a:cubicBezTo>
                      <a:cubicBezTo>
                        <a:pt x="573543" y="129233"/>
                        <a:pt x="572105" y="111383"/>
                        <a:pt x="572105" y="99959"/>
                      </a:cubicBezTo>
                      <a:cubicBezTo>
                        <a:pt x="572105" y="44268"/>
                        <a:pt x="615244" y="0"/>
                        <a:pt x="671324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2D3C3833-7AC0-4A96-92CB-3FA2FF514BC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040204" y="5049199"/>
                <a:ext cx="844780" cy="843965"/>
                <a:chOff x="5273675" y="2606675"/>
                <a:chExt cx="1646238" cy="1644650"/>
              </a:xfrm>
            </p:grpSpPr>
            <p:sp>
              <p:nvSpPr>
                <p:cNvPr id="116" name="AutoShape 3">
                  <a:extLst>
                    <a:ext uri="{FF2B5EF4-FFF2-40B4-BE49-F238E27FC236}">
                      <a16:creationId xmlns:a16="http://schemas.microsoft.com/office/drawing/2014/main" id="{53A8FF30-6487-4B45-AED0-AE60AAC65BF6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675" y="2606675"/>
                  <a:ext cx="1646238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" name="Freeform 174">
                  <a:extLst>
                    <a:ext uri="{FF2B5EF4-FFF2-40B4-BE49-F238E27FC236}">
                      <a16:creationId xmlns:a16="http://schemas.microsoft.com/office/drawing/2014/main" id="{254D229F-F0F1-4326-96E8-0573ED6D37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345113" y="2930525"/>
                  <a:ext cx="1502259" cy="993775"/>
                </a:xfrm>
                <a:custGeom>
                  <a:avLst/>
                  <a:gdLst>
                    <a:gd name="connsiteX0" fmla="*/ 484981 w 1502259"/>
                    <a:gd name="connsiteY0" fmla="*/ 385763 h 993775"/>
                    <a:gd name="connsiteX1" fmla="*/ 619125 w 1502259"/>
                    <a:gd name="connsiteY1" fmla="*/ 519113 h 993775"/>
                    <a:gd name="connsiteX2" fmla="*/ 484981 w 1502259"/>
                    <a:gd name="connsiteY2" fmla="*/ 652463 h 993775"/>
                    <a:gd name="connsiteX3" fmla="*/ 350837 w 1502259"/>
                    <a:gd name="connsiteY3" fmla="*/ 519113 h 993775"/>
                    <a:gd name="connsiteX4" fmla="*/ 484981 w 1502259"/>
                    <a:gd name="connsiteY4" fmla="*/ 385763 h 993775"/>
                    <a:gd name="connsiteX5" fmla="*/ 485774 w 1502259"/>
                    <a:gd name="connsiteY5" fmla="*/ 246062 h 993775"/>
                    <a:gd name="connsiteX6" fmla="*/ 214311 w 1502259"/>
                    <a:gd name="connsiteY6" fmla="*/ 518319 h 993775"/>
                    <a:gd name="connsiteX7" fmla="*/ 485774 w 1502259"/>
                    <a:gd name="connsiteY7" fmla="*/ 790576 h 993775"/>
                    <a:gd name="connsiteX8" fmla="*/ 757237 w 1502259"/>
                    <a:gd name="connsiteY8" fmla="*/ 518319 h 993775"/>
                    <a:gd name="connsiteX9" fmla="*/ 485774 w 1502259"/>
                    <a:gd name="connsiteY9" fmla="*/ 246062 h 993775"/>
                    <a:gd name="connsiteX10" fmla="*/ 485774 w 1502259"/>
                    <a:gd name="connsiteY10" fmla="*/ 215899 h 993775"/>
                    <a:gd name="connsiteX11" fmla="*/ 788987 w 1502259"/>
                    <a:gd name="connsiteY11" fmla="*/ 519112 h 993775"/>
                    <a:gd name="connsiteX12" fmla="*/ 485774 w 1502259"/>
                    <a:gd name="connsiteY12" fmla="*/ 822325 h 993775"/>
                    <a:gd name="connsiteX13" fmla="*/ 182561 w 1502259"/>
                    <a:gd name="connsiteY13" fmla="*/ 519112 h 993775"/>
                    <a:gd name="connsiteX14" fmla="*/ 485774 w 1502259"/>
                    <a:gd name="connsiteY14" fmla="*/ 215899 h 993775"/>
                    <a:gd name="connsiteX15" fmla="*/ 1210014 w 1502259"/>
                    <a:gd name="connsiteY15" fmla="*/ 159164 h 993775"/>
                    <a:gd name="connsiteX16" fmla="*/ 1160255 w 1502259"/>
                    <a:gd name="connsiteY16" fmla="*/ 169871 h 993775"/>
                    <a:gd name="connsiteX17" fmla="*/ 1094623 w 1502259"/>
                    <a:gd name="connsiteY17" fmla="*/ 338509 h 993775"/>
                    <a:gd name="connsiteX18" fmla="*/ 1262270 w 1502259"/>
                    <a:gd name="connsiteY18" fmla="*/ 405679 h 993775"/>
                    <a:gd name="connsiteX19" fmla="*/ 1327189 w 1502259"/>
                    <a:gd name="connsiteY19" fmla="*/ 237040 h 993775"/>
                    <a:gd name="connsiteX20" fmla="*/ 1210014 w 1502259"/>
                    <a:gd name="connsiteY20" fmla="*/ 159164 h 993775"/>
                    <a:gd name="connsiteX21" fmla="*/ 485339 w 1502259"/>
                    <a:gd name="connsiteY21" fmla="*/ 63500 h 993775"/>
                    <a:gd name="connsiteX22" fmla="*/ 434623 w 1502259"/>
                    <a:gd name="connsiteY22" fmla="*/ 65640 h 993775"/>
                    <a:gd name="connsiteX23" fmla="*/ 399621 w 1502259"/>
                    <a:gd name="connsiteY23" fmla="*/ 159813 h 993775"/>
                    <a:gd name="connsiteX24" fmla="*/ 391050 w 1502259"/>
                    <a:gd name="connsiteY24" fmla="*/ 161953 h 993775"/>
                    <a:gd name="connsiteX25" fmla="*/ 326047 w 1502259"/>
                    <a:gd name="connsiteY25" fmla="*/ 183356 h 993775"/>
                    <a:gd name="connsiteX26" fmla="*/ 318904 w 1502259"/>
                    <a:gd name="connsiteY26" fmla="*/ 186923 h 993775"/>
                    <a:gd name="connsiteX27" fmla="*/ 233901 w 1502259"/>
                    <a:gd name="connsiteY27" fmla="*/ 138410 h 993775"/>
                    <a:gd name="connsiteX28" fmla="*/ 193899 w 1502259"/>
                    <a:gd name="connsiteY28" fmla="*/ 169087 h 993775"/>
                    <a:gd name="connsiteX29" fmla="*/ 156755 w 1502259"/>
                    <a:gd name="connsiteY29" fmla="*/ 204045 h 993775"/>
                    <a:gd name="connsiteX30" fmla="*/ 186756 w 1502259"/>
                    <a:gd name="connsiteY30" fmla="*/ 288229 h 993775"/>
                    <a:gd name="connsiteX31" fmla="*/ 181042 w 1502259"/>
                    <a:gd name="connsiteY31" fmla="*/ 295364 h 993775"/>
                    <a:gd name="connsiteX32" fmla="*/ 136754 w 1502259"/>
                    <a:gd name="connsiteY32" fmla="*/ 365993 h 993775"/>
                    <a:gd name="connsiteX33" fmla="*/ 133183 w 1502259"/>
                    <a:gd name="connsiteY33" fmla="*/ 373127 h 993775"/>
                    <a:gd name="connsiteX34" fmla="*/ 49608 w 1502259"/>
                    <a:gd name="connsiteY34" fmla="*/ 388823 h 993775"/>
                    <a:gd name="connsiteX35" fmla="*/ 38893 w 1502259"/>
                    <a:gd name="connsiteY35" fmla="*/ 438049 h 993775"/>
                    <a:gd name="connsiteX36" fmla="*/ 31750 w 1502259"/>
                    <a:gd name="connsiteY36" fmla="*/ 488702 h 993775"/>
                    <a:gd name="connsiteX37" fmla="*/ 101753 w 1502259"/>
                    <a:gd name="connsiteY37" fmla="*/ 530081 h 993775"/>
                    <a:gd name="connsiteX38" fmla="*/ 102467 w 1502259"/>
                    <a:gd name="connsiteY38" fmla="*/ 537929 h 993775"/>
                    <a:gd name="connsiteX39" fmla="*/ 118896 w 1502259"/>
                    <a:gd name="connsiteY39" fmla="*/ 627107 h 993775"/>
                    <a:gd name="connsiteX40" fmla="*/ 121039 w 1502259"/>
                    <a:gd name="connsiteY40" fmla="*/ 635668 h 993775"/>
                    <a:gd name="connsiteX41" fmla="*/ 68895 w 1502259"/>
                    <a:gd name="connsiteY41" fmla="*/ 699163 h 993775"/>
                    <a:gd name="connsiteX42" fmla="*/ 92467 w 1502259"/>
                    <a:gd name="connsiteY42" fmla="*/ 744109 h 993775"/>
                    <a:gd name="connsiteX43" fmla="*/ 119611 w 1502259"/>
                    <a:gd name="connsiteY43" fmla="*/ 786914 h 993775"/>
                    <a:gd name="connsiteX44" fmla="*/ 206757 w 1502259"/>
                    <a:gd name="connsiteY44" fmla="*/ 772646 h 993775"/>
                    <a:gd name="connsiteX45" fmla="*/ 212471 w 1502259"/>
                    <a:gd name="connsiteY45" fmla="*/ 777640 h 993775"/>
                    <a:gd name="connsiteX46" fmla="*/ 274617 w 1502259"/>
                    <a:gd name="connsiteY46" fmla="*/ 827580 h 993775"/>
                    <a:gd name="connsiteX47" fmla="*/ 281760 w 1502259"/>
                    <a:gd name="connsiteY47" fmla="*/ 831860 h 993775"/>
                    <a:gd name="connsiteX48" fmla="*/ 282474 w 1502259"/>
                    <a:gd name="connsiteY48" fmla="*/ 923892 h 993775"/>
                    <a:gd name="connsiteX49" fmla="*/ 329619 w 1502259"/>
                    <a:gd name="connsiteY49" fmla="*/ 943868 h 993775"/>
                    <a:gd name="connsiteX50" fmla="*/ 378192 w 1502259"/>
                    <a:gd name="connsiteY50" fmla="*/ 958850 h 993775"/>
                    <a:gd name="connsiteX51" fmla="*/ 441051 w 1502259"/>
                    <a:gd name="connsiteY51" fmla="*/ 886081 h 993775"/>
                    <a:gd name="connsiteX52" fmla="*/ 448909 w 1502259"/>
                    <a:gd name="connsiteY52" fmla="*/ 886794 h 993775"/>
                    <a:gd name="connsiteX53" fmla="*/ 485339 w 1502259"/>
                    <a:gd name="connsiteY53" fmla="*/ 888221 h 993775"/>
                    <a:gd name="connsiteX54" fmla="*/ 521055 w 1502259"/>
                    <a:gd name="connsiteY54" fmla="*/ 886794 h 993775"/>
                    <a:gd name="connsiteX55" fmla="*/ 528912 w 1502259"/>
                    <a:gd name="connsiteY55" fmla="*/ 886081 h 993775"/>
                    <a:gd name="connsiteX56" fmla="*/ 591057 w 1502259"/>
                    <a:gd name="connsiteY56" fmla="*/ 958850 h 993775"/>
                    <a:gd name="connsiteX57" fmla="*/ 639630 w 1502259"/>
                    <a:gd name="connsiteY57" fmla="*/ 943868 h 993775"/>
                    <a:gd name="connsiteX58" fmla="*/ 686775 w 1502259"/>
                    <a:gd name="connsiteY58" fmla="*/ 924606 h 993775"/>
                    <a:gd name="connsiteX59" fmla="*/ 687489 w 1502259"/>
                    <a:gd name="connsiteY59" fmla="*/ 832574 h 993775"/>
                    <a:gd name="connsiteX60" fmla="*/ 695347 w 1502259"/>
                    <a:gd name="connsiteY60" fmla="*/ 828293 h 993775"/>
                    <a:gd name="connsiteX61" fmla="*/ 758206 w 1502259"/>
                    <a:gd name="connsiteY61" fmla="*/ 778353 h 993775"/>
                    <a:gd name="connsiteX62" fmla="*/ 763921 w 1502259"/>
                    <a:gd name="connsiteY62" fmla="*/ 772646 h 993775"/>
                    <a:gd name="connsiteX63" fmla="*/ 850353 w 1502259"/>
                    <a:gd name="connsiteY63" fmla="*/ 786914 h 993775"/>
                    <a:gd name="connsiteX64" fmla="*/ 877497 w 1502259"/>
                    <a:gd name="connsiteY64" fmla="*/ 744109 h 993775"/>
                    <a:gd name="connsiteX65" fmla="*/ 900355 w 1502259"/>
                    <a:gd name="connsiteY65" fmla="*/ 699163 h 993775"/>
                    <a:gd name="connsiteX66" fmla="*/ 849638 w 1502259"/>
                    <a:gd name="connsiteY66" fmla="*/ 636381 h 993775"/>
                    <a:gd name="connsiteX67" fmla="*/ 852496 w 1502259"/>
                    <a:gd name="connsiteY67" fmla="*/ 627820 h 993775"/>
                    <a:gd name="connsiteX68" fmla="*/ 868211 w 1502259"/>
                    <a:gd name="connsiteY68" fmla="*/ 538642 h 993775"/>
                    <a:gd name="connsiteX69" fmla="*/ 868211 w 1502259"/>
                    <a:gd name="connsiteY69" fmla="*/ 530081 h 993775"/>
                    <a:gd name="connsiteX70" fmla="*/ 938213 w 1502259"/>
                    <a:gd name="connsiteY70" fmla="*/ 488702 h 993775"/>
                    <a:gd name="connsiteX71" fmla="*/ 931784 w 1502259"/>
                    <a:gd name="connsiteY71" fmla="*/ 438762 h 993775"/>
                    <a:gd name="connsiteX72" fmla="*/ 920355 w 1502259"/>
                    <a:gd name="connsiteY72" fmla="*/ 389536 h 993775"/>
                    <a:gd name="connsiteX73" fmla="*/ 838209 w 1502259"/>
                    <a:gd name="connsiteY73" fmla="*/ 373841 h 993775"/>
                    <a:gd name="connsiteX74" fmla="*/ 834638 w 1502259"/>
                    <a:gd name="connsiteY74" fmla="*/ 366706 h 993775"/>
                    <a:gd name="connsiteX75" fmla="*/ 790350 w 1502259"/>
                    <a:gd name="connsiteY75" fmla="*/ 295364 h 993775"/>
                    <a:gd name="connsiteX76" fmla="*/ 784636 w 1502259"/>
                    <a:gd name="connsiteY76" fmla="*/ 288229 h 993775"/>
                    <a:gd name="connsiteX77" fmla="*/ 813923 w 1502259"/>
                    <a:gd name="connsiteY77" fmla="*/ 204045 h 993775"/>
                    <a:gd name="connsiteX78" fmla="*/ 776779 w 1502259"/>
                    <a:gd name="connsiteY78" fmla="*/ 169801 h 993775"/>
                    <a:gd name="connsiteX79" fmla="*/ 736777 w 1502259"/>
                    <a:gd name="connsiteY79" fmla="*/ 139123 h 993775"/>
                    <a:gd name="connsiteX80" fmla="*/ 651774 w 1502259"/>
                    <a:gd name="connsiteY80" fmla="*/ 186923 h 993775"/>
                    <a:gd name="connsiteX81" fmla="*/ 644631 w 1502259"/>
                    <a:gd name="connsiteY81" fmla="*/ 183356 h 993775"/>
                    <a:gd name="connsiteX82" fmla="*/ 578914 w 1502259"/>
                    <a:gd name="connsiteY82" fmla="*/ 161953 h 993775"/>
                    <a:gd name="connsiteX83" fmla="*/ 571056 w 1502259"/>
                    <a:gd name="connsiteY83" fmla="*/ 159813 h 993775"/>
                    <a:gd name="connsiteX84" fmla="*/ 536055 w 1502259"/>
                    <a:gd name="connsiteY84" fmla="*/ 65640 h 993775"/>
                    <a:gd name="connsiteX85" fmla="*/ 485339 w 1502259"/>
                    <a:gd name="connsiteY85" fmla="*/ 63500 h 993775"/>
                    <a:gd name="connsiteX86" fmla="*/ 485339 w 1502259"/>
                    <a:gd name="connsiteY86" fmla="*/ 31750 h 993775"/>
                    <a:gd name="connsiteX87" fmla="*/ 548861 w 1502259"/>
                    <a:gd name="connsiteY87" fmla="*/ 35318 h 993775"/>
                    <a:gd name="connsiteX88" fmla="*/ 558139 w 1502259"/>
                    <a:gd name="connsiteY88" fmla="*/ 36032 h 993775"/>
                    <a:gd name="connsiteX89" fmla="*/ 594540 w 1502259"/>
                    <a:gd name="connsiteY89" fmla="*/ 133091 h 993775"/>
                    <a:gd name="connsiteX90" fmla="*/ 649497 w 1502259"/>
                    <a:gd name="connsiteY90" fmla="*/ 151646 h 993775"/>
                    <a:gd name="connsiteX91" fmla="*/ 738000 w 1502259"/>
                    <a:gd name="connsiteY91" fmla="*/ 101690 h 993775"/>
                    <a:gd name="connsiteX92" fmla="*/ 745851 w 1502259"/>
                    <a:gd name="connsiteY92" fmla="*/ 106685 h 993775"/>
                    <a:gd name="connsiteX93" fmla="*/ 796526 w 1502259"/>
                    <a:gd name="connsiteY93" fmla="*/ 145223 h 993775"/>
                    <a:gd name="connsiteX94" fmla="*/ 843632 w 1502259"/>
                    <a:gd name="connsiteY94" fmla="*/ 188757 h 993775"/>
                    <a:gd name="connsiteX95" fmla="*/ 850056 w 1502259"/>
                    <a:gd name="connsiteY95" fmla="*/ 195894 h 993775"/>
                    <a:gd name="connsiteX96" fmla="*/ 820079 w 1502259"/>
                    <a:gd name="connsiteY96" fmla="*/ 282248 h 993775"/>
                    <a:gd name="connsiteX97" fmla="*/ 858621 w 1502259"/>
                    <a:gd name="connsiteY97" fmla="*/ 345764 h 993775"/>
                    <a:gd name="connsiteX98" fmla="*/ 944983 w 1502259"/>
                    <a:gd name="connsiteY98" fmla="*/ 361465 h 993775"/>
                    <a:gd name="connsiteX99" fmla="*/ 947837 w 1502259"/>
                    <a:gd name="connsiteY99" fmla="*/ 370743 h 993775"/>
                    <a:gd name="connsiteX100" fmla="*/ 962112 w 1502259"/>
                    <a:gd name="connsiteY100" fmla="*/ 432832 h 993775"/>
                    <a:gd name="connsiteX101" fmla="*/ 969963 w 1502259"/>
                    <a:gd name="connsiteY101" fmla="*/ 496348 h 993775"/>
                    <a:gd name="connsiteX102" fmla="*/ 969963 w 1502259"/>
                    <a:gd name="connsiteY102" fmla="*/ 505626 h 993775"/>
                    <a:gd name="connsiteX103" fmla="*/ 898590 w 1502259"/>
                    <a:gd name="connsiteY103" fmla="*/ 548446 h 993775"/>
                    <a:gd name="connsiteX104" fmla="*/ 883602 w 1502259"/>
                    <a:gd name="connsiteY104" fmla="*/ 629091 h 993775"/>
                    <a:gd name="connsiteX105" fmla="*/ 937132 w 1502259"/>
                    <a:gd name="connsiteY105" fmla="*/ 694034 h 993775"/>
                    <a:gd name="connsiteX106" fmla="*/ 932849 w 1502259"/>
                    <a:gd name="connsiteY106" fmla="*/ 702598 h 993775"/>
                    <a:gd name="connsiteX107" fmla="*/ 904300 w 1502259"/>
                    <a:gd name="connsiteY107" fmla="*/ 759692 h 993775"/>
                    <a:gd name="connsiteX108" fmla="*/ 869327 w 1502259"/>
                    <a:gd name="connsiteY108" fmla="*/ 813217 h 993775"/>
                    <a:gd name="connsiteX109" fmla="*/ 863617 w 1502259"/>
                    <a:gd name="connsiteY109" fmla="*/ 821067 h 993775"/>
                    <a:gd name="connsiteX110" fmla="*/ 774400 w 1502259"/>
                    <a:gd name="connsiteY110" fmla="*/ 806080 h 993775"/>
                    <a:gd name="connsiteX111" fmla="*/ 718729 w 1502259"/>
                    <a:gd name="connsiteY111" fmla="*/ 850328 h 993775"/>
                    <a:gd name="connsiteX112" fmla="*/ 718016 w 1502259"/>
                    <a:gd name="connsiteY112" fmla="*/ 943818 h 993775"/>
                    <a:gd name="connsiteX113" fmla="*/ 709451 w 1502259"/>
                    <a:gd name="connsiteY113" fmla="*/ 948100 h 993775"/>
                    <a:gd name="connsiteX114" fmla="*/ 650211 w 1502259"/>
                    <a:gd name="connsiteY114" fmla="*/ 973079 h 993775"/>
                    <a:gd name="connsiteX115" fmla="*/ 589544 w 1502259"/>
                    <a:gd name="connsiteY115" fmla="*/ 991634 h 993775"/>
                    <a:gd name="connsiteX116" fmla="*/ 580265 w 1502259"/>
                    <a:gd name="connsiteY116" fmla="*/ 993775 h 993775"/>
                    <a:gd name="connsiteX117" fmla="*/ 516029 w 1502259"/>
                    <a:gd name="connsiteY117" fmla="*/ 918126 h 993775"/>
                    <a:gd name="connsiteX118" fmla="*/ 454648 w 1502259"/>
                    <a:gd name="connsiteY118" fmla="*/ 918126 h 993775"/>
                    <a:gd name="connsiteX119" fmla="*/ 389698 w 1502259"/>
                    <a:gd name="connsiteY119" fmla="*/ 993775 h 993775"/>
                    <a:gd name="connsiteX120" fmla="*/ 380420 w 1502259"/>
                    <a:gd name="connsiteY120" fmla="*/ 991634 h 993775"/>
                    <a:gd name="connsiteX121" fmla="*/ 319039 w 1502259"/>
                    <a:gd name="connsiteY121" fmla="*/ 973079 h 993775"/>
                    <a:gd name="connsiteX122" fmla="*/ 260513 w 1502259"/>
                    <a:gd name="connsiteY122" fmla="*/ 948100 h 993775"/>
                    <a:gd name="connsiteX123" fmla="*/ 251948 w 1502259"/>
                    <a:gd name="connsiteY123" fmla="*/ 943818 h 993775"/>
                    <a:gd name="connsiteX124" fmla="*/ 250520 w 1502259"/>
                    <a:gd name="connsiteY124" fmla="*/ 849614 h 993775"/>
                    <a:gd name="connsiteX125" fmla="*/ 196277 w 1502259"/>
                    <a:gd name="connsiteY125" fmla="*/ 806080 h 993775"/>
                    <a:gd name="connsiteX126" fmla="*/ 106346 w 1502259"/>
                    <a:gd name="connsiteY126" fmla="*/ 820354 h 993775"/>
                    <a:gd name="connsiteX127" fmla="*/ 100637 w 1502259"/>
                    <a:gd name="connsiteY127" fmla="*/ 813217 h 993775"/>
                    <a:gd name="connsiteX128" fmla="*/ 65664 w 1502259"/>
                    <a:gd name="connsiteY128" fmla="*/ 759692 h 993775"/>
                    <a:gd name="connsiteX129" fmla="*/ 36401 w 1502259"/>
                    <a:gd name="connsiteY129" fmla="*/ 702598 h 993775"/>
                    <a:gd name="connsiteX130" fmla="*/ 32832 w 1502259"/>
                    <a:gd name="connsiteY130" fmla="*/ 694034 h 993775"/>
                    <a:gd name="connsiteX131" fmla="*/ 86362 w 1502259"/>
                    <a:gd name="connsiteY131" fmla="*/ 628377 h 993775"/>
                    <a:gd name="connsiteX132" fmla="*/ 72087 w 1502259"/>
                    <a:gd name="connsiteY132" fmla="*/ 548446 h 993775"/>
                    <a:gd name="connsiteX133" fmla="*/ 0 w 1502259"/>
                    <a:gd name="connsiteY133" fmla="*/ 505626 h 993775"/>
                    <a:gd name="connsiteX134" fmla="*/ 714 w 1502259"/>
                    <a:gd name="connsiteY134" fmla="*/ 495635 h 993775"/>
                    <a:gd name="connsiteX135" fmla="*/ 7851 w 1502259"/>
                    <a:gd name="connsiteY135" fmla="*/ 432832 h 993775"/>
                    <a:gd name="connsiteX136" fmla="*/ 22840 w 1502259"/>
                    <a:gd name="connsiteY136" fmla="*/ 370029 h 993775"/>
                    <a:gd name="connsiteX137" fmla="*/ 24981 w 1502259"/>
                    <a:gd name="connsiteY137" fmla="*/ 361465 h 993775"/>
                    <a:gd name="connsiteX138" fmla="*/ 112056 w 1502259"/>
                    <a:gd name="connsiteY138" fmla="*/ 345051 h 993775"/>
                    <a:gd name="connsiteX139" fmla="*/ 151312 w 1502259"/>
                    <a:gd name="connsiteY139" fmla="*/ 282248 h 993775"/>
                    <a:gd name="connsiteX140" fmla="*/ 121335 w 1502259"/>
                    <a:gd name="connsiteY140" fmla="*/ 195894 h 993775"/>
                    <a:gd name="connsiteX141" fmla="*/ 127758 w 1502259"/>
                    <a:gd name="connsiteY141" fmla="*/ 188757 h 993775"/>
                    <a:gd name="connsiteX142" fmla="*/ 174151 w 1502259"/>
                    <a:gd name="connsiteY142" fmla="*/ 145223 h 993775"/>
                    <a:gd name="connsiteX143" fmla="*/ 224826 w 1502259"/>
                    <a:gd name="connsiteY143" fmla="*/ 106685 h 993775"/>
                    <a:gd name="connsiteX144" fmla="*/ 232677 w 1502259"/>
                    <a:gd name="connsiteY144" fmla="*/ 101690 h 993775"/>
                    <a:gd name="connsiteX145" fmla="*/ 321180 w 1502259"/>
                    <a:gd name="connsiteY145" fmla="*/ 150933 h 993775"/>
                    <a:gd name="connsiteX146" fmla="*/ 376137 w 1502259"/>
                    <a:gd name="connsiteY146" fmla="*/ 133091 h 993775"/>
                    <a:gd name="connsiteX147" fmla="*/ 412538 w 1502259"/>
                    <a:gd name="connsiteY147" fmla="*/ 36032 h 993775"/>
                    <a:gd name="connsiteX148" fmla="*/ 421816 w 1502259"/>
                    <a:gd name="connsiteY148" fmla="*/ 35318 h 993775"/>
                    <a:gd name="connsiteX149" fmla="*/ 485339 w 1502259"/>
                    <a:gd name="connsiteY149" fmla="*/ 31750 h 993775"/>
                    <a:gd name="connsiteX150" fmla="*/ 1155526 w 1502259"/>
                    <a:gd name="connsiteY150" fmla="*/ 0 h 993775"/>
                    <a:gd name="connsiteX151" fmla="*/ 1191969 w 1502259"/>
                    <a:gd name="connsiteY151" fmla="*/ 33520 h 993775"/>
                    <a:gd name="connsiteX152" fmla="*/ 1285578 w 1502259"/>
                    <a:gd name="connsiteY152" fmla="*/ 44218 h 993775"/>
                    <a:gd name="connsiteX153" fmla="*/ 1328452 w 1502259"/>
                    <a:gd name="connsiteY153" fmla="*/ 19970 h 993775"/>
                    <a:gd name="connsiteX154" fmla="*/ 1427777 w 1502259"/>
                    <a:gd name="connsiteY154" fmla="*/ 92716 h 993775"/>
                    <a:gd name="connsiteX155" fmla="*/ 1418487 w 1502259"/>
                    <a:gd name="connsiteY155" fmla="*/ 139787 h 993775"/>
                    <a:gd name="connsiteX156" fmla="*/ 1443497 w 1502259"/>
                    <a:gd name="connsiteY156" fmla="*/ 186144 h 993775"/>
                    <a:gd name="connsiteX157" fmla="*/ 1459218 w 1502259"/>
                    <a:gd name="connsiteY157" fmla="*/ 233215 h 993775"/>
                    <a:gd name="connsiteX158" fmla="*/ 1500663 w 1502259"/>
                    <a:gd name="connsiteY158" fmla="*/ 258177 h 993775"/>
                    <a:gd name="connsiteX159" fmla="*/ 1487086 w 1502259"/>
                    <a:gd name="connsiteY159" fmla="*/ 379421 h 993775"/>
                    <a:gd name="connsiteX160" fmla="*/ 1442068 w 1502259"/>
                    <a:gd name="connsiteY160" fmla="*/ 393685 h 993775"/>
                    <a:gd name="connsiteX161" fmla="*/ 1379186 w 1502259"/>
                    <a:gd name="connsiteY161" fmla="*/ 479982 h 993775"/>
                    <a:gd name="connsiteX162" fmla="*/ 1379186 w 1502259"/>
                    <a:gd name="connsiteY162" fmla="*/ 528479 h 993775"/>
                    <a:gd name="connsiteX163" fmla="*/ 1326308 w 1502259"/>
                    <a:gd name="connsiteY163" fmla="*/ 558433 h 993775"/>
                    <a:gd name="connsiteX164" fmla="*/ 1269857 w 1502259"/>
                    <a:gd name="connsiteY164" fmla="*/ 576263 h 993775"/>
                    <a:gd name="connsiteX165" fmla="*/ 1233414 w 1502259"/>
                    <a:gd name="connsiteY165" fmla="*/ 543456 h 993775"/>
                    <a:gd name="connsiteX166" fmla="*/ 1128373 w 1502259"/>
                    <a:gd name="connsiteY166" fmla="*/ 529905 h 993775"/>
                    <a:gd name="connsiteX167" fmla="*/ 1086928 w 1502259"/>
                    <a:gd name="connsiteY167" fmla="*/ 554154 h 993775"/>
                    <a:gd name="connsiteX168" fmla="*/ 990461 w 1502259"/>
                    <a:gd name="connsiteY168" fmla="*/ 479982 h 993775"/>
                    <a:gd name="connsiteX169" fmla="*/ 1001894 w 1502259"/>
                    <a:gd name="connsiteY169" fmla="*/ 432911 h 993775"/>
                    <a:gd name="connsiteX170" fmla="*/ 978314 w 1502259"/>
                    <a:gd name="connsiteY170" fmla="*/ 389406 h 993775"/>
                    <a:gd name="connsiteX171" fmla="*/ 961878 w 1502259"/>
                    <a:gd name="connsiteY171" fmla="*/ 338769 h 993775"/>
                    <a:gd name="connsiteX172" fmla="*/ 920434 w 1502259"/>
                    <a:gd name="connsiteY172" fmla="*/ 314520 h 993775"/>
                    <a:gd name="connsiteX173" fmla="*/ 936869 w 1502259"/>
                    <a:gd name="connsiteY173" fmla="*/ 190424 h 993775"/>
                    <a:gd name="connsiteX174" fmla="*/ 983316 w 1502259"/>
                    <a:gd name="connsiteY174" fmla="*/ 175447 h 993775"/>
                    <a:gd name="connsiteX175" fmla="*/ 1041196 w 1502259"/>
                    <a:gd name="connsiteY175" fmla="*/ 99848 h 993775"/>
                    <a:gd name="connsiteX176" fmla="*/ 1041196 w 1502259"/>
                    <a:gd name="connsiteY176" fmla="*/ 49211 h 993775"/>
                    <a:gd name="connsiteX177" fmla="*/ 1095503 w 1502259"/>
                    <a:gd name="connsiteY177" fmla="*/ 18543 h 993775"/>
                    <a:gd name="connsiteX178" fmla="*/ 1155526 w 1502259"/>
                    <a:gd name="connsiteY178" fmla="*/ 0 h 993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</a:cxnLst>
                  <a:rect l="l" t="t" r="r" b="b"/>
                  <a:pathLst>
                    <a:path w="1502259" h="993775">
                      <a:moveTo>
                        <a:pt x="484981" y="385763"/>
                      </a:moveTo>
                      <a:cubicBezTo>
                        <a:pt x="559067" y="385763"/>
                        <a:pt x="619125" y="445466"/>
                        <a:pt x="619125" y="519113"/>
                      </a:cubicBezTo>
                      <a:cubicBezTo>
                        <a:pt x="619125" y="592760"/>
                        <a:pt x="559067" y="652463"/>
                        <a:pt x="484981" y="652463"/>
                      </a:cubicBezTo>
                      <a:cubicBezTo>
                        <a:pt x="410895" y="652463"/>
                        <a:pt x="350837" y="592760"/>
                        <a:pt x="350837" y="519113"/>
                      </a:cubicBezTo>
                      <a:cubicBezTo>
                        <a:pt x="350837" y="445466"/>
                        <a:pt x="410895" y="385763"/>
                        <a:pt x="484981" y="385763"/>
                      </a:cubicBezTo>
                      <a:close/>
                      <a:moveTo>
                        <a:pt x="485774" y="246062"/>
                      </a:moveTo>
                      <a:cubicBezTo>
                        <a:pt x="335849" y="246062"/>
                        <a:pt x="214311" y="367956"/>
                        <a:pt x="214311" y="518319"/>
                      </a:cubicBezTo>
                      <a:cubicBezTo>
                        <a:pt x="214311" y="668682"/>
                        <a:pt x="335849" y="790576"/>
                        <a:pt x="485774" y="790576"/>
                      </a:cubicBezTo>
                      <a:cubicBezTo>
                        <a:pt x="635699" y="790576"/>
                        <a:pt x="757237" y="668682"/>
                        <a:pt x="757237" y="518319"/>
                      </a:cubicBezTo>
                      <a:cubicBezTo>
                        <a:pt x="757237" y="367956"/>
                        <a:pt x="635699" y="246062"/>
                        <a:pt x="485774" y="246062"/>
                      </a:cubicBezTo>
                      <a:close/>
                      <a:moveTo>
                        <a:pt x="485774" y="215899"/>
                      </a:moveTo>
                      <a:cubicBezTo>
                        <a:pt x="653234" y="215899"/>
                        <a:pt x="788987" y="351652"/>
                        <a:pt x="788987" y="519112"/>
                      </a:cubicBezTo>
                      <a:cubicBezTo>
                        <a:pt x="788987" y="686572"/>
                        <a:pt x="653234" y="822325"/>
                        <a:pt x="485774" y="822325"/>
                      </a:cubicBezTo>
                      <a:cubicBezTo>
                        <a:pt x="318314" y="822325"/>
                        <a:pt x="182561" y="686572"/>
                        <a:pt x="182561" y="519112"/>
                      </a:cubicBezTo>
                      <a:cubicBezTo>
                        <a:pt x="182561" y="351652"/>
                        <a:pt x="318314" y="215899"/>
                        <a:pt x="485774" y="215899"/>
                      </a:cubicBezTo>
                      <a:close/>
                      <a:moveTo>
                        <a:pt x="1210014" y="159164"/>
                      </a:moveTo>
                      <a:cubicBezTo>
                        <a:pt x="1193383" y="159286"/>
                        <a:pt x="1176485" y="162725"/>
                        <a:pt x="1160255" y="169871"/>
                      </a:cubicBezTo>
                      <a:cubicBezTo>
                        <a:pt x="1096049" y="197739"/>
                        <a:pt x="1066800" y="272769"/>
                        <a:pt x="1094623" y="338509"/>
                      </a:cubicBezTo>
                      <a:cubicBezTo>
                        <a:pt x="1122445" y="403535"/>
                        <a:pt x="1197352" y="434976"/>
                        <a:pt x="1262270" y="405679"/>
                      </a:cubicBezTo>
                      <a:cubicBezTo>
                        <a:pt x="1326476" y="378525"/>
                        <a:pt x="1355725" y="302066"/>
                        <a:pt x="1327189" y="237040"/>
                      </a:cubicBezTo>
                      <a:cubicBezTo>
                        <a:pt x="1307393" y="188271"/>
                        <a:pt x="1259907" y="158795"/>
                        <a:pt x="1210014" y="159164"/>
                      </a:cubicBezTo>
                      <a:close/>
                      <a:moveTo>
                        <a:pt x="485339" y="63500"/>
                      </a:moveTo>
                      <a:cubicBezTo>
                        <a:pt x="485339" y="63500"/>
                        <a:pt x="459624" y="63500"/>
                        <a:pt x="434623" y="65640"/>
                      </a:cubicBezTo>
                      <a:cubicBezTo>
                        <a:pt x="399621" y="159813"/>
                        <a:pt x="399621" y="159813"/>
                        <a:pt x="399621" y="159813"/>
                      </a:cubicBezTo>
                      <a:cubicBezTo>
                        <a:pt x="391050" y="161953"/>
                        <a:pt x="391050" y="161953"/>
                        <a:pt x="391050" y="161953"/>
                      </a:cubicBezTo>
                      <a:cubicBezTo>
                        <a:pt x="368906" y="166947"/>
                        <a:pt x="347477" y="174081"/>
                        <a:pt x="326047" y="183356"/>
                      </a:cubicBezTo>
                      <a:cubicBezTo>
                        <a:pt x="318904" y="186923"/>
                        <a:pt x="318904" y="186923"/>
                        <a:pt x="318904" y="186923"/>
                      </a:cubicBezTo>
                      <a:cubicBezTo>
                        <a:pt x="233901" y="138410"/>
                        <a:pt x="233901" y="138410"/>
                        <a:pt x="233901" y="138410"/>
                      </a:cubicBezTo>
                      <a:cubicBezTo>
                        <a:pt x="213900" y="152678"/>
                        <a:pt x="194614" y="169087"/>
                        <a:pt x="193899" y="169087"/>
                      </a:cubicBezTo>
                      <a:cubicBezTo>
                        <a:pt x="193899" y="169801"/>
                        <a:pt x="173898" y="186209"/>
                        <a:pt x="156755" y="204045"/>
                      </a:cubicBezTo>
                      <a:cubicBezTo>
                        <a:pt x="186756" y="288229"/>
                        <a:pt x="186756" y="288229"/>
                        <a:pt x="186756" y="288229"/>
                      </a:cubicBezTo>
                      <a:cubicBezTo>
                        <a:pt x="181042" y="295364"/>
                        <a:pt x="181042" y="295364"/>
                        <a:pt x="181042" y="295364"/>
                      </a:cubicBezTo>
                      <a:cubicBezTo>
                        <a:pt x="163184" y="316766"/>
                        <a:pt x="148898" y="341023"/>
                        <a:pt x="136754" y="365993"/>
                      </a:cubicBezTo>
                      <a:cubicBezTo>
                        <a:pt x="133183" y="373127"/>
                        <a:pt x="133183" y="373127"/>
                        <a:pt x="133183" y="373127"/>
                      </a:cubicBezTo>
                      <a:cubicBezTo>
                        <a:pt x="49608" y="388823"/>
                        <a:pt x="49608" y="388823"/>
                        <a:pt x="49608" y="388823"/>
                      </a:cubicBezTo>
                      <a:cubicBezTo>
                        <a:pt x="43179" y="412366"/>
                        <a:pt x="38893" y="438049"/>
                        <a:pt x="38893" y="438049"/>
                      </a:cubicBezTo>
                      <a:cubicBezTo>
                        <a:pt x="38893" y="438762"/>
                        <a:pt x="33893" y="463732"/>
                        <a:pt x="31750" y="488702"/>
                      </a:cubicBezTo>
                      <a:cubicBezTo>
                        <a:pt x="101753" y="530081"/>
                        <a:pt x="101753" y="530081"/>
                        <a:pt x="101753" y="530081"/>
                      </a:cubicBezTo>
                      <a:cubicBezTo>
                        <a:pt x="102467" y="537929"/>
                        <a:pt x="102467" y="537929"/>
                        <a:pt x="102467" y="537929"/>
                      </a:cubicBezTo>
                      <a:cubicBezTo>
                        <a:pt x="103896" y="568606"/>
                        <a:pt x="109610" y="598570"/>
                        <a:pt x="118896" y="627107"/>
                      </a:cubicBezTo>
                      <a:cubicBezTo>
                        <a:pt x="121039" y="635668"/>
                        <a:pt x="121039" y="635668"/>
                        <a:pt x="121039" y="635668"/>
                      </a:cubicBezTo>
                      <a:cubicBezTo>
                        <a:pt x="68895" y="699163"/>
                        <a:pt x="68895" y="699163"/>
                        <a:pt x="68895" y="699163"/>
                      </a:cubicBezTo>
                      <a:cubicBezTo>
                        <a:pt x="79609" y="721279"/>
                        <a:pt x="92467" y="743395"/>
                        <a:pt x="92467" y="744109"/>
                      </a:cubicBezTo>
                      <a:cubicBezTo>
                        <a:pt x="92467" y="744109"/>
                        <a:pt x="105324" y="766225"/>
                        <a:pt x="119611" y="786914"/>
                      </a:cubicBezTo>
                      <a:cubicBezTo>
                        <a:pt x="206757" y="772646"/>
                        <a:pt x="206757" y="772646"/>
                        <a:pt x="206757" y="772646"/>
                      </a:cubicBezTo>
                      <a:cubicBezTo>
                        <a:pt x="212471" y="777640"/>
                        <a:pt x="212471" y="777640"/>
                        <a:pt x="212471" y="777640"/>
                      </a:cubicBezTo>
                      <a:cubicBezTo>
                        <a:pt x="230329" y="796902"/>
                        <a:pt x="251759" y="813311"/>
                        <a:pt x="274617" y="827580"/>
                      </a:cubicBezTo>
                      <a:cubicBezTo>
                        <a:pt x="281760" y="831860"/>
                        <a:pt x="281760" y="831860"/>
                        <a:pt x="281760" y="831860"/>
                      </a:cubicBezTo>
                      <a:cubicBezTo>
                        <a:pt x="282474" y="923892"/>
                        <a:pt x="282474" y="923892"/>
                        <a:pt x="282474" y="923892"/>
                      </a:cubicBezTo>
                      <a:cubicBezTo>
                        <a:pt x="305332" y="934594"/>
                        <a:pt x="329619" y="943868"/>
                        <a:pt x="329619" y="943868"/>
                      </a:cubicBezTo>
                      <a:cubicBezTo>
                        <a:pt x="329619" y="943868"/>
                        <a:pt x="354620" y="952429"/>
                        <a:pt x="378192" y="958850"/>
                      </a:cubicBezTo>
                      <a:cubicBezTo>
                        <a:pt x="441051" y="886081"/>
                        <a:pt x="441051" y="886081"/>
                        <a:pt x="441051" y="886081"/>
                      </a:cubicBezTo>
                      <a:cubicBezTo>
                        <a:pt x="448909" y="886794"/>
                        <a:pt x="448909" y="886794"/>
                        <a:pt x="448909" y="886794"/>
                      </a:cubicBezTo>
                      <a:cubicBezTo>
                        <a:pt x="461052" y="887508"/>
                        <a:pt x="473910" y="888221"/>
                        <a:pt x="485339" y="888221"/>
                      </a:cubicBezTo>
                      <a:cubicBezTo>
                        <a:pt x="497482" y="888221"/>
                        <a:pt x="508911" y="887508"/>
                        <a:pt x="521055" y="886794"/>
                      </a:cubicBezTo>
                      <a:cubicBezTo>
                        <a:pt x="528912" y="886081"/>
                        <a:pt x="528912" y="886081"/>
                        <a:pt x="528912" y="886081"/>
                      </a:cubicBezTo>
                      <a:cubicBezTo>
                        <a:pt x="591057" y="958850"/>
                        <a:pt x="591057" y="958850"/>
                        <a:pt x="591057" y="958850"/>
                      </a:cubicBezTo>
                      <a:cubicBezTo>
                        <a:pt x="615344" y="952429"/>
                        <a:pt x="639630" y="943868"/>
                        <a:pt x="639630" y="943868"/>
                      </a:cubicBezTo>
                      <a:cubicBezTo>
                        <a:pt x="640345" y="943868"/>
                        <a:pt x="664631" y="934594"/>
                        <a:pt x="686775" y="924606"/>
                      </a:cubicBezTo>
                      <a:cubicBezTo>
                        <a:pt x="687489" y="832574"/>
                        <a:pt x="687489" y="832574"/>
                        <a:pt x="687489" y="832574"/>
                      </a:cubicBezTo>
                      <a:cubicBezTo>
                        <a:pt x="695347" y="828293"/>
                        <a:pt x="695347" y="828293"/>
                        <a:pt x="695347" y="828293"/>
                      </a:cubicBezTo>
                      <a:cubicBezTo>
                        <a:pt x="718205" y="814025"/>
                        <a:pt x="738920" y="796902"/>
                        <a:pt x="758206" y="778353"/>
                      </a:cubicBezTo>
                      <a:cubicBezTo>
                        <a:pt x="763921" y="772646"/>
                        <a:pt x="763921" y="772646"/>
                        <a:pt x="763921" y="772646"/>
                      </a:cubicBezTo>
                      <a:cubicBezTo>
                        <a:pt x="850353" y="786914"/>
                        <a:pt x="850353" y="786914"/>
                        <a:pt x="850353" y="786914"/>
                      </a:cubicBezTo>
                      <a:cubicBezTo>
                        <a:pt x="863925" y="766938"/>
                        <a:pt x="877497" y="744822"/>
                        <a:pt x="877497" y="744109"/>
                      </a:cubicBezTo>
                      <a:cubicBezTo>
                        <a:pt x="877497" y="744109"/>
                        <a:pt x="890354" y="721993"/>
                        <a:pt x="900355" y="699163"/>
                      </a:cubicBezTo>
                      <a:cubicBezTo>
                        <a:pt x="849638" y="636381"/>
                        <a:pt x="849638" y="636381"/>
                        <a:pt x="849638" y="636381"/>
                      </a:cubicBezTo>
                      <a:cubicBezTo>
                        <a:pt x="852496" y="627820"/>
                        <a:pt x="852496" y="627820"/>
                        <a:pt x="852496" y="627820"/>
                      </a:cubicBezTo>
                      <a:cubicBezTo>
                        <a:pt x="861067" y="599283"/>
                        <a:pt x="866782" y="569319"/>
                        <a:pt x="868211" y="538642"/>
                      </a:cubicBezTo>
                      <a:cubicBezTo>
                        <a:pt x="868211" y="530081"/>
                        <a:pt x="868211" y="530081"/>
                        <a:pt x="868211" y="530081"/>
                      </a:cubicBezTo>
                      <a:cubicBezTo>
                        <a:pt x="938213" y="488702"/>
                        <a:pt x="938213" y="488702"/>
                        <a:pt x="938213" y="488702"/>
                      </a:cubicBezTo>
                      <a:cubicBezTo>
                        <a:pt x="936070" y="464446"/>
                        <a:pt x="931784" y="438762"/>
                        <a:pt x="931784" y="438762"/>
                      </a:cubicBezTo>
                      <a:cubicBezTo>
                        <a:pt x="931070" y="438049"/>
                        <a:pt x="926784" y="413079"/>
                        <a:pt x="920355" y="389536"/>
                      </a:cubicBezTo>
                      <a:cubicBezTo>
                        <a:pt x="838209" y="373841"/>
                        <a:pt x="838209" y="373841"/>
                        <a:pt x="838209" y="373841"/>
                      </a:cubicBezTo>
                      <a:cubicBezTo>
                        <a:pt x="834638" y="366706"/>
                        <a:pt x="834638" y="366706"/>
                        <a:pt x="834638" y="366706"/>
                      </a:cubicBezTo>
                      <a:cubicBezTo>
                        <a:pt x="822495" y="341023"/>
                        <a:pt x="807494" y="317480"/>
                        <a:pt x="790350" y="295364"/>
                      </a:cubicBezTo>
                      <a:cubicBezTo>
                        <a:pt x="784636" y="288229"/>
                        <a:pt x="784636" y="288229"/>
                        <a:pt x="784636" y="288229"/>
                      </a:cubicBezTo>
                      <a:cubicBezTo>
                        <a:pt x="813923" y="204045"/>
                        <a:pt x="813923" y="204045"/>
                        <a:pt x="813923" y="204045"/>
                      </a:cubicBezTo>
                      <a:cubicBezTo>
                        <a:pt x="796779" y="186209"/>
                        <a:pt x="776779" y="169801"/>
                        <a:pt x="776779" y="169801"/>
                      </a:cubicBezTo>
                      <a:cubicBezTo>
                        <a:pt x="776779" y="169801"/>
                        <a:pt x="756778" y="152678"/>
                        <a:pt x="736777" y="139123"/>
                      </a:cubicBezTo>
                      <a:cubicBezTo>
                        <a:pt x="651774" y="186923"/>
                        <a:pt x="651774" y="186923"/>
                        <a:pt x="651774" y="186923"/>
                      </a:cubicBezTo>
                      <a:cubicBezTo>
                        <a:pt x="644631" y="183356"/>
                        <a:pt x="644631" y="183356"/>
                        <a:pt x="644631" y="183356"/>
                      </a:cubicBezTo>
                      <a:cubicBezTo>
                        <a:pt x="623201" y="174081"/>
                        <a:pt x="601772" y="166947"/>
                        <a:pt x="578914" y="161953"/>
                      </a:cubicBezTo>
                      <a:cubicBezTo>
                        <a:pt x="571056" y="159813"/>
                        <a:pt x="571056" y="159813"/>
                        <a:pt x="571056" y="159813"/>
                      </a:cubicBezTo>
                      <a:cubicBezTo>
                        <a:pt x="536055" y="65640"/>
                        <a:pt x="536055" y="65640"/>
                        <a:pt x="536055" y="65640"/>
                      </a:cubicBezTo>
                      <a:cubicBezTo>
                        <a:pt x="511768" y="63500"/>
                        <a:pt x="486053" y="63500"/>
                        <a:pt x="485339" y="63500"/>
                      </a:cubicBezTo>
                      <a:close/>
                      <a:moveTo>
                        <a:pt x="485339" y="31750"/>
                      </a:moveTo>
                      <a:cubicBezTo>
                        <a:pt x="486766" y="31750"/>
                        <a:pt x="520312" y="31750"/>
                        <a:pt x="548861" y="35318"/>
                      </a:cubicBezTo>
                      <a:cubicBezTo>
                        <a:pt x="558139" y="36032"/>
                        <a:pt x="558139" y="36032"/>
                        <a:pt x="558139" y="36032"/>
                      </a:cubicBezTo>
                      <a:cubicBezTo>
                        <a:pt x="594540" y="133091"/>
                        <a:pt x="594540" y="133091"/>
                        <a:pt x="594540" y="133091"/>
                      </a:cubicBezTo>
                      <a:cubicBezTo>
                        <a:pt x="613097" y="138087"/>
                        <a:pt x="631654" y="143796"/>
                        <a:pt x="649497" y="151646"/>
                      </a:cubicBezTo>
                      <a:cubicBezTo>
                        <a:pt x="738000" y="101690"/>
                        <a:pt x="738000" y="101690"/>
                        <a:pt x="738000" y="101690"/>
                      </a:cubicBezTo>
                      <a:cubicBezTo>
                        <a:pt x="745851" y="106685"/>
                        <a:pt x="745851" y="106685"/>
                        <a:pt x="745851" y="106685"/>
                      </a:cubicBezTo>
                      <a:cubicBezTo>
                        <a:pt x="770118" y="123100"/>
                        <a:pt x="795812" y="144510"/>
                        <a:pt x="796526" y="145223"/>
                      </a:cubicBezTo>
                      <a:cubicBezTo>
                        <a:pt x="797954" y="145937"/>
                        <a:pt x="823648" y="168061"/>
                        <a:pt x="843632" y="188757"/>
                      </a:cubicBezTo>
                      <a:cubicBezTo>
                        <a:pt x="850056" y="195894"/>
                        <a:pt x="850056" y="195894"/>
                        <a:pt x="850056" y="195894"/>
                      </a:cubicBezTo>
                      <a:cubicBezTo>
                        <a:pt x="820079" y="282248"/>
                        <a:pt x="820079" y="282248"/>
                        <a:pt x="820079" y="282248"/>
                      </a:cubicBezTo>
                      <a:cubicBezTo>
                        <a:pt x="835068" y="302230"/>
                        <a:pt x="847915" y="322927"/>
                        <a:pt x="858621" y="345764"/>
                      </a:cubicBezTo>
                      <a:cubicBezTo>
                        <a:pt x="944983" y="361465"/>
                        <a:pt x="944983" y="361465"/>
                        <a:pt x="944983" y="361465"/>
                      </a:cubicBezTo>
                      <a:cubicBezTo>
                        <a:pt x="947837" y="370743"/>
                        <a:pt x="947837" y="370743"/>
                        <a:pt x="947837" y="370743"/>
                      </a:cubicBezTo>
                      <a:cubicBezTo>
                        <a:pt x="955689" y="398576"/>
                        <a:pt x="962112" y="431404"/>
                        <a:pt x="962112" y="432832"/>
                      </a:cubicBezTo>
                      <a:cubicBezTo>
                        <a:pt x="962112" y="434259"/>
                        <a:pt x="967822" y="467802"/>
                        <a:pt x="969963" y="496348"/>
                      </a:cubicBezTo>
                      <a:cubicBezTo>
                        <a:pt x="969963" y="505626"/>
                        <a:pt x="969963" y="505626"/>
                        <a:pt x="969963" y="505626"/>
                      </a:cubicBezTo>
                      <a:cubicBezTo>
                        <a:pt x="898590" y="548446"/>
                        <a:pt x="898590" y="548446"/>
                        <a:pt x="898590" y="548446"/>
                      </a:cubicBezTo>
                      <a:cubicBezTo>
                        <a:pt x="896449" y="575565"/>
                        <a:pt x="891453" y="602685"/>
                        <a:pt x="883602" y="629091"/>
                      </a:cubicBezTo>
                      <a:cubicBezTo>
                        <a:pt x="937132" y="694034"/>
                        <a:pt x="937132" y="694034"/>
                        <a:pt x="937132" y="694034"/>
                      </a:cubicBezTo>
                      <a:cubicBezTo>
                        <a:pt x="932849" y="702598"/>
                        <a:pt x="932849" y="702598"/>
                        <a:pt x="932849" y="702598"/>
                      </a:cubicBezTo>
                      <a:cubicBezTo>
                        <a:pt x="921429" y="729718"/>
                        <a:pt x="905014" y="758978"/>
                        <a:pt x="904300" y="759692"/>
                      </a:cubicBezTo>
                      <a:cubicBezTo>
                        <a:pt x="903586" y="761119"/>
                        <a:pt x="886456" y="790380"/>
                        <a:pt x="869327" y="813217"/>
                      </a:cubicBezTo>
                      <a:cubicBezTo>
                        <a:pt x="863617" y="821067"/>
                        <a:pt x="863617" y="821067"/>
                        <a:pt x="863617" y="821067"/>
                      </a:cubicBezTo>
                      <a:cubicBezTo>
                        <a:pt x="774400" y="806080"/>
                        <a:pt x="774400" y="806080"/>
                        <a:pt x="774400" y="806080"/>
                      </a:cubicBezTo>
                      <a:cubicBezTo>
                        <a:pt x="757271" y="822495"/>
                        <a:pt x="738714" y="836768"/>
                        <a:pt x="718729" y="850328"/>
                      </a:cubicBezTo>
                      <a:cubicBezTo>
                        <a:pt x="718016" y="943818"/>
                        <a:pt x="718016" y="943818"/>
                        <a:pt x="718016" y="943818"/>
                      </a:cubicBezTo>
                      <a:cubicBezTo>
                        <a:pt x="709451" y="948100"/>
                        <a:pt x="709451" y="948100"/>
                        <a:pt x="709451" y="948100"/>
                      </a:cubicBezTo>
                      <a:cubicBezTo>
                        <a:pt x="683043" y="960946"/>
                        <a:pt x="651638" y="973079"/>
                        <a:pt x="650211" y="973079"/>
                      </a:cubicBezTo>
                      <a:cubicBezTo>
                        <a:pt x="648783" y="973792"/>
                        <a:pt x="617379" y="985211"/>
                        <a:pt x="589544" y="991634"/>
                      </a:cubicBezTo>
                      <a:cubicBezTo>
                        <a:pt x="580265" y="993775"/>
                        <a:pt x="580265" y="993775"/>
                        <a:pt x="580265" y="993775"/>
                      </a:cubicBezTo>
                      <a:cubicBezTo>
                        <a:pt x="516029" y="918126"/>
                        <a:pt x="516029" y="918126"/>
                        <a:pt x="516029" y="918126"/>
                      </a:cubicBezTo>
                      <a:cubicBezTo>
                        <a:pt x="495331" y="919554"/>
                        <a:pt x="474633" y="919554"/>
                        <a:pt x="454648" y="918126"/>
                      </a:cubicBezTo>
                      <a:cubicBezTo>
                        <a:pt x="389698" y="993775"/>
                        <a:pt x="389698" y="993775"/>
                        <a:pt x="389698" y="993775"/>
                      </a:cubicBezTo>
                      <a:cubicBezTo>
                        <a:pt x="380420" y="991634"/>
                        <a:pt x="380420" y="991634"/>
                        <a:pt x="380420" y="991634"/>
                      </a:cubicBezTo>
                      <a:cubicBezTo>
                        <a:pt x="351871" y="985211"/>
                        <a:pt x="320466" y="973792"/>
                        <a:pt x="319039" y="973079"/>
                      </a:cubicBezTo>
                      <a:cubicBezTo>
                        <a:pt x="317611" y="972365"/>
                        <a:pt x="286207" y="960946"/>
                        <a:pt x="260513" y="948100"/>
                      </a:cubicBezTo>
                      <a:cubicBezTo>
                        <a:pt x="251948" y="943818"/>
                        <a:pt x="251948" y="943818"/>
                        <a:pt x="251948" y="943818"/>
                      </a:cubicBezTo>
                      <a:cubicBezTo>
                        <a:pt x="250520" y="849614"/>
                        <a:pt x="250520" y="849614"/>
                        <a:pt x="250520" y="849614"/>
                      </a:cubicBezTo>
                      <a:cubicBezTo>
                        <a:pt x="231250" y="836768"/>
                        <a:pt x="213406" y="821781"/>
                        <a:pt x="196277" y="806080"/>
                      </a:cubicBezTo>
                      <a:cubicBezTo>
                        <a:pt x="106346" y="820354"/>
                        <a:pt x="106346" y="820354"/>
                        <a:pt x="106346" y="820354"/>
                      </a:cubicBezTo>
                      <a:cubicBezTo>
                        <a:pt x="100637" y="813217"/>
                        <a:pt x="100637" y="813217"/>
                        <a:pt x="100637" y="813217"/>
                      </a:cubicBezTo>
                      <a:cubicBezTo>
                        <a:pt x="82793" y="789666"/>
                        <a:pt x="66377" y="761119"/>
                        <a:pt x="65664" y="759692"/>
                      </a:cubicBezTo>
                      <a:cubicBezTo>
                        <a:pt x="64950" y="758265"/>
                        <a:pt x="47820" y="729004"/>
                        <a:pt x="36401" y="702598"/>
                      </a:cubicBezTo>
                      <a:cubicBezTo>
                        <a:pt x="32832" y="694034"/>
                        <a:pt x="32832" y="694034"/>
                        <a:pt x="32832" y="694034"/>
                      </a:cubicBezTo>
                      <a:cubicBezTo>
                        <a:pt x="86362" y="628377"/>
                        <a:pt x="86362" y="628377"/>
                        <a:pt x="86362" y="628377"/>
                      </a:cubicBezTo>
                      <a:cubicBezTo>
                        <a:pt x="78511" y="601971"/>
                        <a:pt x="74228" y="575565"/>
                        <a:pt x="72087" y="548446"/>
                      </a:cubicBezTo>
                      <a:cubicBezTo>
                        <a:pt x="0" y="505626"/>
                        <a:pt x="0" y="505626"/>
                        <a:pt x="0" y="505626"/>
                      </a:cubicBezTo>
                      <a:cubicBezTo>
                        <a:pt x="714" y="495635"/>
                        <a:pt x="714" y="495635"/>
                        <a:pt x="714" y="495635"/>
                      </a:cubicBezTo>
                      <a:cubicBezTo>
                        <a:pt x="2141" y="467088"/>
                        <a:pt x="7851" y="434259"/>
                        <a:pt x="7851" y="432832"/>
                      </a:cubicBezTo>
                      <a:cubicBezTo>
                        <a:pt x="8565" y="431404"/>
                        <a:pt x="14275" y="397862"/>
                        <a:pt x="22840" y="370029"/>
                      </a:cubicBezTo>
                      <a:cubicBezTo>
                        <a:pt x="24981" y="361465"/>
                        <a:pt x="24981" y="361465"/>
                        <a:pt x="24981" y="361465"/>
                      </a:cubicBezTo>
                      <a:cubicBezTo>
                        <a:pt x="112056" y="345051"/>
                        <a:pt x="112056" y="345051"/>
                        <a:pt x="112056" y="345051"/>
                      </a:cubicBezTo>
                      <a:cubicBezTo>
                        <a:pt x="123476" y="322927"/>
                        <a:pt x="136323" y="301517"/>
                        <a:pt x="151312" y="282248"/>
                      </a:cubicBezTo>
                      <a:cubicBezTo>
                        <a:pt x="121335" y="195894"/>
                        <a:pt x="121335" y="195894"/>
                        <a:pt x="121335" y="195894"/>
                      </a:cubicBezTo>
                      <a:cubicBezTo>
                        <a:pt x="127758" y="188757"/>
                        <a:pt x="127758" y="188757"/>
                        <a:pt x="127758" y="188757"/>
                      </a:cubicBezTo>
                      <a:cubicBezTo>
                        <a:pt x="147029" y="167347"/>
                        <a:pt x="173437" y="145937"/>
                        <a:pt x="174151" y="145223"/>
                      </a:cubicBezTo>
                      <a:cubicBezTo>
                        <a:pt x="175579" y="143796"/>
                        <a:pt x="201273" y="122386"/>
                        <a:pt x="224826" y="106685"/>
                      </a:cubicBezTo>
                      <a:cubicBezTo>
                        <a:pt x="232677" y="101690"/>
                        <a:pt x="232677" y="101690"/>
                        <a:pt x="232677" y="101690"/>
                      </a:cubicBezTo>
                      <a:cubicBezTo>
                        <a:pt x="321180" y="150933"/>
                        <a:pt x="321180" y="150933"/>
                        <a:pt x="321180" y="150933"/>
                      </a:cubicBezTo>
                      <a:cubicBezTo>
                        <a:pt x="339023" y="143796"/>
                        <a:pt x="357580" y="137373"/>
                        <a:pt x="376137" y="133091"/>
                      </a:cubicBezTo>
                      <a:cubicBezTo>
                        <a:pt x="412538" y="36032"/>
                        <a:pt x="412538" y="36032"/>
                        <a:pt x="412538" y="36032"/>
                      </a:cubicBezTo>
                      <a:cubicBezTo>
                        <a:pt x="421816" y="35318"/>
                        <a:pt x="421816" y="35318"/>
                        <a:pt x="421816" y="35318"/>
                      </a:cubicBezTo>
                      <a:cubicBezTo>
                        <a:pt x="450366" y="31750"/>
                        <a:pt x="483911" y="31750"/>
                        <a:pt x="485339" y="31750"/>
                      </a:cubicBezTo>
                      <a:close/>
                      <a:moveTo>
                        <a:pt x="1155526" y="0"/>
                      </a:moveTo>
                      <a:cubicBezTo>
                        <a:pt x="1155526" y="0"/>
                        <a:pt x="1155526" y="0"/>
                        <a:pt x="1191969" y="33520"/>
                      </a:cubicBezTo>
                      <a:cubicBezTo>
                        <a:pt x="1224125" y="30668"/>
                        <a:pt x="1254851" y="34234"/>
                        <a:pt x="1285578" y="44218"/>
                      </a:cubicBezTo>
                      <a:cubicBezTo>
                        <a:pt x="1285578" y="44218"/>
                        <a:pt x="1285578" y="44218"/>
                        <a:pt x="1328452" y="19970"/>
                      </a:cubicBezTo>
                      <a:cubicBezTo>
                        <a:pt x="1365609" y="36373"/>
                        <a:pt x="1400623" y="62048"/>
                        <a:pt x="1427777" y="92716"/>
                      </a:cubicBezTo>
                      <a:cubicBezTo>
                        <a:pt x="1427777" y="92716"/>
                        <a:pt x="1427777" y="92716"/>
                        <a:pt x="1418487" y="139787"/>
                      </a:cubicBezTo>
                      <a:cubicBezTo>
                        <a:pt x="1427777" y="154764"/>
                        <a:pt x="1437066" y="170454"/>
                        <a:pt x="1443497" y="186144"/>
                      </a:cubicBezTo>
                      <a:cubicBezTo>
                        <a:pt x="1449928" y="201835"/>
                        <a:pt x="1455645" y="217525"/>
                        <a:pt x="1459218" y="233215"/>
                      </a:cubicBezTo>
                      <a:cubicBezTo>
                        <a:pt x="1459218" y="233215"/>
                        <a:pt x="1459218" y="233215"/>
                        <a:pt x="1500663" y="258177"/>
                      </a:cubicBezTo>
                      <a:cubicBezTo>
                        <a:pt x="1504950" y="299543"/>
                        <a:pt x="1500663" y="341621"/>
                        <a:pt x="1487086" y="379421"/>
                      </a:cubicBezTo>
                      <a:cubicBezTo>
                        <a:pt x="1487086" y="379421"/>
                        <a:pt x="1487086" y="379421"/>
                        <a:pt x="1442068" y="393685"/>
                      </a:cubicBezTo>
                      <a:cubicBezTo>
                        <a:pt x="1427062" y="425779"/>
                        <a:pt x="1405625" y="455733"/>
                        <a:pt x="1379186" y="479982"/>
                      </a:cubicBezTo>
                      <a:cubicBezTo>
                        <a:pt x="1379186" y="479982"/>
                        <a:pt x="1379186" y="479982"/>
                        <a:pt x="1379186" y="528479"/>
                      </a:cubicBezTo>
                      <a:cubicBezTo>
                        <a:pt x="1362037" y="539890"/>
                        <a:pt x="1344887" y="549875"/>
                        <a:pt x="1326308" y="558433"/>
                      </a:cubicBezTo>
                      <a:cubicBezTo>
                        <a:pt x="1307729" y="566278"/>
                        <a:pt x="1287722" y="571984"/>
                        <a:pt x="1269857" y="576263"/>
                      </a:cubicBezTo>
                      <a:cubicBezTo>
                        <a:pt x="1269857" y="576263"/>
                        <a:pt x="1269857" y="576263"/>
                        <a:pt x="1233414" y="543456"/>
                      </a:cubicBezTo>
                      <a:cubicBezTo>
                        <a:pt x="1196971" y="546309"/>
                        <a:pt x="1161958" y="542030"/>
                        <a:pt x="1128373" y="529905"/>
                      </a:cubicBezTo>
                      <a:cubicBezTo>
                        <a:pt x="1128373" y="529905"/>
                        <a:pt x="1128373" y="529905"/>
                        <a:pt x="1086928" y="554154"/>
                      </a:cubicBezTo>
                      <a:cubicBezTo>
                        <a:pt x="1050485" y="536324"/>
                        <a:pt x="1017615" y="512075"/>
                        <a:pt x="990461" y="479982"/>
                      </a:cubicBezTo>
                      <a:cubicBezTo>
                        <a:pt x="990461" y="479982"/>
                        <a:pt x="990461" y="479982"/>
                        <a:pt x="1001894" y="432911"/>
                      </a:cubicBezTo>
                      <a:cubicBezTo>
                        <a:pt x="992605" y="419360"/>
                        <a:pt x="985459" y="404383"/>
                        <a:pt x="978314" y="389406"/>
                      </a:cubicBezTo>
                      <a:cubicBezTo>
                        <a:pt x="970453" y="373002"/>
                        <a:pt x="965451" y="355172"/>
                        <a:pt x="961878" y="338769"/>
                      </a:cubicBezTo>
                      <a:cubicBezTo>
                        <a:pt x="961878" y="338769"/>
                        <a:pt x="961878" y="338769"/>
                        <a:pt x="920434" y="314520"/>
                      </a:cubicBezTo>
                      <a:cubicBezTo>
                        <a:pt x="917575" y="271015"/>
                        <a:pt x="922577" y="228936"/>
                        <a:pt x="936869" y="190424"/>
                      </a:cubicBezTo>
                      <a:cubicBezTo>
                        <a:pt x="936869" y="190424"/>
                        <a:pt x="936869" y="190424"/>
                        <a:pt x="983316" y="175447"/>
                      </a:cubicBezTo>
                      <a:cubicBezTo>
                        <a:pt x="996892" y="146919"/>
                        <a:pt x="1016900" y="121957"/>
                        <a:pt x="1041196" y="99848"/>
                      </a:cubicBezTo>
                      <a:cubicBezTo>
                        <a:pt x="1041196" y="99848"/>
                        <a:pt x="1041196" y="99848"/>
                        <a:pt x="1041196" y="49211"/>
                      </a:cubicBezTo>
                      <a:cubicBezTo>
                        <a:pt x="1056916" y="37800"/>
                        <a:pt x="1076209" y="27102"/>
                        <a:pt x="1095503" y="18543"/>
                      </a:cubicBezTo>
                      <a:cubicBezTo>
                        <a:pt x="1115511" y="9272"/>
                        <a:pt x="1135519" y="4279"/>
                        <a:pt x="115552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C4083EB-0599-4595-A5A3-452F36DF2B98}"/>
                </a:ext>
              </a:extLst>
            </p:cNvPr>
            <p:cNvSpPr/>
            <p:nvPr/>
          </p:nvSpPr>
          <p:spPr>
            <a:xfrm>
              <a:off x="3163100" y="1974850"/>
              <a:ext cx="465926" cy="247650"/>
            </a:xfrm>
            <a:prstGeom prst="rect">
              <a:avLst/>
            </a:prstGeom>
            <a:solidFill>
              <a:srgbClr val="F2F2F2">
                <a:alpha val="85000"/>
              </a:srgb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78" name="Isosceles Triangle 77">
            <a:extLst>
              <a:ext uri="{FF2B5EF4-FFF2-40B4-BE49-F238E27FC236}">
                <a16:creationId xmlns:a16="http://schemas.microsoft.com/office/drawing/2014/main" id="{E46FBD9D-A1A8-4AAC-8F4A-73A0404055B7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9" name="Oval 20">
            <a:extLst>
              <a:ext uri="{FF2B5EF4-FFF2-40B4-BE49-F238E27FC236}">
                <a16:creationId xmlns:a16="http://schemas.microsoft.com/office/drawing/2014/main" id="{C6E0A3A2-DEA3-4C02-AE4E-5EDA91B6FF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831694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2056B7-9138-4A18-9628-A249AC2095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2056B7-9138-4A18-9628-A249AC209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B88DC7A2-52AA-447C-996E-C9211CB9D6AC}"/>
              </a:ext>
            </a:extLst>
          </p:cNvPr>
          <p:cNvSpPr/>
          <p:nvPr/>
        </p:nvSpPr>
        <p:spPr>
          <a:xfrm>
            <a:off x="5140712" y="-1676"/>
            <a:ext cx="7051288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BDA40499-1F1D-4253-95BC-BEB62694209A}"/>
              </a:ext>
            </a:extLst>
          </p:cNvPr>
          <p:cNvCxnSpPr>
            <a:cxnSpLocks/>
          </p:cNvCxnSpPr>
          <p:nvPr/>
        </p:nvCxnSpPr>
        <p:spPr>
          <a:xfrm>
            <a:off x="5363735" y="3329492"/>
            <a:ext cx="6199615" cy="0"/>
          </a:xfrm>
          <a:prstGeom prst="line">
            <a:avLst/>
          </a:prstGeom>
          <a:ln w="19050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8">
            <a:extLst>
              <a:ext uri="{FF2B5EF4-FFF2-40B4-BE49-F238E27FC236}">
                <a16:creationId xmlns:a16="http://schemas.microsoft.com/office/drawing/2014/main" id="{CFB1CE25-E8A0-45BA-8DD8-B6492841DBFC}"/>
              </a:ext>
            </a:extLst>
          </p:cNvPr>
          <p:cNvSpPr txBox="1">
            <a:spLocks/>
          </p:cNvSpPr>
          <p:nvPr/>
        </p:nvSpPr>
        <p:spPr>
          <a:xfrm>
            <a:off x="462685" y="637966"/>
            <a:ext cx="4384896" cy="664797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latin typeface="+mn-lt"/>
                <a:ea typeface="+mn-ea"/>
                <a:cs typeface="+mn-cs"/>
                <a:sym typeface="+mn-lt"/>
              </a:rPr>
              <a:t>Market Maker activities will complement BSR work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73AE089-BAC2-4BBD-8D1A-FF28E94BCD8C}"/>
              </a:ext>
            </a:extLst>
          </p:cNvPr>
          <p:cNvGrpSpPr/>
          <p:nvPr/>
        </p:nvGrpSpPr>
        <p:grpSpPr>
          <a:xfrm>
            <a:off x="462684" y="2105706"/>
            <a:ext cx="11100226" cy="1136555"/>
            <a:chOff x="463124" y="3416724"/>
            <a:chExt cx="11100226" cy="1136555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BA7E4572-FF0B-4E5C-AB01-C3971B08E4FD}"/>
                </a:ext>
              </a:extLst>
            </p:cNvPr>
            <p:cNvSpPr txBox="1"/>
            <p:nvPr/>
          </p:nvSpPr>
          <p:spPr>
            <a:xfrm>
              <a:off x="5363735" y="3569503"/>
              <a:ext cx="6199615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>
                <a:lnSpc>
                  <a:spcPct val="90000"/>
                </a:lnSpc>
                <a:buClr>
                  <a:schemeClr val="bg1"/>
                </a:buClr>
              </a:pPr>
              <a:r>
                <a:rPr lang="en-US" sz="1400" spc="-30">
                  <a:solidFill>
                    <a:srgbClr val="FFFFFF"/>
                  </a:solidFill>
                  <a:sym typeface="+mn-lt"/>
                </a:rPr>
                <a:t>"I don't get no when I ask employers if they want to get connected to training programs that can help meet their skilled hiring needs." </a:t>
              </a:r>
            </a:p>
            <a:p>
              <a:pPr marL="0" lvl="8" algn="r">
                <a:lnSpc>
                  <a:spcPct val="90000"/>
                </a:lnSpc>
                <a:buClr>
                  <a:schemeClr val="bg1"/>
                </a:buClr>
              </a:pPr>
              <a:r>
                <a:rPr lang="en-US" sz="1400" spc="-30">
                  <a:solidFill>
                    <a:srgbClr val="FFFFFF"/>
                  </a:solidFill>
                  <a:sym typeface="+mn-lt"/>
                </a:rPr>
                <a:t>			—BSR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AB2A25C-4B4E-4CD5-9756-E934B33F17EC}"/>
                </a:ext>
              </a:extLst>
            </p:cNvPr>
            <p:cNvSpPr txBox="1"/>
            <p:nvPr/>
          </p:nvSpPr>
          <p:spPr>
            <a:xfrm>
              <a:off x="1809690" y="3569503"/>
              <a:ext cx="2988231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>
                  <a:solidFill>
                    <a:srgbClr val="00269E"/>
                  </a:solidFill>
                  <a:sym typeface="+mn-lt"/>
                </a:rPr>
                <a:t>Market Makers help BSRs address employers' need for skilled training hires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2108A958-54C7-4FC5-A674-543634E6B3AA}"/>
                </a:ext>
              </a:extLst>
            </p:cNvPr>
            <p:cNvGrpSpPr/>
            <p:nvPr/>
          </p:nvGrpSpPr>
          <p:grpSpPr>
            <a:xfrm>
              <a:off x="463124" y="3416724"/>
              <a:ext cx="1136555" cy="1136555"/>
              <a:chOff x="463124" y="3416724"/>
              <a:chExt cx="1136555" cy="1136555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6CE545C7-36D2-4E53-987A-A0CAB01DC65A}"/>
                  </a:ext>
                </a:extLst>
              </p:cNvPr>
              <p:cNvSpPr/>
              <p:nvPr/>
            </p:nvSpPr>
            <p:spPr>
              <a:xfrm>
                <a:off x="463124" y="3416724"/>
                <a:ext cx="1136555" cy="1136555"/>
              </a:xfrm>
              <a:prstGeom prst="ellipse">
                <a:avLst/>
              </a:prstGeom>
              <a:grpFill/>
              <a:ln w="36195">
                <a:gradFill flip="none" rotWithShape="1">
                  <a:gsLst>
                    <a:gs pos="0">
                      <a:schemeClr val="accent5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>
                  <a:solidFill>
                    <a:schemeClr val="bg1">
                      <a:lumMod val="50000"/>
                    </a:schemeClr>
                  </a:solidFill>
                  <a:sym typeface="+mn-lt"/>
                </a:endParaRPr>
              </a:p>
            </p:txBody>
          </p:sp>
          <p:grpSp>
            <p:nvGrpSpPr>
              <p:cNvPr id="41" name="Group 40"/>
              <p:cNvGrpSpPr>
                <a:grpSpLocks noChangeAspect="1"/>
              </p:cNvGrpSpPr>
              <p:nvPr/>
            </p:nvGrpSpPr>
            <p:grpSpPr>
              <a:xfrm>
                <a:off x="576066" y="3530105"/>
                <a:ext cx="910672" cy="909793"/>
                <a:chOff x="6464300" y="2606675"/>
                <a:chExt cx="1646238" cy="1644650"/>
              </a:xfrm>
            </p:grpSpPr>
            <p:sp>
              <p:nvSpPr>
                <p:cNvPr id="43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464300" y="2606675"/>
                  <a:ext cx="1646238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46" name="Group 45"/>
                <p:cNvGrpSpPr/>
                <p:nvPr/>
              </p:nvGrpSpPr>
              <p:grpSpPr>
                <a:xfrm>
                  <a:off x="6603395" y="2776538"/>
                  <a:ext cx="1369800" cy="1303338"/>
                  <a:chOff x="6603395" y="2776538"/>
                  <a:chExt cx="1369800" cy="1303338"/>
                </a:xfrm>
              </p:grpSpPr>
              <p:sp>
                <p:nvSpPr>
                  <p:cNvPr id="47" name="Freeform 46"/>
                  <p:cNvSpPr>
                    <a:spLocks/>
                  </p:cNvSpPr>
                  <p:nvPr/>
                </p:nvSpPr>
                <p:spPr bwMode="auto">
                  <a:xfrm>
                    <a:off x="6609743" y="2925763"/>
                    <a:ext cx="1363452" cy="1154113"/>
                  </a:xfrm>
                  <a:custGeom>
                    <a:avLst/>
                    <a:gdLst>
                      <a:gd name="connsiteX0" fmla="*/ 1096819 w 1363452"/>
                      <a:gd name="connsiteY0" fmla="*/ 877888 h 1154113"/>
                      <a:gd name="connsiteX1" fmla="*/ 1054707 w 1363452"/>
                      <a:gd name="connsiteY1" fmla="*/ 929919 h 1154113"/>
                      <a:gd name="connsiteX2" fmla="*/ 1288107 w 1363452"/>
                      <a:gd name="connsiteY2" fmla="*/ 1122363 h 1154113"/>
                      <a:gd name="connsiteX3" fmla="*/ 1313802 w 1363452"/>
                      <a:gd name="connsiteY3" fmla="*/ 1101693 h 1154113"/>
                      <a:gd name="connsiteX4" fmla="*/ 1314516 w 1363452"/>
                      <a:gd name="connsiteY4" fmla="*/ 1100980 h 1154113"/>
                      <a:gd name="connsiteX5" fmla="*/ 1315230 w 1363452"/>
                      <a:gd name="connsiteY5" fmla="*/ 1100268 h 1154113"/>
                      <a:gd name="connsiteX6" fmla="*/ 1330932 w 1363452"/>
                      <a:gd name="connsiteY6" fmla="*/ 1071045 h 1154113"/>
                      <a:gd name="connsiteX7" fmla="*/ 1096819 w 1363452"/>
                      <a:gd name="connsiteY7" fmla="*/ 877888 h 1154113"/>
                      <a:gd name="connsiteX8" fmla="*/ 1093256 w 1363452"/>
                      <a:gd name="connsiteY8" fmla="*/ 838848 h 1154113"/>
                      <a:gd name="connsiteX9" fmla="*/ 1104637 w 1363452"/>
                      <a:gd name="connsiteY9" fmla="*/ 842334 h 1154113"/>
                      <a:gd name="connsiteX10" fmla="*/ 1355565 w 1363452"/>
                      <a:gd name="connsiteY10" fmla="*/ 1048995 h 1154113"/>
                      <a:gd name="connsiteX11" fmla="*/ 1339792 w 1363452"/>
                      <a:gd name="connsiteY11" fmla="*/ 1120504 h 1154113"/>
                      <a:gd name="connsiteX12" fmla="*/ 1286739 w 1363452"/>
                      <a:gd name="connsiteY12" fmla="*/ 1154113 h 1154113"/>
                      <a:gd name="connsiteX13" fmla="*/ 1272400 w 1363452"/>
                      <a:gd name="connsiteY13" fmla="*/ 1149823 h 1154113"/>
                      <a:gd name="connsiteX14" fmla="*/ 1022190 w 1363452"/>
                      <a:gd name="connsiteY14" fmla="*/ 943162 h 1154113"/>
                      <a:gd name="connsiteX15" fmla="*/ 1020039 w 1363452"/>
                      <a:gd name="connsiteY15" fmla="*/ 920994 h 1154113"/>
                      <a:gd name="connsiteX16" fmla="*/ 1082412 w 1363452"/>
                      <a:gd name="connsiteY16" fmla="*/ 844479 h 1154113"/>
                      <a:gd name="connsiteX17" fmla="*/ 1093256 w 1363452"/>
                      <a:gd name="connsiteY17" fmla="*/ 838848 h 1154113"/>
                      <a:gd name="connsiteX18" fmla="*/ 126043 w 1363452"/>
                      <a:gd name="connsiteY18" fmla="*/ 801687 h 1154113"/>
                      <a:gd name="connsiteX19" fmla="*/ 185273 w 1363452"/>
                      <a:gd name="connsiteY19" fmla="*/ 849550 h 1154113"/>
                      <a:gd name="connsiteX20" fmla="*/ 188128 w 1363452"/>
                      <a:gd name="connsiteY20" fmla="*/ 849550 h 1154113"/>
                      <a:gd name="connsiteX21" fmla="*/ 246645 w 1363452"/>
                      <a:gd name="connsiteY21" fmla="*/ 801687 h 1154113"/>
                      <a:gd name="connsiteX22" fmla="*/ 327284 w 1363452"/>
                      <a:gd name="connsiteY22" fmla="*/ 814546 h 1154113"/>
                      <a:gd name="connsiteX23" fmla="*/ 372242 w 1363452"/>
                      <a:gd name="connsiteY23" fmla="*/ 880268 h 1154113"/>
                      <a:gd name="connsiteX24" fmla="*/ 367960 w 1363452"/>
                      <a:gd name="connsiteY24" fmla="*/ 887412 h 1154113"/>
                      <a:gd name="connsiteX25" fmla="*/ 4728 w 1363452"/>
                      <a:gd name="connsiteY25" fmla="*/ 887412 h 1154113"/>
                      <a:gd name="connsiteX26" fmla="*/ 446 w 1363452"/>
                      <a:gd name="connsiteY26" fmla="*/ 880268 h 1154113"/>
                      <a:gd name="connsiteX27" fmla="*/ 45404 w 1363452"/>
                      <a:gd name="connsiteY27" fmla="*/ 814546 h 1154113"/>
                      <a:gd name="connsiteX28" fmla="*/ 126043 w 1363452"/>
                      <a:gd name="connsiteY28" fmla="*/ 801687 h 1154113"/>
                      <a:gd name="connsiteX29" fmla="*/ 86331 w 1363452"/>
                      <a:gd name="connsiteY29" fmla="*/ 687387 h 1154113"/>
                      <a:gd name="connsiteX30" fmla="*/ 97046 w 1363452"/>
                      <a:gd name="connsiteY30" fmla="*/ 692364 h 1154113"/>
                      <a:gd name="connsiteX31" fmla="*/ 107048 w 1363452"/>
                      <a:gd name="connsiteY31" fmla="*/ 704450 h 1154113"/>
                      <a:gd name="connsiteX32" fmla="*/ 109191 w 1363452"/>
                      <a:gd name="connsiteY32" fmla="*/ 706583 h 1154113"/>
                      <a:gd name="connsiteX33" fmla="*/ 138480 w 1363452"/>
                      <a:gd name="connsiteY33" fmla="*/ 768437 h 1154113"/>
                      <a:gd name="connsiteX34" fmla="*/ 186343 w 1363452"/>
                      <a:gd name="connsiteY34" fmla="*/ 791899 h 1154113"/>
                      <a:gd name="connsiteX35" fmla="*/ 233492 w 1363452"/>
                      <a:gd name="connsiteY35" fmla="*/ 768437 h 1154113"/>
                      <a:gd name="connsiteX36" fmla="*/ 264210 w 1363452"/>
                      <a:gd name="connsiteY36" fmla="*/ 706583 h 1154113"/>
                      <a:gd name="connsiteX37" fmla="*/ 266353 w 1363452"/>
                      <a:gd name="connsiteY37" fmla="*/ 704450 h 1154113"/>
                      <a:gd name="connsiteX38" fmla="*/ 275640 w 1363452"/>
                      <a:gd name="connsiteY38" fmla="*/ 692364 h 1154113"/>
                      <a:gd name="connsiteX39" fmla="*/ 286356 w 1363452"/>
                      <a:gd name="connsiteY39" fmla="*/ 687387 h 1154113"/>
                      <a:gd name="connsiteX40" fmla="*/ 286356 w 1363452"/>
                      <a:gd name="connsiteY40" fmla="*/ 688098 h 1154113"/>
                      <a:gd name="connsiteX41" fmla="*/ 272068 w 1363452"/>
                      <a:gd name="connsiteY41" fmla="*/ 710849 h 1154113"/>
                      <a:gd name="connsiteX42" fmla="*/ 241350 w 1363452"/>
                      <a:gd name="connsiteY42" fmla="*/ 773414 h 1154113"/>
                      <a:gd name="connsiteX43" fmla="*/ 241350 w 1363452"/>
                      <a:gd name="connsiteY43" fmla="*/ 793321 h 1154113"/>
                      <a:gd name="connsiteX44" fmla="*/ 239921 w 1363452"/>
                      <a:gd name="connsiteY44" fmla="*/ 795454 h 1154113"/>
                      <a:gd name="connsiteX45" fmla="*/ 232063 w 1363452"/>
                      <a:gd name="connsiteY45" fmla="*/ 803275 h 1154113"/>
                      <a:gd name="connsiteX46" fmla="*/ 232063 w 1363452"/>
                      <a:gd name="connsiteY46" fmla="*/ 780524 h 1154113"/>
                      <a:gd name="connsiteX47" fmla="*/ 186343 w 1363452"/>
                      <a:gd name="connsiteY47" fmla="*/ 801142 h 1154113"/>
                      <a:gd name="connsiteX48" fmla="*/ 139909 w 1363452"/>
                      <a:gd name="connsiteY48" fmla="*/ 780524 h 1154113"/>
                      <a:gd name="connsiteX49" fmla="*/ 139909 w 1363452"/>
                      <a:gd name="connsiteY49" fmla="*/ 803275 h 1154113"/>
                      <a:gd name="connsiteX50" fmla="*/ 132051 w 1363452"/>
                      <a:gd name="connsiteY50" fmla="*/ 795454 h 1154113"/>
                      <a:gd name="connsiteX51" fmla="*/ 130622 w 1363452"/>
                      <a:gd name="connsiteY51" fmla="*/ 793321 h 1154113"/>
                      <a:gd name="connsiteX52" fmla="*/ 130622 w 1363452"/>
                      <a:gd name="connsiteY52" fmla="*/ 773414 h 1154113"/>
                      <a:gd name="connsiteX53" fmla="*/ 101333 w 1363452"/>
                      <a:gd name="connsiteY53" fmla="*/ 710849 h 1154113"/>
                      <a:gd name="connsiteX54" fmla="*/ 86331 w 1363452"/>
                      <a:gd name="connsiteY54" fmla="*/ 688098 h 1154113"/>
                      <a:gd name="connsiteX55" fmla="*/ 86331 w 1363452"/>
                      <a:gd name="connsiteY55" fmla="*/ 687387 h 1154113"/>
                      <a:gd name="connsiteX56" fmla="*/ 548294 w 1363452"/>
                      <a:gd name="connsiteY56" fmla="*/ 525462 h 1154113"/>
                      <a:gd name="connsiteX57" fmla="*/ 562627 w 1363452"/>
                      <a:gd name="connsiteY57" fmla="*/ 532613 h 1154113"/>
                      <a:gd name="connsiteX58" fmla="*/ 576960 w 1363452"/>
                      <a:gd name="connsiteY58" fmla="*/ 548345 h 1154113"/>
                      <a:gd name="connsiteX59" fmla="*/ 579827 w 1363452"/>
                      <a:gd name="connsiteY59" fmla="*/ 551205 h 1154113"/>
                      <a:gd name="connsiteX60" fmla="*/ 620677 w 1363452"/>
                      <a:gd name="connsiteY60" fmla="*/ 635586 h 1154113"/>
                      <a:gd name="connsiteX61" fmla="*/ 685177 w 1363452"/>
                      <a:gd name="connsiteY61" fmla="*/ 667765 h 1154113"/>
                      <a:gd name="connsiteX62" fmla="*/ 750394 w 1363452"/>
                      <a:gd name="connsiteY62" fmla="*/ 635586 h 1154113"/>
                      <a:gd name="connsiteX63" fmla="*/ 791244 w 1363452"/>
                      <a:gd name="connsiteY63" fmla="*/ 551205 h 1154113"/>
                      <a:gd name="connsiteX64" fmla="*/ 794110 w 1363452"/>
                      <a:gd name="connsiteY64" fmla="*/ 548345 h 1154113"/>
                      <a:gd name="connsiteX65" fmla="*/ 807727 w 1363452"/>
                      <a:gd name="connsiteY65" fmla="*/ 532613 h 1154113"/>
                      <a:gd name="connsiteX66" fmla="*/ 821344 w 1363452"/>
                      <a:gd name="connsiteY66" fmla="*/ 525462 h 1154113"/>
                      <a:gd name="connsiteX67" fmla="*/ 821344 w 1363452"/>
                      <a:gd name="connsiteY67" fmla="*/ 526177 h 1154113"/>
                      <a:gd name="connsiteX68" fmla="*/ 801994 w 1363452"/>
                      <a:gd name="connsiteY68" fmla="*/ 557641 h 1154113"/>
                      <a:gd name="connsiteX69" fmla="*/ 761144 w 1363452"/>
                      <a:gd name="connsiteY69" fmla="*/ 642737 h 1154113"/>
                      <a:gd name="connsiteX70" fmla="*/ 761144 w 1363452"/>
                      <a:gd name="connsiteY70" fmla="*/ 669910 h 1154113"/>
                      <a:gd name="connsiteX71" fmla="*/ 758994 w 1363452"/>
                      <a:gd name="connsiteY71" fmla="*/ 672770 h 1154113"/>
                      <a:gd name="connsiteX72" fmla="*/ 748244 w 1363452"/>
                      <a:gd name="connsiteY72" fmla="*/ 684212 h 1154113"/>
                      <a:gd name="connsiteX73" fmla="*/ 748244 w 1363452"/>
                      <a:gd name="connsiteY73" fmla="*/ 653463 h 1154113"/>
                      <a:gd name="connsiteX74" fmla="*/ 685177 w 1363452"/>
                      <a:gd name="connsiteY74" fmla="*/ 680636 h 1154113"/>
                      <a:gd name="connsiteX75" fmla="*/ 622827 w 1363452"/>
                      <a:gd name="connsiteY75" fmla="*/ 653463 h 1154113"/>
                      <a:gd name="connsiteX76" fmla="*/ 622827 w 1363452"/>
                      <a:gd name="connsiteY76" fmla="*/ 684212 h 1154113"/>
                      <a:gd name="connsiteX77" fmla="*/ 612077 w 1363452"/>
                      <a:gd name="connsiteY77" fmla="*/ 672770 h 1154113"/>
                      <a:gd name="connsiteX78" fmla="*/ 609927 w 1363452"/>
                      <a:gd name="connsiteY78" fmla="*/ 669910 h 1154113"/>
                      <a:gd name="connsiteX79" fmla="*/ 609927 w 1363452"/>
                      <a:gd name="connsiteY79" fmla="*/ 642737 h 1154113"/>
                      <a:gd name="connsiteX80" fmla="*/ 568360 w 1363452"/>
                      <a:gd name="connsiteY80" fmla="*/ 557641 h 1154113"/>
                      <a:gd name="connsiteX81" fmla="*/ 548294 w 1363452"/>
                      <a:gd name="connsiteY81" fmla="*/ 526892 h 1154113"/>
                      <a:gd name="connsiteX82" fmla="*/ 548294 w 1363452"/>
                      <a:gd name="connsiteY82" fmla="*/ 525462 h 1154113"/>
                      <a:gd name="connsiteX83" fmla="*/ 682874 w 1363452"/>
                      <a:gd name="connsiteY83" fmla="*/ 292100 h 1154113"/>
                      <a:gd name="connsiteX84" fmla="*/ 387956 w 1363452"/>
                      <a:gd name="connsiteY84" fmla="*/ 586582 h 1154113"/>
                      <a:gd name="connsiteX85" fmla="*/ 441513 w 1363452"/>
                      <a:gd name="connsiteY85" fmla="*/ 756283 h 1154113"/>
                      <a:gd name="connsiteX86" fmla="*/ 442227 w 1363452"/>
                      <a:gd name="connsiteY86" fmla="*/ 755570 h 1154113"/>
                      <a:gd name="connsiteX87" fmla="*/ 490785 w 1363452"/>
                      <a:gd name="connsiteY87" fmla="*/ 697814 h 1154113"/>
                      <a:gd name="connsiteX88" fmla="*/ 599326 w 1363452"/>
                      <a:gd name="connsiteY88" fmla="*/ 680702 h 1154113"/>
                      <a:gd name="connsiteX89" fmla="*/ 600754 w 1363452"/>
                      <a:gd name="connsiteY89" fmla="*/ 682841 h 1154113"/>
                      <a:gd name="connsiteX90" fmla="*/ 655739 w 1363452"/>
                      <a:gd name="connsiteY90" fmla="*/ 866803 h 1154113"/>
                      <a:gd name="connsiteX91" fmla="*/ 657881 w 1363452"/>
                      <a:gd name="connsiteY91" fmla="*/ 874646 h 1154113"/>
                      <a:gd name="connsiteX92" fmla="*/ 664308 w 1363452"/>
                      <a:gd name="connsiteY92" fmla="*/ 879637 h 1154113"/>
                      <a:gd name="connsiteX93" fmla="*/ 672163 w 1363452"/>
                      <a:gd name="connsiteY93" fmla="*/ 880350 h 1154113"/>
                      <a:gd name="connsiteX94" fmla="*/ 694300 w 1363452"/>
                      <a:gd name="connsiteY94" fmla="*/ 880350 h 1154113"/>
                      <a:gd name="connsiteX95" fmla="*/ 702155 w 1363452"/>
                      <a:gd name="connsiteY95" fmla="*/ 879637 h 1154113"/>
                      <a:gd name="connsiteX96" fmla="*/ 708581 w 1363452"/>
                      <a:gd name="connsiteY96" fmla="*/ 874646 h 1154113"/>
                      <a:gd name="connsiteX97" fmla="*/ 712866 w 1363452"/>
                      <a:gd name="connsiteY97" fmla="*/ 861098 h 1154113"/>
                      <a:gd name="connsiteX98" fmla="*/ 766422 w 1363452"/>
                      <a:gd name="connsiteY98" fmla="*/ 682841 h 1154113"/>
                      <a:gd name="connsiteX99" fmla="*/ 769279 w 1363452"/>
                      <a:gd name="connsiteY99" fmla="*/ 680702 h 1154113"/>
                      <a:gd name="connsiteX100" fmla="*/ 877106 w 1363452"/>
                      <a:gd name="connsiteY100" fmla="*/ 697814 h 1154113"/>
                      <a:gd name="connsiteX101" fmla="*/ 906383 w 1363452"/>
                      <a:gd name="connsiteY101" fmla="*/ 722770 h 1154113"/>
                      <a:gd name="connsiteX102" fmla="*/ 925664 w 1363452"/>
                      <a:gd name="connsiteY102" fmla="*/ 754144 h 1154113"/>
                      <a:gd name="connsiteX103" fmla="*/ 927806 w 1363452"/>
                      <a:gd name="connsiteY103" fmla="*/ 752005 h 1154113"/>
                      <a:gd name="connsiteX104" fmla="*/ 978506 w 1363452"/>
                      <a:gd name="connsiteY104" fmla="*/ 586582 h 1154113"/>
                      <a:gd name="connsiteX105" fmla="*/ 682874 w 1363452"/>
                      <a:gd name="connsiteY105" fmla="*/ 292100 h 1154113"/>
                      <a:gd name="connsiteX106" fmla="*/ 713786 w 1363452"/>
                      <a:gd name="connsiteY106" fmla="*/ 261703 h 1154113"/>
                      <a:gd name="connsiteX107" fmla="*/ 890913 w 1363452"/>
                      <a:gd name="connsiteY107" fmla="*/ 334603 h 1154113"/>
                      <a:gd name="connsiteX108" fmla="*/ 969477 w 1363452"/>
                      <a:gd name="connsiteY108" fmla="*/ 742699 h 1154113"/>
                      <a:gd name="connsiteX109" fmla="*/ 1055184 w 1363452"/>
                      <a:gd name="connsiteY109" fmla="*/ 813455 h 1154113"/>
                      <a:gd name="connsiteX110" fmla="*/ 1056612 w 1363452"/>
                      <a:gd name="connsiteY110" fmla="*/ 826320 h 1154113"/>
                      <a:gd name="connsiteX111" fmla="*/ 995189 w 1363452"/>
                      <a:gd name="connsiteY111" fmla="*/ 901364 h 1154113"/>
                      <a:gd name="connsiteX112" fmla="*/ 982333 w 1363452"/>
                      <a:gd name="connsiteY112" fmla="*/ 902793 h 1154113"/>
                      <a:gd name="connsiteX113" fmla="*/ 898055 w 1363452"/>
                      <a:gd name="connsiteY113" fmla="*/ 832752 h 1154113"/>
                      <a:gd name="connsiteX114" fmla="*/ 478092 w 1363452"/>
                      <a:gd name="connsiteY114" fmla="*/ 839184 h 1154113"/>
                      <a:gd name="connsiteX115" fmla="*/ 431668 w 1363452"/>
                      <a:gd name="connsiteY115" fmla="*/ 380344 h 1154113"/>
                      <a:gd name="connsiteX116" fmla="*/ 713786 w 1363452"/>
                      <a:gd name="connsiteY116" fmla="*/ 261703 h 1154113"/>
                      <a:gd name="connsiteX117" fmla="*/ 83156 w 1363452"/>
                      <a:gd name="connsiteY117" fmla="*/ 203200 h 1154113"/>
                      <a:gd name="connsiteX118" fmla="*/ 93880 w 1363452"/>
                      <a:gd name="connsiteY118" fmla="*/ 207498 h 1154113"/>
                      <a:gd name="connsiteX119" fmla="*/ 103174 w 1363452"/>
                      <a:gd name="connsiteY119" fmla="*/ 218959 h 1154113"/>
                      <a:gd name="connsiteX120" fmla="*/ 105319 w 1363452"/>
                      <a:gd name="connsiteY120" fmla="*/ 221108 h 1154113"/>
                      <a:gd name="connsiteX121" fmla="*/ 136776 w 1363452"/>
                      <a:gd name="connsiteY121" fmla="*/ 284859 h 1154113"/>
                      <a:gd name="connsiteX122" fmla="*/ 183962 w 1363452"/>
                      <a:gd name="connsiteY122" fmla="*/ 308498 h 1154113"/>
                      <a:gd name="connsiteX123" fmla="*/ 231863 w 1363452"/>
                      <a:gd name="connsiteY123" fmla="*/ 284859 h 1154113"/>
                      <a:gd name="connsiteX124" fmla="*/ 262606 w 1363452"/>
                      <a:gd name="connsiteY124" fmla="*/ 221108 h 1154113"/>
                      <a:gd name="connsiteX125" fmla="*/ 264750 w 1363452"/>
                      <a:gd name="connsiteY125" fmla="*/ 218959 h 1154113"/>
                      <a:gd name="connsiteX126" fmla="*/ 273330 w 1363452"/>
                      <a:gd name="connsiteY126" fmla="*/ 207498 h 1154113"/>
                      <a:gd name="connsiteX127" fmla="*/ 284769 w 1363452"/>
                      <a:gd name="connsiteY127" fmla="*/ 203200 h 1154113"/>
                      <a:gd name="connsiteX128" fmla="*/ 284054 w 1363452"/>
                      <a:gd name="connsiteY128" fmla="*/ 203916 h 1154113"/>
                      <a:gd name="connsiteX129" fmla="*/ 270470 w 1363452"/>
                      <a:gd name="connsiteY129" fmla="*/ 226838 h 1154113"/>
                      <a:gd name="connsiteX130" fmla="*/ 240442 w 1363452"/>
                      <a:gd name="connsiteY130" fmla="*/ 289873 h 1154113"/>
                      <a:gd name="connsiteX131" fmla="*/ 240442 w 1363452"/>
                      <a:gd name="connsiteY131" fmla="*/ 309930 h 1154113"/>
                      <a:gd name="connsiteX132" fmla="*/ 238298 w 1363452"/>
                      <a:gd name="connsiteY132" fmla="*/ 312079 h 1154113"/>
                      <a:gd name="connsiteX133" fmla="*/ 230433 w 1363452"/>
                      <a:gd name="connsiteY133" fmla="*/ 320675 h 1154113"/>
                      <a:gd name="connsiteX134" fmla="*/ 230433 w 1363452"/>
                      <a:gd name="connsiteY134" fmla="*/ 297037 h 1154113"/>
                      <a:gd name="connsiteX135" fmla="*/ 183962 w 1363452"/>
                      <a:gd name="connsiteY135" fmla="*/ 317810 h 1154113"/>
                      <a:gd name="connsiteX136" fmla="*/ 137491 w 1363452"/>
                      <a:gd name="connsiteY136" fmla="*/ 297037 h 1154113"/>
                      <a:gd name="connsiteX137" fmla="*/ 137491 w 1363452"/>
                      <a:gd name="connsiteY137" fmla="*/ 320675 h 1154113"/>
                      <a:gd name="connsiteX138" fmla="*/ 129627 w 1363452"/>
                      <a:gd name="connsiteY138" fmla="*/ 312079 h 1154113"/>
                      <a:gd name="connsiteX139" fmla="*/ 128197 w 1363452"/>
                      <a:gd name="connsiteY139" fmla="*/ 309930 h 1154113"/>
                      <a:gd name="connsiteX140" fmla="*/ 128197 w 1363452"/>
                      <a:gd name="connsiteY140" fmla="*/ 289873 h 1154113"/>
                      <a:gd name="connsiteX141" fmla="*/ 98169 w 1363452"/>
                      <a:gd name="connsiteY141" fmla="*/ 226838 h 1154113"/>
                      <a:gd name="connsiteX142" fmla="*/ 83156 w 1363452"/>
                      <a:gd name="connsiteY142" fmla="*/ 203916 h 1154113"/>
                      <a:gd name="connsiteX143" fmla="*/ 83156 w 1363452"/>
                      <a:gd name="connsiteY143" fmla="*/ 203200 h 1154113"/>
                      <a:gd name="connsiteX144" fmla="*/ 1271480 w 1363452"/>
                      <a:gd name="connsiteY144" fmla="*/ 198437 h 1154113"/>
                      <a:gd name="connsiteX145" fmla="*/ 1271480 w 1363452"/>
                      <a:gd name="connsiteY145" fmla="*/ 199870 h 1154113"/>
                      <a:gd name="connsiteX146" fmla="*/ 1257192 w 1363452"/>
                      <a:gd name="connsiteY146" fmla="*/ 225660 h 1154113"/>
                      <a:gd name="connsiteX147" fmla="*/ 1228617 w 1363452"/>
                      <a:gd name="connsiteY147" fmla="*/ 289421 h 1154113"/>
                      <a:gd name="connsiteX148" fmla="*/ 1228617 w 1363452"/>
                      <a:gd name="connsiteY148" fmla="*/ 328824 h 1154113"/>
                      <a:gd name="connsiteX149" fmla="*/ 1217902 w 1363452"/>
                      <a:gd name="connsiteY149" fmla="*/ 338137 h 1154113"/>
                      <a:gd name="connsiteX150" fmla="*/ 1217902 w 1363452"/>
                      <a:gd name="connsiteY150" fmla="*/ 298734 h 1154113"/>
                      <a:gd name="connsiteX151" fmla="*/ 1171467 w 1363452"/>
                      <a:gd name="connsiteY151" fmla="*/ 320943 h 1154113"/>
                      <a:gd name="connsiteX152" fmla="*/ 1125747 w 1363452"/>
                      <a:gd name="connsiteY152" fmla="*/ 299451 h 1154113"/>
                      <a:gd name="connsiteX153" fmla="*/ 1125747 w 1363452"/>
                      <a:gd name="connsiteY153" fmla="*/ 338137 h 1154113"/>
                      <a:gd name="connsiteX154" fmla="*/ 1115032 w 1363452"/>
                      <a:gd name="connsiteY154" fmla="*/ 329540 h 1154113"/>
                      <a:gd name="connsiteX155" fmla="*/ 1115032 w 1363452"/>
                      <a:gd name="connsiteY155" fmla="*/ 289421 h 1154113"/>
                      <a:gd name="connsiteX156" fmla="*/ 1087171 w 1363452"/>
                      <a:gd name="connsiteY156" fmla="*/ 225660 h 1154113"/>
                      <a:gd name="connsiteX157" fmla="*/ 1072169 w 1363452"/>
                      <a:gd name="connsiteY157" fmla="*/ 200586 h 1154113"/>
                      <a:gd name="connsiteX158" fmla="*/ 1072169 w 1363452"/>
                      <a:gd name="connsiteY158" fmla="*/ 199870 h 1154113"/>
                      <a:gd name="connsiteX159" fmla="*/ 1084314 w 1363452"/>
                      <a:gd name="connsiteY159" fmla="*/ 205601 h 1154113"/>
                      <a:gd name="connsiteX160" fmla="*/ 1094315 w 1363452"/>
                      <a:gd name="connsiteY160" fmla="*/ 217064 h 1154113"/>
                      <a:gd name="connsiteX161" fmla="*/ 1095744 w 1363452"/>
                      <a:gd name="connsiteY161" fmla="*/ 219929 h 1154113"/>
                      <a:gd name="connsiteX162" fmla="*/ 1124319 w 1363452"/>
                      <a:gd name="connsiteY162" fmla="*/ 284406 h 1154113"/>
                      <a:gd name="connsiteX163" fmla="*/ 1171467 w 1363452"/>
                      <a:gd name="connsiteY163" fmla="*/ 310197 h 1154113"/>
                      <a:gd name="connsiteX164" fmla="*/ 1219330 w 1363452"/>
                      <a:gd name="connsiteY164" fmla="*/ 284406 h 1154113"/>
                      <a:gd name="connsiteX165" fmla="*/ 1247905 w 1363452"/>
                      <a:gd name="connsiteY165" fmla="*/ 219929 h 1154113"/>
                      <a:gd name="connsiteX166" fmla="*/ 1250049 w 1363452"/>
                      <a:gd name="connsiteY166" fmla="*/ 217064 h 1154113"/>
                      <a:gd name="connsiteX167" fmla="*/ 1260050 w 1363452"/>
                      <a:gd name="connsiteY167" fmla="*/ 204168 h 1154113"/>
                      <a:gd name="connsiteX168" fmla="*/ 1271480 w 1363452"/>
                      <a:gd name="connsiteY168" fmla="*/ 198437 h 1154113"/>
                      <a:gd name="connsiteX169" fmla="*/ 603826 w 1363452"/>
                      <a:gd name="connsiteY169" fmla="*/ 114300 h 1154113"/>
                      <a:gd name="connsiteX170" fmla="*/ 662317 w 1363452"/>
                      <a:gd name="connsiteY170" fmla="*/ 162877 h 1154113"/>
                      <a:gd name="connsiteX171" fmla="*/ 665171 w 1363452"/>
                      <a:gd name="connsiteY171" fmla="*/ 162877 h 1154113"/>
                      <a:gd name="connsiteX172" fmla="*/ 724376 w 1363452"/>
                      <a:gd name="connsiteY172" fmla="*/ 114300 h 1154113"/>
                      <a:gd name="connsiteX173" fmla="*/ 804267 w 1363452"/>
                      <a:gd name="connsiteY173" fmla="*/ 128587 h 1154113"/>
                      <a:gd name="connsiteX174" fmla="*/ 849205 w 1363452"/>
                      <a:gd name="connsiteY174" fmla="*/ 194310 h 1154113"/>
                      <a:gd name="connsiteX175" fmla="*/ 844926 w 1363452"/>
                      <a:gd name="connsiteY175" fmla="*/ 200025 h 1154113"/>
                      <a:gd name="connsiteX176" fmla="*/ 482562 w 1363452"/>
                      <a:gd name="connsiteY176" fmla="*/ 200025 h 1154113"/>
                      <a:gd name="connsiteX177" fmla="*/ 478282 w 1363452"/>
                      <a:gd name="connsiteY177" fmla="*/ 194310 h 1154113"/>
                      <a:gd name="connsiteX178" fmla="*/ 523221 w 1363452"/>
                      <a:gd name="connsiteY178" fmla="*/ 128587 h 1154113"/>
                      <a:gd name="connsiteX179" fmla="*/ 603826 w 1363452"/>
                      <a:gd name="connsiteY179" fmla="*/ 114300 h 1154113"/>
                      <a:gd name="connsiteX180" fmla="*/ 1170237 w 1363452"/>
                      <a:gd name="connsiteY180" fmla="*/ 50800 h 1154113"/>
                      <a:gd name="connsiteX181" fmla="*/ 1273781 w 1363452"/>
                      <a:gd name="connsiteY181" fmla="*/ 148062 h 1154113"/>
                      <a:gd name="connsiteX182" fmla="*/ 1270211 w 1363452"/>
                      <a:gd name="connsiteY182" fmla="*/ 180244 h 1154113"/>
                      <a:gd name="connsiteX183" fmla="*/ 1259499 w 1363452"/>
                      <a:gd name="connsiteY183" fmla="*/ 194548 h 1154113"/>
                      <a:gd name="connsiteX184" fmla="*/ 1258071 w 1363452"/>
                      <a:gd name="connsiteY184" fmla="*/ 195263 h 1154113"/>
                      <a:gd name="connsiteX185" fmla="*/ 1253072 w 1363452"/>
                      <a:gd name="connsiteY185" fmla="*/ 195263 h 1154113"/>
                      <a:gd name="connsiteX186" fmla="*/ 1251644 w 1363452"/>
                      <a:gd name="connsiteY186" fmla="*/ 193117 h 1154113"/>
                      <a:gd name="connsiteX187" fmla="*/ 1250216 w 1363452"/>
                      <a:gd name="connsiteY187" fmla="*/ 128038 h 1154113"/>
                      <a:gd name="connsiteX188" fmla="*/ 1246645 w 1363452"/>
                      <a:gd name="connsiteY188" fmla="*/ 126607 h 1154113"/>
                      <a:gd name="connsiteX189" fmla="*/ 1195944 w 1363452"/>
                      <a:gd name="connsiteY189" fmla="*/ 133759 h 1154113"/>
                      <a:gd name="connsiteX190" fmla="*/ 1153812 w 1363452"/>
                      <a:gd name="connsiteY190" fmla="*/ 138765 h 1154113"/>
                      <a:gd name="connsiteX191" fmla="*/ 1151670 w 1363452"/>
                      <a:gd name="connsiteY191" fmla="*/ 135904 h 1154113"/>
                      <a:gd name="connsiteX192" fmla="*/ 1156669 w 1363452"/>
                      <a:gd name="connsiteY192" fmla="*/ 126607 h 1154113"/>
                      <a:gd name="connsiteX193" fmla="*/ 1153812 w 1363452"/>
                      <a:gd name="connsiteY193" fmla="*/ 123747 h 1154113"/>
                      <a:gd name="connsiteX194" fmla="*/ 1114537 w 1363452"/>
                      <a:gd name="connsiteY194" fmla="*/ 146632 h 1154113"/>
                      <a:gd name="connsiteX195" fmla="*/ 1111680 w 1363452"/>
                      <a:gd name="connsiteY195" fmla="*/ 145201 h 1154113"/>
                      <a:gd name="connsiteX196" fmla="*/ 1113823 w 1363452"/>
                      <a:gd name="connsiteY196" fmla="*/ 130898 h 1154113"/>
                      <a:gd name="connsiteX197" fmla="*/ 1110966 w 1363452"/>
                      <a:gd name="connsiteY197" fmla="*/ 129468 h 1154113"/>
                      <a:gd name="connsiteX198" fmla="*/ 1088115 w 1363452"/>
                      <a:gd name="connsiteY198" fmla="*/ 191687 h 1154113"/>
                      <a:gd name="connsiteX199" fmla="*/ 1085973 w 1363452"/>
                      <a:gd name="connsiteY199" fmla="*/ 193833 h 1154113"/>
                      <a:gd name="connsiteX200" fmla="*/ 1083116 w 1363452"/>
                      <a:gd name="connsiteY200" fmla="*/ 193117 h 1154113"/>
                      <a:gd name="connsiteX201" fmla="*/ 1080974 w 1363452"/>
                      <a:gd name="connsiteY201" fmla="*/ 192402 h 1154113"/>
                      <a:gd name="connsiteX202" fmla="*/ 1071691 w 1363452"/>
                      <a:gd name="connsiteY202" fmla="*/ 180960 h 1154113"/>
                      <a:gd name="connsiteX203" fmla="*/ 1067406 w 1363452"/>
                      <a:gd name="connsiteY203" fmla="*/ 148062 h 1154113"/>
                      <a:gd name="connsiteX204" fmla="*/ 1170237 w 1363452"/>
                      <a:gd name="connsiteY204" fmla="*/ 50800 h 1154113"/>
                      <a:gd name="connsiteX205" fmla="*/ 182375 w 1363452"/>
                      <a:gd name="connsiteY205" fmla="*/ 50800 h 1154113"/>
                      <a:gd name="connsiteX206" fmla="*/ 281594 w 1363452"/>
                      <a:gd name="connsiteY206" fmla="*/ 153349 h 1154113"/>
                      <a:gd name="connsiteX207" fmla="*/ 277311 w 1363452"/>
                      <a:gd name="connsiteY207" fmla="*/ 188245 h 1154113"/>
                      <a:gd name="connsiteX208" fmla="*/ 277311 w 1363452"/>
                      <a:gd name="connsiteY208" fmla="*/ 188957 h 1154113"/>
                      <a:gd name="connsiteX209" fmla="*/ 267318 w 1363452"/>
                      <a:gd name="connsiteY209" fmla="*/ 201776 h 1154113"/>
                      <a:gd name="connsiteX210" fmla="*/ 260893 w 1363452"/>
                      <a:gd name="connsiteY210" fmla="*/ 201776 h 1154113"/>
                      <a:gd name="connsiteX211" fmla="*/ 236624 w 1363452"/>
                      <a:gd name="connsiteY211" fmla="*/ 132697 h 1154113"/>
                      <a:gd name="connsiteX212" fmla="*/ 106711 w 1363452"/>
                      <a:gd name="connsiteY212" fmla="*/ 127712 h 1154113"/>
                      <a:gd name="connsiteX213" fmla="*/ 105284 w 1363452"/>
                      <a:gd name="connsiteY213" fmla="*/ 203200 h 1154113"/>
                      <a:gd name="connsiteX214" fmla="*/ 98146 w 1363452"/>
                      <a:gd name="connsiteY214" fmla="*/ 203200 h 1154113"/>
                      <a:gd name="connsiteX215" fmla="*/ 87439 w 1363452"/>
                      <a:gd name="connsiteY215" fmla="*/ 187533 h 1154113"/>
                      <a:gd name="connsiteX216" fmla="*/ 83870 w 1363452"/>
                      <a:gd name="connsiteY216" fmla="*/ 153349 h 1154113"/>
                      <a:gd name="connsiteX217" fmla="*/ 182375 w 1363452"/>
                      <a:gd name="connsiteY217" fmla="*/ 50800 h 1154113"/>
                      <a:gd name="connsiteX218" fmla="*/ 764194 w 1363452"/>
                      <a:gd name="connsiteY218" fmla="*/ 0 h 1154113"/>
                      <a:gd name="connsiteX219" fmla="*/ 764194 w 1363452"/>
                      <a:gd name="connsiteY219" fmla="*/ 715 h 1154113"/>
                      <a:gd name="connsiteX220" fmla="*/ 749814 w 1363452"/>
                      <a:gd name="connsiteY220" fmla="*/ 23607 h 1154113"/>
                      <a:gd name="connsiteX221" fmla="*/ 719617 w 1363452"/>
                      <a:gd name="connsiteY221" fmla="*/ 86558 h 1154113"/>
                      <a:gd name="connsiteX222" fmla="*/ 719617 w 1363452"/>
                      <a:gd name="connsiteY222" fmla="*/ 106588 h 1154113"/>
                      <a:gd name="connsiteX223" fmla="*/ 718179 w 1363452"/>
                      <a:gd name="connsiteY223" fmla="*/ 108734 h 1154113"/>
                      <a:gd name="connsiteX224" fmla="*/ 710270 w 1363452"/>
                      <a:gd name="connsiteY224" fmla="*/ 115888 h 1154113"/>
                      <a:gd name="connsiteX225" fmla="*/ 710270 w 1363452"/>
                      <a:gd name="connsiteY225" fmla="*/ 93712 h 1154113"/>
                      <a:gd name="connsiteX226" fmla="*/ 664256 w 1363452"/>
                      <a:gd name="connsiteY226" fmla="*/ 113742 h 1154113"/>
                      <a:gd name="connsiteX227" fmla="*/ 618960 w 1363452"/>
                      <a:gd name="connsiteY227" fmla="*/ 93712 h 1154113"/>
                      <a:gd name="connsiteX228" fmla="*/ 618960 w 1363452"/>
                      <a:gd name="connsiteY228" fmla="*/ 115888 h 1154113"/>
                      <a:gd name="connsiteX229" fmla="*/ 611051 w 1363452"/>
                      <a:gd name="connsiteY229" fmla="*/ 108734 h 1154113"/>
                      <a:gd name="connsiteX230" fmla="*/ 609613 w 1363452"/>
                      <a:gd name="connsiteY230" fmla="*/ 106588 h 1154113"/>
                      <a:gd name="connsiteX231" fmla="*/ 609613 w 1363452"/>
                      <a:gd name="connsiteY231" fmla="*/ 86558 h 1154113"/>
                      <a:gd name="connsiteX232" fmla="*/ 580135 w 1363452"/>
                      <a:gd name="connsiteY232" fmla="*/ 23607 h 1154113"/>
                      <a:gd name="connsiteX233" fmla="*/ 565756 w 1363452"/>
                      <a:gd name="connsiteY233" fmla="*/ 1431 h 1154113"/>
                      <a:gd name="connsiteX234" fmla="*/ 565756 w 1363452"/>
                      <a:gd name="connsiteY234" fmla="*/ 715 h 1154113"/>
                      <a:gd name="connsiteX235" fmla="*/ 575821 w 1363452"/>
                      <a:gd name="connsiteY235" fmla="*/ 5723 h 1154113"/>
                      <a:gd name="connsiteX236" fmla="*/ 585887 w 1363452"/>
                      <a:gd name="connsiteY236" fmla="*/ 15738 h 1154113"/>
                      <a:gd name="connsiteX237" fmla="*/ 588044 w 1363452"/>
                      <a:gd name="connsiteY237" fmla="*/ 18599 h 1154113"/>
                      <a:gd name="connsiteX238" fmla="*/ 617522 w 1363452"/>
                      <a:gd name="connsiteY238" fmla="*/ 81551 h 1154113"/>
                      <a:gd name="connsiteX239" fmla="*/ 664256 w 1363452"/>
                      <a:gd name="connsiteY239" fmla="*/ 104442 h 1154113"/>
                      <a:gd name="connsiteX240" fmla="*/ 711708 w 1363452"/>
                      <a:gd name="connsiteY240" fmla="*/ 81551 h 1154113"/>
                      <a:gd name="connsiteX241" fmla="*/ 741186 w 1363452"/>
                      <a:gd name="connsiteY241" fmla="*/ 18599 h 1154113"/>
                      <a:gd name="connsiteX242" fmla="*/ 743343 w 1363452"/>
                      <a:gd name="connsiteY242" fmla="*/ 15738 h 1154113"/>
                      <a:gd name="connsiteX243" fmla="*/ 753409 w 1363452"/>
                      <a:gd name="connsiteY243" fmla="*/ 5723 h 1154113"/>
                      <a:gd name="connsiteX244" fmla="*/ 764194 w 1363452"/>
                      <a:gd name="connsiteY244" fmla="*/ 0 h 11541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  <a:cxn ang="0">
                        <a:pos x="connsiteX185" y="connsiteY185"/>
                      </a:cxn>
                      <a:cxn ang="0">
                        <a:pos x="connsiteX186" y="connsiteY186"/>
                      </a:cxn>
                      <a:cxn ang="0">
                        <a:pos x="connsiteX187" y="connsiteY187"/>
                      </a:cxn>
                      <a:cxn ang="0">
                        <a:pos x="connsiteX188" y="connsiteY188"/>
                      </a:cxn>
                      <a:cxn ang="0">
                        <a:pos x="connsiteX189" y="connsiteY189"/>
                      </a:cxn>
                      <a:cxn ang="0">
                        <a:pos x="connsiteX190" y="connsiteY190"/>
                      </a:cxn>
                      <a:cxn ang="0">
                        <a:pos x="connsiteX191" y="connsiteY191"/>
                      </a:cxn>
                      <a:cxn ang="0">
                        <a:pos x="connsiteX192" y="connsiteY192"/>
                      </a:cxn>
                      <a:cxn ang="0">
                        <a:pos x="connsiteX193" y="connsiteY193"/>
                      </a:cxn>
                      <a:cxn ang="0">
                        <a:pos x="connsiteX194" y="connsiteY194"/>
                      </a:cxn>
                      <a:cxn ang="0">
                        <a:pos x="connsiteX195" y="connsiteY195"/>
                      </a:cxn>
                      <a:cxn ang="0">
                        <a:pos x="connsiteX196" y="connsiteY196"/>
                      </a:cxn>
                      <a:cxn ang="0">
                        <a:pos x="connsiteX197" y="connsiteY197"/>
                      </a:cxn>
                      <a:cxn ang="0">
                        <a:pos x="connsiteX198" y="connsiteY198"/>
                      </a:cxn>
                      <a:cxn ang="0">
                        <a:pos x="connsiteX199" y="connsiteY199"/>
                      </a:cxn>
                      <a:cxn ang="0">
                        <a:pos x="connsiteX200" y="connsiteY200"/>
                      </a:cxn>
                      <a:cxn ang="0">
                        <a:pos x="connsiteX201" y="connsiteY201"/>
                      </a:cxn>
                      <a:cxn ang="0">
                        <a:pos x="connsiteX202" y="connsiteY202"/>
                      </a:cxn>
                      <a:cxn ang="0">
                        <a:pos x="connsiteX203" y="connsiteY203"/>
                      </a:cxn>
                      <a:cxn ang="0">
                        <a:pos x="connsiteX204" y="connsiteY204"/>
                      </a:cxn>
                      <a:cxn ang="0">
                        <a:pos x="connsiteX205" y="connsiteY205"/>
                      </a:cxn>
                      <a:cxn ang="0">
                        <a:pos x="connsiteX206" y="connsiteY206"/>
                      </a:cxn>
                      <a:cxn ang="0">
                        <a:pos x="connsiteX207" y="connsiteY207"/>
                      </a:cxn>
                      <a:cxn ang="0">
                        <a:pos x="connsiteX208" y="connsiteY208"/>
                      </a:cxn>
                      <a:cxn ang="0">
                        <a:pos x="connsiteX209" y="connsiteY209"/>
                      </a:cxn>
                      <a:cxn ang="0">
                        <a:pos x="connsiteX210" y="connsiteY210"/>
                      </a:cxn>
                      <a:cxn ang="0">
                        <a:pos x="connsiteX211" y="connsiteY211"/>
                      </a:cxn>
                      <a:cxn ang="0">
                        <a:pos x="connsiteX212" y="connsiteY212"/>
                      </a:cxn>
                      <a:cxn ang="0">
                        <a:pos x="connsiteX213" y="connsiteY213"/>
                      </a:cxn>
                      <a:cxn ang="0">
                        <a:pos x="connsiteX214" y="connsiteY214"/>
                      </a:cxn>
                      <a:cxn ang="0">
                        <a:pos x="connsiteX215" y="connsiteY215"/>
                      </a:cxn>
                      <a:cxn ang="0">
                        <a:pos x="connsiteX216" y="connsiteY216"/>
                      </a:cxn>
                      <a:cxn ang="0">
                        <a:pos x="connsiteX217" y="connsiteY217"/>
                      </a:cxn>
                      <a:cxn ang="0">
                        <a:pos x="connsiteX218" y="connsiteY218"/>
                      </a:cxn>
                      <a:cxn ang="0">
                        <a:pos x="connsiteX219" y="connsiteY219"/>
                      </a:cxn>
                      <a:cxn ang="0">
                        <a:pos x="connsiteX220" y="connsiteY220"/>
                      </a:cxn>
                      <a:cxn ang="0">
                        <a:pos x="connsiteX221" y="connsiteY221"/>
                      </a:cxn>
                      <a:cxn ang="0">
                        <a:pos x="connsiteX222" y="connsiteY222"/>
                      </a:cxn>
                      <a:cxn ang="0">
                        <a:pos x="connsiteX223" y="connsiteY223"/>
                      </a:cxn>
                      <a:cxn ang="0">
                        <a:pos x="connsiteX224" y="connsiteY224"/>
                      </a:cxn>
                      <a:cxn ang="0">
                        <a:pos x="connsiteX225" y="connsiteY225"/>
                      </a:cxn>
                      <a:cxn ang="0">
                        <a:pos x="connsiteX226" y="connsiteY226"/>
                      </a:cxn>
                      <a:cxn ang="0">
                        <a:pos x="connsiteX227" y="connsiteY227"/>
                      </a:cxn>
                      <a:cxn ang="0">
                        <a:pos x="connsiteX228" y="connsiteY228"/>
                      </a:cxn>
                      <a:cxn ang="0">
                        <a:pos x="connsiteX229" y="connsiteY229"/>
                      </a:cxn>
                      <a:cxn ang="0">
                        <a:pos x="connsiteX230" y="connsiteY230"/>
                      </a:cxn>
                      <a:cxn ang="0">
                        <a:pos x="connsiteX231" y="connsiteY231"/>
                      </a:cxn>
                      <a:cxn ang="0">
                        <a:pos x="connsiteX232" y="connsiteY232"/>
                      </a:cxn>
                      <a:cxn ang="0">
                        <a:pos x="connsiteX233" y="connsiteY233"/>
                      </a:cxn>
                      <a:cxn ang="0">
                        <a:pos x="connsiteX234" y="connsiteY234"/>
                      </a:cxn>
                      <a:cxn ang="0">
                        <a:pos x="connsiteX235" y="connsiteY235"/>
                      </a:cxn>
                      <a:cxn ang="0">
                        <a:pos x="connsiteX236" y="connsiteY236"/>
                      </a:cxn>
                      <a:cxn ang="0">
                        <a:pos x="connsiteX237" y="connsiteY237"/>
                      </a:cxn>
                      <a:cxn ang="0">
                        <a:pos x="connsiteX238" y="connsiteY238"/>
                      </a:cxn>
                      <a:cxn ang="0">
                        <a:pos x="connsiteX239" y="connsiteY239"/>
                      </a:cxn>
                      <a:cxn ang="0">
                        <a:pos x="connsiteX240" y="connsiteY240"/>
                      </a:cxn>
                      <a:cxn ang="0">
                        <a:pos x="connsiteX241" y="connsiteY241"/>
                      </a:cxn>
                      <a:cxn ang="0">
                        <a:pos x="connsiteX242" y="connsiteY242"/>
                      </a:cxn>
                      <a:cxn ang="0">
                        <a:pos x="connsiteX243" y="connsiteY243"/>
                      </a:cxn>
                      <a:cxn ang="0">
                        <a:pos x="connsiteX244" y="connsiteY244"/>
                      </a:cxn>
                    </a:cxnLst>
                    <a:rect l="l" t="t" r="r" b="b"/>
                    <a:pathLst>
                      <a:path w="1363452" h="1154113">
                        <a:moveTo>
                          <a:pt x="1096819" y="877888"/>
                        </a:moveTo>
                        <a:cubicBezTo>
                          <a:pt x="1096819" y="877888"/>
                          <a:pt x="1096819" y="877888"/>
                          <a:pt x="1054707" y="929919"/>
                        </a:cubicBezTo>
                        <a:cubicBezTo>
                          <a:pt x="1054707" y="929919"/>
                          <a:pt x="1054707" y="929919"/>
                          <a:pt x="1288107" y="1122363"/>
                        </a:cubicBezTo>
                        <a:cubicBezTo>
                          <a:pt x="1293103" y="1120938"/>
                          <a:pt x="1303096" y="1115236"/>
                          <a:pt x="1313802" y="1101693"/>
                        </a:cubicBezTo>
                        <a:cubicBezTo>
                          <a:pt x="1313802" y="1101693"/>
                          <a:pt x="1313802" y="1101693"/>
                          <a:pt x="1314516" y="1100980"/>
                        </a:cubicBezTo>
                        <a:lnTo>
                          <a:pt x="1315230" y="1100268"/>
                        </a:lnTo>
                        <a:cubicBezTo>
                          <a:pt x="1325936" y="1087438"/>
                          <a:pt x="1330218" y="1076034"/>
                          <a:pt x="1330932" y="1071045"/>
                        </a:cubicBezTo>
                        <a:cubicBezTo>
                          <a:pt x="1330932" y="1071045"/>
                          <a:pt x="1330932" y="1071045"/>
                          <a:pt x="1096819" y="877888"/>
                        </a:cubicBezTo>
                        <a:close/>
                        <a:moveTo>
                          <a:pt x="1093256" y="838848"/>
                        </a:moveTo>
                        <a:cubicBezTo>
                          <a:pt x="1097289" y="838401"/>
                          <a:pt x="1101411" y="839474"/>
                          <a:pt x="1104637" y="842334"/>
                        </a:cubicBezTo>
                        <a:cubicBezTo>
                          <a:pt x="1104637" y="842334"/>
                          <a:pt x="1104637" y="842334"/>
                          <a:pt x="1355565" y="1048995"/>
                        </a:cubicBezTo>
                        <a:cubicBezTo>
                          <a:pt x="1370620" y="1061151"/>
                          <a:pt x="1363451" y="1093330"/>
                          <a:pt x="1339792" y="1120504"/>
                        </a:cubicBezTo>
                        <a:cubicBezTo>
                          <a:pt x="1323302" y="1141957"/>
                          <a:pt x="1302511" y="1154113"/>
                          <a:pt x="1286739" y="1154113"/>
                        </a:cubicBezTo>
                        <a:cubicBezTo>
                          <a:pt x="1281003" y="1154113"/>
                          <a:pt x="1276702" y="1152683"/>
                          <a:pt x="1272400" y="1149823"/>
                        </a:cubicBezTo>
                        <a:cubicBezTo>
                          <a:pt x="1272400" y="1149823"/>
                          <a:pt x="1272400" y="1149823"/>
                          <a:pt x="1022190" y="943162"/>
                        </a:cubicBezTo>
                        <a:cubicBezTo>
                          <a:pt x="1015737" y="937441"/>
                          <a:pt x="1015020" y="927430"/>
                          <a:pt x="1020039" y="920994"/>
                        </a:cubicBezTo>
                        <a:cubicBezTo>
                          <a:pt x="1020039" y="920994"/>
                          <a:pt x="1020039" y="920994"/>
                          <a:pt x="1082412" y="844479"/>
                        </a:cubicBezTo>
                        <a:cubicBezTo>
                          <a:pt x="1085280" y="841261"/>
                          <a:pt x="1089223" y="839295"/>
                          <a:pt x="1093256" y="838848"/>
                        </a:cubicBezTo>
                        <a:close/>
                        <a:moveTo>
                          <a:pt x="126043" y="801687"/>
                        </a:moveTo>
                        <a:cubicBezTo>
                          <a:pt x="126043" y="801687"/>
                          <a:pt x="166006" y="834548"/>
                          <a:pt x="185273" y="849550"/>
                        </a:cubicBezTo>
                        <a:cubicBezTo>
                          <a:pt x="185987" y="850265"/>
                          <a:pt x="187414" y="850265"/>
                          <a:pt x="188128" y="849550"/>
                        </a:cubicBezTo>
                        <a:cubicBezTo>
                          <a:pt x="213818" y="828833"/>
                          <a:pt x="246645" y="801687"/>
                          <a:pt x="246645" y="801687"/>
                        </a:cubicBezTo>
                        <a:cubicBezTo>
                          <a:pt x="246645" y="801687"/>
                          <a:pt x="299452" y="801687"/>
                          <a:pt x="327284" y="814546"/>
                        </a:cubicBezTo>
                        <a:cubicBezTo>
                          <a:pt x="350833" y="825261"/>
                          <a:pt x="366533" y="865267"/>
                          <a:pt x="372242" y="880268"/>
                        </a:cubicBezTo>
                        <a:cubicBezTo>
                          <a:pt x="373669" y="883126"/>
                          <a:pt x="371528" y="887412"/>
                          <a:pt x="367960" y="887412"/>
                        </a:cubicBezTo>
                        <a:cubicBezTo>
                          <a:pt x="367960" y="887412"/>
                          <a:pt x="367960" y="887412"/>
                          <a:pt x="4728" y="887412"/>
                        </a:cubicBezTo>
                        <a:cubicBezTo>
                          <a:pt x="1160" y="887412"/>
                          <a:pt x="-981" y="883126"/>
                          <a:pt x="446" y="880268"/>
                        </a:cubicBezTo>
                        <a:cubicBezTo>
                          <a:pt x="6155" y="865267"/>
                          <a:pt x="22568" y="825261"/>
                          <a:pt x="45404" y="814546"/>
                        </a:cubicBezTo>
                        <a:cubicBezTo>
                          <a:pt x="73949" y="801687"/>
                          <a:pt x="126043" y="801687"/>
                          <a:pt x="126043" y="801687"/>
                        </a:cubicBezTo>
                        <a:close/>
                        <a:moveTo>
                          <a:pt x="86331" y="687387"/>
                        </a:moveTo>
                        <a:cubicBezTo>
                          <a:pt x="86331" y="687387"/>
                          <a:pt x="86331" y="687387"/>
                          <a:pt x="97046" y="692364"/>
                        </a:cubicBezTo>
                        <a:cubicBezTo>
                          <a:pt x="98475" y="696629"/>
                          <a:pt x="101333" y="700895"/>
                          <a:pt x="107048" y="704450"/>
                        </a:cubicBezTo>
                        <a:cubicBezTo>
                          <a:pt x="107762" y="704450"/>
                          <a:pt x="108476" y="705872"/>
                          <a:pt x="109191" y="706583"/>
                        </a:cubicBezTo>
                        <a:cubicBezTo>
                          <a:pt x="117763" y="727912"/>
                          <a:pt x="132765" y="763461"/>
                          <a:pt x="138480" y="768437"/>
                        </a:cubicBezTo>
                        <a:cubicBezTo>
                          <a:pt x="147767" y="776969"/>
                          <a:pt x="172770" y="791899"/>
                          <a:pt x="186343" y="791899"/>
                        </a:cubicBezTo>
                        <a:cubicBezTo>
                          <a:pt x="199202" y="791899"/>
                          <a:pt x="224205" y="776969"/>
                          <a:pt x="233492" y="768437"/>
                        </a:cubicBezTo>
                        <a:cubicBezTo>
                          <a:pt x="239207" y="763461"/>
                          <a:pt x="255638" y="727912"/>
                          <a:pt x="264210" y="706583"/>
                        </a:cubicBezTo>
                        <a:cubicBezTo>
                          <a:pt x="264925" y="705872"/>
                          <a:pt x="265639" y="704450"/>
                          <a:pt x="266353" y="704450"/>
                        </a:cubicBezTo>
                        <a:cubicBezTo>
                          <a:pt x="271354" y="700895"/>
                          <a:pt x="274211" y="696629"/>
                          <a:pt x="275640" y="692364"/>
                        </a:cubicBezTo>
                        <a:cubicBezTo>
                          <a:pt x="275640" y="692364"/>
                          <a:pt x="275640" y="692364"/>
                          <a:pt x="286356" y="687387"/>
                        </a:cubicBezTo>
                        <a:cubicBezTo>
                          <a:pt x="286356" y="687387"/>
                          <a:pt x="286356" y="687387"/>
                          <a:pt x="286356" y="688098"/>
                        </a:cubicBezTo>
                        <a:cubicBezTo>
                          <a:pt x="285641" y="692364"/>
                          <a:pt x="282784" y="705161"/>
                          <a:pt x="272068" y="710849"/>
                        </a:cubicBezTo>
                        <a:cubicBezTo>
                          <a:pt x="267782" y="722224"/>
                          <a:pt x="250637" y="762039"/>
                          <a:pt x="241350" y="773414"/>
                        </a:cubicBezTo>
                        <a:cubicBezTo>
                          <a:pt x="241350" y="773414"/>
                          <a:pt x="241350" y="773414"/>
                          <a:pt x="241350" y="793321"/>
                        </a:cubicBezTo>
                        <a:cubicBezTo>
                          <a:pt x="241350" y="793321"/>
                          <a:pt x="241350" y="793321"/>
                          <a:pt x="239921" y="795454"/>
                        </a:cubicBezTo>
                        <a:cubicBezTo>
                          <a:pt x="239921" y="795454"/>
                          <a:pt x="237064" y="799009"/>
                          <a:pt x="232063" y="803275"/>
                        </a:cubicBezTo>
                        <a:cubicBezTo>
                          <a:pt x="232063" y="803275"/>
                          <a:pt x="232063" y="803275"/>
                          <a:pt x="232063" y="780524"/>
                        </a:cubicBezTo>
                        <a:cubicBezTo>
                          <a:pt x="219919" y="789766"/>
                          <a:pt x="199202" y="801142"/>
                          <a:pt x="186343" y="801142"/>
                        </a:cubicBezTo>
                        <a:cubicBezTo>
                          <a:pt x="172770" y="801142"/>
                          <a:pt x="152768" y="789766"/>
                          <a:pt x="139909" y="780524"/>
                        </a:cubicBezTo>
                        <a:cubicBezTo>
                          <a:pt x="139909" y="780524"/>
                          <a:pt x="139909" y="780524"/>
                          <a:pt x="139909" y="803275"/>
                        </a:cubicBezTo>
                        <a:cubicBezTo>
                          <a:pt x="134908" y="799009"/>
                          <a:pt x="132765" y="795454"/>
                          <a:pt x="132051" y="795454"/>
                        </a:cubicBezTo>
                        <a:cubicBezTo>
                          <a:pt x="132051" y="795454"/>
                          <a:pt x="132051" y="795454"/>
                          <a:pt x="130622" y="793321"/>
                        </a:cubicBezTo>
                        <a:cubicBezTo>
                          <a:pt x="130622" y="793321"/>
                          <a:pt x="130622" y="793321"/>
                          <a:pt x="130622" y="773414"/>
                        </a:cubicBezTo>
                        <a:cubicBezTo>
                          <a:pt x="122050" y="762039"/>
                          <a:pt x="105619" y="722224"/>
                          <a:pt x="101333" y="710849"/>
                        </a:cubicBezTo>
                        <a:cubicBezTo>
                          <a:pt x="90617" y="705161"/>
                          <a:pt x="87760" y="694497"/>
                          <a:pt x="86331" y="688098"/>
                        </a:cubicBezTo>
                        <a:cubicBezTo>
                          <a:pt x="86331" y="688098"/>
                          <a:pt x="86331" y="688098"/>
                          <a:pt x="86331" y="687387"/>
                        </a:cubicBezTo>
                        <a:close/>
                        <a:moveTo>
                          <a:pt x="548294" y="525462"/>
                        </a:moveTo>
                        <a:cubicBezTo>
                          <a:pt x="548294" y="525462"/>
                          <a:pt x="548294" y="525462"/>
                          <a:pt x="562627" y="532613"/>
                        </a:cubicBezTo>
                        <a:cubicBezTo>
                          <a:pt x="564777" y="538333"/>
                          <a:pt x="569077" y="544054"/>
                          <a:pt x="576960" y="548345"/>
                        </a:cubicBezTo>
                        <a:cubicBezTo>
                          <a:pt x="578394" y="549060"/>
                          <a:pt x="579110" y="549775"/>
                          <a:pt x="579827" y="551205"/>
                        </a:cubicBezTo>
                        <a:cubicBezTo>
                          <a:pt x="591294" y="579809"/>
                          <a:pt x="612794" y="628435"/>
                          <a:pt x="620677" y="635586"/>
                        </a:cubicBezTo>
                        <a:cubicBezTo>
                          <a:pt x="633577" y="647027"/>
                          <a:pt x="666544" y="667765"/>
                          <a:pt x="685177" y="667765"/>
                        </a:cubicBezTo>
                        <a:cubicBezTo>
                          <a:pt x="703810" y="667765"/>
                          <a:pt x="737494" y="647027"/>
                          <a:pt x="750394" y="635586"/>
                        </a:cubicBezTo>
                        <a:cubicBezTo>
                          <a:pt x="758277" y="628435"/>
                          <a:pt x="779060" y="579809"/>
                          <a:pt x="791244" y="551205"/>
                        </a:cubicBezTo>
                        <a:cubicBezTo>
                          <a:pt x="791244" y="549775"/>
                          <a:pt x="792677" y="549060"/>
                          <a:pt x="794110" y="548345"/>
                        </a:cubicBezTo>
                        <a:cubicBezTo>
                          <a:pt x="801277" y="544054"/>
                          <a:pt x="805577" y="538333"/>
                          <a:pt x="807727" y="532613"/>
                        </a:cubicBezTo>
                        <a:cubicBezTo>
                          <a:pt x="807727" y="532613"/>
                          <a:pt x="807727" y="532613"/>
                          <a:pt x="821344" y="525462"/>
                        </a:cubicBezTo>
                        <a:cubicBezTo>
                          <a:pt x="821344" y="526177"/>
                          <a:pt x="821344" y="526177"/>
                          <a:pt x="821344" y="526177"/>
                        </a:cubicBezTo>
                        <a:cubicBezTo>
                          <a:pt x="820627" y="533328"/>
                          <a:pt x="816327" y="549060"/>
                          <a:pt x="801994" y="557641"/>
                        </a:cubicBezTo>
                        <a:cubicBezTo>
                          <a:pt x="795544" y="573373"/>
                          <a:pt x="773327" y="627005"/>
                          <a:pt x="761144" y="642737"/>
                        </a:cubicBezTo>
                        <a:cubicBezTo>
                          <a:pt x="761144" y="642737"/>
                          <a:pt x="761144" y="642737"/>
                          <a:pt x="761144" y="669910"/>
                        </a:cubicBezTo>
                        <a:cubicBezTo>
                          <a:pt x="761144" y="669910"/>
                          <a:pt x="761144" y="669910"/>
                          <a:pt x="758994" y="672770"/>
                        </a:cubicBezTo>
                        <a:cubicBezTo>
                          <a:pt x="758994" y="673486"/>
                          <a:pt x="755410" y="677776"/>
                          <a:pt x="748244" y="684212"/>
                        </a:cubicBezTo>
                        <a:cubicBezTo>
                          <a:pt x="748244" y="684212"/>
                          <a:pt x="748244" y="684212"/>
                          <a:pt x="748244" y="653463"/>
                        </a:cubicBezTo>
                        <a:cubicBezTo>
                          <a:pt x="731044" y="664904"/>
                          <a:pt x="704527" y="680636"/>
                          <a:pt x="685177" y="680636"/>
                        </a:cubicBezTo>
                        <a:cubicBezTo>
                          <a:pt x="666544" y="680636"/>
                          <a:pt x="639310" y="664904"/>
                          <a:pt x="622827" y="653463"/>
                        </a:cubicBezTo>
                        <a:cubicBezTo>
                          <a:pt x="622827" y="653463"/>
                          <a:pt x="622827" y="653463"/>
                          <a:pt x="622827" y="684212"/>
                        </a:cubicBezTo>
                        <a:cubicBezTo>
                          <a:pt x="615660" y="678491"/>
                          <a:pt x="612077" y="673486"/>
                          <a:pt x="612077" y="672770"/>
                        </a:cubicBezTo>
                        <a:cubicBezTo>
                          <a:pt x="612077" y="672770"/>
                          <a:pt x="612077" y="672770"/>
                          <a:pt x="609927" y="669910"/>
                        </a:cubicBezTo>
                        <a:cubicBezTo>
                          <a:pt x="609927" y="669910"/>
                          <a:pt x="609927" y="669910"/>
                          <a:pt x="609927" y="642737"/>
                        </a:cubicBezTo>
                        <a:cubicBezTo>
                          <a:pt x="597744" y="627005"/>
                          <a:pt x="575527" y="573373"/>
                          <a:pt x="568360" y="557641"/>
                        </a:cubicBezTo>
                        <a:cubicBezTo>
                          <a:pt x="554027" y="549775"/>
                          <a:pt x="549727" y="535473"/>
                          <a:pt x="548294" y="526892"/>
                        </a:cubicBezTo>
                        <a:cubicBezTo>
                          <a:pt x="548294" y="526892"/>
                          <a:pt x="548294" y="526177"/>
                          <a:pt x="548294" y="525462"/>
                        </a:cubicBezTo>
                        <a:close/>
                        <a:moveTo>
                          <a:pt x="682874" y="292100"/>
                        </a:moveTo>
                        <a:cubicBezTo>
                          <a:pt x="520062" y="292100"/>
                          <a:pt x="387956" y="424011"/>
                          <a:pt x="387956" y="586582"/>
                        </a:cubicBezTo>
                        <a:cubicBezTo>
                          <a:pt x="387956" y="650041"/>
                          <a:pt x="407951" y="708510"/>
                          <a:pt x="441513" y="756283"/>
                        </a:cubicBezTo>
                        <a:cubicBezTo>
                          <a:pt x="441513" y="756283"/>
                          <a:pt x="441513" y="756283"/>
                          <a:pt x="442227" y="755570"/>
                        </a:cubicBezTo>
                        <a:cubicBezTo>
                          <a:pt x="452224" y="734179"/>
                          <a:pt x="467934" y="708510"/>
                          <a:pt x="490785" y="697814"/>
                        </a:cubicBezTo>
                        <a:cubicBezTo>
                          <a:pt x="525775" y="682841"/>
                          <a:pt x="586472" y="680702"/>
                          <a:pt x="599326" y="680702"/>
                        </a:cubicBezTo>
                        <a:cubicBezTo>
                          <a:pt x="599326" y="680702"/>
                          <a:pt x="600040" y="681415"/>
                          <a:pt x="600754" y="682841"/>
                        </a:cubicBezTo>
                        <a:cubicBezTo>
                          <a:pt x="630032" y="776248"/>
                          <a:pt x="648598" y="840420"/>
                          <a:pt x="655739" y="866803"/>
                        </a:cubicBezTo>
                        <a:cubicBezTo>
                          <a:pt x="655739" y="866803"/>
                          <a:pt x="655739" y="866803"/>
                          <a:pt x="657881" y="874646"/>
                        </a:cubicBezTo>
                        <a:cubicBezTo>
                          <a:pt x="658595" y="877498"/>
                          <a:pt x="661452" y="879637"/>
                          <a:pt x="664308" y="879637"/>
                        </a:cubicBezTo>
                        <a:cubicBezTo>
                          <a:pt x="664308" y="879637"/>
                          <a:pt x="664308" y="879637"/>
                          <a:pt x="672163" y="880350"/>
                        </a:cubicBezTo>
                        <a:cubicBezTo>
                          <a:pt x="679304" y="881063"/>
                          <a:pt x="687159" y="881063"/>
                          <a:pt x="694300" y="880350"/>
                        </a:cubicBezTo>
                        <a:cubicBezTo>
                          <a:pt x="694300" y="880350"/>
                          <a:pt x="694300" y="880350"/>
                          <a:pt x="702155" y="879637"/>
                        </a:cubicBezTo>
                        <a:cubicBezTo>
                          <a:pt x="705725" y="879637"/>
                          <a:pt x="707867" y="877498"/>
                          <a:pt x="708581" y="874646"/>
                        </a:cubicBezTo>
                        <a:cubicBezTo>
                          <a:pt x="708581" y="874646"/>
                          <a:pt x="708581" y="874646"/>
                          <a:pt x="712866" y="861098"/>
                        </a:cubicBezTo>
                        <a:cubicBezTo>
                          <a:pt x="721435" y="834716"/>
                          <a:pt x="737145" y="782665"/>
                          <a:pt x="766422" y="682841"/>
                        </a:cubicBezTo>
                        <a:cubicBezTo>
                          <a:pt x="766422" y="681415"/>
                          <a:pt x="767851" y="680702"/>
                          <a:pt x="769279" y="680702"/>
                        </a:cubicBezTo>
                        <a:cubicBezTo>
                          <a:pt x="782132" y="680702"/>
                          <a:pt x="842830" y="682841"/>
                          <a:pt x="877106" y="697814"/>
                        </a:cubicBezTo>
                        <a:cubicBezTo>
                          <a:pt x="888531" y="703519"/>
                          <a:pt x="897814" y="712788"/>
                          <a:pt x="906383" y="722770"/>
                        </a:cubicBezTo>
                        <a:cubicBezTo>
                          <a:pt x="906383" y="722770"/>
                          <a:pt x="906383" y="722770"/>
                          <a:pt x="925664" y="754144"/>
                        </a:cubicBezTo>
                        <a:lnTo>
                          <a:pt x="927806" y="752005"/>
                        </a:lnTo>
                        <a:cubicBezTo>
                          <a:pt x="959940" y="704945"/>
                          <a:pt x="978506" y="647902"/>
                          <a:pt x="978506" y="586582"/>
                        </a:cubicBezTo>
                        <a:cubicBezTo>
                          <a:pt x="978506" y="424011"/>
                          <a:pt x="846400" y="292100"/>
                          <a:pt x="682874" y="292100"/>
                        </a:cubicBezTo>
                        <a:close/>
                        <a:moveTo>
                          <a:pt x="713786" y="261703"/>
                        </a:moveTo>
                        <a:cubicBezTo>
                          <a:pt x="776637" y="267421"/>
                          <a:pt x="838060" y="291721"/>
                          <a:pt x="890913" y="334603"/>
                        </a:cubicBezTo>
                        <a:cubicBezTo>
                          <a:pt x="1013045" y="435376"/>
                          <a:pt x="1043756" y="608335"/>
                          <a:pt x="969477" y="742699"/>
                        </a:cubicBezTo>
                        <a:cubicBezTo>
                          <a:pt x="1055184" y="813455"/>
                          <a:pt x="1055184" y="813455"/>
                          <a:pt x="1055184" y="813455"/>
                        </a:cubicBezTo>
                        <a:cubicBezTo>
                          <a:pt x="1058755" y="817029"/>
                          <a:pt x="1059469" y="822746"/>
                          <a:pt x="1056612" y="826320"/>
                        </a:cubicBezTo>
                        <a:cubicBezTo>
                          <a:pt x="995189" y="901364"/>
                          <a:pt x="995189" y="901364"/>
                          <a:pt x="995189" y="901364"/>
                        </a:cubicBezTo>
                        <a:cubicBezTo>
                          <a:pt x="992332" y="904937"/>
                          <a:pt x="986619" y="905652"/>
                          <a:pt x="982333" y="902793"/>
                        </a:cubicBezTo>
                        <a:cubicBezTo>
                          <a:pt x="898055" y="832752"/>
                          <a:pt x="898055" y="832752"/>
                          <a:pt x="898055" y="832752"/>
                        </a:cubicBezTo>
                        <a:cubicBezTo>
                          <a:pt x="780922" y="934955"/>
                          <a:pt x="602367" y="941387"/>
                          <a:pt x="478092" y="839184"/>
                        </a:cubicBezTo>
                        <a:cubicBezTo>
                          <a:pt x="338819" y="724832"/>
                          <a:pt x="318106" y="520426"/>
                          <a:pt x="431668" y="380344"/>
                        </a:cubicBezTo>
                        <a:cubicBezTo>
                          <a:pt x="503090" y="293150"/>
                          <a:pt x="609509" y="252412"/>
                          <a:pt x="713786" y="261703"/>
                        </a:cubicBezTo>
                        <a:close/>
                        <a:moveTo>
                          <a:pt x="83156" y="203200"/>
                        </a:moveTo>
                        <a:cubicBezTo>
                          <a:pt x="83156" y="203200"/>
                          <a:pt x="83156" y="203200"/>
                          <a:pt x="93880" y="207498"/>
                        </a:cubicBezTo>
                        <a:cubicBezTo>
                          <a:pt x="96025" y="211796"/>
                          <a:pt x="98884" y="216093"/>
                          <a:pt x="103174" y="218959"/>
                        </a:cubicBezTo>
                        <a:cubicBezTo>
                          <a:pt x="104604" y="219675"/>
                          <a:pt x="105319" y="220391"/>
                          <a:pt x="105319" y="221108"/>
                        </a:cubicBezTo>
                        <a:cubicBezTo>
                          <a:pt x="114613" y="242597"/>
                          <a:pt x="130342" y="279845"/>
                          <a:pt x="136776" y="284859"/>
                        </a:cubicBezTo>
                        <a:cubicBezTo>
                          <a:pt x="146070" y="292739"/>
                          <a:pt x="170378" y="308498"/>
                          <a:pt x="183962" y="308498"/>
                        </a:cubicBezTo>
                        <a:cubicBezTo>
                          <a:pt x="198261" y="308498"/>
                          <a:pt x="222569" y="292739"/>
                          <a:pt x="231863" y="284859"/>
                        </a:cubicBezTo>
                        <a:cubicBezTo>
                          <a:pt x="238298" y="279845"/>
                          <a:pt x="254026" y="242597"/>
                          <a:pt x="262606" y="221108"/>
                        </a:cubicBezTo>
                        <a:cubicBezTo>
                          <a:pt x="263321" y="220391"/>
                          <a:pt x="264036" y="219675"/>
                          <a:pt x="264750" y="218959"/>
                        </a:cubicBezTo>
                        <a:cubicBezTo>
                          <a:pt x="269755" y="216093"/>
                          <a:pt x="271900" y="211796"/>
                          <a:pt x="273330" y="207498"/>
                        </a:cubicBezTo>
                        <a:cubicBezTo>
                          <a:pt x="273330" y="207498"/>
                          <a:pt x="273330" y="207498"/>
                          <a:pt x="284769" y="203200"/>
                        </a:cubicBezTo>
                        <a:cubicBezTo>
                          <a:pt x="284769" y="203200"/>
                          <a:pt x="284769" y="203200"/>
                          <a:pt x="284054" y="203916"/>
                        </a:cubicBezTo>
                        <a:cubicBezTo>
                          <a:pt x="283339" y="208214"/>
                          <a:pt x="280479" y="219675"/>
                          <a:pt x="270470" y="226838"/>
                        </a:cubicBezTo>
                        <a:cubicBezTo>
                          <a:pt x="265465" y="238299"/>
                          <a:pt x="249737" y="278413"/>
                          <a:pt x="240442" y="289873"/>
                        </a:cubicBezTo>
                        <a:cubicBezTo>
                          <a:pt x="240442" y="289873"/>
                          <a:pt x="240442" y="289873"/>
                          <a:pt x="240442" y="309930"/>
                        </a:cubicBezTo>
                        <a:cubicBezTo>
                          <a:pt x="240442" y="309930"/>
                          <a:pt x="240442" y="309930"/>
                          <a:pt x="238298" y="312079"/>
                        </a:cubicBezTo>
                        <a:cubicBezTo>
                          <a:pt x="238298" y="312795"/>
                          <a:pt x="235438" y="316377"/>
                          <a:pt x="230433" y="320675"/>
                        </a:cubicBezTo>
                        <a:cubicBezTo>
                          <a:pt x="230433" y="320675"/>
                          <a:pt x="230433" y="320675"/>
                          <a:pt x="230433" y="297037"/>
                        </a:cubicBezTo>
                        <a:cubicBezTo>
                          <a:pt x="218279" y="306349"/>
                          <a:pt x="198261" y="317810"/>
                          <a:pt x="183962" y="317810"/>
                        </a:cubicBezTo>
                        <a:cubicBezTo>
                          <a:pt x="170378" y="317810"/>
                          <a:pt x="150360" y="306349"/>
                          <a:pt x="137491" y="297037"/>
                        </a:cubicBezTo>
                        <a:cubicBezTo>
                          <a:pt x="137491" y="297037"/>
                          <a:pt x="137491" y="297037"/>
                          <a:pt x="137491" y="320675"/>
                        </a:cubicBezTo>
                        <a:cubicBezTo>
                          <a:pt x="132487" y="316377"/>
                          <a:pt x="130342" y="312795"/>
                          <a:pt x="129627" y="312079"/>
                        </a:cubicBezTo>
                        <a:cubicBezTo>
                          <a:pt x="129627" y="312079"/>
                          <a:pt x="129627" y="312079"/>
                          <a:pt x="128197" y="309930"/>
                        </a:cubicBezTo>
                        <a:cubicBezTo>
                          <a:pt x="128197" y="309930"/>
                          <a:pt x="128197" y="309930"/>
                          <a:pt x="128197" y="289873"/>
                        </a:cubicBezTo>
                        <a:cubicBezTo>
                          <a:pt x="118903" y="278413"/>
                          <a:pt x="102459" y="238299"/>
                          <a:pt x="98169" y="226838"/>
                        </a:cubicBezTo>
                        <a:cubicBezTo>
                          <a:pt x="87445" y="220391"/>
                          <a:pt x="84586" y="209647"/>
                          <a:pt x="83156" y="203916"/>
                        </a:cubicBezTo>
                        <a:cubicBezTo>
                          <a:pt x="83156" y="203916"/>
                          <a:pt x="83156" y="203916"/>
                          <a:pt x="83156" y="203200"/>
                        </a:cubicBezTo>
                        <a:close/>
                        <a:moveTo>
                          <a:pt x="1271480" y="198437"/>
                        </a:moveTo>
                        <a:cubicBezTo>
                          <a:pt x="1272194" y="199153"/>
                          <a:pt x="1272194" y="199870"/>
                          <a:pt x="1271480" y="199870"/>
                        </a:cubicBezTo>
                        <a:cubicBezTo>
                          <a:pt x="1270765" y="205601"/>
                          <a:pt x="1267908" y="217780"/>
                          <a:pt x="1257192" y="225660"/>
                        </a:cubicBezTo>
                        <a:cubicBezTo>
                          <a:pt x="1252192" y="237839"/>
                          <a:pt x="1238619" y="277242"/>
                          <a:pt x="1228617" y="289421"/>
                        </a:cubicBezTo>
                        <a:cubicBezTo>
                          <a:pt x="1228617" y="289421"/>
                          <a:pt x="1228617" y="289421"/>
                          <a:pt x="1228617" y="328824"/>
                        </a:cubicBezTo>
                        <a:cubicBezTo>
                          <a:pt x="1225760" y="332406"/>
                          <a:pt x="1222188" y="335271"/>
                          <a:pt x="1217902" y="338137"/>
                        </a:cubicBezTo>
                        <a:cubicBezTo>
                          <a:pt x="1217902" y="338137"/>
                          <a:pt x="1217902" y="338137"/>
                          <a:pt x="1217902" y="298734"/>
                        </a:cubicBezTo>
                        <a:cubicBezTo>
                          <a:pt x="1205043" y="308764"/>
                          <a:pt x="1185755" y="320943"/>
                          <a:pt x="1171467" y="320943"/>
                        </a:cubicBezTo>
                        <a:cubicBezTo>
                          <a:pt x="1157894" y="320943"/>
                          <a:pt x="1138606" y="308764"/>
                          <a:pt x="1125747" y="299451"/>
                        </a:cubicBezTo>
                        <a:cubicBezTo>
                          <a:pt x="1125747" y="299451"/>
                          <a:pt x="1125747" y="299451"/>
                          <a:pt x="1125747" y="338137"/>
                        </a:cubicBezTo>
                        <a:cubicBezTo>
                          <a:pt x="1121461" y="335271"/>
                          <a:pt x="1118604" y="332406"/>
                          <a:pt x="1115032" y="329540"/>
                        </a:cubicBezTo>
                        <a:cubicBezTo>
                          <a:pt x="1115032" y="329540"/>
                          <a:pt x="1115032" y="329540"/>
                          <a:pt x="1115032" y="289421"/>
                        </a:cubicBezTo>
                        <a:cubicBezTo>
                          <a:pt x="1105745" y="277242"/>
                          <a:pt x="1091457" y="237839"/>
                          <a:pt x="1087171" y="225660"/>
                        </a:cubicBezTo>
                        <a:cubicBezTo>
                          <a:pt x="1076455" y="218496"/>
                          <a:pt x="1073598" y="207034"/>
                          <a:pt x="1072169" y="200586"/>
                        </a:cubicBezTo>
                        <a:cubicBezTo>
                          <a:pt x="1072169" y="200586"/>
                          <a:pt x="1072169" y="200586"/>
                          <a:pt x="1072169" y="199870"/>
                        </a:cubicBezTo>
                        <a:cubicBezTo>
                          <a:pt x="1072169" y="199870"/>
                          <a:pt x="1072169" y="199870"/>
                          <a:pt x="1084314" y="205601"/>
                        </a:cubicBezTo>
                        <a:cubicBezTo>
                          <a:pt x="1085742" y="209899"/>
                          <a:pt x="1088600" y="214198"/>
                          <a:pt x="1094315" y="217064"/>
                        </a:cubicBezTo>
                        <a:cubicBezTo>
                          <a:pt x="1095029" y="217780"/>
                          <a:pt x="1095029" y="218496"/>
                          <a:pt x="1095744" y="219929"/>
                        </a:cubicBezTo>
                        <a:cubicBezTo>
                          <a:pt x="1103602" y="242138"/>
                          <a:pt x="1118604" y="278675"/>
                          <a:pt x="1124319" y="284406"/>
                        </a:cubicBezTo>
                        <a:cubicBezTo>
                          <a:pt x="1133605" y="293003"/>
                          <a:pt x="1158609" y="310197"/>
                          <a:pt x="1171467" y="310197"/>
                        </a:cubicBezTo>
                        <a:cubicBezTo>
                          <a:pt x="1185755" y="310197"/>
                          <a:pt x="1210044" y="293003"/>
                          <a:pt x="1219330" y="284406"/>
                        </a:cubicBezTo>
                        <a:cubicBezTo>
                          <a:pt x="1225760" y="278675"/>
                          <a:pt x="1240047" y="242138"/>
                          <a:pt x="1247905" y="219929"/>
                        </a:cubicBezTo>
                        <a:cubicBezTo>
                          <a:pt x="1248620" y="218496"/>
                          <a:pt x="1249334" y="217780"/>
                          <a:pt x="1250049" y="217064"/>
                        </a:cubicBezTo>
                        <a:cubicBezTo>
                          <a:pt x="1255764" y="213481"/>
                          <a:pt x="1258621" y="209183"/>
                          <a:pt x="1260050" y="204168"/>
                        </a:cubicBezTo>
                        <a:cubicBezTo>
                          <a:pt x="1260050" y="204168"/>
                          <a:pt x="1260050" y="204168"/>
                          <a:pt x="1271480" y="198437"/>
                        </a:cubicBezTo>
                        <a:close/>
                        <a:moveTo>
                          <a:pt x="603826" y="114300"/>
                        </a:moveTo>
                        <a:cubicBezTo>
                          <a:pt x="603826" y="114300"/>
                          <a:pt x="643771" y="147875"/>
                          <a:pt x="662317" y="162877"/>
                        </a:cubicBezTo>
                        <a:cubicBezTo>
                          <a:pt x="663031" y="163592"/>
                          <a:pt x="664457" y="163592"/>
                          <a:pt x="665171" y="162877"/>
                        </a:cubicBezTo>
                        <a:cubicBezTo>
                          <a:pt x="690850" y="142875"/>
                          <a:pt x="724376" y="114300"/>
                          <a:pt x="724376" y="114300"/>
                        </a:cubicBezTo>
                        <a:cubicBezTo>
                          <a:pt x="724376" y="114300"/>
                          <a:pt x="775734" y="115014"/>
                          <a:pt x="804267" y="128587"/>
                        </a:cubicBezTo>
                        <a:cubicBezTo>
                          <a:pt x="827093" y="139303"/>
                          <a:pt x="843499" y="179308"/>
                          <a:pt x="849205" y="194310"/>
                        </a:cubicBezTo>
                        <a:cubicBezTo>
                          <a:pt x="849919" y="197167"/>
                          <a:pt x="847779" y="200025"/>
                          <a:pt x="844926" y="200025"/>
                        </a:cubicBezTo>
                        <a:cubicBezTo>
                          <a:pt x="844926" y="200025"/>
                          <a:pt x="844926" y="200025"/>
                          <a:pt x="482562" y="200025"/>
                        </a:cubicBezTo>
                        <a:cubicBezTo>
                          <a:pt x="478996" y="200025"/>
                          <a:pt x="476856" y="197167"/>
                          <a:pt x="478282" y="194310"/>
                        </a:cubicBezTo>
                        <a:cubicBezTo>
                          <a:pt x="483989" y="179308"/>
                          <a:pt x="500395" y="139303"/>
                          <a:pt x="523221" y="128587"/>
                        </a:cubicBezTo>
                        <a:cubicBezTo>
                          <a:pt x="551040" y="115014"/>
                          <a:pt x="603826" y="114300"/>
                          <a:pt x="603826" y="114300"/>
                        </a:cubicBezTo>
                        <a:close/>
                        <a:moveTo>
                          <a:pt x="1170237" y="50800"/>
                        </a:moveTo>
                        <a:cubicBezTo>
                          <a:pt x="1228793" y="50800"/>
                          <a:pt x="1273781" y="93710"/>
                          <a:pt x="1273781" y="148062"/>
                        </a:cubicBezTo>
                        <a:cubicBezTo>
                          <a:pt x="1273781" y="159505"/>
                          <a:pt x="1273781" y="170232"/>
                          <a:pt x="1270211" y="180244"/>
                        </a:cubicBezTo>
                        <a:cubicBezTo>
                          <a:pt x="1269497" y="180244"/>
                          <a:pt x="1268068" y="185251"/>
                          <a:pt x="1259499" y="194548"/>
                        </a:cubicBezTo>
                        <a:cubicBezTo>
                          <a:pt x="1259499" y="195263"/>
                          <a:pt x="1258785" y="195263"/>
                          <a:pt x="1258071" y="195263"/>
                        </a:cubicBezTo>
                        <a:cubicBezTo>
                          <a:pt x="1258071" y="195263"/>
                          <a:pt x="1258071" y="195263"/>
                          <a:pt x="1253072" y="195263"/>
                        </a:cubicBezTo>
                        <a:cubicBezTo>
                          <a:pt x="1252358" y="195263"/>
                          <a:pt x="1251644" y="194548"/>
                          <a:pt x="1251644" y="193117"/>
                        </a:cubicBezTo>
                        <a:cubicBezTo>
                          <a:pt x="1251644" y="188826"/>
                          <a:pt x="1250930" y="174523"/>
                          <a:pt x="1250216" y="128038"/>
                        </a:cubicBezTo>
                        <a:cubicBezTo>
                          <a:pt x="1250216" y="126607"/>
                          <a:pt x="1248074" y="125177"/>
                          <a:pt x="1246645" y="126607"/>
                        </a:cubicBezTo>
                        <a:cubicBezTo>
                          <a:pt x="1232363" y="137335"/>
                          <a:pt x="1199515" y="134474"/>
                          <a:pt x="1195944" y="133759"/>
                        </a:cubicBezTo>
                        <a:cubicBezTo>
                          <a:pt x="1195944" y="133759"/>
                          <a:pt x="1195944" y="133759"/>
                          <a:pt x="1153812" y="138765"/>
                        </a:cubicBezTo>
                        <a:cubicBezTo>
                          <a:pt x="1151670" y="138765"/>
                          <a:pt x="1150242" y="137335"/>
                          <a:pt x="1151670" y="135904"/>
                        </a:cubicBezTo>
                        <a:cubicBezTo>
                          <a:pt x="1153812" y="133044"/>
                          <a:pt x="1155241" y="129468"/>
                          <a:pt x="1156669" y="126607"/>
                        </a:cubicBezTo>
                        <a:cubicBezTo>
                          <a:pt x="1157383" y="124462"/>
                          <a:pt x="1155241" y="123031"/>
                          <a:pt x="1153812" y="123747"/>
                        </a:cubicBezTo>
                        <a:cubicBezTo>
                          <a:pt x="1141673" y="133044"/>
                          <a:pt x="1121678" y="143056"/>
                          <a:pt x="1114537" y="146632"/>
                        </a:cubicBezTo>
                        <a:cubicBezTo>
                          <a:pt x="1113109" y="148062"/>
                          <a:pt x="1110966" y="146632"/>
                          <a:pt x="1111680" y="145201"/>
                        </a:cubicBezTo>
                        <a:cubicBezTo>
                          <a:pt x="1111680" y="145201"/>
                          <a:pt x="1111680" y="145201"/>
                          <a:pt x="1113823" y="130898"/>
                        </a:cubicBezTo>
                        <a:cubicBezTo>
                          <a:pt x="1113823" y="129468"/>
                          <a:pt x="1112395" y="128753"/>
                          <a:pt x="1110966" y="129468"/>
                        </a:cubicBezTo>
                        <a:cubicBezTo>
                          <a:pt x="1086687" y="139480"/>
                          <a:pt x="1088115" y="181675"/>
                          <a:pt x="1088115" y="191687"/>
                        </a:cubicBezTo>
                        <a:cubicBezTo>
                          <a:pt x="1088115" y="193117"/>
                          <a:pt x="1087401" y="193833"/>
                          <a:pt x="1085973" y="193833"/>
                        </a:cubicBezTo>
                        <a:cubicBezTo>
                          <a:pt x="1085973" y="193833"/>
                          <a:pt x="1085973" y="193833"/>
                          <a:pt x="1083116" y="193117"/>
                        </a:cubicBezTo>
                        <a:cubicBezTo>
                          <a:pt x="1082402" y="193117"/>
                          <a:pt x="1080974" y="193117"/>
                          <a:pt x="1080974" y="192402"/>
                        </a:cubicBezTo>
                        <a:cubicBezTo>
                          <a:pt x="1080260" y="190972"/>
                          <a:pt x="1078118" y="187396"/>
                          <a:pt x="1071691" y="180960"/>
                        </a:cubicBezTo>
                        <a:cubicBezTo>
                          <a:pt x="1067406" y="170232"/>
                          <a:pt x="1067406" y="159505"/>
                          <a:pt x="1067406" y="148062"/>
                        </a:cubicBezTo>
                        <a:cubicBezTo>
                          <a:pt x="1067406" y="93710"/>
                          <a:pt x="1112395" y="50800"/>
                          <a:pt x="1170237" y="50800"/>
                        </a:cubicBezTo>
                        <a:close/>
                        <a:moveTo>
                          <a:pt x="182375" y="50800"/>
                        </a:moveTo>
                        <a:cubicBezTo>
                          <a:pt x="238052" y="50800"/>
                          <a:pt x="281594" y="97090"/>
                          <a:pt x="281594" y="153349"/>
                        </a:cubicBezTo>
                        <a:cubicBezTo>
                          <a:pt x="281594" y="165456"/>
                          <a:pt x="281594" y="177562"/>
                          <a:pt x="277311" y="188245"/>
                        </a:cubicBezTo>
                        <a:cubicBezTo>
                          <a:pt x="277311" y="188957"/>
                          <a:pt x="277311" y="188957"/>
                          <a:pt x="277311" y="188957"/>
                        </a:cubicBezTo>
                        <a:cubicBezTo>
                          <a:pt x="267318" y="196791"/>
                          <a:pt x="267318" y="201776"/>
                          <a:pt x="267318" y="201776"/>
                        </a:cubicBezTo>
                        <a:cubicBezTo>
                          <a:pt x="260893" y="201776"/>
                          <a:pt x="260893" y="201776"/>
                          <a:pt x="260893" y="201776"/>
                        </a:cubicBezTo>
                        <a:cubicBezTo>
                          <a:pt x="260893" y="201776"/>
                          <a:pt x="265890" y="141955"/>
                          <a:pt x="236624" y="132697"/>
                        </a:cubicBezTo>
                        <a:cubicBezTo>
                          <a:pt x="236624" y="132697"/>
                          <a:pt x="118132" y="185396"/>
                          <a:pt x="106711" y="127712"/>
                        </a:cubicBezTo>
                        <a:cubicBezTo>
                          <a:pt x="105284" y="198927"/>
                          <a:pt x="105284" y="203200"/>
                          <a:pt x="105284" y="203200"/>
                        </a:cubicBezTo>
                        <a:cubicBezTo>
                          <a:pt x="98146" y="203200"/>
                          <a:pt x="98146" y="203200"/>
                          <a:pt x="98146" y="203200"/>
                        </a:cubicBezTo>
                        <a:cubicBezTo>
                          <a:pt x="89580" y="191805"/>
                          <a:pt x="87439" y="187533"/>
                          <a:pt x="87439" y="187533"/>
                        </a:cubicBezTo>
                        <a:cubicBezTo>
                          <a:pt x="83156" y="176850"/>
                          <a:pt x="83870" y="164744"/>
                          <a:pt x="83870" y="153349"/>
                        </a:cubicBezTo>
                        <a:cubicBezTo>
                          <a:pt x="83870" y="97090"/>
                          <a:pt x="126698" y="50800"/>
                          <a:pt x="182375" y="50800"/>
                        </a:cubicBezTo>
                        <a:close/>
                        <a:moveTo>
                          <a:pt x="764194" y="0"/>
                        </a:moveTo>
                        <a:cubicBezTo>
                          <a:pt x="764194" y="715"/>
                          <a:pt x="764194" y="715"/>
                          <a:pt x="764194" y="715"/>
                        </a:cubicBezTo>
                        <a:cubicBezTo>
                          <a:pt x="763475" y="5723"/>
                          <a:pt x="760599" y="17168"/>
                          <a:pt x="749814" y="23607"/>
                        </a:cubicBezTo>
                        <a:cubicBezTo>
                          <a:pt x="744781" y="35052"/>
                          <a:pt x="728245" y="74397"/>
                          <a:pt x="719617" y="86558"/>
                        </a:cubicBezTo>
                        <a:cubicBezTo>
                          <a:pt x="719617" y="86558"/>
                          <a:pt x="719617" y="86558"/>
                          <a:pt x="719617" y="106588"/>
                        </a:cubicBezTo>
                        <a:cubicBezTo>
                          <a:pt x="719617" y="106588"/>
                          <a:pt x="719617" y="106588"/>
                          <a:pt x="718179" y="108734"/>
                        </a:cubicBezTo>
                        <a:cubicBezTo>
                          <a:pt x="718179" y="108734"/>
                          <a:pt x="715303" y="112311"/>
                          <a:pt x="710270" y="115888"/>
                        </a:cubicBezTo>
                        <a:cubicBezTo>
                          <a:pt x="710270" y="115888"/>
                          <a:pt x="710270" y="115888"/>
                          <a:pt x="710270" y="93712"/>
                        </a:cubicBezTo>
                        <a:cubicBezTo>
                          <a:pt x="698048" y="103011"/>
                          <a:pt x="677916" y="113742"/>
                          <a:pt x="664256" y="113742"/>
                        </a:cubicBezTo>
                        <a:cubicBezTo>
                          <a:pt x="650595" y="113742"/>
                          <a:pt x="631183" y="103011"/>
                          <a:pt x="618960" y="93712"/>
                        </a:cubicBezTo>
                        <a:cubicBezTo>
                          <a:pt x="618960" y="93712"/>
                          <a:pt x="618960" y="93712"/>
                          <a:pt x="618960" y="115888"/>
                        </a:cubicBezTo>
                        <a:cubicBezTo>
                          <a:pt x="613927" y="112311"/>
                          <a:pt x="611770" y="108734"/>
                          <a:pt x="611051" y="108734"/>
                        </a:cubicBezTo>
                        <a:cubicBezTo>
                          <a:pt x="611051" y="108734"/>
                          <a:pt x="611051" y="108734"/>
                          <a:pt x="609613" y="106588"/>
                        </a:cubicBezTo>
                        <a:cubicBezTo>
                          <a:pt x="609613" y="106588"/>
                          <a:pt x="609613" y="106588"/>
                          <a:pt x="609613" y="86558"/>
                        </a:cubicBezTo>
                        <a:cubicBezTo>
                          <a:pt x="600986" y="74397"/>
                          <a:pt x="584449" y="35052"/>
                          <a:pt x="580135" y="23607"/>
                        </a:cubicBezTo>
                        <a:cubicBezTo>
                          <a:pt x="569351" y="17168"/>
                          <a:pt x="567194" y="7153"/>
                          <a:pt x="565756" y="1431"/>
                        </a:cubicBezTo>
                        <a:cubicBezTo>
                          <a:pt x="565756" y="715"/>
                          <a:pt x="565756" y="715"/>
                          <a:pt x="565756" y="715"/>
                        </a:cubicBezTo>
                        <a:cubicBezTo>
                          <a:pt x="565756" y="715"/>
                          <a:pt x="565756" y="715"/>
                          <a:pt x="575821" y="5723"/>
                        </a:cubicBezTo>
                        <a:cubicBezTo>
                          <a:pt x="577259" y="9300"/>
                          <a:pt x="580135" y="13592"/>
                          <a:pt x="585887" y="15738"/>
                        </a:cubicBezTo>
                        <a:cubicBezTo>
                          <a:pt x="586606" y="16453"/>
                          <a:pt x="587325" y="17168"/>
                          <a:pt x="588044" y="18599"/>
                        </a:cubicBezTo>
                        <a:cubicBezTo>
                          <a:pt x="596672" y="39345"/>
                          <a:pt x="611770" y="75828"/>
                          <a:pt x="617522" y="81551"/>
                        </a:cubicBezTo>
                        <a:cubicBezTo>
                          <a:pt x="627588" y="89420"/>
                          <a:pt x="650595" y="104442"/>
                          <a:pt x="664256" y="104442"/>
                        </a:cubicBezTo>
                        <a:cubicBezTo>
                          <a:pt x="677916" y="104442"/>
                          <a:pt x="702362" y="89420"/>
                          <a:pt x="711708" y="81551"/>
                        </a:cubicBezTo>
                        <a:cubicBezTo>
                          <a:pt x="717460" y="75828"/>
                          <a:pt x="732559" y="39345"/>
                          <a:pt x="741186" y="18599"/>
                        </a:cubicBezTo>
                        <a:cubicBezTo>
                          <a:pt x="741905" y="17168"/>
                          <a:pt x="742624" y="16453"/>
                          <a:pt x="743343" y="15738"/>
                        </a:cubicBezTo>
                        <a:cubicBezTo>
                          <a:pt x="749095" y="13592"/>
                          <a:pt x="751971" y="9300"/>
                          <a:pt x="753409" y="5723"/>
                        </a:cubicBezTo>
                        <a:cubicBezTo>
                          <a:pt x="753409" y="5723"/>
                          <a:pt x="753409" y="5723"/>
                          <a:pt x="764194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48" name="Freeform 47"/>
                  <p:cNvSpPr>
                    <a:spLocks/>
                  </p:cNvSpPr>
                  <p:nvPr/>
                </p:nvSpPr>
                <p:spPr bwMode="auto">
                  <a:xfrm>
                    <a:off x="6603395" y="2776538"/>
                    <a:ext cx="1348393" cy="1019175"/>
                  </a:xfrm>
                  <a:custGeom>
                    <a:avLst/>
                    <a:gdLst>
                      <a:gd name="connsiteX0" fmla="*/ 691518 w 1348393"/>
                      <a:gd name="connsiteY0" fmla="*/ 855662 h 1019175"/>
                      <a:gd name="connsiteX1" fmla="*/ 709707 w 1348393"/>
                      <a:gd name="connsiteY1" fmla="*/ 859965 h 1019175"/>
                      <a:gd name="connsiteX2" fmla="*/ 711106 w 1348393"/>
                      <a:gd name="connsiteY2" fmla="*/ 864985 h 1019175"/>
                      <a:gd name="connsiteX3" fmla="*/ 699213 w 1348393"/>
                      <a:gd name="connsiteY3" fmla="*/ 899409 h 1019175"/>
                      <a:gd name="connsiteX4" fmla="*/ 699213 w 1348393"/>
                      <a:gd name="connsiteY4" fmla="*/ 902278 h 1019175"/>
                      <a:gd name="connsiteX5" fmla="*/ 709707 w 1348393"/>
                      <a:gd name="connsiteY5" fmla="*/ 1014872 h 1019175"/>
                      <a:gd name="connsiteX6" fmla="*/ 706908 w 1348393"/>
                      <a:gd name="connsiteY6" fmla="*/ 1017741 h 1019175"/>
                      <a:gd name="connsiteX7" fmla="*/ 690818 w 1348393"/>
                      <a:gd name="connsiteY7" fmla="*/ 1019175 h 1019175"/>
                      <a:gd name="connsiteX8" fmla="*/ 674728 w 1348393"/>
                      <a:gd name="connsiteY8" fmla="*/ 1017741 h 1019175"/>
                      <a:gd name="connsiteX9" fmla="*/ 671929 w 1348393"/>
                      <a:gd name="connsiteY9" fmla="*/ 1014872 h 1019175"/>
                      <a:gd name="connsiteX10" fmla="*/ 683123 w 1348393"/>
                      <a:gd name="connsiteY10" fmla="*/ 900843 h 1019175"/>
                      <a:gd name="connsiteX11" fmla="*/ 683123 w 1348393"/>
                      <a:gd name="connsiteY11" fmla="*/ 899409 h 1019175"/>
                      <a:gd name="connsiteX12" fmla="*/ 670530 w 1348393"/>
                      <a:gd name="connsiteY12" fmla="*/ 864985 h 1019175"/>
                      <a:gd name="connsiteX13" fmla="*/ 671929 w 1348393"/>
                      <a:gd name="connsiteY13" fmla="*/ 859965 h 1019175"/>
                      <a:gd name="connsiteX14" fmla="*/ 691518 w 1348393"/>
                      <a:gd name="connsiteY14" fmla="*/ 855662 h 1019175"/>
                      <a:gd name="connsiteX15" fmla="*/ 192693 w 1348393"/>
                      <a:gd name="connsiteY15" fmla="*/ 687387 h 1019175"/>
                      <a:gd name="connsiteX16" fmla="*/ 291118 w 1348393"/>
                      <a:gd name="connsiteY16" fmla="*/ 786632 h 1019175"/>
                      <a:gd name="connsiteX17" fmla="*/ 285412 w 1348393"/>
                      <a:gd name="connsiteY17" fmla="*/ 827330 h 1019175"/>
                      <a:gd name="connsiteX18" fmla="*/ 247611 w 1348393"/>
                      <a:gd name="connsiteY18" fmla="*/ 767355 h 1019175"/>
                      <a:gd name="connsiteX19" fmla="*/ 246185 w 1348393"/>
                      <a:gd name="connsiteY19" fmla="*/ 767355 h 1019175"/>
                      <a:gd name="connsiteX20" fmla="*/ 117091 w 1348393"/>
                      <a:gd name="connsiteY20" fmla="*/ 835898 h 1019175"/>
                      <a:gd name="connsiteX21" fmla="*/ 116378 w 1348393"/>
                      <a:gd name="connsiteY21" fmla="*/ 835898 h 1019175"/>
                      <a:gd name="connsiteX22" fmla="*/ 109959 w 1348393"/>
                      <a:gd name="connsiteY22" fmla="*/ 835898 h 1019175"/>
                      <a:gd name="connsiteX23" fmla="*/ 108532 w 1348393"/>
                      <a:gd name="connsiteY23" fmla="*/ 835184 h 1019175"/>
                      <a:gd name="connsiteX24" fmla="*/ 97834 w 1348393"/>
                      <a:gd name="connsiteY24" fmla="*/ 820190 h 1019175"/>
                      <a:gd name="connsiteX25" fmla="*/ 94268 w 1348393"/>
                      <a:gd name="connsiteY25" fmla="*/ 786632 h 1019175"/>
                      <a:gd name="connsiteX26" fmla="*/ 192693 w 1348393"/>
                      <a:gd name="connsiteY26" fmla="*/ 687387 h 1019175"/>
                      <a:gd name="connsiteX27" fmla="*/ 1105315 w 1348393"/>
                      <a:gd name="connsiteY27" fmla="*/ 476250 h 1019175"/>
                      <a:gd name="connsiteX28" fmla="*/ 1178454 w 1348393"/>
                      <a:gd name="connsiteY28" fmla="*/ 510102 h 1019175"/>
                      <a:gd name="connsiteX29" fmla="*/ 1248724 w 1348393"/>
                      <a:gd name="connsiteY29" fmla="*/ 476250 h 1019175"/>
                      <a:gd name="connsiteX30" fmla="*/ 1348393 w 1348393"/>
                      <a:gd name="connsiteY30" fmla="*/ 546836 h 1019175"/>
                      <a:gd name="connsiteX31" fmla="*/ 1348393 w 1348393"/>
                      <a:gd name="connsiteY31" fmla="*/ 548276 h 1019175"/>
                      <a:gd name="connsiteX32" fmla="*/ 1343374 w 1348393"/>
                      <a:gd name="connsiteY32" fmla="*/ 554038 h 1019175"/>
                      <a:gd name="connsiteX33" fmla="*/ 1012817 w 1348393"/>
                      <a:gd name="connsiteY33" fmla="*/ 554038 h 1019175"/>
                      <a:gd name="connsiteX34" fmla="*/ 1007797 w 1348393"/>
                      <a:gd name="connsiteY34" fmla="*/ 548276 h 1019175"/>
                      <a:gd name="connsiteX35" fmla="*/ 1008514 w 1348393"/>
                      <a:gd name="connsiteY35" fmla="*/ 543234 h 1019175"/>
                      <a:gd name="connsiteX36" fmla="*/ 1105315 w 1348393"/>
                      <a:gd name="connsiteY36" fmla="*/ 476250 h 1019175"/>
                      <a:gd name="connsiteX37" fmla="*/ 690450 w 1348393"/>
                      <a:gd name="connsiteY37" fmla="*/ 468312 h 1019175"/>
                      <a:gd name="connsiteX38" fmla="*/ 825387 w 1348393"/>
                      <a:gd name="connsiteY38" fmla="*/ 607562 h 1019175"/>
                      <a:gd name="connsiteX39" fmla="*/ 820363 w 1348393"/>
                      <a:gd name="connsiteY39" fmla="*/ 653978 h 1019175"/>
                      <a:gd name="connsiteX40" fmla="*/ 806008 w 1348393"/>
                      <a:gd name="connsiteY40" fmla="*/ 674687 h 1019175"/>
                      <a:gd name="connsiteX41" fmla="*/ 795960 w 1348393"/>
                      <a:gd name="connsiteY41" fmla="*/ 674687 h 1019175"/>
                      <a:gd name="connsiteX42" fmla="*/ 794524 w 1348393"/>
                      <a:gd name="connsiteY42" fmla="*/ 573285 h 1019175"/>
                      <a:gd name="connsiteX43" fmla="*/ 617239 w 1348393"/>
                      <a:gd name="connsiteY43" fmla="*/ 578998 h 1019175"/>
                      <a:gd name="connsiteX44" fmla="*/ 584223 w 1348393"/>
                      <a:gd name="connsiteY44" fmla="*/ 673259 h 1019175"/>
                      <a:gd name="connsiteX45" fmla="*/ 574892 w 1348393"/>
                      <a:gd name="connsiteY45" fmla="*/ 671831 h 1019175"/>
                      <a:gd name="connsiteX46" fmla="*/ 561254 w 1348393"/>
                      <a:gd name="connsiteY46" fmla="*/ 655406 h 1019175"/>
                      <a:gd name="connsiteX47" fmla="*/ 556948 w 1348393"/>
                      <a:gd name="connsiteY47" fmla="*/ 607562 h 1019175"/>
                      <a:gd name="connsiteX48" fmla="*/ 690450 w 1348393"/>
                      <a:gd name="connsiteY48" fmla="*/ 468312 h 1019175"/>
                      <a:gd name="connsiteX49" fmla="*/ 128400 w 1348393"/>
                      <a:gd name="connsiteY49" fmla="*/ 468312 h 1019175"/>
                      <a:gd name="connsiteX50" fmla="*/ 163427 w 1348393"/>
                      <a:gd name="connsiteY50" fmla="*/ 492601 h 1019175"/>
                      <a:gd name="connsiteX51" fmla="*/ 189875 w 1348393"/>
                      <a:gd name="connsiteY51" fmla="*/ 497602 h 1019175"/>
                      <a:gd name="connsiteX52" fmla="*/ 215609 w 1348393"/>
                      <a:gd name="connsiteY52" fmla="*/ 492601 h 1019175"/>
                      <a:gd name="connsiteX53" fmla="*/ 251350 w 1348393"/>
                      <a:gd name="connsiteY53" fmla="*/ 468312 h 1019175"/>
                      <a:gd name="connsiteX54" fmla="*/ 332840 w 1348393"/>
                      <a:gd name="connsiteY54" fmla="*/ 481885 h 1019175"/>
                      <a:gd name="connsiteX55" fmla="*/ 379303 w 1348393"/>
                      <a:gd name="connsiteY55" fmla="*/ 548322 h 1019175"/>
                      <a:gd name="connsiteX56" fmla="*/ 375014 w 1348393"/>
                      <a:gd name="connsiteY56" fmla="*/ 554037 h 1019175"/>
                      <a:gd name="connsiteX57" fmla="*/ 4736 w 1348393"/>
                      <a:gd name="connsiteY57" fmla="*/ 554037 h 1019175"/>
                      <a:gd name="connsiteX58" fmla="*/ 447 w 1348393"/>
                      <a:gd name="connsiteY58" fmla="*/ 548322 h 1019175"/>
                      <a:gd name="connsiteX59" fmla="*/ 46196 w 1348393"/>
                      <a:gd name="connsiteY59" fmla="*/ 481885 h 1019175"/>
                      <a:gd name="connsiteX60" fmla="*/ 128400 w 1348393"/>
                      <a:gd name="connsiteY60" fmla="*/ 468312 h 1019175"/>
                      <a:gd name="connsiteX61" fmla="*/ 759004 w 1348393"/>
                      <a:gd name="connsiteY61" fmla="*/ 188912 h 1019175"/>
                      <a:gd name="connsiteX62" fmla="*/ 783243 w 1348393"/>
                      <a:gd name="connsiteY62" fmla="*/ 240347 h 1019175"/>
                      <a:gd name="connsiteX63" fmla="*/ 734030 w 1348393"/>
                      <a:gd name="connsiteY63" fmla="*/ 257493 h 1019175"/>
                      <a:gd name="connsiteX64" fmla="*/ 734030 w 1348393"/>
                      <a:gd name="connsiteY64" fmla="*/ 239633 h 1019175"/>
                      <a:gd name="connsiteX65" fmla="*/ 752393 w 1348393"/>
                      <a:gd name="connsiteY65" fmla="*/ 205343 h 1019175"/>
                      <a:gd name="connsiteX66" fmla="*/ 759004 w 1348393"/>
                      <a:gd name="connsiteY66" fmla="*/ 188912 h 1019175"/>
                      <a:gd name="connsiteX67" fmla="*/ 580565 w 1348393"/>
                      <a:gd name="connsiteY67" fmla="*/ 188912 h 1019175"/>
                      <a:gd name="connsiteX68" fmla="*/ 587673 w 1348393"/>
                      <a:gd name="connsiteY68" fmla="*/ 206057 h 1019175"/>
                      <a:gd name="connsiteX69" fmla="*/ 605443 w 1348393"/>
                      <a:gd name="connsiteY69" fmla="*/ 240347 h 1019175"/>
                      <a:gd name="connsiteX70" fmla="*/ 605443 w 1348393"/>
                      <a:gd name="connsiteY70" fmla="*/ 257493 h 1019175"/>
                      <a:gd name="connsiteX71" fmla="*/ 557818 w 1348393"/>
                      <a:gd name="connsiteY71" fmla="*/ 241062 h 1019175"/>
                      <a:gd name="connsiteX72" fmla="*/ 580565 w 1348393"/>
                      <a:gd name="connsiteY72" fmla="*/ 188912 h 1019175"/>
                      <a:gd name="connsiteX73" fmla="*/ 671324 w 1348393"/>
                      <a:gd name="connsiteY73" fmla="*/ 0 h 1019175"/>
                      <a:gd name="connsiteX74" fmla="*/ 769824 w 1348393"/>
                      <a:gd name="connsiteY74" fmla="*/ 99959 h 1019175"/>
                      <a:gd name="connsiteX75" fmla="*/ 766229 w 1348393"/>
                      <a:gd name="connsiteY75" fmla="*/ 133517 h 1019175"/>
                      <a:gd name="connsiteX76" fmla="*/ 755445 w 1348393"/>
                      <a:gd name="connsiteY76" fmla="*/ 148511 h 1019175"/>
                      <a:gd name="connsiteX77" fmla="*/ 754007 w 1348393"/>
                      <a:gd name="connsiteY77" fmla="*/ 149225 h 1019175"/>
                      <a:gd name="connsiteX78" fmla="*/ 748255 w 1348393"/>
                      <a:gd name="connsiteY78" fmla="*/ 149225 h 1019175"/>
                      <a:gd name="connsiteX79" fmla="*/ 747536 w 1348393"/>
                      <a:gd name="connsiteY79" fmla="*/ 149225 h 1019175"/>
                      <a:gd name="connsiteX80" fmla="*/ 617401 w 1348393"/>
                      <a:gd name="connsiteY80" fmla="*/ 79968 h 1019175"/>
                      <a:gd name="connsiteX81" fmla="*/ 616682 w 1348393"/>
                      <a:gd name="connsiteY81" fmla="*/ 79968 h 1019175"/>
                      <a:gd name="connsiteX82" fmla="*/ 577138 w 1348393"/>
                      <a:gd name="connsiteY82" fmla="*/ 140657 h 1019175"/>
                      <a:gd name="connsiteX83" fmla="*/ 572105 w 1348393"/>
                      <a:gd name="connsiteY83" fmla="*/ 99959 h 1019175"/>
                      <a:gd name="connsiteX84" fmla="*/ 671324 w 1348393"/>
                      <a:gd name="connsiteY84" fmla="*/ 0 h 10191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</a:cxnLst>
                    <a:rect l="l" t="t" r="r" b="b"/>
                    <a:pathLst>
                      <a:path w="1348393" h="1019175">
                        <a:moveTo>
                          <a:pt x="691518" y="855662"/>
                        </a:moveTo>
                        <a:cubicBezTo>
                          <a:pt x="697814" y="855662"/>
                          <a:pt x="705509" y="857814"/>
                          <a:pt x="709707" y="859965"/>
                        </a:cubicBezTo>
                        <a:cubicBezTo>
                          <a:pt x="711106" y="859965"/>
                          <a:pt x="711805" y="862834"/>
                          <a:pt x="711106" y="864985"/>
                        </a:cubicBezTo>
                        <a:cubicBezTo>
                          <a:pt x="711106" y="864985"/>
                          <a:pt x="711106" y="864985"/>
                          <a:pt x="699213" y="899409"/>
                        </a:cubicBezTo>
                        <a:cubicBezTo>
                          <a:pt x="699213" y="900126"/>
                          <a:pt x="698513" y="900843"/>
                          <a:pt x="699213" y="902278"/>
                        </a:cubicBezTo>
                        <a:cubicBezTo>
                          <a:pt x="699213" y="902278"/>
                          <a:pt x="699213" y="894389"/>
                          <a:pt x="709707" y="1014872"/>
                        </a:cubicBezTo>
                        <a:cubicBezTo>
                          <a:pt x="709707" y="1016306"/>
                          <a:pt x="709007" y="1017741"/>
                          <a:pt x="706908" y="1017741"/>
                        </a:cubicBezTo>
                        <a:cubicBezTo>
                          <a:pt x="701312" y="1018458"/>
                          <a:pt x="696415" y="1019175"/>
                          <a:pt x="690818" y="1019175"/>
                        </a:cubicBezTo>
                        <a:cubicBezTo>
                          <a:pt x="685221" y="1019175"/>
                          <a:pt x="680324" y="1018458"/>
                          <a:pt x="674728" y="1017741"/>
                        </a:cubicBezTo>
                        <a:cubicBezTo>
                          <a:pt x="673329" y="1017741"/>
                          <a:pt x="671929" y="1016306"/>
                          <a:pt x="671929" y="1014872"/>
                        </a:cubicBezTo>
                        <a:cubicBezTo>
                          <a:pt x="673329" y="1004115"/>
                          <a:pt x="677526" y="963236"/>
                          <a:pt x="683123" y="900843"/>
                        </a:cubicBezTo>
                        <a:cubicBezTo>
                          <a:pt x="683123" y="900126"/>
                          <a:pt x="683123" y="900126"/>
                          <a:pt x="683123" y="899409"/>
                        </a:cubicBezTo>
                        <a:cubicBezTo>
                          <a:pt x="683123" y="899409"/>
                          <a:pt x="683123" y="899409"/>
                          <a:pt x="670530" y="864985"/>
                        </a:cubicBezTo>
                        <a:cubicBezTo>
                          <a:pt x="670530" y="862834"/>
                          <a:pt x="670530" y="859965"/>
                          <a:pt x="671929" y="859965"/>
                        </a:cubicBezTo>
                        <a:cubicBezTo>
                          <a:pt x="676127" y="857814"/>
                          <a:pt x="684522" y="855662"/>
                          <a:pt x="691518" y="855662"/>
                        </a:cubicBezTo>
                        <a:close/>
                        <a:moveTo>
                          <a:pt x="192693" y="687387"/>
                        </a:moveTo>
                        <a:cubicBezTo>
                          <a:pt x="248324" y="687387"/>
                          <a:pt x="291118" y="732369"/>
                          <a:pt x="291118" y="786632"/>
                        </a:cubicBezTo>
                        <a:cubicBezTo>
                          <a:pt x="291118" y="798770"/>
                          <a:pt x="289691" y="817334"/>
                          <a:pt x="285412" y="827330"/>
                        </a:cubicBezTo>
                        <a:cubicBezTo>
                          <a:pt x="276140" y="836612"/>
                          <a:pt x="276853" y="776637"/>
                          <a:pt x="247611" y="767355"/>
                        </a:cubicBezTo>
                        <a:cubicBezTo>
                          <a:pt x="246898" y="767355"/>
                          <a:pt x="246898" y="767355"/>
                          <a:pt x="246185" y="767355"/>
                        </a:cubicBezTo>
                        <a:cubicBezTo>
                          <a:pt x="117091" y="835898"/>
                          <a:pt x="117091" y="835898"/>
                          <a:pt x="117091" y="835898"/>
                        </a:cubicBezTo>
                        <a:cubicBezTo>
                          <a:pt x="116378" y="835898"/>
                          <a:pt x="116378" y="835898"/>
                          <a:pt x="116378" y="835898"/>
                        </a:cubicBezTo>
                        <a:cubicBezTo>
                          <a:pt x="109959" y="835898"/>
                          <a:pt x="109959" y="835898"/>
                          <a:pt x="109959" y="835898"/>
                        </a:cubicBezTo>
                        <a:cubicBezTo>
                          <a:pt x="109245" y="835898"/>
                          <a:pt x="109245" y="835898"/>
                          <a:pt x="108532" y="835184"/>
                        </a:cubicBezTo>
                        <a:cubicBezTo>
                          <a:pt x="99974" y="825188"/>
                          <a:pt x="97834" y="820190"/>
                          <a:pt x="97834" y="820190"/>
                        </a:cubicBezTo>
                        <a:cubicBezTo>
                          <a:pt x="94268" y="810194"/>
                          <a:pt x="94268" y="798770"/>
                          <a:pt x="94268" y="786632"/>
                        </a:cubicBezTo>
                        <a:cubicBezTo>
                          <a:pt x="94268" y="732369"/>
                          <a:pt x="137061" y="687387"/>
                          <a:pt x="192693" y="687387"/>
                        </a:cubicBezTo>
                        <a:close/>
                        <a:moveTo>
                          <a:pt x="1105315" y="476250"/>
                        </a:moveTo>
                        <a:cubicBezTo>
                          <a:pt x="1114637" y="485613"/>
                          <a:pt x="1133997" y="510102"/>
                          <a:pt x="1178454" y="510102"/>
                        </a:cubicBezTo>
                        <a:cubicBezTo>
                          <a:pt x="1220759" y="510102"/>
                          <a:pt x="1237968" y="489935"/>
                          <a:pt x="1248724" y="476250"/>
                        </a:cubicBezTo>
                        <a:cubicBezTo>
                          <a:pt x="1254460" y="476250"/>
                          <a:pt x="1340506" y="487054"/>
                          <a:pt x="1348393" y="546836"/>
                        </a:cubicBezTo>
                        <a:cubicBezTo>
                          <a:pt x="1348393" y="547556"/>
                          <a:pt x="1348393" y="547556"/>
                          <a:pt x="1348393" y="548276"/>
                        </a:cubicBezTo>
                        <a:cubicBezTo>
                          <a:pt x="1348393" y="551157"/>
                          <a:pt x="1346242" y="554038"/>
                          <a:pt x="1343374" y="554038"/>
                        </a:cubicBezTo>
                        <a:cubicBezTo>
                          <a:pt x="1343374" y="554038"/>
                          <a:pt x="1343374" y="554038"/>
                          <a:pt x="1012817" y="554038"/>
                        </a:cubicBezTo>
                        <a:cubicBezTo>
                          <a:pt x="1009948" y="554038"/>
                          <a:pt x="1007080" y="551157"/>
                          <a:pt x="1007797" y="548276"/>
                        </a:cubicBezTo>
                        <a:cubicBezTo>
                          <a:pt x="1007797" y="546836"/>
                          <a:pt x="1007797" y="544675"/>
                          <a:pt x="1008514" y="543234"/>
                        </a:cubicBezTo>
                        <a:cubicBezTo>
                          <a:pt x="1015685" y="478411"/>
                          <a:pt x="1099579" y="476250"/>
                          <a:pt x="1105315" y="476250"/>
                        </a:cubicBezTo>
                        <a:close/>
                        <a:moveTo>
                          <a:pt x="690450" y="468312"/>
                        </a:moveTo>
                        <a:cubicBezTo>
                          <a:pt x="767250" y="468312"/>
                          <a:pt x="825387" y="531153"/>
                          <a:pt x="825387" y="607562"/>
                        </a:cubicBezTo>
                        <a:cubicBezTo>
                          <a:pt x="825387" y="623986"/>
                          <a:pt x="826105" y="638982"/>
                          <a:pt x="820363" y="653978"/>
                        </a:cubicBezTo>
                        <a:cubicBezTo>
                          <a:pt x="820363" y="653978"/>
                          <a:pt x="817492" y="661119"/>
                          <a:pt x="806008" y="674687"/>
                        </a:cubicBezTo>
                        <a:cubicBezTo>
                          <a:pt x="806008" y="674687"/>
                          <a:pt x="806008" y="674687"/>
                          <a:pt x="795960" y="674687"/>
                        </a:cubicBezTo>
                        <a:cubicBezTo>
                          <a:pt x="795960" y="674687"/>
                          <a:pt x="795960" y="670403"/>
                          <a:pt x="794524" y="573285"/>
                        </a:cubicBezTo>
                        <a:cubicBezTo>
                          <a:pt x="779451" y="651122"/>
                          <a:pt x="617239" y="578998"/>
                          <a:pt x="617239" y="578998"/>
                        </a:cubicBezTo>
                        <a:cubicBezTo>
                          <a:pt x="577045" y="592566"/>
                          <a:pt x="584223" y="673259"/>
                          <a:pt x="584223" y="673259"/>
                        </a:cubicBezTo>
                        <a:cubicBezTo>
                          <a:pt x="584223" y="673259"/>
                          <a:pt x="584223" y="673259"/>
                          <a:pt x="574892" y="671831"/>
                        </a:cubicBezTo>
                        <a:cubicBezTo>
                          <a:pt x="574892" y="671831"/>
                          <a:pt x="574892" y="667546"/>
                          <a:pt x="561254" y="655406"/>
                        </a:cubicBezTo>
                        <a:cubicBezTo>
                          <a:pt x="556230" y="640410"/>
                          <a:pt x="556948" y="624700"/>
                          <a:pt x="556948" y="607562"/>
                        </a:cubicBezTo>
                        <a:cubicBezTo>
                          <a:pt x="556948" y="531153"/>
                          <a:pt x="614368" y="468312"/>
                          <a:pt x="690450" y="468312"/>
                        </a:cubicBezTo>
                        <a:close/>
                        <a:moveTo>
                          <a:pt x="128400" y="468312"/>
                        </a:moveTo>
                        <a:cubicBezTo>
                          <a:pt x="128400" y="468312"/>
                          <a:pt x="139838" y="484743"/>
                          <a:pt x="163427" y="492601"/>
                        </a:cubicBezTo>
                        <a:cubicBezTo>
                          <a:pt x="163427" y="492601"/>
                          <a:pt x="163427" y="492601"/>
                          <a:pt x="189875" y="497602"/>
                        </a:cubicBezTo>
                        <a:cubicBezTo>
                          <a:pt x="189875" y="497602"/>
                          <a:pt x="189875" y="497602"/>
                          <a:pt x="215609" y="492601"/>
                        </a:cubicBezTo>
                        <a:cubicBezTo>
                          <a:pt x="239198" y="484743"/>
                          <a:pt x="251350" y="468312"/>
                          <a:pt x="251350" y="468312"/>
                        </a:cubicBezTo>
                        <a:cubicBezTo>
                          <a:pt x="251350" y="468312"/>
                          <a:pt x="304961" y="469027"/>
                          <a:pt x="332840" y="481885"/>
                        </a:cubicBezTo>
                        <a:cubicBezTo>
                          <a:pt x="356429" y="492601"/>
                          <a:pt x="373584" y="532606"/>
                          <a:pt x="379303" y="548322"/>
                        </a:cubicBezTo>
                        <a:cubicBezTo>
                          <a:pt x="380018" y="551180"/>
                          <a:pt x="377873" y="554037"/>
                          <a:pt x="375014" y="554037"/>
                        </a:cubicBezTo>
                        <a:cubicBezTo>
                          <a:pt x="375014" y="554037"/>
                          <a:pt x="375014" y="554037"/>
                          <a:pt x="4736" y="554037"/>
                        </a:cubicBezTo>
                        <a:cubicBezTo>
                          <a:pt x="1162" y="554037"/>
                          <a:pt x="-982" y="551180"/>
                          <a:pt x="447" y="548322"/>
                        </a:cubicBezTo>
                        <a:cubicBezTo>
                          <a:pt x="6166" y="532606"/>
                          <a:pt x="22607" y="492601"/>
                          <a:pt x="46196" y="481885"/>
                        </a:cubicBezTo>
                        <a:cubicBezTo>
                          <a:pt x="74789" y="469027"/>
                          <a:pt x="128400" y="468312"/>
                          <a:pt x="128400" y="468312"/>
                        </a:cubicBezTo>
                        <a:close/>
                        <a:moveTo>
                          <a:pt x="759004" y="188912"/>
                        </a:moveTo>
                        <a:cubicBezTo>
                          <a:pt x="759739" y="207486"/>
                          <a:pt x="761208" y="238204"/>
                          <a:pt x="783243" y="240347"/>
                        </a:cubicBezTo>
                        <a:cubicBezTo>
                          <a:pt x="762677" y="260350"/>
                          <a:pt x="743579" y="259636"/>
                          <a:pt x="734030" y="257493"/>
                        </a:cubicBezTo>
                        <a:cubicBezTo>
                          <a:pt x="734030" y="257493"/>
                          <a:pt x="734030" y="257493"/>
                          <a:pt x="734030" y="239633"/>
                        </a:cubicBezTo>
                        <a:cubicBezTo>
                          <a:pt x="738437" y="233918"/>
                          <a:pt x="743579" y="224631"/>
                          <a:pt x="752393" y="205343"/>
                        </a:cubicBezTo>
                        <a:cubicBezTo>
                          <a:pt x="755331" y="198913"/>
                          <a:pt x="756800" y="193198"/>
                          <a:pt x="759004" y="188912"/>
                        </a:cubicBezTo>
                        <a:close/>
                        <a:moveTo>
                          <a:pt x="580565" y="188912"/>
                        </a:moveTo>
                        <a:cubicBezTo>
                          <a:pt x="582697" y="193913"/>
                          <a:pt x="585540" y="199628"/>
                          <a:pt x="587673" y="206057"/>
                        </a:cubicBezTo>
                        <a:cubicBezTo>
                          <a:pt x="596203" y="225346"/>
                          <a:pt x="601889" y="234632"/>
                          <a:pt x="605443" y="240347"/>
                        </a:cubicBezTo>
                        <a:cubicBezTo>
                          <a:pt x="605443" y="240347"/>
                          <a:pt x="605443" y="240347"/>
                          <a:pt x="605443" y="257493"/>
                        </a:cubicBezTo>
                        <a:cubicBezTo>
                          <a:pt x="596203" y="259636"/>
                          <a:pt x="577010" y="260350"/>
                          <a:pt x="557818" y="241062"/>
                        </a:cubicBezTo>
                        <a:cubicBezTo>
                          <a:pt x="578432" y="238919"/>
                          <a:pt x="579854" y="208200"/>
                          <a:pt x="580565" y="188912"/>
                        </a:cubicBezTo>
                        <a:close/>
                        <a:moveTo>
                          <a:pt x="671324" y="0"/>
                        </a:moveTo>
                        <a:cubicBezTo>
                          <a:pt x="725967" y="0"/>
                          <a:pt x="769824" y="44268"/>
                          <a:pt x="769824" y="99959"/>
                        </a:cubicBezTo>
                        <a:cubicBezTo>
                          <a:pt x="769824" y="111383"/>
                          <a:pt x="770543" y="122807"/>
                          <a:pt x="766229" y="133517"/>
                        </a:cubicBezTo>
                        <a:cubicBezTo>
                          <a:pt x="766229" y="133517"/>
                          <a:pt x="764791" y="138515"/>
                          <a:pt x="755445" y="148511"/>
                        </a:cubicBezTo>
                        <a:cubicBezTo>
                          <a:pt x="754726" y="149225"/>
                          <a:pt x="754726" y="149225"/>
                          <a:pt x="754007" y="149225"/>
                        </a:cubicBezTo>
                        <a:cubicBezTo>
                          <a:pt x="754007" y="149225"/>
                          <a:pt x="754007" y="149225"/>
                          <a:pt x="748255" y="149225"/>
                        </a:cubicBezTo>
                        <a:cubicBezTo>
                          <a:pt x="747536" y="149225"/>
                          <a:pt x="747536" y="149225"/>
                          <a:pt x="747536" y="149225"/>
                        </a:cubicBezTo>
                        <a:cubicBezTo>
                          <a:pt x="747536" y="149225"/>
                          <a:pt x="747536" y="149225"/>
                          <a:pt x="617401" y="79968"/>
                        </a:cubicBezTo>
                        <a:cubicBezTo>
                          <a:pt x="617401" y="79968"/>
                          <a:pt x="617401" y="79968"/>
                          <a:pt x="616682" y="79968"/>
                        </a:cubicBezTo>
                        <a:cubicBezTo>
                          <a:pt x="586485" y="89250"/>
                          <a:pt x="587204" y="149225"/>
                          <a:pt x="577138" y="140657"/>
                        </a:cubicBezTo>
                        <a:cubicBezTo>
                          <a:pt x="573543" y="129233"/>
                          <a:pt x="572105" y="111383"/>
                          <a:pt x="572105" y="99959"/>
                        </a:cubicBezTo>
                        <a:cubicBezTo>
                          <a:pt x="572105" y="44268"/>
                          <a:pt x="615244" y="0"/>
                          <a:pt x="671324" y="0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DA21A1-4A64-491C-82E5-BF367854A3A0}"/>
              </a:ext>
            </a:extLst>
          </p:cNvPr>
          <p:cNvGrpSpPr/>
          <p:nvPr/>
        </p:nvGrpSpPr>
        <p:grpSpPr>
          <a:xfrm>
            <a:off x="463124" y="3416724"/>
            <a:ext cx="11100076" cy="1136555"/>
            <a:chOff x="463274" y="4727742"/>
            <a:chExt cx="11100076" cy="1136555"/>
          </a:xfrm>
        </p:grpSpPr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B7A1410-24A1-4183-812A-F88F9F6D4948}"/>
                </a:ext>
              </a:extLst>
            </p:cNvPr>
            <p:cNvSpPr txBox="1"/>
            <p:nvPr/>
          </p:nvSpPr>
          <p:spPr>
            <a:xfrm>
              <a:off x="5363735" y="4880522"/>
              <a:ext cx="6199615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>
                <a:lnSpc>
                  <a:spcPct val="90000"/>
                </a:lnSpc>
                <a:buClr>
                  <a:schemeClr val="bg1"/>
                </a:buClr>
              </a:pPr>
              <a:r>
                <a:rPr lang="en-US" sz="1400" spc="-30">
                  <a:solidFill>
                    <a:srgbClr val="FFFFFF"/>
                  </a:solidFill>
                  <a:sym typeface="+mn-lt"/>
                </a:rPr>
                <a:t>"Employers come to us looking for skilled hires. It would be great to have a point person who knows the training pipeline of nearby programs. They can make those timely connections to fill immediate skilled hiring needs." </a:t>
              </a:r>
            </a:p>
            <a:p>
              <a:pPr marL="0" lvl="8" algn="r">
                <a:lnSpc>
                  <a:spcPct val="90000"/>
                </a:lnSpc>
                <a:buClr>
                  <a:schemeClr val="bg1"/>
                </a:buClr>
              </a:pPr>
              <a:r>
                <a:rPr lang="en-US" sz="1400" spc="-30">
                  <a:solidFill>
                    <a:srgbClr val="FFFFFF"/>
                  </a:solidFill>
                  <a:sym typeface="+mn-lt"/>
                </a:rPr>
                <a:t>		—BSR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5D6AE0F8-A971-4754-8F67-6D74161C0FFB}"/>
                </a:ext>
              </a:extLst>
            </p:cNvPr>
            <p:cNvSpPr txBox="1"/>
            <p:nvPr/>
          </p:nvSpPr>
          <p:spPr>
            <a:xfrm>
              <a:off x="1809690" y="4880522"/>
              <a:ext cx="2988231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>
                  <a:solidFill>
                    <a:srgbClr val="00269E"/>
                  </a:solidFill>
                  <a:sym typeface="+mn-lt"/>
                </a:rPr>
                <a:t>Market Makers provide employers timely visibility into upskilled talent pipeline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E28E9580-45AA-4E04-8E32-9DC13F1907FB}"/>
                </a:ext>
              </a:extLst>
            </p:cNvPr>
            <p:cNvGrpSpPr/>
            <p:nvPr/>
          </p:nvGrpSpPr>
          <p:grpSpPr>
            <a:xfrm>
              <a:off x="463274" y="4727742"/>
              <a:ext cx="1136555" cy="1136555"/>
              <a:chOff x="463274" y="4727742"/>
              <a:chExt cx="1136555" cy="1136555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D7BBB135-6D8D-427D-A893-E23C78336794}"/>
                  </a:ext>
                </a:extLst>
              </p:cNvPr>
              <p:cNvSpPr/>
              <p:nvPr/>
            </p:nvSpPr>
            <p:spPr>
              <a:xfrm>
                <a:off x="463274" y="4727742"/>
                <a:ext cx="1136555" cy="1136555"/>
              </a:xfrm>
              <a:prstGeom prst="ellipse">
                <a:avLst/>
              </a:prstGeom>
              <a:grpFill/>
              <a:ln w="36195">
                <a:gradFill flip="none" rotWithShape="1">
                  <a:gsLst>
                    <a:gs pos="0">
                      <a:schemeClr val="accent5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>
                  <a:solidFill>
                    <a:schemeClr val="bg1">
                      <a:lumMod val="50000"/>
                    </a:schemeClr>
                  </a:solidFill>
                  <a:sym typeface="+mn-lt"/>
                </a:endParaRPr>
              </a:p>
            </p:txBody>
          </p:sp>
          <p:grpSp>
            <p:nvGrpSpPr>
              <p:cNvPr id="57" name="Group 56"/>
              <p:cNvGrpSpPr>
                <a:grpSpLocks noChangeAspect="1"/>
              </p:cNvGrpSpPr>
              <p:nvPr/>
            </p:nvGrpSpPr>
            <p:grpSpPr>
              <a:xfrm>
                <a:off x="576655" y="4841123"/>
                <a:ext cx="909793" cy="909793"/>
                <a:chOff x="5273675" y="2606675"/>
                <a:chExt cx="1644650" cy="1644650"/>
              </a:xfrm>
            </p:grpSpPr>
            <p:sp>
              <p:nvSpPr>
                <p:cNvPr id="58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675" y="2606675"/>
                  <a:ext cx="1644650" cy="16446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59" name="Group 58"/>
                <p:cNvGrpSpPr/>
                <p:nvPr/>
              </p:nvGrpSpPr>
              <p:grpSpPr>
                <a:xfrm>
                  <a:off x="5530849" y="2840038"/>
                  <a:ext cx="1142076" cy="1238250"/>
                  <a:chOff x="5530849" y="2840038"/>
                  <a:chExt cx="1142076" cy="1238250"/>
                </a:xfrm>
              </p:grpSpPr>
              <p:sp>
                <p:nvSpPr>
                  <p:cNvPr id="60" name="Freeform 59"/>
                  <p:cNvSpPr>
                    <a:spLocks/>
                  </p:cNvSpPr>
                  <p:nvPr/>
                </p:nvSpPr>
                <p:spPr bwMode="auto">
                  <a:xfrm>
                    <a:off x="5756820" y="2840038"/>
                    <a:ext cx="866046" cy="949380"/>
                  </a:xfrm>
                  <a:custGeom>
                    <a:avLst/>
                    <a:gdLst>
                      <a:gd name="connsiteX0" fmla="*/ 542004 w 866046"/>
                      <a:gd name="connsiteY0" fmla="*/ 146050 h 949380"/>
                      <a:gd name="connsiteX1" fmla="*/ 860449 w 866046"/>
                      <a:gd name="connsiteY1" fmla="*/ 204612 h 949380"/>
                      <a:gd name="connsiteX2" fmla="*/ 799045 w 866046"/>
                      <a:gd name="connsiteY2" fmla="*/ 341731 h 949380"/>
                      <a:gd name="connsiteX3" fmla="*/ 796189 w 866046"/>
                      <a:gd name="connsiteY3" fmla="*/ 344588 h 949380"/>
                      <a:gd name="connsiteX4" fmla="*/ 514872 w 866046"/>
                      <a:gd name="connsiteY4" fmla="*/ 409577 h 949380"/>
                      <a:gd name="connsiteX5" fmla="*/ 418482 w 866046"/>
                      <a:gd name="connsiteY5" fmla="*/ 623826 h 949380"/>
                      <a:gd name="connsiteX6" fmla="*/ 349938 w 866046"/>
                      <a:gd name="connsiteY6" fmla="*/ 630253 h 949380"/>
                      <a:gd name="connsiteX7" fmla="*/ 346368 w 866046"/>
                      <a:gd name="connsiteY7" fmla="*/ 626683 h 949380"/>
                      <a:gd name="connsiteX8" fmla="*/ 216419 w 866046"/>
                      <a:gd name="connsiteY8" fmla="*/ 512416 h 949380"/>
                      <a:gd name="connsiteX9" fmla="*/ 215705 w 866046"/>
                      <a:gd name="connsiteY9" fmla="*/ 760945 h 949380"/>
                      <a:gd name="connsiteX10" fmla="*/ 216419 w 866046"/>
                      <a:gd name="connsiteY10" fmla="*/ 762374 h 949380"/>
                      <a:gd name="connsiteX11" fmla="*/ 216419 w 866046"/>
                      <a:gd name="connsiteY11" fmla="*/ 945200 h 949380"/>
                      <a:gd name="connsiteX12" fmla="*/ 209993 w 866046"/>
                      <a:gd name="connsiteY12" fmla="*/ 948056 h 949380"/>
                      <a:gd name="connsiteX13" fmla="*/ 2219 w 866046"/>
                      <a:gd name="connsiteY13" fmla="*/ 504561 h 949380"/>
                      <a:gd name="connsiteX14" fmla="*/ 12215 w 866046"/>
                      <a:gd name="connsiteY14" fmla="*/ 493134 h 949380"/>
                      <a:gd name="connsiteX15" fmla="*/ 42917 w 866046"/>
                      <a:gd name="connsiteY15" fmla="*/ 528842 h 949380"/>
                      <a:gd name="connsiteX16" fmla="*/ 70763 w 866046"/>
                      <a:gd name="connsiteY16" fmla="*/ 522415 h 949380"/>
                      <a:gd name="connsiteX17" fmla="*/ 103607 w 866046"/>
                      <a:gd name="connsiteY17" fmla="*/ 512416 h 949380"/>
                      <a:gd name="connsiteX18" fmla="*/ 135737 w 866046"/>
                      <a:gd name="connsiteY18" fmla="*/ 498133 h 949380"/>
                      <a:gd name="connsiteX19" fmla="*/ 161441 w 866046"/>
                      <a:gd name="connsiteY19" fmla="*/ 485278 h 949380"/>
                      <a:gd name="connsiteX20" fmla="*/ 162155 w 866046"/>
                      <a:gd name="connsiteY20" fmla="*/ 437429 h 949380"/>
                      <a:gd name="connsiteX21" fmla="*/ 208565 w 866046"/>
                      <a:gd name="connsiteY21" fmla="*/ 445285 h 949380"/>
                      <a:gd name="connsiteX22" fmla="*/ 225701 w 866046"/>
                      <a:gd name="connsiteY22" fmla="*/ 422432 h 949380"/>
                      <a:gd name="connsiteX23" fmla="*/ 244980 w 866046"/>
                      <a:gd name="connsiteY23" fmla="*/ 393151 h 949380"/>
                      <a:gd name="connsiteX24" fmla="*/ 260688 w 866046"/>
                      <a:gd name="connsiteY24" fmla="*/ 362442 h 949380"/>
                      <a:gd name="connsiteX25" fmla="*/ 272112 w 866046"/>
                      <a:gd name="connsiteY25" fmla="*/ 336018 h 949380"/>
                      <a:gd name="connsiteX26" fmla="*/ 244266 w 866046"/>
                      <a:gd name="connsiteY26" fmla="*/ 301738 h 949380"/>
                      <a:gd name="connsiteX27" fmla="*/ 244980 w 866046"/>
                      <a:gd name="connsiteY27" fmla="*/ 298167 h 949380"/>
                      <a:gd name="connsiteX28" fmla="*/ 280680 w 866046"/>
                      <a:gd name="connsiteY28" fmla="*/ 276742 h 949380"/>
                      <a:gd name="connsiteX29" fmla="*/ 302100 w 866046"/>
                      <a:gd name="connsiteY29" fmla="*/ 289597 h 949380"/>
                      <a:gd name="connsiteX30" fmla="*/ 317094 w 866046"/>
                      <a:gd name="connsiteY30" fmla="*/ 296739 h 949380"/>
                      <a:gd name="connsiteX31" fmla="*/ 339228 w 866046"/>
                      <a:gd name="connsiteY31" fmla="*/ 283170 h 949380"/>
                      <a:gd name="connsiteX32" fmla="*/ 372072 w 866046"/>
                      <a:gd name="connsiteY32" fmla="*/ 287455 h 949380"/>
                      <a:gd name="connsiteX33" fmla="*/ 392778 w 866046"/>
                      <a:gd name="connsiteY33" fmla="*/ 306023 h 949380"/>
                      <a:gd name="connsiteX34" fmla="*/ 408486 w 866046"/>
                      <a:gd name="connsiteY34" fmla="*/ 301738 h 949380"/>
                      <a:gd name="connsiteX35" fmla="*/ 439188 w 866046"/>
                      <a:gd name="connsiteY35" fmla="*/ 292454 h 949380"/>
                      <a:gd name="connsiteX36" fmla="*/ 440616 w 866046"/>
                      <a:gd name="connsiteY36" fmla="*/ 291740 h 949380"/>
                      <a:gd name="connsiteX37" fmla="*/ 442044 w 866046"/>
                      <a:gd name="connsiteY37" fmla="*/ 291025 h 949380"/>
                      <a:gd name="connsiteX38" fmla="*/ 469890 w 866046"/>
                      <a:gd name="connsiteY38" fmla="*/ 275314 h 949380"/>
                      <a:gd name="connsiteX39" fmla="*/ 484170 w 866046"/>
                      <a:gd name="connsiteY39" fmla="*/ 266030 h 949380"/>
                      <a:gd name="connsiteX40" fmla="*/ 484170 w 866046"/>
                      <a:gd name="connsiteY40" fmla="*/ 238891 h 949380"/>
                      <a:gd name="connsiteX41" fmla="*/ 504162 w 866046"/>
                      <a:gd name="connsiteY41" fmla="*/ 211039 h 949380"/>
                      <a:gd name="connsiteX42" fmla="*/ 528438 w 866046"/>
                      <a:gd name="connsiteY42" fmla="*/ 203897 h 949380"/>
                      <a:gd name="connsiteX43" fmla="*/ 533436 w 866046"/>
                      <a:gd name="connsiteY43" fmla="*/ 188900 h 949380"/>
                      <a:gd name="connsiteX44" fmla="*/ 542004 w 866046"/>
                      <a:gd name="connsiteY44" fmla="*/ 146050 h 949380"/>
                      <a:gd name="connsiteX45" fmla="*/ 373692 w 866046"/>
                      <a:gd name="connsiteY45" fmla="*/ 75905 h 949380"/>
                      <a:gd name="connsiteX46" fmla="*/ 350236 w 866046"/>
                      <a:gd name="connsiteY46" fmla="*/ 80491 h 949380"/>
                      <a:gd name="connsiteX47" fmla="*/ 315924 w 866046"/>
                      <a:gd name="connsiteY47" fmla="*/ 124371 h 949380"/>
                      <a:gd name="connsiteX48" fmla="*/ 318068 w 866046"/>
                      <a:gd name="connsiteY48" fmla="*/ 156741 h 949380"/>
                      <a:gd name="connsiteX49" fmla="*/ 319498 w 866046"/>
                      <a:gd name="connsiteY49" fmla="*/ 161057 h 949380"/>
                      <a:gd name="connsiteX50" fmla="*/ 399560 w 866046"/>
                      <a:gd name="connsiteY50" fmla="*/ 192708 h 949380"/>
                      <a:gd name="connsiteX51" fmla="*/ 435302 w 866046"/>
                      <a:gd name="connsiteY51" fmla="*/ 142354 h 949380"/>
                      <a:gd name="connsiteX52" fmla="*/ 430299 w 866046"/>
                      <a:gd name="connsiteY52" fmla="*/ 112142 h 949380"/>
                      <a:gd name="connsiteX53" fmla="*/ 429584 w 866046"/>
                      <a:gd name="connsiteY53" fmla="*/ 110703 h 949380"/>
                      <a:gd name="connsiteX54" fmla="*/ 373692 w 866046"/>
                      <a:gd name="connsiteY54" fmla="*/ 75905 h 949380"/>
                      <a:gd name="connsiteX55" fmla="*/ 347764 w 866046"/>
                      <a:gd name="connsiteY55" fmla="*/ 0 h 949380"/>
                      <a:gd name="connsiteX56" fmla="*/ 366274 w 866046"/>
                      <a:gd name="connsiteY56" fmla="*/ 15767 h 949380"/>
                      <a:gd name="connsiteX57" fmla="*/ 409701 w 866046"/>
                      <a:gd name="connsiteY57" fmla="*/ 21500 h 949380"/>
                      <a:gd name="connsiteX58" fmla="*/ 430346 w 866046"/>
                      <a:gd name="connsiteY58" fmla="*/ 10033 h 949380"/>
                      <a:gd name="connsiteX59" fmla="*/ 476621 w 866046"/>
                      <a:gd name="connsiteY59" fmla="*/ 44433 h 949380"/>
                      <a:gd name="connsiteX60" fmla="*/ 472350 w 866046"/>
                      <a:gd name="connsiteY60" fmla="*/ 66650 h 949380"/>
                      <a:gd name="connsiteX61" fmla="*/ 484452 w 866046"/>
                      <a:gd name="connsiteY61" fmla="*/ 88150 h 949380"/>
                      <a:gd name="connsiteX62" fmla="*/ 491572 w 866046"/>
                      <a:gd name="connsiteY62" fmla="*/ 109650 h 949380"/>
                      <a:gd name="connsiteX63" fmla="*/ 494419 w 866046"/>
                      <a:gd name="connsiteY63" fmla="*/ 111800 h 949380"/>
                      <a:gd name="connsiteX64" fmla="*/ 510793 w 866046"/>
                      <a:gd name="connsiteY64" fmla="*/ 121833 h 949380"/>
                      <a:gd name="connsiteX65" fmla="*/ 511505 w 866046"/>
                      <a:gd name="connsiteY65" fmla="*/ 144050 h 949380"/>
                      <a:gd name="connsiteX66" fmla="*/ 505098 w 866046"/>
                      <a:gd name="connsiteY66" fmla="*/ 179167 h 949380"/>
                      <a:gd name="connsiteX67" fmla="*/ 483740 w 866046"/>
                      <a:gd name="connsiteY67" fmla="*/ 186333 h 949380"/>
                      <a:gd name="connsiteX68" fmla="*/ 453840 w 866046"/>
                      <a:gd name="connsiteY68" fmla="*/ 227183 h 949380"/>
                      <a:gd name="connsiteX69" fmla="*/ 453840 w 866046"/>
                      <a:gd name="connsiteY69" fmla="*/ 250117 h 949380"/>
                      <a:gd name="connsiteX70" fmla="*/ 428923 w 866046"/>
                      <a:gd name="connsiteY70" fmla="*/ 264450 h 949380"/>
                      <a:gd name="connsiteX71" fmla="*/ 402582 w 866046"/>
                      <a:gd name="connsiteY71" fmla="*/ 273050 h 949380"/>
                      <a:gd name="connsiteX72" fmla="*/ 385495 w 866046"/>
                      <a:gd name="connsiteY72" fmla="*/ 257283 h 949380"/>
                      <a:gd name="connsiteX73" fmla="*/ 335661 w 866046"/>
                      <a:gd name="connsiteY73" fmla="*/ 250833 h 949380"/>
                      <a:gd name="connsiteX74" fmla="*/ 315727 w 866046"/>
                      <a:gd name="connsiteY74" fmla="*/ 262300 h 949380"/>
                      <a:gd name="connsiteX75" fmla="*/ 270164 w 866046"/>
                      <a:gd name="connsiteY75" fmla="*/ 227183 h 949380"/>
                      <a:gd name="connsiteX76" fmla="*/ 275860 w 866046"/>
                      <a:gd name="connsiteY76" fmla="*/ 204967 h 949380"/>
                      <a:gd name="connsiteX77" fmla="*/ 265181 w 866046"/>
                      <a:gd name="connsiteY77" fmla="*/ 184183 h 949380"/>
                      <a:gd name="connsiteX78" fmla="*/ 260909 w 866046"/>
                      <a:gd name="connsiteY78" fmla="*/ 174150 h 949380"/>
                      <a:gd name="connsiteX79" fmla="*/ 257350 w 866046"/>
                      <a:gd name="connsiteY79" fmla="*/ 160533 h 949380"/>
                      <a:gd name="connsiteX80" fmla="*/ 238840 w 866046"/>
                      <a:gd name="connsiteY80" fmla="*/ 149783 h 949380"/>
                      <a:gd name="connsiteX81" fmla="*/ 237416 w 866046"/>
                      <a:gd name="connsiteY81" fmla="*/ 149067 h 949380"/>
                      <a:gd name="connsiteX82" fmla="*/ 245247 w 866046"/>
                      <a:gd name="connsiteY82" fmla="*/ 89583 h 949380"/>
                      <a:gd name="connsiteX83" fmla="*/ 267317 w 866046"/>
                      <a:gd name="connsiteY83" fmla="*/ 82417 h 949380"/>
                      <a:gd name="connsiteX84" fmla="*/ 294370 w 866046"/>
                      <a:gd name="connsiteY84" fmla="*/ 47300 h 949380"/>
                      <a:gd name="connsiteX85" fmla="*/ 294370 w 866046"/>
                      <a:gd name="connsiteY85" fmla="*/ 23650 h 949380"/>
                      <a:gd name="connsiteX86" fmla="*/ 319999 w 866046"/>
                      <a:gd name="connsiteY86" fmla="*/ 9317 h 949380"/>
                      <a:gd name="connsiteX87" fmla="*/ 347764 w 866046"/>
                      <a:gd name="connsiteY87" fmla="*/ 0 h 9493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</a:cxnLst>
                    <a:rect l="l" t="t" r="r" b="b"/>
                    <a:pathLst>
                      <a:path w="866046" h="949380">
                        <a:moveTo>
                          <a:pt x="542004" y="146050"/>
                        </a:moveTo>
                        <a:cubicBezTo>
                          <a:pt x="681949" y="161762"/>
                          <a:pt x="655531" y="208182"/>
                          <a:pt x="860449" y="204612"/>
                        </a:cubicBezTo>
                        <a:cubicBezTo>
                          <a:pt x="886867" y="204612"/>
                          <a:pt x="811897" y="287455"/>
                          <a:pt x="799045" y="341731"/>
                        </a:cubicBezTo>
                        <a:cubicBezTo>
                          <a:pt x="798331" y="343159"/>
                          <a:pt x="797617" y="343874"/>
                          <a:pt x="796189" y="344588"/>
                        </a:cubicBezTo>
                        <a:cubicBezTo>
                          <a:pt x="768343" y="353872"/>
                          <a:pt x="616975" y="335304"/>
                          <a:pt x="514872" y="409577"/>
                        </a:cubicBezTo>
                        <a:cubicBezTo>
                          <a:pt x="459894" y="448856"/>
                          <a:pt x="418482" y="513845"/>
                          <a:pt x="418482" y="623826"/>
                        </a:cubicBezTo>
                        <a:cubicBezTo>
                          <a:pt x="418482" y="638823"/>
                          <a:pt x="363504" y="631682"/>
                          <a:pt x="349938" y="630253"/>
                        </a:cubicBezTo>
                        <a:cubicBezTo>
                          <a:pt x="348510" y="629539"/>
                          <a:pt x="347082" y="628825"/>
                          <a:pt x="346368" y="626683"/>
                        </a:cubicBezTo>
                        <a:cubicBezTo>
                          <a:pt x="343512" y="603829"/>
                          <a:pt x="318522" y="457426"/>
                          <a:pt x="216419" y="512416"/>
                        </a:cubicBezTo>
                        <a:cubicBezTo>
                          <a:pt x="119315" y="561694"/>
                          <a:pt x="209279" y="746662"/>
                          <a:pt x="215705" y="760945"/>
                        </a:cubicBezTo>
                        <a:cubicBezTo>
                          <a:pt x="216419" y="760945"/>
                          <a:pt x="216419" y="761660"/>
                          <a:pt x="216419" y="762374"/>
                        </a:cubicBezTo>
                        <a:cubicBezTo>
                          <a:pt x="216419" y="945200"/>
                          <a:pt x="216419" y="945200"/>
                          <a:pt x="216419" y="945200"/>
                        </a:cubicBezTo>
                        <a:cubicBezTo>
                          <a:pt x="216419" y="948771"/>
                          <a:pt x="212135" y="950913"/>
                          <a:pt x="209993" y="948056"/>
                        </a:cubicBezTo>
                        <a:cubicBezTo>
                          <a:pt x="170723" y="912348"/>
                          <a:pt x="-22771" y="720238"/>
                          <a:pt x="2219" y="504561"/>
                        </a:cubicBezTo>
                        <a:cubicBezTo>
                          <a:pt x="2219" y="504561"/>
                          <a:pt x="2219" y="504561"/>
                          <a:pt x="12215" y="493134"/>
                        </a:cubicBezTo>
                        <a:cubicBezTo>
                          <a:pt x="12215" y="493134"/>
                          <a:pt x="12215" y="493134"/>
                          <a:pt x="42917" y="528842"/>
                        </a:cubicBezTo>
                        <a:cubicBezTo>
                          <a:pt x="42917" y="528842"/>
                          <a:pt x="42917" y="528842"/>
                          <a:pt x="70763" y="522415"/>
                        </a:cubicBezTo>
                        <a:cubicBezTo>
                          <a:pt x="86471" y="518844"/>
                          <a:pt x="102893" y="512416"/>
                          <a:pt x="103607" y="512416"/>
                        </a:cubicBezTo>
                        <a:cubicBezTo>
                          <a:pt x="105035" y="511702"/>
                          <a:pt x="121457" y="505989"/>
                          <a:pt x="135737" y="498133"/>
                        </a:cubicBezTo>
                        <a:cubicBezTo>
                          <a:pt x="135737" y="498133"/>
                          <a:pt x="135737" y="498133"/>
                          <a:pt x="161441" y="485278"/>
                        </a:cubicBezTo>
                        <a:cubicBezTo>
                          <a:pt x="161441" y="485278"/>
                          <a:pt x="161441" y="485278"/>
                          <a:pt x="162155" y="437429"/>
                        </a:cubicBezTo>
                        <a:cubicBezTo>
                          <a:pt x="162155" y="437429"/>
                          <a:pt x="162155" y="437429"/>
                          <a:pt x="208565" y="445285"/>
                        </a:cubicBezTo>
                        <a:cubicBezTo>
                          <a:pt x="208565" y="445285"/>
                          <a:pt x="208565" y="445285"/>
                          <a:pt x="225701" y="422432"/>
                        </a:cubicBezTo>
                        <a:cubicBezTo>
                          <a:pt x="234983" y="410291"/>
                          <a:pt x="243552" y="395293"/>
                          <a:pt x="244980" y="393151"/>
                        </a:cubicBezTo>
                        <a:cubicBezTo>
                          <a:pt x="245694" y="391723"/>
                          <a:pt x="254262" y="376725"/>
                          <a:pt x="260688" y="362442"/>
                        </a:cubicBezTo>
                        <a:cubicBezTo>
                          <a:pt x="260688" y="362442"/>
                          <a:pt x="260688" y="362442"/>
                          <a:pt x="272112" y="336018"/>
                        </a:cubicBezTo>
                        <a:cubicBezTo>
                          <a:pt x="272112" y="336018"/>
                          <a:pt x="272112" y="336018"/>
                          <a:pt x="244266" y="301738"/>
                        </a:cubicBezTo>
                        <a:cubicBezTo>
                          <a:pt x="244266" y="300310"/>
                          <a:pt x="244266" y="298881"/>
                          <a:pt x="244980" y="298167"/>
                        </a:cubicBezTo>
                        <a:cubicBezTo>
                          <a:pt x="244980" y="298167"/>
                          <a:pt x="244980" y="298167"/>
                          <a:pt x="280680" y="276742"/>
                        </a:cubicBezTo>
                        <a:cubicBezTo>
                          <a:pt x="287106" y="281027"/>
                          <a:pt x="294246" y="285312"/>
                          <a:pt x="302100" y="289597"/>
                        </a:cubicBezTo>
                        <a:cubicBezTo>
                          <a:pt x="302100" y="289597"/>
                          <a:pt x="302100" y="289597"/>
                          <a:pt x="317094" y="296739"/>
                        </a:cubicBezTo>
                        <a:cubicBezTo>
                          <a:pt x="317094" y="296739"/>
                          <a:pt x="317094" y="296739"/>
                          <a:pt x="339228" y="283170"/>
                        </a:cubicBezTo>
                        <a:cubicBezTo>
                          <a:pt x="349938" y="286026"/>
                          <a:pt x="361362" y="287455"/>
                          <a:pt x="372072" y="287455"/>
                        </a:cubicBezTo>
                        <a:cubicBezTo>
                          <a:pt x="372072" y="287455"/>
                          <a:pt x="372072" y="287455"/>
                          <a:pt x="392778" y="306023"/>
                        </a:cubicBezTo>
                        <a:cubicBezTo>
                          <a:pt x="392778" y="306023"/>
                          <a:pt x="392778" y="306023"/>
                          <a:pt x="408486" y="301738"/>
                        </a:cubicBezTo>
                        <a:cubicBezTo>
                          <a:pt x="419196" y="299595"/>
                          <a:pt x="429906" y="296025"/>
                          <a:pt x="439188" y="292454"/>
                        </a:cubicBezTo>
                        <a:cubicBezTo>
                          <a:pt x="439188" y="292454"/>
                          <a:pt x="439188" y="292454"/>
                          <a:pt x="440616" y="291740"/>
                        </a:cubicBezTo>
                        <a:cubicBezTo>
                          <a:pt x="440616" y="291740"/>
                          <a:pt x="440616" y="291740"/>
                          <a:pt x="442044" y="291025"/>
                        </a:cubicBezTo>
                        <a:cubicBezTo>
                          <a:pt x="451326" y="286740"/>
                          <a:pt x="460608" y="281741"/>
                          <a:pt x="469890" y="275314"/>
                        </a:cubicBezTo>
                        <a:cubicBezTo>
                          <a:pt x="469890" y="275314"/>
                          <a:pt x="469890" y="275314"/>
                          <a:pt x="484170" y="266030"/>
                        </a:cubicBezTo>
                        <a:cubicBezTo>
                          <a:pt x="484170" y="266030"/>
                          <a:pt x="484170" y="266030"/>
                          <a:pt x="484170" y="238891"/>
                        </a:cubicBezTo>
                        <a:cubicBezTo>
                          <a:pt x="492024" y="230321"/>
                          <a:pt x="498450" y="221037"/>
                          <a:pt x="504162" y="211039"/>
                        </a:cubicBezTo>
                        <a:cubicBezTo>
                          <a:pt x="504162" y="211039"/>
                          <a:pt x="504162" y="211039"/>
                          <a:pt x="528438" y="203897"/>
                        </a:cubicBezTo>
                        <a:cubicBezTo>
                          <a:pt x="528438" y="203897"/>
                          <a:pt x="528438" y="203897"/>
                          <a:pt x="533436" y="188900"/>
                        </a:cubicBezTo>
                        <a:cubicBezTo>
                          <a:pt x="538434" y="175331"/>
                          <a:pt x="541290" y="161048"/>
                          <a:pt x="542004" y="146050"/>
                        </a:cubicBezTo>
                        <a:close/>
                        <a:moveTo>
                          <a:pt x="373692" y="75905"/>
                        </a:moveTo>
                        <a:cubicBezTo>
                          <a:pt x="365873" y="75950"/>
                          <a:pt x="357921" y="77434"/>
                          <a:pt x="350236" y="80491"/>
                        </a:cubicBezTo>
                        <a:cubicBezTo>
                          <a:pt x="331650" y="88404"/>
                          <a:pt x="319498" y="105668"/>
                          <a:pt x="315924" y="124371"/>
                        </a:cubicBezTo>
                        <a:cubicBezTo>
                          <a:pt x="313779" y="134441"/>
                          <a:pt x="314494" y="145951"/>
                          <a:pt x="318068" y="156741"/>
                        </a:cubicBezTo>
                        <a:cubicBezTo>
                          <a:pt x="318783" y="158179"/>
                          <a:pt x="318783" y="159618"/>
                          <a:pt x="319498" y="161057"/>
                        </a:cubicBezTo>
                        <a:cubicBezTo>
                          <a:pt x="332365" y="191988"/>
                          <a:pt x="368822" y="206375"/>
                          <a:pt x="399560" y="192708"/>
                        </a:cubicBezTo>
                        <a:cubicBezTo>
                          <a:pt x="420291" y="184076"/>
                          <a:pt x="433158" y="163934"/>
                          <a:pt x="435302" y="142354"/>
                        </a:cubicBezTo>
                        <a:cubicBezTo>
                          <a:pt x="436017" y="132283"/>
                          <a:pt x="434588" y="122213"/>
                          <a:pt x="430299" y="112142"/>
                        </a:cubicBezTo>
                        <a:cubicBezTo>
                          <a:pt x="430299" y="112142"/>
                          <a:pt x="429584" y="111422"/>
                          <a:pt x="429584" y="110703"/>
                        </a:cubicBezTo>
                        <a:cubicBezTo>
                          <a:pt x="419397" y="88583"/>
                          <a:pt x="397148" y="75770"/>
                          <a:pt x="373692" y="75905"/>
                        </a:cubicBezTo>
                        <a:close/>
                        <a:moveTo>
                          <a:pt x="347764" y="0"/>
                        </a:moveTo>
                        <a:cubicBezTo>
                          <a:pt x="347764" y="0"/>
                          <a:pt x="347764" y="0"/>
                          <a:pt x="366274" y="15767"/>
                        </a:cubicBezTo>
                        <a:cubicBezTo>
                          <a:pt x="381224" y="15050"/>
                          <a:pt x="395462" y="16483"/>
                          <a:pt x="409701" y="21500"/>
                        </a:cubicBezTo>
                        <a:cubicBezTo>
                          <a:pt x="409701" y="21500"/>
                          <a:pt x="409701" y="21500"/>
                          <a:pt x="430346" y="10033"/>
                        </a:cubicBezTo>
                        <a:cubicBezTo>
                          <a:pt x="447433" y="17200"/>
                          <a:pt x="463807" y="29383"/>
                          <a:pt x="476621" y="44433"/>
                        </a:cubicBezTo>
                        <a:cubicBezTo>
                          <a:pt x="476621" y="44433"/>
                          <a:pt x="476621" y="44433"/>
                          <a:pt x="472350" y="66650"/>
                        </a:cubicBezTo>
                        <a:cubicBezTo>
                          <a:pt x="476621" y="73100"/>
                          <a:pt x="480893" y="80267"/>
                          <a:pt x="484452" y="88150"/>
                        </a:cubicBezTo>
                        <a:cubicBezTo>
                          <a:pt x="487300" y="95317"/>
                          <a:pt x="489436" y="102483"/>
                          <a:pt x="491572" y="109650"/>
                        </a:cubicBezTo>
                        <a:cubicBezTo>
                          <a:pt x="491572" y="109650"/>
                          <a:pt x="491572" y="109650"/>
                          <a:pt x="494419" y="111800"/>
                        </a:cubicBezTo>
                        <a:cubicBezTo>
                          <a:pt x="497267" y="113233"/>
                          <a:pt x="501538" y="116100"/>
                          <a:pt x="510793" y="121833"/>
                        </a:cubicBezTo>
                        <a:cubicBezTo>
                          <a:pt x="511505" y="129000"/>
                          <a:pt x="512217" y="136883"/>
                          <a:pt x="511505" y="144050"/>
                        </a:cubicBezTo>
                        <a:cubicBezTo>
                          <a:pt x="510793" y="156233"/>
                          <a:pt x="508658" y="168417"/>
                          <a:pt x="505098" y="179167"/>
                        </a:cubicBezTo>
                        <a:cubicBezTo>
                          <a:pt x="505098" y="179167"/>
                          <a:pt x="505098" y="179167"/>
                          <a:pt x="483740" y="186333"/>
                        </a:cubicBezTo>
                        <a:cubicBezTo>
                          <a:pt x="476621" y="201383"/>
                          <a:pt x="466654" y="215717"/>
                          <a:pt x="453840" y="227183"/>
                        </a:cubicBezTo>
                        <a:cubicBezTo>
                          <a:pt x="453840" y="227183"/>
                          <a:pt x="453840" y="227183"/>
                          <a:pt x="453840" y="250117"/>
                        </a:cubicBezTo>
                        <a:cubicBezTo>
                          <a:pt x="446009" y="255133"/>
                          <a:pt x="437466" y="260150"/>
                          <a:pt x="428923" y="264450"/>
                        </a:cubicBezTo>
                        <a:cubicBezTo>
                          <a:pt x="420380" y="268033"/>
                          <a:pt x="411125" y="270900"/>
                          <a:pt x="402582" y="273050"/>
                        </a:cubicBezTo>
                        <a:cubicBezTo>
                          <a:pt x="402582" y="273050"/>
                          <a:pt x="402582" y="273050"/>
                          <a:pt x="385495" y="257283"/>
                        </a:cubicBezTo>
                        <a:cubicBezTo>
                          <a:pt x="368409" y="258717"/>
                          <a:pt x="351323" y="256567"/>
                          <a:pt x="335661" y="250833"/>
                        </a:cubicBezTo>
                        <a:cubicBezTo>
                          <a:pt x="335661" y="250833"/>
                          <a:pt x="335661" y="250833"/>
                          <a:pt x="315727" y="262300"/>
                        </a:cubicBezTo>
                        <a:cubicBezTo>
                          <a:pt x="298641" y="253700"/>
                          <a:pt x="283691" y="242233"/>
                          <a:pt x="270164" y="227183"/>
                        </a:cubicBezTo>
                        <a:cubicBezTo>
                          <a:pt x="270164" y="227183"/>
                          <a:pt x="270164" y="227183"/>
                          <a:pt x="275860" y="204967"/>
                        </a:cubicBezTo>
                        <a:cubicBezTo>
                          <a:pt x="271588" y="198517"/>
                          <a:pt x="268029" y="191350"/>
                          <a:pt x="265181" y="184183"/>
                        </a:cubicBezTo>
                        <a:cubicBezTo>
                          <a:pt x="263757" y="180600"/>
                          <a:pt x="262333" y="177733"/>
                          <a:pt x="260909" y="174150"/>
                        </a:cubicBezTo>
                        <a:cubicBezTo>
                          <a:pt x="259486" y="169850"/>
                          <a:pt x="258062" y="164833"/>
                          <a:pt x="257350" y="160533"/>
                        </a:cubicBezTo>
                        <a:cubicBezTo>
                          <a:pt x="257350" y="160533"/>
                          <a:pt x="257350" y="160533"/>
                          <a:pt x="238840" y="149783"/>
                        </a:cubicBezTo>
                        <a:cubicBezTo>
                          <a:pt x="238128" y="149067"/>
                          <a:pt x="238128" y="149067"/>
                          <a:pt x="237416" y="149067"/>
                        </a:cubicBezTo>
                        <a:cubicBezTo>
                          <a:pt x="235992" y="128283"/>
                          <a:pt x="238840" y="108217"/>
                          <a:pt x="245247" y="89583"/>
                        </a:cubicBezTo>
                        <a:cubicBezTo>
                          <a:pt x="245247" y="89583"/>
                          <a:pt x="245247" y="89583"/>
                          <a:pt x="267317" y="82417"/>
                        </a:cubicBezTo>
                        <a:cubicBezTo>
                          <a:pt x="273724" y="68800"/>
                          <a:pt x="282979" y="58050"/>
                          <a:pt x="294370" y="47300"/>
                        </a:cubicBezTo>
                        <a:cubicBezTo>
                          <a:pt x="294370" y="47300"/>
                          <a:pt x="294370" y="47300"/>
                          <a:pt x="294370" y="23650"/>
                        </a:cubicBezTo>
                        <a:cubicBezTo>
                          <a:pt x="302201" y="17917"/>
                          <a:pt x="310744" y="12900"/>
                          <a:pt x="319999" y="9317"/>
                        </a:cubicBezTo>
                        <a:cubicBezTo>
                          <a:pt x="329254" y="5017"/>
                          <a:pt x="339221" y="2150"/>
                          <a:pt x="347764" y="0"/>
                        </a:cubicBez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61" name="Freeform 60"/>
                  <p:cNvSpPr>
                    <a:spLocks/>
                  </p:cNvSpPr>
                  <p:nvPr/>
                </p:nvSpPr>
                <p:spPr bwMode="auto">
                  <a:xfrm>
                    <a:off x="5530849" y="2862263"/>
                    <a:ext cx="1142076" cy="1216025"/>
                  </a:xfrm>
                  <a:custGeom>
                    <a:avLst/>
                    <a:gdLst>
                      <a:gd name="connsiteX0" fmla="*/ 1020096 w 1142076"/>
                      <a:gd name="connsiteY0" fmla="*/ 354012 h 1216025"/>
                      <a:gd name="connsiteX1" fmla="*/ 1030081 w 1142076"/>
                      <a:gd name="connsiteY1" fmla="*/ 438215 h 1216025"/>
                      <a:gd name="connsiteX2" fmla="*/ 1040066 w 1142076"/>
                      <a:gd name="connsiteY2" fmla="*/ 502438 h 1216025"/>
                      <a:gd name="connsiteX3" fmla="*/ 1045772 w 1142076"/>
                      <a:gd name="connsiteY3" fmla="*/ 543113 h 1216025"/>
                      <a:gd name="connsiteX4" fmla="*/ 1087852 w 1142076"/>
                      <a:gd name="connsiteY4" fmla="*/ 626602 h 1216025"/>
                      <a:gd name="connsiteX5" fmla="*/ 1096411 w 1142076"/>
                      <a:gd name="connsiteY5" fmla="*/ 635879 h 1216025"/>
                      <a:gd name="connsiteX6" fmla="*/ 1140631 w 1142076"/>
                      <a:gd name="connsiteY6" fmla="*/ 715087 h 1216025"/>
                      <a:gd name="connsiteX7" fmla="*/ 1043632 w 1142076"/>
                      <a:gd name="connsiteY7" fmla="*/ 763611 h 1216025"/>
                      <a:gd name="connsiteX8" fmla="*/ 1040066 w 1142076"/>
                      <a:gd name="connsiteY8" fmla="*/ 763611 h 1216025"/>
                      <a:gd name="connsiteX9" fmla="*/ 1047198 w 1142076"/>
                      <a:gd name="connsiteY9" fmla="*/ 904188 h 1216025"/>
                      <a:gd name="connsiteX10" fmla="*/ 1046485 w 1142076"/>
                      <a:gd name="connsiteY10" fmla="*/ 912037 h 1216025"/>
                      <a:gd name="connsiteX11" fmla="*/ 1018669 w 1142076"/>
                      <a:gd name="connsiteY11" fmla="*/ 1012653 h 1216025"/>
                      <a:gd name="connsiteX12" fmla="*/ 817540 w 1142076"/>
                      <a:gd name="connsiteY12" fmla="*/ 1022643 h 1216025"/>
                      <a:gd name="connsiteX13" fmla="*/ 817540 w 1142076"/>
                      <a:gd name="connsiteY13" fmla="*/ 1200326 h 1216025"/>
                      <a:gd name="connsiteX14" fmla="*/ 801849 w 1142076"/>
                      <a:gd name="connsiteY14" fmla="*/ 1216025 h 1216025"/>
                      <a:gd name="connsiteX15" fmla="*/ 801136 w 1142076"/>
                      <a:gd name="connsiteY15" fmla="*/ 1216025 h 1216025"/>
                      <a:gd name="connsiteX16" fmla="*/ 419560 w 1142076"/>
                      <a:gd name="connsiteY16" fmla="*/ 1148948 h 1216025"/>
                      <a:gd name="connsiteX17" fmla="*/ 409575 w 1142076"/>
                      <a:gd name="connsiteY17" fmla="*/ 1134676 h 1216025"/>
                      <a:gd name="connsiteX18" fmla="*/ 409575 w 1142076"/>
                      <a:gd name="connsiteY18" fmla="*/ 944862 h 1216025"/>
                      <a:gd name="connsiteX19" fmla="*/ 409575 w 1142076"/>
                      <a:gd name="connsiteY19" fmla="*/ 943435 h 1216025"/>
                      <a:gd name="connsiteX20" fmla="*/ 413141 w 1142076"/>
                      <a:gd name="connsiteY20" fmla="*/ 947003 h 1216025"/>
                      <a:gd name="connsiteX21" fmla="*/ 440957 w 1142076"/>
                      <a:gd name="connsiteY21" fmla="*/ 968410 h 1216025"/>
                      <a:gd name="connsiteX22" fmla="*/ 440957 w 1142076"/>
                      <a:gd name="connsiteY22" fmla="*/ 1123972 h 1216025"/>
                      <a:gd name="connsiteX23" fmla="*/ 786158 w 1142076"/>
                      <a:gd name="connsiteY23" fmla="*/ 1184627 h 1216025"/>
                      <a:gd name="connsiteX24" fmla="*/ 786158 w 1142076"/>
                      <a:gd name="connsiteY24" fmla="*/ 1004803 h 1216025"/>
                      <a:gd name="connsiteX25" fmla="*/ 791151 w 1142076"/>
                      <a:gd name="connsiteY25" fmla="*/ 992672 h 1216025"/>
                      <a:gd name="connsiteX26" fmla="*/ 803989 w 1142076"/>
                      <a:gd name="connsiteY26" fmla="*/ 989105 h 1216025"/>
                      <a:gd name="connsiteX27" fmla="*/ 1004405 w 1142076"/>
                      <a:gd name="connsiteY27" fmla="*/ 984823 h 1216025"/>
                      <a:gd name="connsiteX28" fmla="*/ 1015103 w 1142076"/>
                      <a:gd name="connsiteY28" fmla="*/ 909896 h 1216025"/>
                      <a:gd name="connsiteX29" fmla="*/ 1015817 w 1142076"/>
                      <a:gd name="connsiteY29" fmla="*/ 902760 h 1216025"/>
                      <a:gd name="connsiteX30" fmla="*/ 1007258 w 1142076"/>
                      <a:gd name="connsiteY30" fmla="*/ 749339 h 1216025"/>
                      <a:gd name="connsiteX31" fmla="*/ 1011537 w 1142076"/>
                      <a:gd name="connsiteY31" fmla="*/ 736495 h 1216025"/>
                      <a:gd name="connsiteX32" fmla="*/ 1024375 w 1142076"/>
                      <a:gd name="connsiteY32" fmla="*/ 731500 h 1216025"/>
                      <a:gd name="connsiteX33" fmla="*/ 1110676 w 1142076"/>
                      <a:gd name="connsiteY33" fmla="*/ 705810 h 1216025"/>
                      <a:gd name="connsiteX34" fmla="*/ 1073588 w 1142076"/>
                      <a:gd name="connsiteY34" fmla="*/ 657287 h 1216025"/>
                      <a:gd name="connsiteX35" fmla="*/ 1064316 w 1142076"/>
                      <a:gd name="connsiteY35" fmla="*/ 648010 h 1216025"/>
                      <a:gd name="connsiteX36" fmla="*/ 1015817 w 1142076"/>
                      <a:gd name="connsiteY36" fmla="*/ 553103 h 1216025"/>
                      <a:gd name="connsiteX37" fmla="*/ 1008684 w 1142076"/>
                      <a:gd name="connsiteY37" fmla="*/ 504579 h 1216025"/>
                      <a:gd name="connsiteX38" fmla="*/ 1000126 w 1142076"/>
                      <a:gd name="connsiteY38" fmla="*/ 448206 h 1216025"/>
                      <a:gd name="connsiteX39" fmla="*/ 988714 w 1142076"/>
                      <a:gd name="connsiteY39" fmla="*/ 356153 h 1216025"/>
                      <a:gd name="connsiteX40" fmla="*/ 1020096 w 1142076"/>
                      <a:gd name="connsiteY40" fmla="*/ 354012 h 1216025"/>
                      <a:gd name="connsiteX41" fmla="*/ 238563 w 1142076"/>
                      <a:gd name="connsiteY41" fmla="*/ 125412 h 1216025"/>
                      <a:gd name="connsiteX42" fmla="*/ 344252 w 1142076"/>
                      <a:gd name="connsiteY42" fmla="*/ 203770 h 1216025"/>
                      <a:gd name="connsiteX43" fmla="*/ 349251 w 1142076"/>
                      <a:gd name="connsiteY43" fmla="*/ 236537 h 1216025"/>
                      <a:gd name="connsiteX44" fmla="*/ 349251 w 1142076"/>
                      <a:gd name="connsiteY44" fmla="*/ 242948 h 1216025"/>
                      <a:gd name="connsiteX45" fmla="*/ 276411 w 1142076"/>
                      <a:gd name="connsiteY45" fmla="*/ 341251 h 1216025"/>
                      <a:gd name="connsiteX46" fmla="*/ 238563 w 1142076"/>
                      <a:gd name="connsiteY46" fmla="*/ 347662 h 1216025"/>
                      <a:gd name="connsiteX47" fmla="*/ 237134 w 1142076"/>
                      <a:gd name="connsiteY47" fmla="*/ 347662 h 1216025"/>
                      <a:gd name="connsiteX48" fmla="*/ 128588 w 1142076"/>
                      <a:gd name="connsiteY48" fmla="*/ 236537 h 1216025"/>
                      <a:gd name="connsiteX49" fmla="*/ 238563 w 1142076"/>
                      <a:gd name="connsiteY49" fmla="*/ 125412 h 1216025"/>
                      <a:gd name="connsiteX50" fmla="*/ 238920 w 1142076"/>
                      <a:gd name="connsiteY50" fmla="*/ 30162 h 1216025"/>
                      <a:gd name="connsiteX51" fmla="*/ 221074 w 1142076"/>
                      <a:gd name="connsiteY51" fmla="*/ 30876 h 1216025"/>
                      <a:gd name="connsiteX52" fmla="*/ 204656 w 1142076"/>
                      <a:gd name="connsiteY52" fmla="*/ 74445 h 1216025"/>
                      <a:gd name="connsiteX53" fmla="*/ 196804 w 1142076"/>
                      <a:gd name="connsiteY53" fmla="*/ 76587 h 1216025"/>
                      <a:gd name="connsiteX54" fmla="*/ 167537 w 1142076"/>
                      <a:gd name="connsiteY54" fmla="*/ 86587 h 1216025"/>
                      <a:gd name="connsiteX55" fmla="*/ 160399 w 1142076"/>
                      <a:gd name="connsiteY55" fmla="*/ 89444 h 1216025"/>
                      <a:gd name="connsiteX56" fmla="*/ 121139 w 1142076"/>
                      <a:gd name="connsiteY56" fmla="*/ 67302 h 1216025"/>
                      <a:gd name="connsiteX57" fmla="*/ 106862 w 1142076"/>
                      <a:gd name="connsiteY57" fmla="*/ 78730 h 1216025"/>
                      <a:gd name="connsiteX58" fmla="*/ 93300 w 1142076"/>
                      <a:gd name="connsiteY58" fmla="*/ 90872 h 1216025"/>
                      <a:gd name="connsiteX59" fmla="*/ 106862 w 1142076"/>
                      <a:gd name="connsiteY59" fmla="*/ 130155 h 1216025"/>
                      <a:gd name="connsiteX60" fmla="*/ 101865 w 1142076"/>
                      <a:gd name="connsiteY60" fmla="*/ 136583 h 1216025"/>
                      <a:gd name="connsiteX61" fmla="*/ 81878 w 1142076"/>
                      <a:gd name="connsiteY61" fmla="*/ 169438 h 1216025"/>
                      <a:gd name="connsiteX62" fmla="*/ 78309 w 1142076"/>
                      <a:gd name="connsiteY62" fmla="*/ 176580 h 1216025"/>
                      <a:gd name="connsiteX63" fmla="*/ 39763 w 1142076"/>
                      <a:gd name="connsiteY63" fmla="*/ 183723 h 1216025"/>
                      <a:gd name="connsiteX64" fmla="*/ 36194 w 1142076"/>
                      <a:gd name="connsiteY64" fmla="*/ 201579 h 1216025"/>
                      <a:gd name="connsiteX65" fmla="*/ 33338 w 1142076"/>
                      <a:gd name="connsiteY65" fmla="*/ 219435 h 1216025"/>
                      <a:gd name="connsiteX66" fmla="*/ 66174 w 1142076"/>
                      <a:gd name="connsiteY66" fmla="*/ 238005 h 1216025"/>
                      <a:gd name="connsiteX67" fmla="*/ 66174 w 1142076"/>
                      <a:gd name="connsiteY67" fmla="*/ 246575 h 1216025"/>
                      <a:gd name="connsiteX68" fmla="*/ 73312 w 1142076"/>
                      <a:gd name="connsiteY68" fmla="*/ 286573 h 1216025"/>
                      <a:gd name="connsiteX69" fmla="*/ 76168 w 1142076"/>
                      <a:gd name="connsiteY69" fmla="*/ 294429 h 1216025"/>
                      <a:gd name="connsiteX70" fmla="*/ 51898 w 1142076"/>
                      <a:gd name="connsiteY70" fmla="*/ 324427 h 1216025"/>
                      <a:gd name="connsiteX71" fmla="*/ 60464 w 1142076"/>
                      <a:gd name="connsiteY71" fmla="*/ 340140 h 1216025"/>
                      <a:gd name="connsiteX72" fmla="*/ 69743 w 1142076"/>
                      <a:gd name="connsiteY72" fmla="*/ 355139 h 1216025"/>
                      <a:gd name="connsiteX73" fmla="*/ 109717 w 1142076"/>
                      <a:gd name="connsiteY73" fmla="*/ 348711 h 1216025"/>
                      <a:gd name="connsiteX74" fmla="*/ 115428 w 1142076"/>
                      <a:gd name="connsiteY74" fmla="*/ 354425 h 1216025"/>
                      <a:gd name="connsiteX75" fmla="*/ 143981 w 1142076"/>
                      <a:gd name="connsiteY75" fmla="*/ 376566 h 1216025"/>
                      <a:gd name="connsiteX76" fmla="*/ 151119 w 1142076"/>
                      <a:gd name="connsiteY76" fmla="*/ 381566 h 1216025"/>
                      <a:gd name="connsiteX77" fmla="*/ 151833 w 1142076"/>
                      <a:gd name="connsiteY77" fmla="*/ 423706 h 1216025"/>
                      <a:gd name="connsiteX78" fmla="*/ 168251 w 1142076"/>
                      <a:gd name="connsiteY78" fmla="*/ 430848 h 1216025"/>
                      <a:gd name="connsiteX79" fmla="*/ 185383 w 1142076"/>
                      <a:gd name="connsiteY79" fmla="*/ 436562 h 1216025"/>
                      <a:gd name="connsiteX80" fmla="*/ 214650 w 1142076"/>
                      <a:gd name="connsiteY80" fmla="*/ 402279 h 1216025"/>
                      <a:gd name="connsiteX81" fmla="*/ 222502 w 1142076"/>
                      <a:gd name="connsiteY81" fmla="*/ 402993 h 1216025"/>
                      <a:gd name="connsiteX82" fmla="*/ 247486 w 1142076"/>
                      <a:gd name="connsiteY82" fmla="*/ 403707 h 1216025"/>
                      <a:gd name="connsiteX83" fmla="*/ 255338 w 1142076"/>
                      <a:gd name="connsiteY83" fmla="*/ 402993 h 1216025"/>
                      <a:gd name="connsiteX84" fmla="*/ 263190 w 1142076"/>
                      <a:gd name="connsiteY84" fmla="*/ 402279 h 1216025"/>
                      <a:gd name="connsiteX85" fmla="*/ 292457 w 1142076"/>
                      <a:gd name="connsiteY85" fmla="*/ 436562 h 1216025"/>
                      <a:gd name="connsiteX86" fmla="*/ 309588 w 1142076"/>
                      <a:gd name="connsiteY86" fmla="*/ 430848 h 1216025"/>
                      <a:gd name="connsiteX87" fmla="*/ 326720 w 1142076"/>
                      <a:gd name="connsiteY87" fmla="*/ 423706 h 1216025"/>
                      <a:gd name="connsiteX88" fmla="*/ 326720 w 1142076"/>
                      <a:gd name="connsiteY88" fmla="*/ 381566 h 1216025"/>
                      <a:gd name="connsiteX89" fmla="*/ 334572 w 1142076"/>
                      <a:gd name="connsiteY89" fmla="*/ 377281 h 1216025"/>
                      <a:gd name="connsiteX90" fmla="*/ 363125 w 1142076"/>
                      <a:gd name="connsiteY90" fmla="*/ 354425 h 1216025"/>
                      <a:gd name="connsiteX91" fmla="*/ 368836 w 1142076"/>
                      <a:gd name="connsiteY91" fmla="*/ 348711 h 1216025"/>
                      <a:gd name="connsiteX92" fmla="*/ 408096 w 1142076"/>
                      <a:gd name="connsiteY92" fmla="*/ 355854 h 1216025"/>
                      <a:gd name="connsiteX93" fmla="*/ 418090 w 1142076"/>
                      <a:gd name="connsiteY93" fmla="*/ 340140 h 1216025"/>
                      <a:gd name="connsiteX94" fmla="*/ 425942 w 1142076"/>
                      <a:gd name="connsiteY94" fmla="*/ 324427 h 1216025"/>
                      <a:gd name="connsiteX95" fmla="*/ 402386 w 1142076"/>
                      <a:gd name="connsiteY95" fmla="*/ 295144 h 1216025"/>
                      <a:gd name="connsiteX96" fmla="*/ 405241 w 1142076"/>
                      <a:gd name="connsiteY96" fmla="*/ 287287 h 1216025"/>
                      <a:gd name="connsiteX97" fmla="*/ 412379 w 1142076"/>
                      <a:gd name="connsiteY97" fmla="*/ 246575 h 1216025"/>
                      <a:gd name="connsiteX98" fmla="*/ 413093 w 1142076"/>
                      <a:gd name="connsiteY98" fmla="*/ 238005 h 1216025"/>
                      <a:gd name="connsiteX99" fmla="*/ 444501 w 1142076"/>
                      <a:gd name="connsiteY99" fmla="*/ 219435 h 1216025"/>
                      <a:gd name="connsiteX100" fmla="*/ 442360 w 1142076"/>
                      <a:gd name="connsiteY100" fmla="*/ 201579 h 1216025"/>
                      <a:gd name="connsiteX101" fmla="*/ 438791 w 1142076"/>
                      <a:gd name="connsiteY101" fmla="*/ 183723 h 1216025"/>
                      <a:gd name="connsiteX102" fmla="*/ 428083 w 1142076"/>
                      <a:gd name="connsiteY102" fmla="*/ 182294 h 1216025"/>
                      <a:gd name="connsiteX103" fmla="*/ 400244 w 1142076"/>
                      <a:gd name="connsiteY103" fmla="*/ 176580 h 1216025"/>
                      <a:gd name="connsiteX104" fmla="*/ 397389 w 1142076"/>
                      <a:gd name="connsiteY104" fmla="*/ 169438 h 1216025"/>
                      <a:gd name="connsiteX105" fmla="*/ 395247 w 1142076"/>
                      <a:gd name="connsiteY105" fmla="*/ 165867 h 1216025"/>
                      <a:gd name="connsiteX106" fmla="*/ 377402 w 1142076"/>
                      <a:gd name="connsiteY106" fmla="*/ 136583 h 1216025"/>
                      <a:gd name="connsiteX107" fmla="*/ 371691 w 1142076"/>
                      <a:gd name="connsiteY107" fmla="*/ 130155 h 1216025"/>
                      <a:gd name="connsiteX108" fmla="*/ 385254 w 1142076"/>
                      <a:gd name="connsiteY108" fmla="*/ 90872 h 1216025"/>
                      <a:gd name="connsiteX109" fmla="*/ 371691 w 1142076"/>
                      <a:gd name="connsiteY109" fmla="*/ 78730 h 1216025"/>
                      <a:gd name="connsiteX110" fmla="*/ 358128 w 1142076"/>
                      <a:gd name="connsiteY110" fmla="*/ 67302 h 1216025"/>
                      <a:gd name="connsiteX111" fmla="*/ 318868 w 1142076"/>
                      <a:gd name="connsiteY111" fmla="*/ 89444 h 1216025"/>
                      <a:gd name="connsiteX112" fmla="*/ 311730 w 1142076"/>
                      <a:gd name="connsiteY112" fmla="*/ 86587 h 1216025"/>
                      <a:gd name="connsiteX113" fmla="*/ 282463 w 1142076"/>
                      <a:gd name="connsiteY113" fmla="*/ 76587 h 1216025"/>
                      <a:gd name="connsiteX114" fmla="*/ 273897 w 1142076"/>
                      <a:gd name="connsiteY114" fmla="*/ 74445 h 1216025"/>
                      <a:gd name="connsiteX115" fmla="*/ 256765 w 1142076"/>
                      <a:gd name="connsiteY115" fmla="*/ 30876 h 1216025"/>
                      <a:gd name="connsiteX116" fmla="*/ 238920 w 1142076"/>
                      <a:gd name="connsiteY116" fmla="*/ 30162 h 1216025"/>
                      <a:gd name="connsiteX117" fmla="*/ 237768 w 1142076"/>
                      <a:gd name="connsiteY117" fmla="*/ 0 h 1216025"/>
                      <a:gd name="connsiteX118" fmla="*/ 269899 w 1142076"/>
                      <a:gd name="connsiteY118" fmla="*/ 2137 h 1216025"/>
                      <a:gd name="connsiteX119" fmla="*/ 279181 w 1142076"/>
                      <a:gd name="connsiteY119" fmla="*/ 2849 h 1216025"/>
                      <a:gd name="connsiteX120" fmla="*/ 296318 w 1142076"/>
                      <a:gd name="connsiteY120" fmla="*/ 49143 h 1216025"/>
                      <a:gd name="connsiteX121" fmla="*/ 315596 w 1142076"/>
                      <a:gd name="connsiteY121" fmla="*/ 55553 h 1216025"/>
                      <a:gd name="connsiteX122" fmla="*/ 358437 w 1142076"/>
                      <a:gd name="connsiteY122" fmla="*/ 32050 h 1216025"/>
                      <a:gd name="connsiteX123" fmla="*/ 366291 w 1142076"/>
                      <a:gd name="connsiteY123" fmla="*/ 37035 h 1216025"/>
                      <a:gd name="connsiteX124" fmla="*/ 391282 w 1142076"/>
                      <a:gd name="connsiteY124" fmla="*/ 55553 h 1216025"/>
                      <a:gd name="connsiteX125" fmla="*/ 414131 w 1142076"/>
                      <a:gd name="connsiteY125" fmla="*/ 76920 h 1216025"/>
                      <a:gd name="connsiteX126" fmla="*/ 420557 w 1142076"/>
                      <a:gd name="connsiteY126" fmla="*/ 84042 h 1216025"/>
                      <a:gd name="connsiteX127" fmla="*/ 405562 w 1142076"/>
                      <a:gd name="connsiteY127" fmla="*/ 125350 h 1216025"/>
                      <a:gd name="connsiteX128" fmla="*/ 420557 w 1142076"/>
                      <a:gd name="connsiteY128" fmla="*/ 149566 h 1216025"/>
                      <a:gd name="connsiteX129" fmla="*/ 421271 w 1142076"/>
                      <a:gd name="connsiteY129" fmla="*/ 149566 h 1216025"/>
                      <a:gd name="connsiteX130" fmla="*/ 462684 w 1142076"/>
                      <a:gd name="connsiteY130" fmla="*/ 157400 h 1216025"/>
                      <a:gd name="connsiteX131" fmla="*/ 464112 w 1142076"/>
                      <a:gd name="connsiteY131" fmla="*/ 162386 h 1216025"/>
                      <a:gd name="connsiteX132" fmla="*/ 464826 w 1142076"/>
                      <a:gd name="connsiteY132" fmla="*/ 166659 h 1216025"/>
                      <a:gd name="connsiteX133" fmla="*/ 471966 w 1142076"/>
                      <a:gd name="connsiteY133" fmla="*/ 196572 h 1216025"/>
                      <a:gd name="connsiteX134" fmla="*/ 476250 w 1142076"/>
                      <a:gd name="connsiteY134" fmla="*/ 227910 h 1216025"/>
                      <a:gd name="connsiteX135" fmla="*/ 476250 w 1142076"/>
                      <a:gd name="connsiteY135" fmla="*/ 237169 h 1216025"/>
                      <a:gd name="connsiteX136" fmla="*/ 441977 w 1142076"/>
                      <a:gd name="connsiteY136" fmla="*/ 257111 h 1216025"/>
                      <a:gd name="connsiteX137" fmla="*/ 436265 w 1142076"/>
                      <a:gd name="connsiteY137" fmla="*/ 288448 h 1216025"/>
                      <a:gd name="connsiteX138" fmla="*/ 461970 w 1142076"/>
                      <a:gd name="connsiteY138" fmla="*/ 319786 h 1216025"/>
                      <a:gd name="connsiteX139" fmla="*/ 457686 w 1142076"/>
                      <a:gd name="connsiteY139" fmla="*/ 328332 h 1216025"/>
                      <a:gd name="connsiteX140" fmla="*/ 444119 w 1142076"/>
                      <a:gd name="connsiteY140" fmla="*/ 356109 h 1216025"/>
                      <a:gd name="connsiteX141" fmla="*/ 426983 w 1142076"/>
                      <a:gd name="connsiteY141" fmla="*/ 382461 h 1216025"/>
                      <a:gd name="connsiteX142" fmla="*/ 421271 w 1142076"/>
                      <a:gd name="connsiteY142" fmla="*/ 389583 h 1216025"/>
                      <a:gd name="connsiteX143" fmla="*/ 377716 w 1142076"/>
                      <a:gd name="connsiteY143" fmla="*/ 382461 h 1216025"/>
                      <a:gd name="connsiteX144" fmla="*/ 357009 w 1142076"/>
                      <a:gd name="connsiteY144" fmla="*/ 398842 h 1216025"/>
                      <a:gd name="connsiteX145" fmla="*/ 356295 w 1142076"/>
                      <a:gd name="connsiteY145" fmla="*/ 443712 h 1216025"/>
                      <a:gd name="connsiteX146" fmla="*/ 348441 w 1142076"/>
                      <a:gd name="connsiteY146" fmla="*/ 447985 h 1216025"/>
                      <a:gd name="connsiteX147" fmla="*/ 319166 w 1142076"/>
                      <a:gd name="connsiteY147" fmla="*/ 460093 h 1216025"/>
                      <a:gd name="connsiteX148" fmla="*/ 289892 w 1142076"/>
                      <a:gd name="connsiteY148" fmla="*/ 469351 h 1216025"/>
                      <a:gd name="connsiteX149" fmla="*/ 280609 w 1142076"/>
                      <a:gd name="connsiteY149" fmla="*/ 471488 h 1216025"/>
                      <a:gd name="connsiteX150" fmla="*/ 248479 w 1142076"/>
                      <a:gd name="connsiteY150" fmla="*/ 435165 h 1216025"/>
                      <a:gd name="connsiteX151" fmla="*/ 236340 w 1142076"/>
                      <a:gd name="connsiteY151" fmla="*/ 435165 h 1216025"/>
                      <a:gd name="connsiteX152" fmla="*/ 226344 w 1142076"/>
                      <a:gd name="connsiteY152" fmla="*/ 435165 h 1216025"/>
                      <a:gd name="connsiteX153" fmla="*/ 197783 w 1142076"/>
                      <a:gd name="connsiteY153" fmla="*/ 469351 h 1216025"/>
                      <a:gd name="connsiteX154" fmla="*/ 195641 w 1142076"/>
                      <a:gd name="connsiteY154" fmla="*/ 471488 h 1216025"/>
                      <a:gd name="connsiteX155" fmla="*/ 186359 w 1142076"/>
                      <a:gd name="connsiteY155" fmla="*/ 469351 h 1216025"/>
                      <a:gd name="connsiteX156" fmla="*/ 156370 w 1142076"/>
                      <a:gd name="connsiteY156" fmla="*/ 460093 h 1216025"/>
                      <a:gd name="connsiteX157" fmla="*/ 127809 w 1142076"/>
                      <a:gd name="connsiteY157" fmla="*/ 447985 h 1216025"/>
                      <a:gd name="connsiteX158" fmla="*/ 119241 w 1142076"/>
                      <a:gd name="connsiteY158" fmla="*/ 443712 h 1216025"/>
                      <a:gd name="connsiteX159" fmla="*/ 118527 w 1142076"/>
                      <a:gd name="connsiteY159" fmla="*/ 398842 h 1216025"/>
                      <a:gd name="connsiteX160" fmla="*/ 98535 w 1142076"/>
                      <a:gd name="connsiteY160" fmla="*/ 382461 h 1216025"/>
                      <a:gd name="connsiteX161" fmla="*/ 54980 w 1142076"/>
                      <a:gd name="connsiteY161" fmla="*/ 389583 h 1216025"/>
                      <a:gd name="connsiteX162" fmla="*/ 49267 w 1142076"/>
                      <a:gd name="connsiteY162" fmla="*/ 381749 h 1216025"/>
                      <a:gd name="connsiteX163" fmla="*/ 32131 w 1142076"/>
                      <a:gd name="connsiteY163" fmla="*/ 356109 h 1216025"/>
                      <a:gd name="connsiteX164" fmla="*/ 17851 w 1142076"/>
                      <a:gd name="connsiteY164" fmla="*/ 328332 h 1216025"/>
                      <a:gd name="connsiteX165" fmla="*/ 14281 w 1142076"/>
                      <a:gd name="connsiteY165" fmla="*/ 319786 h 1216025"/>
                      <a:gd name="connsiteX166" fmla="*/ 39985 w 1142076"/>
                      <a:gd name="connsiteY166" fmla="*/ 288448 h 1216025"/>
                      <a:gd name="connsiteX167" fmla="*/ 34273 w 1142076"/>
                      <a:gd name="connsiteY167" fmla="*/ 257111 h 1216025"/>
                      <a:gd name="connsiteX168" fmla="*/ 0 w 1142076"/>
                      <a:gd name="connsiteY168" fmla="*/ 237169 h 1216025"/>
                      <a:gd name="connsiteX169" fmla="*/ 0 w 1142076"/>
                      <a:gd name="connsiteY169" fmla="*/ 227198 h 1216025"/>
                      <a:gd name="connsiteX170" fmla="*/ 4284 w 1142076"/>
                      <a:gd name="connsiteY170" fmla="*/ 196572 h 1216025"/>
                      <a:gd name="connsiteX171" fmla="*/ 11425 w 1142076"/>
                      <a:gd name="connsiteY171" fmla="*/ 165947 h 1216025"/>
                      <a:gd name="connsiteX172" fmla="*/ 13567 w 1142076"/>
                      <a:gd name="connsiteY172" fmla="*/ 157400 h 1216025"/>
                      <a:gd name="connsiteX173" fmla="*/ 55694 w 1142076"/>
                      <a:gd name="connsiteY173" fmla="*/ 149566 h 1216025"/>
                      <a:gd name="connsiteX174" fmla="*/ 70688 w 1142076"/>
                      <a:gd name="connsiteY174" fmla="*/ 125350 h 1216025"/>
                      <a:gd name="connsiteX175" fmla="*/ 55694 w 1142076"/>
                      <a:gd name="connsiteY175" fmla="*/ 84042 h 1216025"/>
                      <a:gd name="connsiteX176" fmla="*/ 62834 w 1142076"/>
                      <a:gd name="connsiteY176" fmla="*/ 76920 h 1216025"/>
                      <a:gd name="connsiteX177" fmla="*/ 84968 w 1142076"/>
                      <a:gd name="connsiteY177" fmla="*/ 55553 h 1216025"/>
                      <a:gd name="connsiteX178" fmla="*/ 109959 w 1142076"/>
                      <a:gd name="connsiteY178" fmla="*/ 37035 h 1216025"/>
                      <a:gd name="connsiteX179" fmla="*/ 117813 w 1142076"/>
                      <a:gd name="connsiteY179" fmla="*/ 32050 h 1216025"/>
                      <a:gd name="connsiteX180" fmla="*/ 160654 w 1142076"/>
                      <a:gd name="connsiteY180" fmla="*/ 55553 h 1216025"/>
                      <a:gd name="connsiteX181" fmla="*/ 179933 w 1142076"/>
                      <a:gd name="connsiteY181" fmla="*/ 49143 h 1216025"/>
                      <a:gd name="connsiteX182" fmla="*/ 197069 w 1142076"/>
                      <a:gd name="connsiteY182" fmla="*/ 2849 h 1216025"/>
                      <a:gd name="connsiteX183" fmla="*/ 207065 w 1142076"/>
                      <a:gd name="connsiteY183" fmla="*/ 2137 h 1216025"/>
                      <a:gd name="connsiteX184" fmla="*/ 237768 w 1142076"/>
                      <a:gd name="connsiteY184" fmla="*/ 0 h 1216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</a:cxnLst>
                    <a:rect l="l" t="t" r="r" b="b"/>
                    <a:pathLst>
                      <a:path w="1142076" h="1216025">
                        <a:moveTo>
                          <a:pt x="1020096" y="354012"/>
                        </a:moveTo>
                        <a:cubicBezTo>
                          <a:pt x="1020096" y="368997"/>
                          <a:pt x="1021522" y="413240"/>
                          <a:pt x="1030081" y="438215"/>
                        </a:cubicBezTo>
                        <a:cubicBezTo>
                          <a:pt x="1036500" y="457482"/>
                          <a:pt x="1037927" y="481031"/>
                          <a:pt x="1040066" y="502438"/>
                        </a:cubicBezTo>
                        <a:cubicBezTo>
                          <a:pt x="1041493" y="518137"/>
                          <a:pt x="1042206" y="534550"/>
                          <a:pt x="1045772" y="543113"/>
                        </a:cubicBezTo>
                        <a:cubicBezTo>
                          <a:pt x="1059323" y="582360"/>
                          <a:pt x="1074301" y="611617"/>
                          <a:pt x="1087852" y="626602"/>
                        </a:cubicBezTo>
                        <a:cubicBezTo>
                          <a:pt x="1090705" y="629457"/>
                          <a:pt x="1093558" y="633025"/>
                          <a:pt x="1096411" y="635879"/>
                        </a:cubicBezTo>
                        <a:cubicBezTo>
                          <a:pt x="1127793" y="670131"/>
                          <a:pt x="1147763" y="693680"/>
                          <a:pt x="1140631" y="715087"/>
                        </a:cubicBezTo>
                        <a:cubicBezTo>
                          <a:pt x="1136352" y="727218"/>
                          <a:pt x="1117095" y="763611"/>
                          <a:pt x="1043632" y="763611"/>
                        </a:cubicBezTo>
                        <a:cubicBezTo>
                          <a:pt x="1042919" y="763611"/>
                          <a:pt x="1041493" y="763611"/>
                          <a:pt x="1040066" y="763611"/>
                        </a:cubicBezTo>
                        <a:cubicBezTo>
                          <a:pt x="1043632" y="795722"/>
                          <a:pt x="1050051" y="862800"/>
                          <a:pt x="1047198" y="904188"/>
                        </a:cubicBezTo>
                        <a:cubicBezTo>
                          <a:pt x="1047198" y="904188"/>
                          <a:pt x="1047198" y="904188"/>
                          <a:pt x="1046485" y="912037"/>
                        </a:cubicBezTo>
                        <a:cubicBezTo>
                          <a:pt x="1042919" y="969838"/>
                          <a:pt x="1040779" y="1001235"/>
                          <a:pt x="1018669" y="1012653"/>
                        </a:cubicBezTo>
                        <a:cubicBezTo>
                          <a:pt x="1002265" y="1021930"/>
                          <a:pt x="929516" y="1035488"/>
                          <a:pt x="817540" y="1022643"/>
                        </a:cubicBezTo>
                        <a:cubicBezTo>
                          <a:pt x="817540" y="1022643"/>
                          <a:pt x="817540" y="1022643"/>
                          <a:pt x="817540" y="1200326"/>
                        </a:cubicBezTo>
                        <a:cubicBezTo>
                          <a:pt x="817540" y="1208889"/>
                          <a:pt x="810408" y="1216025"/>
                          <a:pt x="801849" y="1216025"/>
                        </a:cubicBezTo>
                        <a:cubicBezTo>
                          <a:pt x="801849" y="1216025"/>
                          <a:pt x="801849" y="1216025"/>
                          <a:pt x="801136" y="1216025"/>
                        </a:cubicBezTo>
                        <a:cubicBezTo>
                          <a:pt x="784732" y="1216025"/>
                          <a:pt x="579323" y="1214598"/>
                          <a:pt x="419560" y="1148948"/>
                        </a:cubicBezTo>
                        <a:cubicBezTo>
                          <a:pt x="413855" y="1146807"/>
                          <a:pt x="409575" y="1141099"/>
                          <a:pt x="409575" y="1134676"/>
                        </a:cubicBezTo>
                        <a:cubicBezTo>
                          <a:pt x="409575" y="1134676"/>
                          <a:pt x="409575" y="1134676"/>
                          <a:pt x="409575" y="944862"/>
                        </a:cubicBezTo>
                        <a:cubicBezTo>
                          <a:pt x="409575" y="944149"/>
                          <a:pt x="409575" y="944149"/>
                          <a:pt x="409575" y="943435"/>
                        </a:cubicBezTo>
                        <a:cubicBezTo>
                          <a:pt x="411002" y="944862"/>
                          <a:pt x="412428" y="946289"/>
                          <a:pt x="413141" y="947003"/>
                        </a:cubicBezTo>
                        <a:cubicBezTo>
                          <a:pt x="417421" y="951284"/>
                          <a:pt x="430259" y="961275"/>
                          <a:pt x="440957" y="968410"/>
                        </a:cubicBezTo>
                        <a:cubicBezTo>
                          <a:pt x="440957" y="968410"/>
                          <a:pt x="440957" y="968410"/>
                          <a:pt x="440957" y="1123972"/>
                        </a:cubicBezTo>
                        <a:cubicBezTo>
                          <a:pt x="571477" y="1174637"/>
                          <a:pt x="735519" y="1183200"/>
                          <a:pt x="786158" y="1184627"/>
                        </a:cubicBezTo>
                        <a:cubicBezTo>
                          <a:pt x="786158" y="1184627"/>
                          <a:pt x="786158" y="1184627"/>
                          <a:pt x="786158" y="1004803"/>
                        </a:cubicBezTo>
                        <a:cubicBezTo>
                          <a:pt x="786158" y="1000522"/>
                          <a:pt x="788298" y="996240"/>
                          <a:pt x="791151" y="992672"/>
                        </a:cubicBezTo>
                        <a:cubicBezTo>
                          <a:pt x="794717" y="989818"/>
                          <a:pt x="798996" y="988391"/>
                          <a:pt x="803989" y="989105"/>
                        </a:cubicBezTo>
                        <a:cubicBezTo>
                          <a:pt x="920244" y="1004803"/>
                          <a:pt x="993707" y="990532"/>
                          <a:pt x="1004405" y="984823"/>
                        </a:cubicBezTo>
                        <a:cubicBezTo>
                          <a:pt x="1010824" y="980541"/>
                          <a:pt x="1012964" y="942721"/>
                          <a:pt x="1015103" y="909896"/>
                        </a:cubicBezTo>
                        <a:cubicBezTo>
                          <a:pt x="1015103" y="909896"/>
                          <a:pt x="1015103" y="909896"/>
                          <a:pt x="1015817" y="902760"/>
                        </a:cubicBezTo>
                        <a:cubicBezTo>
                          <a:pt x="1019383" y="849241"/>
                          <a:pt x="1007258" y="750053"/>
                          <a:pt x="1007258" y="749339"/>
                        </a:cubicBezTo>
                        <a:cubicBezTo>
                          <a:pt x="1006545" y="744344"/>
                          <a:pt x="1007971" y="739349"/>
                          <a:pt x="1011537" y="736495"/>
                        </a:cubicBezTo>
                        <a:cubicBezTo>
                          <a:pt x="1015103" y="732927"/>
                          <a:pt x="1019383" y="730786"/>
                          <a:pt x="1024375" y="731500"/>
                        </a:cubicBezTo>
                        <a:cubicBezTo>
                          <a:pt x="1078580" y="736495"/>
                          <a:pt x="1104256" y="720796"/>
                          <a:pt x="1110676" y="705810"/>
                        </a:cubicBezTo>
                        <a:cubicBezTo>
                          <a:pt x="1109249" y="695820"/>
                          <a:pt x="1084999" y="670131"/>
                          <a:pt x="1073588" y="657287"/>
                        </a:cubicBezTo>
                        <a:cubicBezTo>
                          <a:pt x="1070735" y="654432"/>
                          <a:pt x="1067169" y="650864"/>
                          <a:pt x="1064316" y="648010"/>
                        </a:cubicBezTo>
                        <a:cubicBezTo>
                          <a:pt x="1043632" y="625175"/>
                          <a:pt x="1026515" y="583787"/>
                          <a:pt x="1015817" y="553103"/>
                        </a:cubicBezTo>
                        <a:cubicBezTo>
                          <a:pt x="1011537" y="540972"/>
                          <a:pt x="1010111" y="524559"/>
                          <a:pt x="1008684" y="504579"/>
                        </a:cubicBezTo>
                        <a:cubicBezTo>
                          <a:pt x="1007258" y="485312"/>
                          <a:pt x="1005118" y="463905"/>
                          <a:pt x="1000126" y="448206"/>
                        </a:cubicBezTo>
                        <a:cubicBezTo>
                          <a:pt x="990854" y="420376"/>
                          <a:pt x="988714" y="373993"/>
                          <a:pt x="988714" y="356153"/>
                        </a:cubicBezTo>
                        <a:cubicBezTo>
                          <a:pt x="1001552" y="355439"/>
                          <a:pt x="1011537" y="354726"/>
                          <a:pt x="1020096" y="354012"/>
                        </a:cubicBezTo>
                        <a:close/>
                        <a:moveTo>
                          <a:pt x="238563" y="125412"/>
                        </a:moveTo>
                        <a:cubicBezTo>
                          <a:pt x="288551" y="125412"/>
                          <a:pt x="330684" y="158180"/>
                          <a:pt x="344252" y="203770"/>
                        </a:cubicBezTo>
                        <a:cubicBezTo>
                          <a:pt x="347823" y="214455"/>
                          <a:pt x="349251" y="225140"/>
                          <a:pt x="349251" y="236537"/>
                        </a:cubicBezTo>
                        <a:cubicBezTo>
                          <a:pt x="349251" y="238674"/>
                          <a:pt x="349251" y="240811"/>
                          <a:pt x="349251" y="242948"/>
                        </a:cubicBezTo>
                        <a:cubicBezTo>
                          <a:pt x="347109" y="288538"/>
                          <a:pt x="317116" y="326292"/>
                          <a:pt x="276411" y="341251"/>
                        </a:cubicBezTo>
                        <a:cubicBezTo>
                          <a:pt x="264271" y="345525"/>
                          <a:pt x="252131" y="347662"/>
                          <a:pt x="238563" y="347662"/>
                        </a:cubicBezTo>
                        <a:cubicBezTo>
                          <a:pt x="237849" y="347662"/>
                          <a:pt x="237849" y="347662"/>
                          <a:pt x="237134" y="347662"/>
                        </a:cubicBezTo>
                        <a:cubicBezTo>
                          <a:pt x="177148" y="346950"/>
                          <a:pt x="128588" y="297798"/>
                          <a:pt x="128588" y="236537"/>
                        </a:cubicBezTo>
                        <a:cubicBezTo>
                          <a:pt x="128588" y="175276"/>
                          <a:pt x="177863" y="125412"/>
                          <a:pt x="238563" y="125412"/>
                        </a:cubicBezTo>
                        <a:close/>
                        <a:moveTo>
                          <a:pt x="238920" y="30162"/>
                        </a:moveTo>
                        <a:cubicBezTo>
                          <a:pt x="238920" y="30162"/>
                          <a:pt x="230354" y="30162"/>
                          <a:pt x="221074" y="30876"/>
                        </a:cubicBezTo>
                        <a:cubicBezTo>
                          <a:pt x="221074" y="30876"/>
                          <a:pt x="221074" y="30876"/>
                          <a:pt x="204656" y="74445"/>
                        </a:cubicBezTo>
                        <a:cubicBezTo>
                          <a:pt x="204656" y="74445"/>
                          <a:pt x="204656" y="74445"/>
                          <a:pt x="196804" y="76587"/>
                        </a:cubicBezTo>
                        <a:cubicBezTo>
                          <a:pt x="186811" y="78730"/>
                          <a:pt x="176817" y="82301"/>
                          <a:pt x="167537" y="86587"/>
                        </a:cubicBezTo>
                        <a:cubicBezTo>
                          <a:pt x="167537" y="86587"/>
                          <a:pt x="167537" y="86587"/>
                          <a:pt x="160399" y="89444"/>
                        </a:cubicBezTo>
                        <a:cubicBezTo>
                          <a:pt x="160399" y="89444"/>
                          <a:pt x="160399" y="89444"/>
                          <a:pt x="121139" y="67302"/>
                        </a:cubicBezTo>
                        <a:cubicBezTo>
                          <a:pt x="113287" y="73016"/>
                          <a:pt x="106862" y="78730"/>
                          <a:pt x="106862" y="78730"/>
                        </a:cubicBezTo>
                        <a:cubicBezTo>
                          <a:pt x="106862" y="78730"/>
                          <a:pt x="99724" y="84444"/>
                          <a:pt x="93300" y="90872"/>
                        </a:cubicBezTo>
                        <a:cubicBezTo>
                          <a:pt x="93300" y="90872"/>
                          <a:pt x="93300" y="90872"/>
                          <a:pt x="106862" y="130155"/>
                        </a:cubicBezTo>
                        <a:cubicBezTo>
                          <a:pt x="106862" y="130155"/>
                          <a:pt x="106862" y="130155"/>
                          <a:pt x="101865" y="136583"/>
                        </a:cubicBezTo>
                        <a:cubicBezTo>
                          <a:pt x="94013" y="147297"/>
                          <a:pt x="86875" y="158010"/>
                          <a:pt x="81878" y="169438"/>
                        </a:cubicBezTo>
                        <a:cubicBezTo>
                          <a:pt x="81878" y="169438"/>
                          <a:pt x="81878" y="169438"/>
                          <a:pt x="78309" y="176580"/>
                        </a:cubicBezTo>
                        <a:cubicBezTo>
                          <a:pt x="78309" y="176580"/>
                          <a:pt x="78309" y="176580"/>
                          <a:pt x="39763" y="183723"/>
                        </a:cubicBezTo>
                        <a:cubicBezTo>
                          <a:pt x="37621" y="193008"/>
                          <a:pt x="36194" y="200864"/>
                          <a:pt x="36194" y="201579"/>
                        </a:cubicBezTo>
                        <a:cubicBezTo>
                          <a:pt x="36194" y="201579"/>
                          <a:pt x="34766" y="209435"/>
                          <a:pt x="33338" y="219435"/>
                        </a:cubicBezTo>
                        <a:cubicBezTo>
                          <a:pt x="33338" y="219435"/>
                          <a:pt x="33338" y="219435"/>
                          <a:pt x="66174" y="238005"/>
                        </a:cubicBezTo>
                        <a:cubicBezTo>
                          <a:pt x="66174" y="238005"/>
                          <a:pt x="66174" y="238005"/>
                          <a:pt x="66174" y="246575"/>
                        </a:cubicBezTo>
                        <a:cubicBezTo>
                          <a:pt x="66888" y="260146"/>
                          <a:pt x="69743" y="273716"/>
                          <a:pt x="73312" y="286573"/>
                        </a:cubicBezTo>
                        <a:cubicBezTo>
                          <a:pt x="73312" y="286573"/>
                          <a:pt x="73312" y="286573"/>
                          <a:pt x="76168" y="294429"/>
                        </a:cubicBezTo>
                        <a:cubicBezTo>
                          <a:pt x="76168" y="294429"/>
                          <a:pt x="76168" y="294429"/>
                          <a:pt x="51898" y="324427"/>
                        </a:cubicBezTo>
                        <a:cubicBezTo>
                          <a:pt x="56181" y="332284"/>
                          <a:pt x="60464" y="340140"/>
                          <a:pt x="60464" y="340140"/>
                        </a:cubicBezTo>
                        <a:cubicBezTo>
                          <a:pt x="60464" y="340140"/>
                          <a:pt x="64747" y="347283"/>
                          <a:pt x="69743" y="355139"/>
                        </a:cubicBezTo>
                        <a:cubicBezTo>
                          <a:pt x="69743" y="355139"/>
                          <a:pt x="69743" y="355139"/>
                          <a:pt x="109717" y="348711"/>
                        </a:cubicBezTo>
                        <a:cubicBezTo>
                          <a:pt x="109717" y="348711"/>
                          <a:pt x="109717" y="348711"/>
                          <a:pt x="115428" y="354425"/>
                        </a:cubicBezTo>
                        <a:cubicBezTo>
                          <a:pt x="123994" y="362996"/>
                          <a:pt x="133988" y="370138"/>
                          <a:pt x="143981" y="376566"/>
                        </a:cubicBezTo>
                        <a:cubicBezTo>
                          <a:pt x="143981" y="376566"/>
                          <a:pt x="143981" y="376566"/>
                          <a:pt x="151119" y="381566"/>
                        </a:cubicBezTo>
                        <a:cubicBezTo>
                          <a:pt x="151119" y="381566"/>
                          <a:pt x="151119" y="381566"/>
                          <a:pt x="151833" y="423706"/>
                        </a:cubicBezTo>
                        <a:cubicBezTo>
                          <a:pt x="160399" y="427991"/>
                          <a:pt x="168251" y="430848"/>
                          <a:pt x="168251" y="430848"/>
                        </a:cubicBezTo>
                        <a:cubicBezTo>
                          <a:pt x="168251" y="430848"/>
                          <a:pt x="176103" y="433705"/>
                          <a:pt x="185383" y="436562"/>
                        </a:cubicBezTo>
                        <a:cubicBezTo>
                          <a:pt x="185383" y="436562"/>
                          <a:pt x="185383" y="436562"/>
                          <a:pt x="214650" y="402279"/>
                        </a:cubicBezTo>
                        <a:cubicBezTo>
                          <a:pt x="214650" y="402279"/>
                          <a:pt x="214650" y="402279"/>
                          <a:pt x="222502" y="402993"/>
                        </a:cubicBezTo>
                        <a:cubicBezTo>
                          <a:pt x="231068" y="403707"/>
                          <a:pt x="238920" y="404422"/>
                          <a:pt x="247486" y="403707"/>
                        </a:cubicBezTo>
                        <a:cubicBezTo>
                          <a:pt x="250341" y="403707"/>
                          <a:pt x="252482" y="403707"/>
                          <a:pt x="255338" y="402993"/>
                        </a:cubicBezTo>
                        <a:cubicBezTo>
                          <a:pt x="255338" y="402993"/>
                          <a:pt x="255338" y="402993"/>
                          <a:pt x="263190" y="402279"/>
                        </a:cubicBezTo>
                        <a:cubicBezTo>
                          <a:pt x="263190" y="402279"/>
                          <a:pt x="263190" y="402279"/>
                          <a:pt x="292457" y="436562"/>
                        </a:cubicBezTo>
                        <a:cubicBezTo>
                          <a:pt x="301736" y="433705"/>
                          <a:pt x="309588" y="430848"/>
                          <a:pt x="309588" y="430848"/>
                        </a:cubicBezTo>
                        <a:cubicBezTo>
                          <a:pt x="310302" y="430848"/>
                          <a:pt x="318154" y="427991"/>
                          <a:pt x="326720" y="423706"/>
                        </a:cubicBezTo>
                        <a:cubicBezTo>
                          <a:pt x="326720" y="423706"/>
                          <a:pt x="326720" y="423706"/>
                          <a:pt x="326720" y="381566"/>
                        </a:cubicBezTo>
                        <a:cubicBezTo>
                          <a:pt x="326720" y="381566"/>
                          <a:pt x="326720" y="381566"/>
                          <a:pt x="334572" y="377281"/>
                        </a:cubicBezTo>
                        <a:cubicBezTo>
                          <a:pt x="344566" y="370138"/>
                          <a:pt x="353846" y="362996"/>
                          <a:pt x="363125" y="354425"/>
                        </a:cubicBezTo>
                        <a:cubicBezTo>
                          <a:pt x="363125" y="354425"/>
                          <a:pt x="363125" y="354425"/>
                          <a:pt x="368836" y="348711"/>
                        </a:cubicBezTo>
                        <a:cubicBezTo>
                          <a:pt x="368836" y="348711"/>
                          <a:pt x="368836" y="348711"/>
                          <a:pt x="408096" y="355854"/>
                        </a:cubicBezTo>
                        <a:cubicBezTo>
                          <a:pt x="413807" y="347997"/>
                          <a:pt x="418090" y="340140"/>
                          <a:pt x="418090" y="340140"/>
                        </a:cubicBezTo>
                        <a:cubicBezTo>
                          <a:pt x="418090" y="340140"/>
                          <a:pt x="422373" y="332998"/>
                          <a:pt x="425942" y="324427"/>
                        </a:cubicBezTo>
                        <a:cubicBezTo>
                          <a:pt x="425942" y="324427"/>
                          <a:pt x="425942" y="324427"/>
                          <a:pt x="402386" y="295144"/>
                        </a:cubicBezTo>
                        <a:cubicBezTo>
                          <a:pt x="402386" y="295144"/>
                          <a:pt x="402386" y="295144"/>
                          <a:pt x="405241" y="287287"/>
                        </a:cubicBezTo>
                        <a:cubicBezTo>
                          <a:pt x="408810" y="273716"/>
                          <a:pt x="411665" y="260146"/>
                          <a:pt x="412379" y="246575"/>
                        </a:cubicBezTo>
                        <a:cubicBezTo>
                          <a:pt x="412379" y="246575"/>
                          <a:pt x="412379" y="246575"/>
                          <a:pt x="413093" y="238005"/>
                        </a:cubicBezTo>
                        <a:cubicBezTo>
                          <a:pt x="413093" y="238005"/>
                          <a:pt x="413093" y="238005"/>
                          <a:pt x="444501" y="219435"/>
                        </a:cubicBezTo>
                        <a:cubicBezTo>
                          <a:pt x="443787" y="210149"/>
                          <a:pt x="442360" y="201579"/>
                          <a:pt x="442360" y="201579"/>
                        </a:cubicBezTo>
                        <a:cubicBezTo>
                          <a:pt x="442360" y="201579"/>
                          <a:pt x="440932" y="193008"/>
                          <a:pt x="438791" y="183723"/>
                        </a:cubicBezTo>
                        <a:cubicBezTo>
                          <a:pt x="438791" y="183723"/>
                          <a:pt x="438791" y="183723"/>
                          <a:pt x="428083" y="182294"/>
                        </a:cubicBezTo>
                        <a:cubicBezTo>
                          <a:pt x="428083" y="182294"/>
                          <a:pt x="428083" y="182294"/>
                          <a:pt x="400244" y="176580"/>
                        </a:cubicBezTo>
                        <a:cubicBezTo>
                          <a:pt x="400244" y="176580"/>
                          <a:pt x="400244" y="176580"/>
                          <a:pt x="397389" y="169438"/>
                        </a:cubicBezTo>
                        <a:cubicBezTo>
                          <a:pt x="396675" y="168010"/>
                          <a:pt x="395961" y="167295"/>
                          <a:pt x="395247" y="165867"/>
                        </a:cubicBezTo>
                        <a:cubicBezTo>
                          <a:pt x="390251" y="155868"/>
                          <a:pt x="383826" y="146583"/>
                          <a:pt x="377402" y="136583"/>
                        </a:cubicBezTo>
                        <a:cubicBezTo>
                          <a:pt x="377402" y="136583"/>
                          <a:pt x="377402" y="136583"/>
                          <a:pt x="371691" y="130155"/>
                        </a:cubicBezTo>
                        <a:cubicBezTo>
                          <a:pt x="371691" y="130155"/>
                          <a:pt x="371691" y="130155"/>
                          <a:pt x="385254" y="90872"/>
                        </a:cubicBezTo>
                        <a:cubicBezTo>
                          <a:pt x="378829" y="84444"/>
                          <a:pt x="372405" y="78730"/>
                          <a:pt x="371691" y="78730"/>
                        </a:cubicBezTo>
                        <a:cubicBezTo>
                          <a:pt x="371691" y="78730"/>
                          <a:pt x="365267" y="73016"/>
                          <a:pt x="358128" y="67302"/>
                        </a:cubicBezTo>
                        <a:cubicBezTo>
                          <a:pt x="358128" y="67302"/>
                          <a:pt x="358128" y="67302"/>
                          <a:pt x="318868" y="89444"/>
                        </a:cubicBezTo>
                        <a:cubicBezTo>
                          <a:pt x="318868" y="89444"/>
                          <a:pt x="318868" y="89444"/>
                          <a:pt x="311730" y="86587"/>
                        </a:cubicBezTo>
                        <a:cubicBezTo>
                          <a:pt x="301736" y="82301"/>
                          <a:pt x="292457" y="78730"/>
                          <a:pt x="282463" y="76587"/>
                        </a:cubicBezTo>
                        <a:cubicBezTo>
                          <a:pt x="282463" y="76587"/>
                          <a:pt x="282463" y="76587"/>
                          <a:pt x="273897" y="74445"/>
                        </a:cubicBezTo>
                        <a:cubicBezTo>
                          <a:pt x="273897" y="74445"/>
                          <a:pt x="273897" y="74445"/>
                          <a:pt x="256765" y="30876"/>
                        </a:cubicBezTo>
                        <a:cubicBezTo>
                          <a:pt x="247486" y="30162"/>
                          <a:pt x="238920" y="30162"/>
                          <a:pt x="238920" y="30162"/>
                        </a:cubicBezTo>
                        <a:close/>
                        <a:moveTo>
                          <a:pt x="237768" y="0"/>
                        </a:moveTo>
                        <a:cubicBezTo>
                          <a:pt x="238482" y="0"/>
                          <a:pt x="254905" y="0"/>
                          <a:pt x="269899" y="2137"/>
                        </a:cubicBezTo>
                        <a:cubicBezTo>
                          <a:pt x="269899" y="2137"/>
                          <a:pt x="269899" y="2137"/>
                          <a:pt x="279181" y="2849"/>
                        </a:cubicBezTo>
                        <a:cubicBezTo>
                          <a:pt x="279181" y="2849"/>
                          <a:pt x="279181" y="2849"/>
                          <a:pt x="296318" y="49143"/>
                        </a:cubicBezTo>
                        <a:cubicBezTo>
                          <a:pt x="302744" y="51280"/>
                          <a:pt x="309170" y="53416"/>
                          <a:pt x="315596" y="55553"/>
                        </a:cubicBezTo>
                        <a:cubicBezTo>
                          <a:pt x="315596" y="55553"/>
                          <a:pt x="315596" y="55553"/>
                          <a:pt x="358437" y="32050"/>
                        </a:cubicBezTo>
                        <a:cubicBezTo>
                          <a:pt x="358437" y="32050"/>
                          <a:pt x="358437" y="32050"/>
                          <a:pt x="366291" y="37035"/>
                        </a:cubicBezTo>
                        <a:cubicBezTo>
                          <a:pt x="377716" y="44870"/>
                          <a:pt x="390568" y="55553"/>
                          <a:pt x="391282" y="55553"/>
                        </a:cubicBezTo>
                        <a:cubicBezTo>
                          <a:pt x="391282" y="56265"/>
                          <a:pt x="404134" y="66949"/>
                          <a:pt x="414131" y="76920"/>
                        </a:cubicBezTo>
                        <a:cubicBezTo>
                          <a:pt x="414131" y="76920"/>
                          <a:pt x="414131" y="76920"/>
                          <a:pt x="420557" y="84042"/>
                        </a:cubicBezTo>
                        <a:cubicBezTo>
                          <a:pt x="420557" y="84042"/>
                          <a:pt x="420557" y="84042"/>
                          <a:pt x="405562" y="125350"/>
                        </a:cubicBezTo>
                        <a:cubicBezTo>
                          <a:pt x="411275" y="132473"/>
                          <a:pt x="416273" y="140307"/>
                          <a:pt x="420557" y="149566"/>
                        </a:cubicBezTo>
                        <a:cubicBezTo>
                          <a:pt x="420557" y="149566"/>
                          <a:pt x="420557" y="149566"/>
                          <a:pt x="421271" y="149566"/>
                        </a:cubicBezTo>
                        <a:cubicBezTo>
                          <a:pt x="421271" y="149566"/>
                          <a:pt x="421271" y="149566"/>
                          <a:pt x="462684" y="157400"/>
                        </a:cubicBezTo>
                        <a:cubicBezTo>
                          <a:pt x="462684" y="157400"/>
                          <a:pt x="462684" y="157400"/>
                          <a:pt x="464112" y="162386"/>
                        </a:cubicBezTo>
                        <a:cubicBezTo>
                          <a:pt x="464112" y="162386"/>
                          <a:pt x="464112" y="162386"/>
                          <a:pt x="464826" y="166659"/>
                        </a:cubicBezTo>
                        <a:cubicBezTo>
                          <a:pt x="469110" y="180191"/>
                          <a:pt x="471966" y="195860"/>
                          <a:pt x="471966" y="196572"/>
                        </a:cubicBezTo>
                        <a:cubicBezTo>
                          <a:pt x="471966" y="197284"/>
                          <a:pt x="474822" y="213665"/>
                          <a:pt x="476250" y="227910"/>
                        </a:cubicBezTo>
                        <a:cubicBezTo>
                          <a:pt x="476250" y="227910"/>
                          <a:pt x="476250" y="227910"/>
                          <a:pt x="476250" y="237169"/>
                        </a:cubicBezTo>
                        <a:cubicBezTo>
                          <a:pt x="476250" y="237169"/>
                          <a:pt x="476250" y="237169"/>
                          <a:pt x="441977" y="257111"/>
                        </a:cubicBezTo>
                        <a:cubicBezTo>
                          <a:pt x="441263" y="267794"/>
                          <a:pt x="439121" y="278477"/>
                          <a:pt x="436265" y="288448"/>
                        </a:cubicBezTo>
                        <a:cubicBezTo>
                          <a:pt x="436265" y="288448"/>
                          <a:pt x="436265" y="288448"/>
                          <a:pt x="461970" y="319786"/>
                        </a:cubicBezTo>
                        <a:cubicBezTo>
                          <a:pt x="461970" y="319786"/>
                          <a:pt x="461970" y="319786"/>
                          <a:pt x="457686" y="328332"/>
                        </a:cubicBezTo>
                        <a:cubicBezTo>
                          <a:pt x="452688" y="341152"/>
                          <a:pt x="444119" y="355397"/>
                          <a:pt x="444119" y="356109"/>
                        </a:cubicBezTo>
                        <a:cubicBezTo>
                          <a:pt x="443405" y="356821"/>
                          <a:pt x="435551" y="371065"/>
                          <a:pt x="426983" y="382461"/>
                        </a:cubicBezTo>
                        <a:cubicBezTo>
                          <a:pt x="426983" y="382461"/>
                          <a:pt x="426983" y="382461"/>
                          <a:pt x="421271" y="389583"/>
                        </a:cubicBezTo>
                        <a:cubicBezTo>
                          <a:pt x="421271" y="389583"/>
                          <a:pt x="421271" y="389583"/>
                          <a:pt x="377716" y="382461"/>
                        </a:cubicBezTo>
                        <a:cubicBezTo>
                          <a:pt x="371290" y="388871"/>
                          <a:pt x="364149" y="393856"/>
                          <a:pt x="357009" y="398842"/>
                        </a:cubicBezTo>
                        <a:cubicBezTo>
                          <a:pt x="357009" y="398842"/>
                          <a:pt x="357009" y="398842"/>
                          <a:pt x="356295" y="443712"/>
                        </a:cubicBezTo>
                        <a:cubicBezTo>
                          <a:pt x="356295" y="443712"/>
                          <a:pt x="356295" y="443712"/>
                          <a:pt x="348441" y="447985"/>
                        </a:cubicBezTo>
                        <a:cubicBezTo>
                          <a:pt x="335589" y="454395"/>
                          <a:pt x="319880" y="460093"/>
                          <a:pt x="319166" y="460093"/>
                        </a:cubicBezTo>
                        <a:cubicBezTo>
                          <a:pt x="319166" y="460805"/>
                          <a:pt x="303458" y="465790"/>
                          <a:pt x="289892" y="469351"/>
                        </a:cubicBezTo>
                        <a:cubicBezTo>
                          <a:pt x="289892" y="469351"/>
                          <a:pt x="289892" y="469351"/>
                          <a:pt x="280609" y="471488"/>
                        </a:cubicBezTo>
                        <a:cubicBezTo>
                          <a:pt x="280609" y="471488"/>
                          <a:pt x="280609" y="471488"/>
                          <a:pt x="248479" y="435165"/>
                        </a:cubicBezTo>
                        <a:cubicBezTo>
                          <a:pt x="244194" y="435165"/>
                          <a:pt x="240624" y="435165"/>
                          <a:pt x="236340" y="435165"/>
                        </a:cubicBezTo>
                        <a:cubicBezTo>
                          <a:pt x="232770" y="435165"/>
                          <a:pt x="229914" y="435165"/>
                          <a:pt x="226344" y="435165"/>
                        </a:cubicBezTo>
                        <a:cubicBezTo>
                          <a:pt x="226344" y="435165"/>
                          <a:pt x="226344" y="435165"/>
                          <a:pt x="197783" y="469351"/>
                        </a:cubicBezTo>
                        <a:cubicBezTo>
                          <a:pt x="197783" y="469351"/>
                          <a:pt x="197783" y="469351"/>
                          <a:pt x="195641" y="471488"/>
                        </a:cubicBezTo>
                        <a:cubicBezTo>
                          <a:pt x="195641" y="471488"/>
                          <a:pt x="195641" y="471488"/>
                          <a:pt x="186359" y="469351"/>
                        </a:cubicBezTo>
                        <a:cubicBezTo>
                          <a:pt x="172793" y="465790"/>
                          <a:pt x="157084" y="460093"/>
                          <a:pt x="156370" y="460093"/>
                        </a:cubicBezTo>
                        <a:cubicBezTo>
                          <a:pt x="155656" y="460093"/>
                          <a:pt x="140662" y="454395"/>
                          <a:pt x="127809" y="447985"/>
                        </a:cubicBezTo>
                        <a:cubicBezTo>
                          <a:pt x="127809" y="447985"/>
                          <a:pt x="127809" y="447985"/>
                          <a:pt x="119241" y="443712"/>
                        </a:cubicBezTo>
                        <a:cubicBezTo>
                          <a:pt x="119241" y="443712"/>
                          <a:pt x="119241" y="443712"/>
                          <a:pt x="118527" y="398842"/>
                        </a:cubicBezTo>
                        <a:cubicBezTo>
                          <a:pt x="111387" y="393856"/>
                          <a:pt x="104961" y="388159"/>
                          <a:pt x="98535" y="382461"/>
                        </a:cubicBezTo>
                        <a:cubicBezTo>
                          <a:pt x="98535" y="382461"/>
                          <a:pt x="98535" y="382461"/>
                          <a:pt x="54980" y="389583"/>
                        </a:cubicBezTo>
                        <a:cubicBezTo>
                          <a:pt x="54980" y="389583"/>
                          <a:pt x="54980" y="389583"/>
                          <a:pt x="49267" y="381749"/>
                        </a:cubicBezTo>
                        <a:cubicBezTo>
                          <a:pt x="40699" y="371065"/>
                          <a:pt x="32131" y="356821"/>
                          <a:pt x="32131" y="356109"/>
                        </a:cubicBezTo>
                        <a:cubicBezTo>
                          <a:pt x="31417" y="355397"/>
                          <a:pt x="23563" y="341152"/>
                          <a:pt x="17851" y="328332"/>
                        </a:cubicBezTo>
                        <a:cubicBezTo>
                          <a:pt x="17851" y="328332"/>
                          <a:pt x="17851" y="328332"/>
                          <a:pt x="14281" y="319786"/>
                        </a:cubicBezTo>
                        <a:cubicBezTo>
                          <a:pt x="14281" y="319786"/>
                          <a:pt x="14281" y="319786"/>
                          <a:pt x="39985" y="288448"/>
                        </a:cubicBezTo>
                        <a:cubicBezTo>
                          <a:pt x="37129" y="278477"/>
                          <a:pt x="35701" y="267794"/>
                          <a:pt x="34273" y="257111"/>
                        </a:cubicBezTo>
                        <a:cubicBezTo>
                          <a:pt x="34273" y="257111"/>
                          <a:pt x="34273" y="257111"/>
                          <a:pt x="0" y="237169"/>
                        </a:cubicBezTo>
                        <a:cubicBezTo>
                          <a:pt x="0" y="237169"/>
                          <a:pt x="0" y="237169"/>
                          <a:pt x="0" y="227198"/>
                        </a:cubicBezTo>
                        <a:cubicBezTo>
                          <a:pt x="714" y="212953"/>
                          <a:pt x="3570" y="197284"/>
                          <a:pt x="4284" y="196572"/>
                        </a:cubicBezTo>
                        <a:cubicBezTo>
                          <a:pt x="4284" y="195860"/>
                          <a:pt x="7140" y="179479"/>
                          <a:pt x="11425" y="165947"/>
                        </a:cubicBezTo>
                        <a:cubicBezTo>
                          <a:pt x="11425" y="165947"/>
                          <a:pt x="11425" y="165947"/>
                          <a:pt x="13567" y="157400"/>
                        </a:cubicBezTo>
                        <a:cubicBezTo>
                          <a:pt x="13567" y="157400"/>
                          <a:pt x="13567" y="157400"/>
                          <a:pt x="55694" y="149566"/>
                        </a:cubicBezTo>
                        <a:cubicBezTo>
                          <a:pt x="59978" y="140307"/>
                          <a:pt x="64976" y="132473"/>
                          <a:pt x="70688" y="125350"/>
                        </a:cubicBezTo>
                        <a:cubicBezTo>
                          <a:pt x="70688" y="125350"/>
                          <a:pt x="70688" y="125350"/>
                          <a:pt x="55694" y="84042"/>
                        </a:cubicBezTo>
                        <a:cubicBezTo>
                          <a:pt x="55694" y="84042"/>
                          <a:pt x="55694" y="84042"/>
                          <a:pt x="62834" y="76920"/>
                        </a:cubicBezTo>
                        <a:cubicBezTo>
                          <a:pt x="72116" y="66236"/>
                          <a:pt x="84968" y="56265"/>
                          <a:pt x="84968" y="55553"/>
                        </a:cubicBezTo>
                        <a:cubicBezTo>
                          <a:pt x="85682" y="54841"/>
                          <a:pt x="98535" y="44870"/>
                          <a:pt x="109959" y="37035"/>
                        </a:cubicBezTo>
                        <a:cubicBezTo>
                          <a:pt x="109959" y="37035"/>
                          <a:pt x="109959" y="37035"/>
                          <a:pt x="117813" y="32050"/>
                        </a:cubicBezTo>
                        <a:cubicBezTo>
                          <a:pt x="117813" y="32050"/>
                          <a:pt x="117813" y="32050"/>
                          <a:pt x="160654" y="55553"/>
                        </a:cubicBezTo>
                        <a:cubicBezTo>
                          <a:pt x="167080" y="53416"/>
                          <a:pt x="173507" y="51280"/>
                          <a:pt x="179933" y="49143"/>
                        </a:cubicBezTo>
                        <a:cubicBezTo>
                          <a:pt x="179933" y="49143"/>
                          <a:pt x="179933" y="49143"/>
                          <a:pt x="197069" y="2849"/>
                        </a:cubicBezTo>
                        <a:cubicBezTo>
                          <a:pt x="197069" y="2849"/>
                          <a:pt x="197069" y="2849"/>
                          <a:pt x="207065" y="2137"/>
                        </a:cubicBezTo>
                        <a:cubicBezTo>
                          <a:pt x="220632" y="0"/>
                          <a:pt x="237054" y="0"/>
                          <a:pt x="237768" y="0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</p:grp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DEF6A930-8CF9-46B0-8854-08049C1574DB}"/>
              </a:ext>
            </a:extLst>
          </p:cNvPr>
          <p:cNvCxnSpPr>
            <a:cxnSpLocks/>
          </p:cNvCxnSpPr>
          <p:nvPr/>
        </p:nvCxnSpPr>
        <p:spPr>
          <a:xfrm>
            <a:off x="5363735" y="4640511"/>
            <a:ext cx="6199615" cy="0"/>
          </a:xfrm>
          <a:prstGeom prst="line">
            <a:avLst/>
          </a:prstGeom>
          <a:ln w="19050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CD5D5E6C-4968-40D4-8D87-C4964F1FC109}"/>
              </a:ext>
            </a:extLst>
          </p:cNvPr>
          <p:cNvGrpSpPr/>
          <p:nvPr/>
        </p:nvGrpSpPr>
        <p:grpSpPr>
          <a:xfrm>
            <a:off x="463274" y="4727742"/>
            <a:ext cx="11100666" cy="1136555"/>
            <a:chOff x="462684" y="2105706"/>
            <a:chExt cx="11100666" cy="1136555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EC9FE3B8-44E9-48C2-82E5-019CA5E59EC5}"/>
                </a:ext>
              </a:extLst>
            </p:cNvPr>
            <p:cNvSpPr txBox="1"/>
            <p:nvPr/>
          </p:nvSpPr>
          <p:spPr>
            <a:xfrm>
              <a:off x="5363735" y="2258485"/>
              <a:ext cx="6199615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lvl="1">
                <a:lnSpc>
                  <a:spcPct val="90000"/>
                </a:lnSpc>
                <a:buClr>
                  <a:schemeClr val="bg1"/>
                </a:buClr>
              </a:pPr>
              <a:r>
                <a:rPr lang="en-US" sz="1400" spc="-30">
                  <a:solidFill>
                    <a:srgbClr val="FFFFFF"/>
                  </a:solidFill>
                  <a:sym typeface="+mn-lt"/>
                </a:rPr>
                <a:t>"One of the biggest things I wish I had is extra support. To have an additional person to manage follow-up when I'm overstretched would be huge"</a:t>
              </a:r>
            </a:p>
            <a:p>
              <a:pPr marL="0" lvl="7" algn="r">
                <a:lnSpc>
                  <a:spcPct val="90000"/>
                </a:lnSpc>
                <a:buFont typeface="Trebuchet MS" panose="020B0603020202020204" pitchFamily="34" charset="0"/>
                <a:buChar char="​"/>
              </a:pPr>
              <a:r>
                <a:rPr lang="en-US" sz="1400" spc="-30">
                  <a:solidFill>
                    <a:srgbClr val="FFFFFF"/>
                  </a:solidFill>
                  <a:sym typeface="+mn-lt"/>
                </a:rPr>
                <a:t> —BSR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ECD2AD2-AA7F-40E4-9F9B-D126DF3EB1C3}"/>
                </a:ext>
              </a:extLst>
            </p:cNvPr>
            <p:cNvSpPr txBox="1"/>
            <p:nvPr/>
          </p:nvSpPr>
          <p:spPr>
            <a:xfrm>
              <a:off x="1809690" y="2258485"/>
              <a:ext cx="2988231" cy="8309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dirty="0">
                  <a:solidFill>
                    <a:schemeClr val="tx2"/>
                  </a:solidFill>
                  <a:sym typeface="+mn-lt"/>
                </a:rPr>
                <a:t>Market Makers free up </a:t>
              </a:r>
              <a:r>
                <a:rPr lang="en-US" dirty="0" err="1">
                  <a:solidFill>
                    <a:schemeClr val="tx2"/>
                  </a:solidFill>
                  <a:sym typeface="+mn-lt"/>
                </a:rPr>
                <a:t>BSR</a:t>
              </a:r>
              <a:r>
                <a:rPr lang="en-US" dirty="0">
                  <a:solidFill>
                    <a:schemeClr val="tx2"/>
                  </a:solidFill>
                  <a:sym typeface="+mn-lt"/>
                </a:rPr>
                <a:t> time to focus on non-training pipeline recruiting 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1A6F4BC-4D12-4B3E-9D4C-4CDEBF19DD6D}"/>
                </a:ext>
              </a:extLst>
            </p:cNvPr>
            <p:cNvGrpSpPr/>
            <p:nvPr/>
          </p:nvGrpSpPr>
          <p:grpSpPr>
            <a:xfrm>
              <a:off x="462684" y="2105706"/>
              <a:ext cx="1136555" cy="1136555"/>
              <a:chOff x="462684" y="2105706"/>
              <a:chExt cx="1136555" cy="1136555"/>
            </a:xfrm>
          </p:grpSpPr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5474880D-E7BD-40CA-908F-D56CEDC14E52}"/>
                  </a:ext>
                </a:extLst>
              </p:cNvPr>
              <p:cNvSpPr/>
              <p:nvPr/>
            </p:nvSpPr>
            <p:spPr>
              <a:xfrm>
                <a:off x="462684" y="2105706"/>
                <a:ext cx="1136555" cy="1136555"/>
              </a:xfrm>
              <a:prstGeom prst="ellipse">
                <a:avLst/>
              </a:prstGeom>
              <a:grpFill/>
              <a:ln w="36195">
                <a:gradFill flip="none" rotWithShape="1">
                  <a:gsLst>
                    <a:gs pos="0">
                      <a:schemeClr val="accent5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>
                  <a:solidFill>
                    <a:schemeClr val="bg1">
                      <a:lumMod val="50000"/>
                    </a:schemeClr>
                  </a:solidFill>
                  <a:sym typeface="+mn-lt"/>
                </a:endParaRPr>
              </a:p>
            </p:txBody>
          </p:sp>
          <p:grpSp>
            <p:nvGrpSpPr>
              <p:cNvPr id="53" name="bcgIcons_GoToMarket">
                <a:extLst>
                  <a:ext uri="{FF2B5EF4-FFF2-40B4-BE49-F238E27FC236}">
                    <a16:creationId xmlns:a16="http://schemas.microsoft.com/office/drawing/2014/main" id="{80DCD6BF-47C8-41B6-935A-8B6D6CCE7BF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76486" y="2219087"/>
                <a:ext cx="908951" cy="909793"/>
                <a:chOff x="1682" y="0"/>
                <a:chExt cx="4316" cy="4320"/>
              </a:xfrm>
            </p:grpSpPr>
            <p:sp>
              <p:nvSpPr>
                <p:cNvPr id="54" name="AutoShape 14">
                  <a:extLst>
                    <a:ext uri="{FF2B5EF4-FFF2-40B4-BE49-F238E27FC236}">
                      <a16:creationId xmlns:a16="http://schemas.microsoft.com/office/drawing/2014/main" id="{6B6264DF-7B72-47C2-A253-60D979D85B1E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Freeform 16">
                  <a:extLst>
                    <a:ext uri="{FF2B5EF4-FFF2-40B4-BE49-F238E27FC236}">
                      <a16:creationId xmlns:a16="http://schemas.microsoft.com/office/drawing/2014/main" id="{FF46FB5E-9D6C-47F1-A06B-2A72B07FF12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74" y="296"/>
                  <a:ext cx="2605" cy="2697"/>
                </a:xfrm>
                <a:custGeom>
                  <a:avLst/>
                  <a:gdLst>
                    <a:gd name="T0" fmla="*/ 540 w 1391"/>
                    <a:gd name="T1" fmla="*/ 461 h 1438"/>
                    <a:gd name="T2" fmla="*/ 144 w 1391"/>
                    <a:gd name="T3" fmla="*/ 866 h 1438"/>
                    <a:gd name="T4" fmla="*/ 204 w 1391"/>
                    <a:gd name="T5" fmla="*/ 1230 h 1438"/>
                    <a:gd name="T6" fmla="*/ 235 w 1391"/>
                    <a:gd name="T7" fmla="*/ 1261 h 1438"/>
                    <a:gd name="T8" fmla="*/ 122 w 1391"/>
                    <a:gd name="T9" fmla="*/ 1364 h 1438"/>
                    <a:gd name="T10" fmla="*/ 121 w 1391"/>
                    <a:gd name="T11" fmla="*/ 1364 h 1438"/>
                    <a:gd name="T12" fmla="*/ 8 w 1391"/>
                    <a:gd name="T13" fmla="*/ 1258 h 1438"/>
                    <a:gd name="T14" fmla="*/ 40 w 1391"/>
                    <a:gd name="T15" fmla="*/ 1228 h 1438"/>
                    <a:gd name="T16" fmla="*/ 100 w 1391"/>
                    <a:gd name="T17" fmla="*/ 857 h 1438"/>
                    <a:gd name="T18" fmla="*/ 496 w 1391"/>
                    <a:gd name="T19" fmla="*/ 452 h 1438"/>
                    <a:gd name="T20" fmla="*/ 518 w 1391"/>
                    <a:gd name="T21" fmla="*/ 0 h 1438"/>
                    <a:gd name="T22" fmla="*/ 758 w 1391"/>
                    <a:gd name="T23" fmla="*/ 746 h 1438"/>
                    <a:gd name="T24" fmla="*/ 699 w 1391"/>
                    <a:gd name="T25" fmla="*/ 22 h 1438"/>
                    <a:gd name="T26" fmla="*/ 655 w 1391"/>
                    <a:gd name="T27" fmla="*/ 22 h 1438"/>
                    <a:gd name="T28" fmla="*/ 594 w 1391"/>
                    <a:gd name="T29" fmla="*/ 744 h 1438"/>
                    <a:gd name="T30" fmla="*/ 562 w 1391"/>
                    <a:gd name="T31" fmla="*/ 775 h 1438"/>
                    <a:gd name="T32" fmla="*/ 674 w 1391"/>
                    <a:gd name="T33" fmla="*/ 880 h 1438"/>
                    <a:gd name="T34" fmla="*/ 690 w 1391"/>
                    <a:gd name="T35" fmla="*/ 874 h 1438"/>
                    <a:gd name="T36" fmla="*/ 790 w 1391"/>
                    <a:gd name="T37" fmla="*/ 747 h 1438"/>
                    <a:gd name="T38" fmla="*/ 1111 w 1391"/>
                    <a:gd name="T39" fmla="*/ 886 h 1438"/>
                    <a:gd name="T40" fmla="*/ 1051 w 1391"/>
                    <a:gd name="T41" fmla="*/ 726 h 1438"/>
                    <a:gd name="T42" fmla="*/ 858 w 1391"/>
                    <a:gd name="T43" fmla="*/ 524 h 1438"/>
                    <a:gd name="T44" fmla="*/ 836 w 1391"/>
                    <a:gd name="T45" fmla="*/ 0 h 1438"/>
                    <a:gd name="T46" fmla="*/ 814 w 1391"/>
                    <a:gd name="T47" fmla="*/ 533 h 1438"/>
                    <a:gd name="T48" fmla="*/ 1007 w 1391"/>
                    <a:gd name="T49" fmla="*/ 735 h 1438"/>
                    <a:gd name="T50" fmla="*/ 947 w 1391"/>
                    <a:gd name="T51" fmla="*/ 884 h 1438"/>
                    <a:gd name="T52" fmla="*/ 915 w 1391"/>
                    <a:gd name="T53" fmla="*/ 915 h 1438"/>
                    <a:gd name="T54" fmla="*/ 1027 w 1391"/>
                    <a:gd name="T55" fmla="*/ 1021 h 1438"/>
                    <a:gd name="T56" fmla="*/ 1043 w 1391"/>
                    <a:gd name="T57" fmla="*/ 1014 h 1438"/>
                    <a:gd name="T58" fmla="*/ 1142 w 1391"/>
                    <a:gd name="T59" fmla="*/ 887 h 1438"/>
                    <a:gd name="T60" fmla="*/ 1383 w 1391"/>
                    <a:gd name="T61" fmla="*/ 1304 h 1438"/>
                    <a:gd name="T62" fmla="*/ 1291 w 1391"/>
                    <a:gd name="T63" fmla="*/ 1362 h 1438"/>
                    <a:gd name="T64" fmla="*/ 1285 w 1391"/>
                    <a:gd name="T65" fmla="*/ 618 h 1438"/>
                    <a:gd name="T66" fmla="*/ 1016 w 1391"/>
                    <a:gd name="T67" fmla="*/ 22 h 1438"/>
                    <a:gd name="T68" fmla="*/ 972 w 1391"/>
                    <a:gd name="T69" fmla="*/ 22 h 1438"/>
                    <a:gd name="T70" fmla="*/ 979 w 1391"/>
                    <a:gd name="T71" fmla="*/ 373 h 1438"/>
                    <a:gd name="T72" fmla="*/ 1247 w 1391"/>
                    <a:gd name="T73" fmla="*/ 1363 h 1438"/>
                    <a:gd name="T74" fmla="*/ 1156 w 1391"/>
                    <a:gd name="T75" fmla="*/ 1301 h 1438"/>
                    <a:gd name="T76" fmla="*/ 1252 w 1391"/>
                    <a:gd name="T77" fmla="*/ 1431 h 1438"/>
                    <a:gd name="T78" fmla="*/ 1268 w 1391"/>
                    <a:gd name="T79" fmla="*/ 1438 h 1438"/>
                    <a:gd name="T80" fmla="*/ 1288 w 1391"/>
                    <a:gd name="T81" fmla="*/ 1427 h 1438"/>
                    <a:gd name="T82" fmla="*/ 1383 w 1391"/>
                    <a:gd name="T83" fmla="*/ 1304 h 14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391" h="1438">
                      <a:moveTo>
                        <a:pt x="540" y="22"/>
                      </a:moveTo>
                      <a:cubicBezTo>
                        <a:pt x="540" y="461"/>
                        <a:pt x="540" y="461"/>
                        <a:pt x="540" y="461"/>
                      </a:cubicBezTo>
                      <a:cubicBezTo>
                        <a:pt x="540" y="467"/>
                        <a:pt x="538" y="472"/>
                        <a:pt x="534" y="476"/>
                      </a:cubicBezTo>
                      <a:cubicBezTo>
                        <a:pt x="144" y="866"/>
                        <a:pt x="144" y="866"/>
                        <a:pt x="144" y="866"/>
                      </a:cubicBezTo>
                      <a:cubicBezTo>
                        <a:pt x="144" y="1289"/>
                        <a:pt x="144" y="1289"/>
                        <a:pt x="144" y="1289"/>
                      </a:cubicBezTo>
                      <a:cubicBezTo>
                        <a:pt x="204" y="1230"/>
                        <a:pt x="204" y="1230"/>
                        <a:pt x="204" y="1230"/>
                      </a:cubicBezTo>
                      <a:cubicBezTo>
                        <a:pt x="213" y="1221"/>
                        <a:pt x="227" y="1221"/>
                        <a:pt x="235" y="1230"/>
                      </a:cubicBezTo>
                      <a:cubicBezTo>
                        <a:pt x="244" y="1239"/>
                        <a:pt x="244" y="1253"/>
                        <a:pt x="235" y="1261"/>
                      </a:cubicBezTo>
                      <a:cubicBezTo>
                        <a:pt x="141" y="1353"/>
                        <a:pt x="141" y="1353"/>
                        <a:pt x="141" y="1353"/>
                      </a:cubicBezTo>
                      <a:cubicBezTo>
                        <a:pt x="137" y="1360"/>
                        <a:pt x="130" y="1364"/>
                        <a:pt x="122" y="1364"/>
                      </a:cubicBezTo>
                      <a:cubicBezTo>
                        <a:pt x="122" y="1364"/>
                        <a:pt x="121" y="1364"/>
                        <a:pt x="121" y="1364"/>
                      </a:cubicBezTo>
                      <a:cubicBezTo>
                        <a:pt x="121" y="1364"/>
                        <a:pt x="121" y="1364"/>
                        <a:pt x="121" y="1364"/>
                      </a:cubicBezTo>
                      <a:cubicBezTo>
                        <a:pt x="115" y="1364"/>
                        <a:pt x="109" y="1362"/>
                        <a:pt x="105" y="1357"/>
                      </a:cubicBezTo>
                      <a:cubicBezTo>
                        <a:pt x="8" y="1258"/>
                        <a:pt x="8" y="1258"/>
                        <a:pt x="8" y="1258"/>
                      </a:cubicBezTo>
                      <a:cubicBezTo>
                        <a:pt x="0" y="1250"/>
                        <a:pt x="0" y="1236"/>
                        <a:pt x="9" y="1227"/>
                      </a:cubicBezTo>
                      <a:cubicBezTo>
                        <a:pt x="18" y="1219"/>
                        <a:pt x="31" y="1219"/>
                        <a:pt x="40" y="1228"/>
                      </a:cubicBezTo>
                      <a:cubicBezTo>
                        <a:pt x="100" y="1289"/>
                        <a:pt x="100" y="1289"/>
                        <a:pt x="100" y="1289"/>
                      </a:cubicBezTo>
                      <a:cubicBezTo>
                        <a:pt x="100" y="857"/>
                        <a:pt x="100" y="857"/>
                        <a:pt x="100" y="857"/>
                      </a:cubicBezTo>
                      <a:cubicBezTo>
                        <a:pt x="100" y="851"/>
                        <a:pt x="102" y="846"/>
                        <a:pt x="106" y="842"/>
                      </a:cubicBezTo>
                      <a:cubicBezTo>
                        <a:pt x="496" y="452"/>
                        <a:pt x="496" y="452"/>
                        <a:pt x="496" y="452"/>
                      </a:cubicBezTo>
                      <a:cubicBezTo>
                        <a:pt x="496" y="22"/>
                        <a:pt x="496" y="22"/>
                        <a:pt x="496" y="22"/>
                      </a:cubicBezTo>
                      <a:cubicBezTo>
                        <a:pt x="496" y="10"/>
                        <a:pt x="506" y="0"/>
                        <a:pt x="518" y="0"/>
                      </a:cubicBezTo>
                      <a:cubicBezTo>
                        <a:pt x="531" y="0"/>
                        <a:pt x="540" y="10"/>
                        <a:pt x="540" y="22"/>
                      </a:cubicBezTo>
                      <a:close/>
                      <a:moveTo>
                        <a:pt x="758" y="746"/>
                      </a:moveTo>
                      <a:cubicBezTo>
                        <a:pt x="699" y="804"/>
                        <a:pt x="699" y="804"/>
                        <a:pt x="699" y="804"/>
                      </a:cubicBezTo>
                      <a:cubicBezTo>
                        <a:pt x="699" y="22"/>
                        <a:pt x="699" y="22"/>
                        <a:pt x="699" y="22"/>
                      </a:cubicBezTo>
                      <a:cubicBezTo>
                        <a:pt x="699" y="10"/>
                        <a:pt x="689" y="0"/>
                        <a:pt x="677" y="0"/>
                      </a:cubicBezTo>
                      <a:cubicBezTo>
                        <a:pt x="665" y="0"/>
                        <a:pt x="655" y="10"/>
                        <a:pt x="655" y="22"/>
                      </a:cubicBezTo>
                      <a:cubicBezTo>
                        <a:pt x="655" y="807"/>
                        <a:pt x="655" y="807"/>
                        <a:pt x="655" y="807"/>
                      </a:cubicBezTo>
                      <a:cubicBezTo>
                        <a:pt x="594" y="744"/>
                        <a:pt x="594" y="744"/>
                        <a:pt x="594" y="744"/>
                      </a:cubicBezTo>
                      <a:cubicBezTo>
                        <a:pt x="586" y="735"/>
                        <a:pt x="572" y="735"/>
                        <a:pt x="563" y="744"/>
                      </a:cubicBezTo>
                      <a:cubicBezTo>
                        <a:pt x="554" y="752"/>
                        <a:pt x="554" y="766"/>
                        <a:pt x="562" y="775"/>
                      </a:cubicBezTo>
                      <a:cubicBezTo>
                        <a:pt x="659" y="874"/>
                        <a:pt x="659" y="874"/>
                        <a:pt x="659" y="874"/>
                      </a:cubicBezTo>
                      <a:cubicBezTo>
                        <a:pt x="663" y="878"/>
                        <a:pt x="669" y="880"/>
                        <a:pt x="674" y="880"/>
                      </a:cubicBezTo>
                      <a:cubicBezTo>
                        <a:pt x="675" y="880"/>
                        <a:pt x="675" y="880"/>
                        <a:pt x="675" y="880"/>
                      </a:cubicBezTo>
                      <a:cubicBezTo>
                        <a:pt x="680" y="880"/>
                        <a:pt x="686" y="878"/>
                        <a:pt x="690" y="874"/>
                      </a:cubicBezTo>
                      <a:cubicBezTo>
                        <a:pt x="789" y="778"/>
                        <a:pt x="789" y="778"/>
                        <a:pt x="789" y="778"/>
                      </a:cubicBezTo>
                      <a:cubicBezTo>
                        <a:pt x="798" y="769"/>
                        <a:pt x="798" y="755"/>
                        <a:pt x="790" y="747"/>
                      </a:cubicBezTo>
                      <a:cubicBezTo>
                        <a:pt x="781" y="738"/>
                        <a:pt x="767" y="738"/>
                        <a:pt x="758" y="746"/>
                      </a:cubicBezTo>
                      <a:close/>
                      <a:moveTo>
                        <a:pt x="1111" y="886"/>
                      </a:moveTo>
                      <a:cubicBezTo>
                        <a:pt x="1051" y="945"/>
                        <a:pt x="1051" y="945"/>
                        <a:pt x="1051" y="945"/>
                      </a:cubicBezTo>
                      <a:cubicBezTo>
                        <a:pt x="1051" y="726"/>
                        <a:pt x="1051" y="726"/>
                        <a:pt x="1051" y="726"/>
                      </a:cubicBezTo>
                      <a:cubicBezTo>
                        <a:pt x="1051" y="720"/>
                        <a:pt x="1048" y="715"/>
                        <a:pt x="1044" y="710"/>
                      </a:cubicBezTo>
                      <a:cubicBezTo>
                        <a:pt x="858" y="524"/>
                        <a:pt x="858" y="524"/>
                        <a:pt x="858" y="524"/>
                      </a:cubicBezTo>
                      <a:cubicBezTo>
                        <a:pt x="858" y="22"/>
                        <a:pt x="858" y="22"/>
                        <a:pt x="858" y="22"/>
                      </a:cubicBezTo>
                      <a:cubicBezTo>
                        <a:pt x="858" y="10"/>
                        <a:pt x="848" y="0"/>
                        <a:pt x="836" y="0"/>
                      </a:cubicBezTo>
                      <a:cubicBezTo>
                        <a:pt x="823" y="0"/>
                        <a:pt x="814" y="10"/>
                        <a:pt x="814" y="22"/>
                      </a:cubicBezTo>
                      <a:cubicBezTo>
                        <a:pt x="814" y="533"/>
                        <a:pt x="814" y="533"/>
                        <a:pt x="814" y="533"/>
                      </a:cubicBezTo>
                      <a:cubicBezTo>
                        <a:pt x="814" y="539"/>
                        <a:pt x="816" y="545"/>
                        <a:pt x="820" y="549"/>
                      </a:cubicBezTo>
                      <a:cubicBezTo>
                        <a:pt x="1007" y="735"/>
                        <a:pt x="1007" y="735"/>
                        <a:pt x="1007" y="735"/>
                      </a:cubicBezTo>
                      <a:cubicBezTo>
                        <a:pt x="1007" y="946"/>
                        <a:pt x="1007" y="946"/>
                        <a:pt x="1007" y="946"/>
                      </a:cubicBezTo>
                      <a:cubicBezTo>
                        <a:pt x="947" y="884"/>
                        <a:pt x="947" y="884"/>
                        <a:pt x="947" y="884"/>
                      </a:cubicBezTo>
                      <a:cubicBezTo>
                        <a:pt x="938" y="875"/>
                        <a:pt x="924" y="875"/>
                        <a:pt x="916" y="884"/>
                      </a:cubicBezTo>
                      <a:cubicBezTo>
                        <a:pt x="907" y="892"/>
                        <a:pt x="907" y="906"/>
                        <a:pt x="915" y="915"/>
                      </a:cubicBezTo>
                      <a:cubicBezTo>
                        <a:pt x="1012" y="1014"/>
                        <a:pt x="1012" y="1014"/>
                        <a:pt x="1012" y="1014"/>
                      </a:cubicBezTo>
                      <a:cubicBezTo>
                        <a:pt x="1016" y="1018"/>
                        <a:pt x="1021" y="1020"/>
                        <a:pt x="1027" y="1021"/>
                      </a:cubicBezTo>
                      <a:cubicBezTo>
                        <a:pt x="1027" y="1021"/>
                        <a:pt x="1027" y="1021"/>
                        <a:pt x="1027" y="1021"/>
                      </a:cubicBezTo>
                      <a:cubicBezTo>
                        <a:pt x="1033" y="1021"/>
                        <a:pt x="1039" y="1018"/>
                        <a:pt x="1043" y="1014"/>
                      </a:cubicBezTo>
                      <a:cubicBezTo>
                        <a:pt x="1142" y="918"/>
                        <a:pt x="1142" y="918"/>
                        <a:pt x="1142" y="918"/>
                      </a:cubicBezTo>
                      <a:cubicBezTo>
                        <a:pt x="1151" y="909"/>
                        <a:pt x="1151" y="895"/>
                        <a:pt x="1142" y="887"/>
                      </a:cubicBezTo>
                      <a:cubicBezTo>
                        <a:pt x="1134" y="878"/>
                        <a:pt x="1120" y="878"/>
                        <a:pt x="1111" y="886"/>
                      </a:cubicBezTo>
                      <a:close/>
                      <a:moveTo>
                        <a:pt x="1383" y="1304"/>
                      </a:moveTo>
                      <a:cubicBezTo>
                        <a:pt x="1374" y="1295"/>
                        <a:pt x="1360" y="1295"/>
                        <a:pt x="1351" y="1304"/>
                      </a:cubicBezTo>
                      <a:cubicBezTo>
                        <a:pt x="1291" y="1362"/>
                        <a:pt x="1291" y="1362"/>
                        <a:pt x="1291" y="1362"/>
                      </a:cubicBezTo>
                      <a:cubicBezTo>
                        <a:pt x="1291" y="634"/>
                        <a:pt x="1291" y="634"/>
                        <a:pt x="1291" y="634"/>
                      </a:cubicBezTo>
                      <a:cubicBezTo>
                        <a:pt x="1291" y="628"/>
                        <a:pt x="1289" y="623"/>
                        <a:pt x="1285" y="618"/>
                      </a:cubicBezTo>
                      <a:cubicBezTo>
                        <a:pt x="1016" y="348"/>
                        <a:pt x="1016" y="348"/>
                        <a:pt x="1016" y="348"/>
                      </a:cubicBezTo>
                      <a:cubicBezTo>
                        <a:pt x="1016" y="22"/>
                        <a:pt x="1016" y="22"/>
                        <a:pt x="1016" y="22"/>
                      </a:cubicBezTo>
                      <a:cubicBezTo>
                        <a:pt x="1016" y="10"/>
                        <a:pt x="1006" y="0"/>
                        <a:pt x="994" y="0"/>
                      </a:cubicBezTo>
                      <a:cubicBezTo>
                        <a:pt x="982" y="0"/>
                        <a:pt x="972" y="10"/>
                        <a:pt x="972" y="22"/>
                      </a:cubicBezTo>
                      <a:cubicBezTo>
                        <a:pt x="972" y="357"/>
                        <a:pt x="972" y="357"/>
                        <a:pt x="972" y="357"/>
                      </a:cubicBezTo>
                      <a:cubicBezTo>
                        <a:pt x="972" y="363"/>
                        <a:pt x="975" y="368"/>
                        <a:pt x="979" y="373"/>
                      </a:cubicBezTo>
                      <a:cubicBezTo>
                        <a:pt x="1247" y="643"/>
                        <a:pt x="1247" y="643"/>
                        <a:pt x="1247" y="643"/>
                      </a:cubicBezTo>
                      <a:cubicBezTo>
                        <a:pt x="1247" y="1363"/>
                        <a:pt x="1247" y="1363"/>
                        <a:pt x="1247" y="1363"/>
                      </a:cubicBezTo>
                      <a:cubicBezTo>
                        <a:pt x="1187" y="1301"/>
                        <a:pt x="1187" y="1301"/>
                        <a:pt x="1187" y="1301"/>
                      </a:cubicBezTo>
                      <a:cubicBezTo>
                        <a:pt x="1179" y="1293"/>
                        <a:pt x="1165" y="1293"/>
                        <a:pt x="1156" y="1301"/>
                      </a:cubicBezTo>
                      <a:cubicBezTo>
                        <a:pt x="1147" y="1310"/>
                        <a:pt x="1147" y="1323"/>
                        <a:pt x="1155" y="1332"/>
                      </a:cubicBezTo>
                      <a:cubicBezTo>
                        <a:pt x="1252" y="1431"/>
                        <a:pt x="1252" y="1431"/>
                        <a:pt x="1252" y="1431"/>
                      </a:cubicBezTo>
                      <a:cubicBezTo>
                        <a:pt x="1256" y="1436"/>
                        <a:pt x="1262" y="1438"/>
                        <a:pt x="1268" y="1438"/>
                      </a:cubicBezTo>
                      <a:cubicBezTo>
                        <a:pt x="1268" y="1438"/>
                        <a:pt x="1268" y="1438"/>
                        <a:pt x="1268" y="1438"/>
                      </a:cubicBezTo>
                      <a:cubicBezTo>
                        <a:pt x="1268" y="1438"/>
                        <a:pt x="1269" y="1438"/>
                        <a:pt x="1269" y="1438"/>
                      </a:cubicBezTo>
                      <a:cubicBezTo>
                        <a:pt x="1277" y="1438"/>
                        <a:pt x="1284" y="1433"/>
                        <a:pt x="1288" y="1427"/>
                      </a:cubicBezTo>
                      <a:cubicBezTo>
                        <a:pt x="1382" y="1335"/>
                        <a:pt x="1382" y="1335"/>
                        <a:pt x="1382" y="1335"/>
                      </a:cubicBezTo>
                      <a:cubicBezTo>
                        <a:pt x="1391" y="1327"/>
                        <a:pt x="1391" y="1313"/>
                        <a:pt x="1383" y="130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Freeform 17">
                  <a:extLst>
                    <a:ext uri="{FF2B5EF4-FFF2-40B4-BE49-F238E27FC236}">
                      <a16:creationId xmlns:a16="http://schemas.microsoft.com/office/drawing/2014/main" id="{6B8AE4E4-9646-49AB-AFD2-4CB528364E9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317" y="2081"/>
                  <a:ext cx="3125" cy="1986"/>
                </a:xfrm>
                <a:custGeom>
                  <a:avLst/>
                  <a:gdLst>
                    <a:gd name="T0" fmla="*/ 554 w 1668"/>
                    <a:gd name="T1" fmla="*/ 259 h 1059"/>
                    <a:gd name="T2" fmla="*/ 1072 w 1668"/>
                    <a:gd name="T3" fmla="*/ 259 h 1059"/>
                    <a:gd name="T4" fmla="*/ 956 w 1668"/>
                    <a:gd name="T5" fmla="*/ 273 h 1059"/>
                    <a:gd name="T6" fmla="*/ 927 w 1668"/>
                    <a:gd name="T7" fmla="*/ 331 h 1059"/>
                    <a:gd name="T8" fmla="*/ 917 w 1668"/>
                    <a:gd name="T9" fmla="*/ 367 h 1059"/>
                    <a:gd name="T10" fmla="*/ 856 w 1668"/>
                    <a:gd name="T11" fmla="*/ 423 h 1059"/>
                    <a:gd name="T12" fmla="*/ 848 w 1668"/>
                    <a:gd name="T13" fmla="*/ 431 h 1059"/>
                    <a:gd name="T14" fmla="*/ 724 w 1668"/>
                    <a:gd name="T15" fmla="*/ 403 h 1059"/>
                    <a:gd name="T16" fmla="*/ 679 w 1668"/>
                    <a:gd name="T17" fmla="*/ 168 h 1059"/>
                    <a:gd name="T18" fmla="*/ 940 w 1668"/>
                    <a:gd name="T19" fmla="*/ 107 h 1059"/>
                    <a:gd name="T20" fmla="*/ 918 w 1668"/>
                    <a:gd name="T21" fmla="*/ 152 h 1059"/>
                    <a:gd name="T22" fmla="*/ 919 w 1668"/>
                    <a:gd name="T23" fmla="*/ 186 h 1059"/>
                    <a:gd name="T24" fmla="*/ 927 w 1668"/>
                    <a:gd name="T25" fmla="*/ 218 h 1059"/>
                    <a:gd name="T26" fmla="*/ 942 w 1668"/>
                    <a:gd name="T27" fmla="*/ 246 h 1059"/>
                    <a:gd name="T28" fmla="*/ 1409 w 1668"/>
                    <a:gd name="T29" fmla="*/ 542 h 1059"/>
                    <a:gd name="T30" fmla="*/ 1409 w 1668"/>
                    <a:gd name="T31" fmla="*/ 1059 h 1059"/>
                    <a:gd name="T32" fmla="*/ 1409 w 1668"/>
                    <a:gd name="T33" fmla="*/ 542 h 1059"/>
                    <a:gd name="T34" fmla="*/ 1498 w 1668"/>
                    <a:gd name="T35" fmla="*/ 944 h 1059"/>
                    <a:gd name="T36" fmla="*/ 1374 w 1668"/>
                    <a:gd name="T37" fmla="*/ 972 h 1059"/>
                    <a:gd name="T38" fmla="*/ 1366 w 1668"/>
                    <a:gd name="T39" fmla="*/ 965 h 1059"/>
                    <a:gd name="T40" fmla="*/ 1305 w 1668"/>
                    <a:gd name="T41" fmla="*/ 909 h 1059"/>
                    <a:gd name="T42" fmla="*/ 1295 w 1668"/>
                    <a:gd name="T43" fmla="*/ 873 h 1059"/>
                    <a:gd name="T44" fmla="*/ 1266 w 1668"/>
                    <a:gd name="T45" fmla="*/ 815 h 1059"/>
                    <a:gd name="T46" fmla="*/ 1282 w 1668"/>
                    <a:gd name="T47" fmla="*/ 785 h 1059"/>
                    <a:gd name="T48" fmla="*/ 1298 w 1668"/>
                    <a:gd name="T49" fmla="*/ 747 h 1059"/>
                    <a:gd name="T50" fmla="*/ 1307 w 1668"/>
                    <a:gd name="T51" fmla="*/ 692 h 1059"/>
                    <a:gd name="T52" fmla="*/ 1303 w 1668"/>
                    <a:gd name="T53" fmla="*/ 692 h 1059"/>
                    <a:gd name="T54" fmla="*/ 1417 w 1668"/>
                    <a:gd name="T55" fmla="*/ 629 h 1059"/>
                    <a:gd name="T56" fmla="*/ 1498 w 1668"/>
                    <a:gd name="T57" fmla="*/ 868 h 1059"/>
                    <a:gd name="T58" fmla="*/ 0 w 1668"/>
                    <a:gd name="T59" fmla="*/ 721 h 1059"/>
                    <a:gd name="T60" fmla="*/ 518 w 1668"/>
                    <a:gd name="T61" fmla="*/ 721 h 1059"/>
                    <a:gd name="T62" fmla="*/ 406 w 1668"/>
                    <a:gd name="T63" fmla="*/ 737 h 1059"/>
                    <a:gd name="T64" fmla="*/ 376 w 1668"/>
                    <a:gd name="T65" fmla="*/ 775 h 1059"/>
                    <a:gd name="T66" fmla="*/ 327 w 1668"/>
                    <a:gd name="T67" fmla="*/ 826 h 1059"/>
                    <a:gd name="T68" fmla="*/ 304 w 1668"/>
                    <a:gd name="T69" fmla="*/ 882 h 1059"/>
                    <a:gd name="T70" fmla="*/ 289 w 1668"/>
                    <a:gd name="T71" fmla="*/ 890 h 1059"/>
                    <a:gd name="T72" fmla="*/ 202 w 1668"/>
                    <a:gd name="T73" fmla="*/ 863 h 1059"/>
                    <a:gd name="T74" fmla="*/ 132 w 1668"/>
                    <a:gd name="T75" fmla="*/ 627 h 1059"/>
                    <a:gd name="T76" fmla="*/ 371 w 1668"/>
                    <a:gd name="T77" fmla="*/ 606 h 1059"/>
                    <a:gd name="T78" fmla="*/ 377 w 1668"/>
                    <a:gd name="T79" fmla="*/ 654 h 1059"/>
                    <a:gd name="T80" fmla="*/ 394 w 1668"/>
                    <a:gd name="T81" fmla="*/ 709 h 10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668" h="1059">
                      <a:moveTo>
                        <a:pt x="813" y="0"/>
                      </a:moveTo>
                      <a:cubicBezTo>
                        <a:pt x="670" y="0"/>
                        <a:pt x="554" y="116"/>
                        <a:pt x="554" y="259"/>
                      </a:cubicBezTo>
                      <a:cubicBezTo>
                        <a:pt x="554" y="402"/>
                        <a:pt x="670" y="518"/>
                        <a:pt x="813" y="518"/>
                      </a:cubicBezTo>
                      <a:cubicBezTo>
                        <a:pt x="956" y="518"/>
                        <a:pt x="1072" y="402"/>
                        <a:pt x="1072" y="259"/>
                      </a:cubicBezTo>
                      <a:cubicBezTo>
                        <a:pt x="1072" y="116"/>
                        <a:pt x="956" y="0"/>
                        <a:pt x="813" y="0"/>
                      </a:cubicBezTo>
                      <a:close/>
                      <a:moveTo>
                        <a:pt x="956" y="273"/>
                      </a:moveTo>
                      <a:cubicBezTo>
                        <a:pt x="955" y="277"/>
                        <a:pt x="949" y="290"/>
                        <a:pt x="925" y="290"/>
                      </a:cubicBezTo>
                      <a:cubicBezTo>
                        <a:pt x="927" y="301"/>
                        <a:pt x="928" y="319"/>
                        <a:pt x="927" y="331"/>
                      </a:cubicBezTo>
                      <a:cubicBezTo>
                        <a:pt x="927" y="334"/>
                        <a:pt x="927" y="334"/>
                        <a:pt x="927" y="334"/>
                      </a:cubicBezTo>
                      <a:cubicBezTo>
                        <a:pt x="926" y="353"/>
                        <a:pt x="925" y="363"/>
                        <a:pt x="917" y="367"/>
                      </a:cubicBezTo>
                      <a:cubicBezTo>
                        <a:pt x="910" y="371"/>
                        <a:pt x="887" y="374"/>
                        <a:pt x="856" y="371"/>
                      </a:cubicBezTo>
                      <a:cubicBezTo>
                        <a:pt x="856" y="423"/>
                        <a:pt x="856" y="423"/>
                        <a:pt x="856" y="423"/>
                      </a:cubicBezTo>
                      <a:cubicBezTo>
                        <a:pt x="856" y="427"/>
                        <a:pt x="853" y="431"/>
                        <a:pt x="848" y="431"/>
                      </a:cubicBezTo>
                      <a:cubicBezTo>
                        <a:pt x="848" y="431"/>
                        <a:pt x="848" y="431"/>
                        <a:pt x="848" y="431"/>
                      </a:cubicBezTo>
                      <a:cubicBezTo>
                        <a:pt x="843" y="431"/>
                        <a:pt x="779" y="430"/>
                        <a:pt x="729" y="410"/>
                      </a:cubicBezTo>
                      <a:cubicBezTo>
                        <a:pt x="726" y="409"/>
                        <a:pt x="724" y="406"/>
                        <a:pt x="724" y="403"/>
                      </a:cubicBezTo>
                      <a:cubicBezTo>
                        <a:pt x="724" y="327"/>
                        <a:pt x="724" y="327"/>
                        <a:pt x="724" y="327"/>
                      </a:cubicBezTo>
                      <a:cubicBezTo>
                        <a:pt x="699" y="300"/>
                        <a:pt x="648" y="234"/>
                        <a:pt x="679" y="168"/>
                      </a:cubicBezTo>
                      <a:cubicBezTo>
                        <a:pt x="697" y="131"/>
                        <a:pt x="733" y="87"/>
                        <a:pt x="805" y="87"/>
                      </a:cubicBezTo>
                      <a:cubicBezTo>
                        <a:pt x="887" y="87"/>
                        <a:pt x="863" y="108"/>
                        <a:pt x="940" y="107"/>
                      </a:cubicBezTo>
                      <a:cubicBezTo>
                        <a:pt x="948" y="107"/>
                        <a:pt x="923" y="134"/>
                        <a:pt x="919" y="151"/>
                      </a:cubicBezTo>
                      <a:cubicBezTo>
                        <a:pt x="919" y="151"/>
                        <a:pt x="919" y="152"/>
                        <a:pt x="918" y="152"/>
                      </a:cubicBezTo>
                      <a:cubicBezTo>
                        <a:pt x="918" y="152"/>
                        <a:pt x="916" y="151"/>
                        <a:pt x="914" y="151"/>
                      </a:cubicBezTo>
                      <a:cubicBezTo>
                        <a:pt x="915" y="161"/>
                        <a:pt x="917" y="180"/>
                        <a:pt x="919" y="186"/>
                      </a:cubicBezTo>
                      <a:cubicBezTo>
                        <a:pt x="921" y="192"/>
                        <a:pt x="922" y="199"/>
                        <a:pt x="924" y="205"/>
                      </a:cubicBezTo>
                      <a:cubicBezTo>
                        <a:pt x="925" y="210"/>
                        <a:pt x="926" y="215"/>
                        <a:pt x="927" y="218"/>
                      </a:cubicBezTo>
                      <a:cubicBezTo>
                        <a:pt x="931" y="230"/>
                        <a:pt x="935" y="239"/>
                        <a:pt x="939" y="243"/>
                      </a:cubicBezTo>
                      <a:cubicBezTo>
                        <a:pt x="940" y="244"/>
                        <a:pt x="941" y="245"/>
                        <a:pt x="942" y="246"/>
                      </a:cubicBezTo>
                      <a:cubicBezTo>
                        <a:pt x="951" y="256"/>
                        <a:pt x="959" y="265"/>
                        <a:pt x="956" y="273"/>
                      </a:cubicBezTo>
                      <a:close/>
                      <a:moveTo>
                        <a:pt x="1409" y="542"/>
                      </a:moveTo>
                      <a:cubicBezTo>
                        <a:pt x="1266" y="542"/>
                        <a:pt x="1150" y="658"/>
                        <a:pt x="1150" y="800"/>
                      </a:cubicBezTo>
                      <a:cubicBezTo>
                        <a:pt x="1150" y="943"/>
                        <a:pt x="1266" y="1059"/>
                        <a:pt x="1409" y="1059"/>
                      </a:cubicBezTo>
                      <a:cubicBezTo>
                        <a:pt x="1552" y="1059"/>
                        <a:pt x="1668" y="943"/>
                        <a:pt x="1668" y="800"/>
                      </a:cubicBezTo>
                      <a:cubicBezTo>
                        <a:pt x="1668" y="658"/>
                        <a:pt x="1552" y="542"/>
                        <a:pt x="1409" y="542"/>
                      </a:cubicBezTo>
                      <a:close/>
                      <a:moveTo>
                        <a:pt x="1498" y="868"/>
                      </a:moveTo>
                      <a:cubicBezTo>
                        <a:pt x="1498" y="944"/>
                        <a:pt x="1498" y="944"/>
                        <a:pt x="1498" y="944"/>
                      </a:cubicBezTo>
                      <a:cubicBezTo>
                        <a:pt x="1498" y="947"/>
                        <a:pt x="1496" y="950"/>
                        <a:pt x="1493" y="951"/>
                      </a:cubicBezTo>
                      <a:cubicBezTo>
                        <a:pt x="1443" y="972"/>
                        <a:pt x="1379" y="972"/>
                        <a:pt x="1374" y="972"/>
                      </a:cubicBezTo>
                      <a:cubicBezTo>
                        <a:pt x="1373" y="972"/>
                        <a:pt x="1373" y="972"/>
                        <a:pt x="1373" y="972"/>
                      </a:cubicBezTo>
                      <a:cubicBezTo>
                        <a:pt x="1369" y="972"/>
                        <a:pt x="1366" y="969"/>
                        <a:pt x="1366" y="965"/>
                      </a:cubicBezTo>
                      <a:cubicBezTo>
                        <a:pt x="1366" y="912"/>
                        <a:pt x="1366" y="912"/>
                        <a:pt x="1366" y="912"/>
                      </a:cubicBezTo>
                      <a:cubicBezTo>
                        <a:pt x="1335" y="916"/>
                        <a:pt x="1311" y="912"/>
                        <a:pt x="1305" y="909"/>
                      </a:cubicBezTo>
                      <a:cubicBezTo>
                        <a:pt x="1297" y="905"/>
                        <a:pt x="1296" y="894"/>
                        <a:pt x="1295" y="875"/>
                      </a:cubicBezTo>
                      <a:cubicBezTo>
                        <a:pt x="1295" y="873"/>
                        <a:pt x="1295" y="873"/>
                        <a:pt x="1295" y="873"/>
                      </a:cubicBezTo>
                      <a:cubicBezTo>
                        <a:pt x="1294" y="861"/>
                        <a:pt x="1295" y="842"/>
                        <a:pt x="1296" y="832"/>
                      </a:cubicBezTo>
                      <a:cubicBezTo>
                        <a:pt x="1273" y="831"/>
                        <a:pt x="1267" y="819"/>
                        <a:pt x="1266" y="815"/>
                      </a:cubicBezTo>
                      <a:cubicBezTo>
                        <a:pt x="1263" y="806"/>
                        <a:pt x="1271" y="797"/>
                        <a:pt x="1280" y="788"/>
                      </a:cubicBezTo>
                      <a:cubicBezTo>
                        <a:pt x="1281" y="787"/>
                        <a:pt x="1282" y="786"/>
                        <a:pt x="1282" y="785"/>
                      </a:cubicBezTo>
                      <a:cubicBezTo>
                        <a:pt x="1286" y="780"/>
                        <a:pt x="1291" y="771"/>
                        <a:pt x="1295" y="760"/>
                      </a:cubicBezTo>
                      <a:cubicBezTo>
                        <a:pt x="1296" y="757"/>
                        <a:pt x="1297" y="752"/>
                        <a:pt x="1298" y="747"/>
                      </a:cubicBezTo>
                      <a:cubicBezTo>
                        <a:pt x="1300" y="740"/>
                        <a:pt x="1301" y="733"/>
                        <a:pt x="1303" y="728"/>
                      </a:cubicBezTo>
                      <a:cubicBezTo>
                        <a:pt x="1305" y="721"/>
                        <a:pt x="1307" y="702"/>
                        <a:pt x="1307" y="692"/>
                      </a:cubicBezTo>
                      <a:cubicBezTo>
                        <a:pt x="1306" y="692"/>
                        <a:pt x="1304" y="693"/>
                        <a:pt x="1303" y="693"/>
                      </a:cubicBezTo>
                      <a:cubicBezTo>
                        <a:pt x="1303" y="693"/>
                        <a:pt x="1303" y="693"/>
                        <a:pt x="1303" y="692"/>
                      </a:cubicBezTo>
                      <a:cubicBezTo>
                        <a:pt x="1299" y="675"/>
                        <a:pt x="1274" y="648"/>
                        <a:pt x="1282" y="648"/>
                      </a:cubicBezTo>
                      <a:cubicBezTo>
                        <a:pt x="1358" y="650"/>
                        <a:pt x="1334" y="629"/>
                        <a:pt x="1417" y="629"/>
                      </a:cubicBezTo>
                      <a:cubicBezTo>
                        <a:pt x="1489" y="629"/>
                        <a:pt x="1525" y="672"/>
                        <a:pt x="1543" y="709"/>
                      </a:cubicBezTo>
                      <a:cubicBezTo>
                        <a:pt x="1574" y="776"/>
                        <a:pt x="1523" y="842"/>
                        <a:pt x="1498" y="868"/>
                      </a:cubicBezTo>
                      <a:close/>
                      <a:moveTo>
                        <a:pt x="259" y="462"/>
                      </a:moveTo>
                      <a:cubicBezTo>
                        <a:pt x="116" y="462"/>
                        <a:pt x="0" y="578"/>
                        <a:pt x="0" y="721"/>
                      </a:cubicBezTo>
                      <a:cubicBezTo>
                        <a:pt x="0" y="864"/>
                        <a:pt x="116" y="980"/>
                        <a:pt x="259" y="980"/>
                      </a:cubicBezTo>
                      <a:cubicBezTo>
                        <a:pt x="402" y="980"/>
                        <a:pt x="518" y="864"/>
                        <a:pt x="518" y="721"/>
                      </a:cubicBezTo>
                      <a:cubicBezTo>
                        <a:pt x="518" y="578"/>
                        <a:pt x="402" y="462"/>
                        <a:pt x="259" y="462"/>
                      </a:cubicBezTo>
                      <a:close/>
                      <a:moveTo>
                        <a:pt x="406" y="737"/>
                      </a:moveTo>
                      <a:cubicBezTo>
                        <a:pt x="404" y="743"/>
                        <a:pt x="394" y="752"/>
                        <a:pt x="375" y="752"/>
                      </a:cubicBezTo>
                      <a:cubicBezTo>
                        <a:pt x="376" y="758"/>
                        <a:pt x="376" y="767"/>
                        <a:pt x="376" y="775"/>
                      </a:cubicBezTo>
                      <a:cubicBezTo>
                        <a:pt x="376" y="806"/>
                        <a:pt x="372" y="815"/>
                        <a:pt x="368" y="818"/>
                      </a:cubicBezTo>
                      <a:cubicBezTo>
                        <a:pt x="365" y="822"/>
                        <a:pt x="357" y="827"/>
                        <a:pt x="327" y="826"/>
                      </a:cubicBezTo>
                      <a:cubicBezTo>
                        <a:pt x="322" y="826"/>
                        <a:pt x="312" y="826"/>
                        <a:pt x="304" y="825"/>
                      </a:cubicBezTo>
                      <a:cubicBezTo>
                        <a:pt x="304" y="882"/>
                        <a:pt x="304" y="882"/>
                        <a:pt x="304" y="882"/>
                      </a:cubicBezTo>
                      <a:cubicBezTo>
                        <a:pt x="304" y="886"/>
                        <a:pt x="301" y="889"/>
                        <a:pt x="297" y="889"/>
                      </a:cubicBezTo>
                      <a:cubicBezTo>
                        <a:pt x="297" y="889"/>
                        <a:pt x="294" y="890"/>
                        <a:pt x="289" y="890"/>
                      </a:cubicBezTo>
                      <a:cubicBezTo>
                        <a:pt x="273" y="890"/>
                        <a:pt x="236" y="887"/>
                        <a:pt x="206" y="869"/>
                      </a:cubicBezTo>
                      <a:cubicBezTo>
                        <a:pt x="204" y="868"/>
                        <a:pt x="202" y="866"/>
                        <a:pt x="202" y="863"/>
                      </a:cubicBezTo>
                      <a:cubicBezTo>
                        <a:pt x="200" y="826"/>
                        <a:pt x="200" y="826"/>
                        <a:pt x="200" y="826"/>
                      </a:cubicBezTo>
                      <a:cubicBezTo>
                        <a:pt x="151" y="806"/>
                        <a:pt x="73" y="749"/>
                        <a:pt x="132" y="627"/>
                      </a:cubicBezTo>
                      <a:cubicBezTo>
                        <a:pt x="150" y="591"/>
                        <a:pt x="192" y="553"/>
                        <a:pt x="262" y="553"/>
                      </a:cubicBezTo>
                      <a:cubicBezTo>
                        <a:pt x="342" y="553"/>
                        <a:pt x="375" y="590"/>
                        <a:pt x="371" y="606"/>
                      </a:cubicBezTo>
                      <a:cubicBezTo>
                        <a:pt x="370" y="609"/>
                        <a:pt x="368" y="612"/>
                        <a:pt x="366" y="615"/>
                      </a:cubicBezTo>
                      <a:cubicBezTo>
                        <a:pt x="370" y="620"/>
                        <a:pt x="379" y="633"/>
                        <a:pt x="377" y="654"/>
                      </a:cubicBezTo>
                      <a:cubicBezTo>
                        <a:pt x="377" y="664"/>
                        <a:pt x="378" y="683"/>
                        <a:pt x="379" y="686"/>
                      </a:cubicBezTo>
                      <a:cubicBezTo>
                        <a:pt x="382" y="693"/>
                        <a:pt x="388" y="703"/>
                        <a:pt x="394" y="709"/>
                      </a:cubicBezTo>
                      <a:cubicBezTo>
                        <a:pt x="400" y="715"/>
                        <a:pt x="410" y="729"/>
                        <a:pt x="406" y="737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3F917A55-2089-4750-97D2-91AD98B610F8}"/>
              </a:ext>
            </a:extLst>
          </p:cNvPr>
          <p:cNvSpPr txBox="1"/>
          <p:nvPr/>
        </p:nvSpPr>
        <p:spPr>
          <a:xfrm>
            <a:off x="462685" y="1549908"/>
            <a:ext cx="4384896" cy="3693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200">
                <a:solidFill>
                  <a:schemeClr val="tx2"/>
                </a:solidFill>
                <a:sym typeface="+mn-lt"/>
              </a:rPr>
              <a:t>Key themes</a:t>
            </a: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EF9E4B78-2991-4A14-8954-44B81D88D8E8}"/>
              </a:ext>
            </a:extLst>
          </p:cNvPr>
          <p:cNvGrpSpPr>
            <a:grpSpLocks noChangeAspect="1"/>
          </p:cNvGrpSpPr>
          <p:nvPr/>
        </p:nvGrpSpPr>
        <p:grpSpPr>
          <a:xfrm>
            <a:off x="5363735" y="1112114"/>
            <a:ext cx="386308" cy="386308"/>
            <a:chOff x="5961063" y="3294063"/>
            <a:chExt cx="269875" cy="269875"/>
          </a:xfrm>
        </p:grpSpPr>
        <p:sp>
          <p:nvSpPr>
            <p:cNvPr id="70" name="Oval 46">
              <a:extLst>
                <a:ext uri="{FF2B5EF4-FFF2-40B4-BE49-F238E27FC236}">
                  <a16:creationId xmlns:a16="http://schemas.microsoft.com/office/drawing/2014/main" id="{041F2161-4406-407C-ABF7-E017DF78DC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ym typeface="+mn-lt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E65D1412-65A2-419A-88FE-DE3F42C6A3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ym typeface="+mn-lt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8FADD73B-1A2D-40A6-BF29-1128EB7CA91D}"/>
              </a:ext>
            </a:extLst>
          </p:cNvPr>
          <p:cNvSpPr txBox="1"/>
          <p:nvPr/>
        </p:nvSpPr>
        <p:spPr>
          <a:xfrm>
            <a:off x="5363736" y="1547854"/>
            <a:ext cx="6199614" cy="3693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err="1">
                <a:solidFill>
                  <a:srgbClr val="FFFF00"/>
                </a:solidFill>
                <a:sym typeface="+mn-lt"/>
              </a:rPr>
              <a:t>BSR</a:t>
            </a:r>
            <a:r>
              <a:rPr lang="en-US">
                <a:solidFill>
                  <a:srgbClr val="FFFF00"/>
                </a:solidFill>
                <a:sym typeface="+mn-lt"/>
              </a:rPr>
              <a:t> perspectives</a:t>
            </a:r>
          </a:p>
        </p:txBody>
      </p:sp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0592FF7B-C5C4-4554-9AAF-11610021CA93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Oval 20">
            <a:extLst>
              <a:ext uri="{FF2B5EF4-FFF2-40B4-BE49-F238E27FC236}">
                <a16:creationId xmlns:a16="http://schemas.microsoft.com/office/drawing/2014/main" id="{8006E1E2-45AC-427D-90A1-1355A18C40C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37FEDAAB-0E47-495E-8589-F2058BCCB7D4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rgbClr val="00269E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121800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60328F65-95CC-4579-880B-ECC62B7FA7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3338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60328F65-95CC-4579-880B-ECC62B7FA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3E3A691-0135-4C49-A316-50C96AF1C4F8}"/>
              </a:ext>
            </a:extLst>
          </p:cNvPr>
          <p:cNvSpPr/>
          <p:nvPr/>
        </p:nvSpPr>
        <p:spPr>
          <a:xfrm>
            <a:off x="4497859" y="1411751"/>
            <a:ext cx="6042451" cy="511769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99CC3CDF-CE72-4356-8D9A-A89B6C470AD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b="1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F3D096-F88A-448E-8A0A-5B5D29326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2580331"/>
            <a:ext cx="3127881" cy="3545586"/>
          </a:xfrm>
        </p:spPr>
        <p:txBody>
          <a:bodyPr vert="horz" anchor="t">
            <a:spAutoFit/>
          </a:bodyPr>
          <a:lstStyle/>
          <a:p>
            <a:r>
              <a:rPr lang="en-US"/>
              <a:t>Elements of employer handoffs that will need to be locally determined with Business Service Reps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E8E9562-BB71-4605-B5F0-EB648D55711C}"/>
              </a:ext>
            </a:extLst>
          </p:cNvPr>
          <p:cNvSpPr/>
          <p:nvPr/>
        </p:nvSpPr>
        <p:spPr>
          <a:xfrm>
            <a:off x="4497859" y="1048986"/>
            <a:ext cx="6042451" cy="653143"/>
          </a:xfrm>
          <a:prstGeom prst="rect">
            <a:avLst/>
          </a:prstGeom>
          <a:gradFill flip="none" rotWithShape="1">
            <a:gsLst>
              <a:gs pos="0">
                <a:srgbClr val="00269E">
                  <a:shade val="30000"/>
                  <a:satMod val="115000"/>
                </a:srgbClr>
              </a:gs>
              <a:gs pos="50000">
                <a:srgbClr val="00269E">
                  <a:shade val="67500"/>
                  <a:satMod val="115000"/>
                </a:srgbClr>
              </a:gs>
              <a:gs pos="100000">
                <a:srgbClr val="00269E">
                  <a:shade val="100000"/>
                  <a:satMod val="115000"/>
                </a:srgbClr>
              </a:gs>
            </a:gsLst>
            <a:lin ang="2700000" scaled="1"/>
            <a:tileRect/>
          </a:gra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rgbClr val="FFFFFF"/>
                </a:solidFill>
              </a:rPr>
              <a:t>Checklist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422455E-AF7E-486F-B1C8-15354F56151E}"/>
              </a:ext>
            </a:extLst>
          </p:cNvPr>
          <p:cNvSpPr/>
          <p:nvPr/>
        </p:nvSpPr>
        <p:spPr>
          <a:xfrm>
            <a:off x="4739533" y="5283587"/>
            <a:ext cx="5652499" cy="712520"/>
          </a:xfrm>
          <a:prstGeom prst="roundRect">
            <a:avLst>
              <a:gd name="adj" fmla="val 50000"/>
            </a:avLst>
          </a:prstGeom>
          <a:solidFill>
            <a:schemeClr val="accent4">
              <a:lumMod val="90000"/>
            </a:schemeClr>
          </a:solidFill>
          <a:ln w="9525" cap="rnd" cmpd="sng" algn="ctr">
            <a:solidFill>
              <a:schemeClr val="accent4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-194400"/>
            <a:r>
              <a:rPr lang="en-US" sz="1600">
                <a:effectLst/>
              </a:rPr>
              <a:t>Align on expectations around reporting </a:t>
            </a:r>
          </a:p>
          <a:p>
            <a:pPr marL="0" lvl="1" indent="-194400"/>
            <a:r>
              <a:rPr lang="en-US" sz="1600">
                <a:effectLst/>
              </a:rPr>
              <a:t>e.g., cadence, information shared, etc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D96CCE5D-87A0-4BCD-8710-8A9303D68D8F}"/>
              </a:ext>
            </a:extLst>
          </p:cNvPr>
          <p:cNvGrpSpPr>
            <a:grpSpLocks noChangeAspect="1"/>
          </p:cNvGrpSpPr>
          <p:nvPr/>
        </p:nvGrpSpPr>
        <p:grpSpPr>
          <a:xfrm>
            <a:off x="4812103" y="5403541"/>
            <a:ext cx="472613" cy="472613"/>
            <a:chOff x="982662" y="3868738"/>
            <a:chExt cx="269875" cy="269875"/>
          </a:xfrm>
        </p:grpSpPr>
        <p:sp>
          <p:nvSpPr>
            <p:cNvPr id="62" name="Oval 16">
              <a:extLst>
                <a:ext uri="{FF2B5EF4-FFF2-40B4-BE49-F238E27FC236}">
                  <a16:creationId xmlns:a16="http://schemas.microsoft.com/office/drawing/2014/main" id="{856AF0DB-9B66-4E8A-8B21-7FDCE08CA6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815E9569-0F8F-45D9-9F28-66AEEF746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C6E94469-994D-44D8-958D-3F28749D7E9D}"/>
              </a:ext>
            </a:extLst>
          </p:cNvPr>
          <p:cNvSpPr/>
          <p:nvPr/>
        </p:nvSpPr>
        <p:spPr>
          <a:xfrm>
            <a:off x="4739533" y="4222150"/>
            <a:ext cx="5652499" cy="712520"/>
          </a:xfrm>
          <a:prstGeom prst="roundRect">
            <a:avLst>
              <a:gd name="adj" fmla="val 50000"/>
            </a:avLst>
          </a:prstGeom>
          <a:solidFill>
            <a:schemeClr val="accent4">
              <a:lumMod val="90000"/>
            </a:schemeClr>
          </a:solidFill>
          <a:ln w="9525" cap="rnd" cmpd="sng" algn="ctr">
            <a:solidFill>
              <a:schemeClr val="accent4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-194400"/>
            <a:r>
              <a:rPr lang="en-US" sz="1600">
                <a:effectLst/>
              </a:rPr>
              <a:t>Discuss </a:t>
            </a:r>
            <a:r>
              <a:rPr lang="en-US" sz="1600"/>
              <a:t>how to enable </a:t>
            </a:r>
            <a:r>
              <a:rPr lang="en-US" sz="1600">
                <a:effectLst/>
              </a:rPr>
              <a:t>tracking on passive</a:t>
            </a:r>
            <a:br>
              <a:rPr lang="en-US" sz="1600">
                <a:effectLst/>
              </a:rPr>
            </a:br>
            <a:r>
              <a:rPr lang="en-US" sz="1600">
                <a:effectLst/>
              </a:rPr>
              <a:t>tools e.g., shared database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FF26A73F-B394-4E68-8DDC-675CE39E2669}"/>
              </a:ext>
            </a:extLst>
          </p:cNvPr>
          <p:cNvGrpSpPr>
            <a:grpSpLocks noChangeAspect="1"/>
          </p:cNvGrpSpPr>
          <p:nvPr/>
        </p:nvGrpSpPr>
        <p:grpSpPr>
          <a:xfrm>
            <a:off x="4812103" y="4342104"/>
            <a:ext cx="472613" cy="472613"/>
            <a:chOff x="982662" y="3868738"/>
            <a:chExt cx="269875" cy="269875"/>
          </a:xfrm>
        </p:grpSpPr>
        <p:sp>
          <p:nvSpPr>
            <p:cNvPr id="59" name="Oval 16">
              <a:extLst>
                <a:ext uri="{FF2B5EF4-FFF2-40B4-BE49-F238E27FC236}">
                  <a16:creationId xmlns:a16="http://schemas.microsoft.com/office/drawing/2014/main" id="{A3B2D2EE-0FD9-4FFF-9684-85B8EBA86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0D0ED020-C0C8-4419-AE19-91305887F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7F9C983-49C7-49E0-8A29-14699EB42703}"/>
              </a:ext>
            </a:extLst>
          </p:cNvPr>
          <p:cNvSpPr/>
          <p:nvPr/>
        </p:nvSpPr>
        <p:spPr>
          <a:xfrm>
            <a:off x="4739533" y="3123954"/>
            <a:ext cx="5652499" cy="712520"/>
          </a:xfrm>
          <a:prstGeom prst="roundRect">
            <a:avLst>
              <a:gd name="adj" fmla="val 50000"/>
            </a:avLst>
          </a:prstGeom>
          <a:solidFill>
            <a:schemeClr val="accent4">
              <a:lumMod val="90000"/>
            </a:schemeClr>
          </a:solidFill>
          <a:ln w="9525" cap="rnd" cmpd="sng" algn="ctr">
            <a:solidFill>
              <a:schemeClr val="accent4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>
                <a:solidFill>
                  <a:srgbClr val="FFFFFF"/>
                </a:solidFill>
              </a:rPr>
              <a:t>Align on expectations around </a:t>
            </a:r>
            <a:br>
              <a:rPr lang="en-US" sz="1600">
                <a:solidFill>
                  <a:srgbClr val="FFFFFF"/>
                </a:solidFill>
              </a:rPr>
            </a:br>
            <a:r>
              <a:rPr lang="en-US" sz="1600">
                <a:solidFill>
                  <a:srgbClr val="FFFFFF"/>
                </a:solidFill>
              </a:rPr>
              <a:t>acknowledgement/follow-up timeline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035BB14-40DA-4BAE-BD72-76F891A2B2BB}"/>
              </a:ext>
            </a:extLst>
          </p:cNvPr>
          <p:cNvGrpSpPr>
            <a:grpSpLocks noChangeAspect="1"/>
          </p:cNvGrpSpPr>
          <p:nvPr/>
        </p:nvGrpSpPr>
        <p:grpSpPr>
          <a:xfrm>
            <a:off x="4812103" y="3243907"/>
            <a:ext cx="472613" cy="472613"/>
            <a:chOff x="982662" y="3868738"/>
            <a:chExt cx="269875" cy="269875"/>
          </a:xfrm>
        </p:grpSpPr>
        <p:sp>
          <p:nvSpPr>
            <p:cNvPr id="56" name="Oval 16">
              <a:extLst>
                <a:ext uri="{FF2B5EF4-FFF2-40B4-BE49-F238E27FC236}">
                  <a16:creationId xmlns:a16="http://schemas.microsoft.com/office/drawing/2014/main" id="{7487D914-16E2-493C-97C7-271FB35087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7" name="Freeform 17">
              <a:extLst>
                <a:ext uri="{FF2B5EF4-FFF2-40B4-BE49-F238E27FC236}">
                  <a16:creationId xmlns:a16="http://schemas.microsoft.com/office/drawing/2014/main" id="{762DA299-3FFB-4959-99F2-472D2D1142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C18B92F-48B9-41BC-9859-4918E70E8B9E}"/>
              </a:ext>
            </a:extLst>
          </p:cNvPr>
          <p:cNvSpPr/>
          <p:nvPr/>
        </p:nvSpPr>
        <p:spPr>
          <a:xfrm>
            <a:off x="4739533" y="1999012"/>
            <a:ext cx="5652499" cy="712520"/>
          </a:xfrm>
          <a:prstGeom prst="roundRect">
            <a:avLst>
              <a:gd name="adj" fmla="val 50000"/>
            </a:avLst>
          </a:prstGeom>
          <a:solidFill>
            <a:schemeClr val="accent4">
              <a:lumMod val="90000"/>
            </a:schemeClr>
          </a:solidFill>
          <a:ln w="9525" cap="rnd" cmpd="sng" algn="ctr">
            <a:solidFill>
              <a:schemeClr val="accent4">
                <a:lumMod val="9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>
                <a:solidFill>
                  <a:srgbClr val="FFFFFF"/>
                </a:solidFill>
              </a:rPr>
              <a:t>Agree on referral email structure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9B613AB-0C2D-45F0-B781-D4C115D4DBE2}"/>
              </a:ext>
            </a:extLst>
          </p:cNvPr>
          <p:cNvGrpSpPr>
            <a:grpSpLocks noChangeAspect="1"/>
          </p:cNvGrpSpPr>
          <p:nvPr/>
        </p:nvGrpSpPr>
        <p:grpSpPr>
          <a:xfrm>
            <a:off x="4812103" y="2118966"/>
            <a:ext cx="472613" cy="472613"/>
            <a:chOff x="982662" y="3868738"/>
            <a:chExt cx="269875" cy="269875"/>
          </a:xfrm>
        </p:grpSpPr>
        <p:sp>
          <p:nvSpPr>
            <p:cNvPr id="50" name="Oval 16">
              <a:extLst>
                <a:ext uri="{FF2B5EF4-FFF2-40B4-BE49-F238E27FC236}">
                  <a16:creationId xmlns:a16="http://schemas.microsoft.com/office/drawing/2014/main" id="{FF498047-5230-4452-8D98-F4139574DE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3868738"/>
              <a:ext cx="269875" cy="2698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1" name="Freeform 17">
              <a:extLst>
                <a:ext uri="{FF2B5EF4-FFF2-40B4-BE49-F238E27FC236}">
                  <a16:creationId xmlns:a16="http://schemas.microsoft.com/office/drawing/2014/main" id="{0DED19B1-7EA8-49FB-B909-C2D8CAE4C1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925" y="3938588"/>
              <a:ext cx="133350" cy="128587"/>
            </a:xfrm>
            <a:custGeom>
              <a:avLst/>
              <a:gdLst>
                <a:gd name="T0" fmla="*/ 36 w 84"/>
                <a:gd name="T1" fmla="*/ 67 h 81"/>
                <a:gd name="T2" fmla="*/ 7 w 84"/>
                <a:gd name="T3" fmla="*/ 39 h 81"/>
                <a:gd name="T4" fmla="*/ 0 w 84"/>
                <a:gd name="T5" fmla="*/ 45 h 81"/>
                <a:gd name="T6" fmla="*/ 38 w 84"/>
                <a:gd name="T7" fmla="*/ 81 h 81"/>
                <a:gd name="T8" fmla="*/ 84 w 84"/>
                <a:gd name="T9" fmla="*/ 4 h 81"/>
                <a:gd name="T10" fmla="*/ 76 w 84"/>
                <a:gd name="T11" fmla="*/ 0 h 81"/>
                <a:gd name="T12" fmla="*/ 36 w 84"/>
                <a:gd name="T13" fmla="*/ 6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81">
                  <a:moveTo>
                    <a:pt x="36" y="67"/>
                  </a:moveTo>
                  <a:lnTo>
                    <a:pt x="7" y="39"/>
                  </a:lnTo>
                  <a:lnTo>
                    <a:pt x="0" y="45"/>
                  </a:lnTo>
                  <a:lnTo>
                    <a:pt x="38" y="81"/>
                  </a:lnTo>
                  <a:lnTo>
                    <a:pt x="84" y="4"/>
                  </a:lnTo>
                  <a:lnTo>
                    <a:pt x="76" y="0"/>
                  </a:lnTo>
                  <a:lnTo>
                    <a:pt x="36" y="6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bcgIcons_Email">
            <a:extLst>
              <a:ext uri="{FF2B5EF4-FFF2-40B4-BE49-F238E27FC236}">
                <a16:creationId xmlns:a16="http://schemas.microsoft.com/office/drawing/2014/main" id="{BE0E7172-204A-4B5F-AB73-0B513D6E5C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487062" y="2028701"/>
            <a:ext cx="652538" cy="653143"/>
            <a:chOff x="1682" y="0"/>
            <a:chExt cx="4316" cy="4320"/>
          </a:xfrm>
        </p:grpSpPr>
        <p:sp>
          <p:nvSpPr>
            <p:cNvPr id="23" name="AutoShape 13">
              <a:extLst>
                <a:ext uri="{FF2B5EF4-FFF2-40B4-BE49-F238E27FC236}">
                  <a16:creationId xmlns:a16="http://schemas.microsoft.com/office/drawing/2014/main" id="{09FEC496-96E0-4954-8B58-2B2563E80DA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0A4DD824-131E-48E8-91F6-AB80CC72FF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6" y="1155"/>
              <a:ext cx="2788" cy="2010"/>
            </a:xfrm>
            <a:custGeom>
              <a:avLst/>
              <a:gdLst>
                <a:gd name="T0" fmla="*/ 1488 w 1488"/>
                <a:gd name="T1" fmla="*/ 65 h 1072"/>
                <a:gd name="T2" fmla="*/ 1488 w 1488"/>
                <a:gd name="T3" fmla="*/ 1050 h 1072"/>
                <a:gd name="T4" fmla="*/ 1477 w 1488"/>
                <a:gd name="T5" fmla="*/ 1055 h 1072"/>
                <a:gd name="T6" fmla="*/ 978 w 1488"/>
                <a:gd name="T7" fmla="*/ 494 h 1072"/>
                <a:gd name="T8" fmla="*/ 978 w 1488"/>
                <a:gd name="T9" fmla="*/ 484 h 1072"/>
                <a:gd name="T10" fmla="*/ 1488 w 1488"/>
                <a:gd name="T11" fmla="*/ 65 h 1072"/>
                <a:gd name="T12" fmla="*/ 1488 w 1488"/>
                <a:gd name="T13" fmla="*/ 65 h 1072"/>
                <a:gd name="T14" fmla="*/ 0 w 1488"/>
                <a:gd name="T15" fmla="*/ 65 h 1072"/>
                <a:gd name="T16" fmla="*/ 0 w 1488"/>
                <a:gd name="T17" fmla="*/ 1050 h 1072"/>
                <a:gd name="T18" fmla="*/ 11 w 1488"/>
                <a:gd name="T19" fmla="*/ 1055 h 1072"/>
                <a:gd name="T20" fmla="*/ 510 w 1488"/>
                <a:gd name="T21" fmla="*/ 494 h 1072"/>
                <a:gd name="T22" fmla="*/ 510 w 1488"/>
                <a:gd name="T23" fmla="*/ 484 h 1072"/>
                <a:gd name="T24" fmla="*/ 0 w 1488"/>
                <a:gd name="T25" fmla="*/ 65 h 1072"/>
                <a:gd name="T26" fmla="*/ 0 w 1488"/>
                <a:gd name="T27" fmla="*/ 65 h 1072"/>
                <a:gd name="T28" fmla="*/ 1399 w 1488"/>
                <a:gd name="T29" fmla="*/ 1072 h 1072"/>
                <a:gd name="T30" fmla="*/ 1399 w 1488"/>
                <a:gd name="T31" fmla="*/ 1072 h 1072"/>
                <a:gd name="T32" fmla="*/ 934 w 1488"/>
                <a:gd name="T33" fmla="*/ 546 h 1072"/>
                <a:gd name="T34" fmla="*/ 925 w 1488"/>
                <a:gd name="T35" fmla="*/ 545 h 1072"/>
                <a:gd name="T36" fmla="*/ 750 w 1488"/>
                <a:gd name="T37" fmla="*/ 701 h 1072"/>
                <a:gd name="T38" fmla="*/ 742 w 1488"/>
                <a:gd name="T39" fmla="*/ 701 h 1072"/>
                <a:gd name="T40" fmla="*/ 566 w 1488"/>
                <a:gd name="T41" fmla="*/ 545 h 1072"/>
                <a:gd name="T42" fmla="*/ 558 w 1488"/>
                <a:gd name="T43" fmla="*/ 546 h 1072"/>
                <a:gd name="T44" fmla="*/ 90 w 1488"/>
                <a:gd name="T45" fmla="*/ 1061 h 1072"/>
                <a:gd name="T46" fmla="*/ 95 w 1488"/>
                <a:gd name="T47" fmla="*/ 1072 h 1072"/>
                <a:gd name="T48" fmla="*/ 1399 w 1488"/>
                <a:gd name="T49" fmla="*/ 1072 h 1072"/>
                <a:gd name="T50" fmla="*/ 1399 w 1488"/>
                <a:gd name="T51" fmla="*/ 1072 h 1072"/>
                <a:gd name="T52" fmla="*/ 1461 w 1488"/>
                <a:gd name="T53" fmla="*/ 0 h 1072"/>
                <a:gd name="T54" fmla="*/ 27 w 1488"/>
                <a:gd name="T55" fmla="*/ 0 h 1072"/>
                <a:gd name="T56" fmla="*/ 23 w 1488"/>
                <a:gd name="T57" fmla="*/ 11 h 1072"/>
                <a:gd name="T58" fmla="*/ 738 w 1488"/>
                <a:gd name="T59" fmla="*/ 605 h 1072"/>
                <a:gd name="T60" fmla="*/ 746 w 1488"/>
                <a:gd name="T61" fmla="*/ 605 h 1072"/>
                <a:gd name="T62" fmla="*/ 1465 w 1488"/>
                <a:gd name="T63" fmla="*/ 11 h 1072"/>
                <a:gd name="T64" fmla="*/ 1461 w 1488"/>
                <a:gd name="T65" fmla="*/ 0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88" h="1072">
                  <a:moveTo>
                    <a:pt x="1488" y="65"/>
                  </a:moveTo>
                  <a:cubicBezTo>
                    <a:pt x="1488" y="1050"/>
                    <a:pt x="1488" y="1050"/>
                    <a:pt x="1488" y="1050"/>
                  </a:cubicBezTo>
                  <a:cubicBezTo>
                    <a:pt x="1488" y="1056"/>
                    <a:pt x="1481" y="1059"/>
                    <a:pt x="1477" y="1055"/>
                  </a:cubicBezTo>
                  <a:cubicBezTo>
                    <a:pt x="978" y="494"/>
                    <a:pt x="978" y="494"/>
                    <a:pt x="978" y="494"/>
                  </a:cubicBezTo>
                  <a:cubicBezTo>
                    <a:pt x="975" y="491"/>
                    <a:pt x="976" y="487"/>
                    <a:pt x="978" y="484"/>
                  </a:cubicBezTo>
                  <a:cubicBezTo>
                    <a:pt x="1488" y="65"/>
                    <a:pt x="1488" y="65"/>
                    <a:pt x="1488" y="65"/>
                  </a:cubicBezTo>
                  <a:cubicBezTo>
                    <a:pt x="1488" y="65"/>
                    <a:pt x="1488" y="65"/>
                    <a:pt x="1488" y="65"/>
                  </a:cubicBezTo>
                  <a:close/>
                  <a:moveTo>
                    <a:pt x="0" y="65"/>
                  </a:moveTo>
                  <a:cubicBezTo>
                    <a:pt x="0" y="1050"/>
                    <a:pt x="0" y="1050"/>
                    <a:pt x="0" y="1050"/>
                  </a:cubicBezTo>
                  <a:cubicBezTo>
                    <a:pt x="0" y="1056"/>
                    <a:pt x="7" y="1059"/>
                    <a:pt x="11" y="1055"/>
                  </a:cubicBezTo>
                  <a:cubicBezTo>
                    <a:pt x="510" y="494"/>
                    <a:pt x="510" y="494"/>
                    <a:pt x="510" y="494"/>
                  </a:cubicBezTo>
                  <a:cubicBezTo>
                    <a:pt x="513" y="491"/>
                    <a:pt x="512" y="487"/>
                    <a:pt x="510" y="484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65"/>
                    <a:pt x="0" y="65"/>
                    <a:pt x="0" y="65"/>
                  </a:cubicBezTo>
                  <a:close/>
                  <a:moveTo>
                    <a:pt x="1399" y="1072"/>
                  </a:moveTo>
                  <a:cubicBezTo>
                    <a:pt x="1399" y="1072"/>
                    <a:pt x="1399" y="1072"/>
                    <a:pt x="1399" y="1072"/>
                  </a:cubicBezTo>
                  <a:cubicBezTo>
                    <a:pt x="934" y="546"/>
                    <a:pt x="934" y="546"/>
                    <a:pt x="934" y="546"/>
                  </a:cubicBezTo>
                  <a:cubicBezTo>
                    <a:pt x="931" y="543"/>
                    <a:pt x="928" y="542"/>
                    <a:pt x="925" y="545"/>
                  </a:cubicBezTo>
                  <a:cubicBezTo>
                    <a:pt x="750" y="701"/>
                    <a:pt x="750" y="701"/>
                    <a:pt x="750" y="701"/>
                  </a:cubicBezTo>
                  <a:cubicBezTo>
                    <a:pt x="748" y="703"/>
                    <a:pt x="744" y="703"/>
                    <a:pt x="742" y="701"/>
                  </a:cubicBezTo>
                  <a:cubicBezTo>
                    <a:pt x="566" y="545"/>
                    <a:pt x="566" y="545"/>
                    <a:pt x="566" y="545"/>
                  </a:cubicBezTo>
                  <a:cubicBezTo>
                    <a:pt x="564" y="542"/>
                    <a:pt x="560" y="542"/>
                    <a:pt x="558" y="546"/>
                  </a:cubicBezTo>
                  <a:cubicBezTo>
                    <a:pt x="90" y="1061"/>
                    <a:pt x="90" y="1061"/>
                    <a:pt x="90" y="1061"/>
                  </a:cubicBezTo>
                  <a:cubicBezTo>
                    <a:pt x="86" y="1065"/>
                    <a:pt x="89" y="1072"/>
                    <a:pt x="95" y="1072"/>
                  </a:cubicBezTo>
                  <a:cubicBezTo>
                    <a:pt x="1399" y="1072"/>
                    <a:pt x="1399" y="1072"/>
                    <a:pt x="1399" y="1072"/>
                  </a:cubicBezTo>
                  <a:cubicBezTo>
                    <a:pt x="1399" y="1072"/>
                    <a:pt x="1399" y="1072"/>
                    <a:pt x="1399" y="1072"/>
                  </a:cubicBezTo>
                  <a:close/>
                  <a:moveTo>
                    <a:pt x="1461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1" y="0"/>
                    <a:pt x="19" y="8"/>
                    <a:pt x="23" y="11"/>
                  </a:cubicBezTo>
                  <a:cubicBezTo>
                    <a:pt x="738" y="605"/>
                    <a:pt x="738" y="605"/>
                    <a:pt x="738" y="605"/>
                  </a:cubicBezTo>
                  <a:cubicBezTo>
                    <a:pt x="740" y="607"/>
                    <a:pt x="743" y="607"/>
                    <a:pt x="746" y="605"/>
                  </a:cubicBezTo>
                  <a:cubicBezTo>
                    <a:pt x="1465" y="11"/>
                    <a:pt x="1465" y="11"/>
                    <a:pt x="1465" y="11"/>
                  </a:cubicBezTo>
                  <a:cubicBezTo>
                    <a:pt x="1469" y="8"/>
                    <a:pt x="1466" y="0"/>
                    <a:pt x="146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F392DBD6-B15E-4ADF-AF12-BA5345F86F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7" y="988"/>
              <a:ext cx="3166" cy="2344"/>
            </a:xfrm>
            <a:custGeom>
              <a:avLst/>
              <a:gdLst>
                <a:gd name="T0" fmla="*/ 1668 w 1690"/>
                <a:gd name="T1" fmla="*/ 1250 h 1250"/>
                <a:gd name="T2" fmla="*/ 22 w 1690"/>
                <a:gd name="T3" fmla="*/ 1250 h 1250"/>
                <a:gd name="T4" fmla="*/ 0 w 1690"/>
                <a:gd name="T5" fmla="*/ 1228 h 1250"/>
                <a:gd name="T6" fmla="*/ 0 w 1690"/>
                <a:gd name="T7" fmla="*/ 22 h 1250"/>
                <a:gd name="T8" fmla="*/ 22 w 1690"/>
                <a:gd name="T9" fmla="*/ 0 h 1250"/>
                <a:gd name="T10" fmla="*/ 1668 w 1690"/>
                <a:gd name="T11" fmla="*/ 0 h 1250"/>
                <a:gd name="T12" fmla="*/ 1690 w 1690"/>
                <a:gd name="T13" fmla="*/ 22 h 1250"/>
                <a:gd name="T14" fmla="*/ 1690 w 1690"/>
                <a:gd name="T15" fmla="*/ 1228 h 1250"/>
                <a:gd name="T16" fmla="*/ 1668 w 1690"/>
                <a:gd name="T17" fmla="*/ 1250 h 1250"/>
                <a:gd name="T18" fmla="*/ 44 w 1690"/>
                <a:gd name="T19" fmla="*/ 1206 h 1250"/>
                <a:gd name="T20" fmla="*/ 1646 w 1690"/>
                <a:gd name="T21" fmla="*/ 1206 h 1250"/>
                <a:gd name="T22" fmla="*/ 1646 w 1690"/>
                <a:gd name="T23" fmla="*/ 44 h 1250"/>
                <a:gd name="T24" fmla="*/ 44 w 1690"/>
                <a:gd name="T25" fmla="*/ 44 h 1250"/>
                <a:gd name="T26" fmla="*/ 44 w 1690"/>
                <a:gd name="T27" fmla="*/ 1206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90" h="1250">
                  <a:moveTo>
                    <a:pt x="1668" y="1250"/>
                  </a:moveTo>
                  <a:cubicBezTo>
                    <a:pt x="22" y="1250"/>
                    <a:pt x="22" y="1250"/>
                    <a:pt x="22" y="1250"/>
                  </a:cubicBezTo>
                  <a:cubicBezTo>
                    <a:pt x="10" y="1250"/>
                    <a:pt x="0" y="1240"/>
                    <a:pt x="0" y="122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668" y="0"/>
                    <a:pt x="1668" y="0"/>
                    <a:pt x="1668" y="0"/>
                  </a:cubicBezTo>
                  <a:cubicBezTo>
                    <a:pt x="1680" y="0"/>
                    <a:pt x="1690" y="10"/>
                    <a:pt x="1690" y="22"/>
                  </a:cubicBezTo>
                  <a:cubicBezTo>
                    <a:pt x="1690" y="1228"/>
                    <a:pt x="1690" y="1228"/>
                    <a:pt x="1690" y="1228"/>
                  </a:cubicBezTo>
                  <a:cubicBezTo>
                    <a:pt x="1690" y="1240"/>
                    <a:pt x="1680" y="1250"/>
                    <a:pt x="1668" y="1250"/>
                  </a:cubicBezTo>
                  <a:close/>
                  <a:moveTo>
                    <a:pt x="44" y="1206"/>
                  </a:moveTo>
                  <a:cubicBezTo>
                    <a:pt x="1646" y="1206"/>
                    <a:pt x="1646" y="1206"/>
                    <a:pt x="1646" y="1206"/>
                  </a:cubicBezTo>
                  <a:cubicBezTo>
                    <a:pt x="1646" y="44"/>
                    <a:pt x="1646" y="44"/>
                    <a:pt x="1646" y="44"/>
                  </a:cubicBezTo>
                  <a:cubicBezTo>
                    <a:pt x="44" y="44"/>
                    <a:pt x="44" y="44"/>
                    <a:pt x="44" y="44"/>
                  </a:cubicBezTo>
                  <a:lnTo>
                    <a:pt x="44" y="12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3A01506-46D5-4C65-B16F-080FA2C6984E}"/>
              </a:ext>
            </a:extLst>
          </p:cNvPr>
          <p:cNvGrpSpPr>
            <a:grpSpLocks noChangeAspect="1"/>
          </p:cNvGrpSpPr>
          <p:nvPr/>
        </p:nvGrpSpPr>
        <p:grpSpPr>
          <a:xfrm>
            <a:off x="9487061" y="3153642"/>
            <a:ext cx="653774" cy="653143"/>
            <a:chOff x="5273675" y="2606675"/>
            <a:chExt cx="1646238" cy="1644650"/>
          </a:xfrm>
        </p:grpSpPr>
        <p:sp>
          <p:nvSpPr>
            <p:cNvPr id="69" name="AutoShape 3">
              <a:extLst>
                <a:ext uri="{FF2B5EF4-FFF2-40B4-BE49-F238E27FC236}">
                  <a16:creationId xmlns:a16="http://schemas.microsoft.com/office/drawing/2014/main" id="{C1365372-A619-46C5-883B-109F8F37DF0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">
              <a:extLst>
                <a:ext uri="{FF2B5EF4-FFF2-40B4-BE49-F238E27FC236}">
                  <a16:creationId xmlns:a16="http://schemas.microsoft.com/office/drawing/2014/main" id="{3B39F693-4E8B-4819-BD60-DAEDE61BE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538" y="2776538"/>
              <a:ext cx="1304925" cy="1304925"/>
            </a:xfrm>
            <a:custGeom>
              <a:avLst/>
              <a:gdLst>
                <a:gd name="connsiteX0" fmla="*/ 381635 w 1304925"/>
                <a:gd name="connsiteY0" fmla="*/ 1077640 h 1304925"/>
                <a:gd name="connsiteX1" fmla="*/ 361860 w 1304925"/>
                <a:gd name="connsiteY1" fmla="*/ 1093334 h 1304925"/>
                <a:gd name="connsiteX2" fmla="*/ 373471 w 1304925"/>
                <a:gd name="connsiteY2" fmla="*/ 1138328 h 1304925"/>
                <a:gd name="connsiteX3" fmla="*/ 419191 w 1304925"/>
                <a:gd name="connsiteY3" fmla="*/ 1125991 h 1304925"/>
                <a:gd name="connsiteX4" fmla="*/ 406854 w 1304925"/>
                <a:gd name="connsiteY4" fmla="*/ 1080996 h 1304925"/>
                <a:gd name="connsiteX5" fmla="*/ 381635 w 1304925"/>
                <a:gd name="connsiteY5" fmla="*/ 1077640 h 1304925"/>
                <a:gd name="connsiteX6" fmla="*/ 926452 w 1304925"/>
                <a:gd name="connsiteY6" fmla="*/ 1077004 h 1304925"/>
                <a:gd name="connsiteX7" fmla="*/ 901670 w 1304925"/>
                <a:gd name="connsiteY7" fmla="*/ 1079988 h 1304925"/>
                <a:gd name="connsiteX8" fmla="*/ 890300 w 1304925"/>
                <a:gd name="connsiteY8" fmla="*/ 1124224 h 1304925"/>
                <a:gd name="connsiteX9" fmla="*/ 934357 w 1304925"/>
                <a:gd name="connsiteY9" fmla="*/ 1136161 h 1304925"/>
                <a:gd name="connsiteX10" fmla="*/ 946437 w 1304925"/>
                <a:gd name="connsiteY10" fmla="*/ 1091925 h 1304925"/>
                <a:gd name="connsiteX11" fmla="*/ 926452 w 1304925"/>
                <a:gd name="connsiteY11" fmla="*/ 1077004 h 1304925"/>
                <a:gd name="connsiteX12" fmla="*/ 205188 w 1304925"/>
                <a:gd name="connsiteY12" fmla="*/ 885190 h 1304925"/>
                <a:gd name="connsiteX13" fmla="*/ 180700 w 1304925"/>
                <a:gd name="connsiteY13" fmla="*/ 888909 h 1304925"/>
                <a:gd name="connsiteX14" fmla="*/ 168763 w 1304925"/>
                <a:gd name="connsiteY14" fmla="*/ 933904 h 1304925"/>
                <a:gd name="connsiteX15" fmla="*/ 213000 w 1304925"/>
                <a:gd name="connsiteY15" fmla="*/ 946241 h 1304925"/>
                <a:gd name="connsiteX16" fmla="*/ 224936 w 1304925"/>
                <a:gd name="connsiteY16" fmla="*/ 900521 h 1304925"/>
                <a:gd name="connsiteX17" fmla="*/ 205188 w 1304925"/>
                <a:gd name="connsiteY17" fmla="*/ 885190 h 1304925"/>
                <a:gd name="connsiteX18" fmla="*/ 1101752 w 1304925"/>
                <a:gd name="connsiteY18" fmla="*/ 882251 h 1304925"/>
                <a:gd name="connsiteX19" fmla="*/ 1082388 w 1304925"/>
                <a:gd name="connsiteY19" fmla="*/ 897618 h 1304925"/>
                <a:gd name="connsiteX20" fmla="*/ 1094468 w 1304925"/>
                <a:gd name="connsiteY20" fmla="*/ 941675 h 1304925"/>
                <a:gd name="connsiteX21" fmla="*/ 1138525 w 1304925"/>
                <a:gd name="connsiteY21" fmla="*/ 930306 h 1304925"/>
                <a:gd name="connsiteX22" fmla="*/ 1126445 w 1304925"/>
                <a:gd name="connsiteY22" fmla="*/ 885538 h 1304925"/>
                <a:gd name="connsiteX23" fmla="*/ 1101752 w 1304925"/>
                <a:gd name="connsiteY23" fmla="*/ 882251 h 1304925"/>
                <a:gd name="connsiteX24" fmla="*/ 963286 w 1304925"/>
                <a:gd name="connsiteY24" fmla="*/ 393658 h 1304925"/>
                <a:gd name="connsiteX25" fmla="*/ 947853 w 1304925"/>
                <a:gd name="connsiteY25" fmla="*/ 397685 h 1304925"/>
                <a:gd name="connsiteX26" fmla="*/ 666669 w 1304925"/>
                <a:gd name="connsiteY26" fmla="*/ 600314 h 1304925"/>
                <a:gd name="connsiteX27" fmla="*/ 653110 w 1304925"/>
                <a:gd name="connsiteY27" fmla="*/ 598166 h 1304925"/>
                <a:gd name="connsiteX28" fmla="*/ 635982 w 1304925"/>
                <a:gd name="connsiteY28" fmla="*/ 601030 h 1304925"/>
                <a:gd name="connsiteX29" fmla="*/ 460420 w 1304925"/>
                <a:gd name="connsiteY29" fmla="*/ 500789 h 1304925"/>
                <a:gd name="connsiteX30" fmla="*/ 431160 w 1304925"/>
                <a:gd name="connsiteY30" fmla="*/ 507234 h 1304925"/>
                <a:gd name="connsiteX31" fmla="*/ 437583 w 1304925"/>
                <a:gd name="connsiteY31" fmla="*/ 535874 h 1304925"/>
                <a:gd name="connsiteX32" fmla="*/ 600298 w 1304925"/>
                <a:gd name="connsiteY32" fmla="*/ 651150 h 1304925"/>
                <a:gd name="connsiteX33" fmla="*/ 653110 w 1304925"/>
                <a:gd name="connsiteY33" fmla="*/ 704850 h 1304925"/>
                <a:gd name="connsiteX34" fmla="*/ 705921 w 1304925"/>
                <a:gd name="connsiteY34" fmla="*/ 651150 h 1304925"/>
                <a:gd name="connsiteX35" fmla="*/ 705921 w 1304925"/>
                <a:gd name="connsiteY35" fmla="*/ 649002 h 1304925"/>
                <a:gd name="connsiteX36" fmla="*/ 973545 w 1304925"/>
                <a:gd name="connsiteY36" fmla="*/ 430621 h 1304925"/>
                <a:gd name="connsiteX37" fmla="*/ 977114 w 1304925"/>
                <a:gd name="connsiteY37" fmla="*/ 401981 h 1304925"/>
                <a:gd name="connsiteX38" fmla="*/ 963286 w 1304925"/>
                <a:gd name="connsiteY38" fmla="*/ 393658 h 1304925"/>
                <a:gd name="connsiteX39" fmla="*/ 186297 w 1304925"/>
                <a:gd name="connsiteY39" fmla="*/ 359608 h 1304925"/>
                <a:gd name="connsiteX40" fmla="*/ 166400 w 1304925"/>
                <a:gd name="connsiteY40" fmla="*/ 374620 h 1304925"/>
                <a:gd name="connsiteX41" fmla="*/ 178480 w 1304925"/>
                <a:gd name="connsiteY41" fmla="*/ 419387 h 1304925"/>
                <a:gd name="connsiteX42" fmla="*/ 222537 w 1304925"/>
                <a:gd name="connsiteY42" fmla="*/ 407307 h 1304925"/>
                <a:gd name="connsiteX43" fmla="*/ 210457 w 1304925"/>
                <a:gd name="connsiteY43" fmla="*/ 363250 h 1304925"/>
                <a:gd name="connsiteX44" fmla="*/ 186297 w 1304925"/>
                <a:gd name="connsiteY44" fmla="*/ 359608 h 1304925"/>
                <a:gd name="connsiteX45" fmla="*/ 1117388 w 1304925"/>
                <a:gd name="connsiteY45" fmla="*/ 355328 h 1304925"/>
                <a:gd name="connsiteX46" fmla="*/ 1092368 w 1304925"/>
                <a:gd name="connsiteY46" fmla="*/ 358684 h 1304925"/>
                <a:gd name="connsiteX47" fmla="*/ 1080171 w 1304925"/>
                <a:gd name="connsiteY47" fmla="*/ 404404 h 1304925"/>
                <a:gd name="connsiteX48" fmla="*/ 1125370 w 1304925"/>
                <a:gd name="connsiteY48" fmla="*/ 416016 h 1304925"/>
                <a:gd name="connsiteX49" fmla="*/ 1137566 w 1304925"/>
                <a:gd name="connsiteY49" fmla="*/ 371022 h 1304925"/>
                <a:gd name="connsiteX50" fmla="*/ 1117388 w 1304925"/>
                <a:gd name="connsiteY50" fmla="*/ 355328 h 1304925"/>
                <a:gd name="connsiteX51" fmla="*/ 395262 w 1304925"/>
                <a:gd name="connsiteY51" fmla="*/ 165897 h 1304925"/>
                <a:gd name="connsiteX52" fmla="*/ 370568 w 1304925"/>
                <a:gd name="connsiteY52" fmla="*/ 168946 h 1304925"/>
                <a:gd name="connsiteX53" fmla="*/ 358488 w 1304925"/>
                <a:gd name="connsiteY53" fmla="*/ 214145 h 1304925"/>
                <a:gd name="connsiteX54" fmla="*/ 403256 w 1304925"/>
                <a:gd name="connsiteY54" fmla="*/ 226341 h 1304925"/>
                <a:gd name="connsiteX55" fmla="*/ 414625 w 1304925"/>
                <a:gd name="connsiteY55" fmla="*/ 181143 h 1304925"/>
                <a:gd name="connsiteX56" fmla="*/ 395262 w 1304925"/>
                <a:gd name="connsiteY56" fmla="*/ 165897 h 1304925"/>
                <a:gd name="connsiteX57" fmla="*/ 906145 w 1304925"/>
                <a:gd name="connsiteY57" fmla="*/ 163240 h 1304925"/>
                <a:gd name="connsiteX58" fmla="*/ 885735 w 1304925"/>
                <a:gd name="connsiteY58" fmla="*/ 178934 h 1304925"/>
                <a:gd name="connsiteX59" fmla="*/ 898072 w 1304925"/>
                <a:gd name="connsiteY59" fmla="*/ 223928 h 1304925"/>
                <a:gd name="connsiteX60" fmla="*/ 943066 w 1304925"/>
                <a:gd name="connsiteY60" fmla="*/ 211591 h 1304925"/>
                <a:gd name="connsiteX61" fmla="*/ 931455 w 1304925"/>
                <a:gd name="connsiteY61" fmla="*/ 166596 h 1304925"/>
                <a:gd name="connsiteX62" fmla="*/ 906145 w 1304925"/>
                <a:gd name="connsiteY62" fmla="*/ 163240 h 1304925"/>
                <a:gd name="connsiteX63" fmla="*/ 618145 w 1304925"/>
                <a:gd name="connsiteY63" fmla="*/ 63500 h 1304925"/>
                <a:gd name="connsiteX64" fmla="*/ 618145 w 1304925"/>
                <a:gd name="connsiteY64" fmla="*/ 126247 h 1304925"/>
                <a:gd name="connsiteX65" fmla="*/ 650317 w 1304925"/>
                <a:gd name="connsiteY65" fmla="*/ 159046 h 1304925"/>
                <a:gd name="connsiteX66" fmla="*/ 683205 w 1304925"/>
                <a:gd name="connsiteY66" fmla="*/ 126247 h 1304925"/>
                <a:gd name="connsiteX67" fmla="*/ 683205 w 1304925"/>
                <a:gd name="connsiteY67" fmla="*/ 63500 h 1304925"/>
                <a:gd name="connsiteX68" fmla="*/ 1243012 w 1304925"/>
                <a:gd name="connsiteY68" fmla="*/ 618237 h 1304925"/>
                <a:gd name="connsiteX69" fmla="*/ 1180096 w 1304925"/>
                <a:gd name="connsiteY69" fmla="*/ 618237 h 1304925"/>
                <a:gd name="connsiteX70" fmla="*/ 1147209 w 1304925"/>
                <a:gd name="connsiteY70" fmla="*/ 650324 h 1304925"/>
                <a:gd name="connsiteX71" fmla="*/ 1180096 w 1304925"/>
                <a:gd name="connsiteY71" fmla="*/ 683123 h 1304925"/>
                <a:gd name="connsiteX72" fmla="*/ 1243012 w 1304925"/>
                <a:gd name="connsiteY72" fmla="*/ 683123 h 1304925"/>
                <a:gd name="connsiteX73" fmla="*/ 686780 w 1304925"/>
                <a:gd name="connsiteY73" fmla="*/ 1241425 h 1304925"/>
                <a:gd name="connsiteX74" fmla="*/ 686780 w 1304925"/>
                <a:gd name="connsiteY74" fmla="*/ 1178679 h 1304925"/>
                <a:gd name="connsiteX75" fmla="*/ 654607 w 1304925"/>
                <a:gd name="connsiteY75" fmla="*/ 1145879 h 1304925"/>
                <a:gd name="connsiteX76" fmla="*/ 621719 w 1304925"/>
                <a:gd name="connsiteY76" fmla="*/ 1178679 h 1304925"/>
                <a:gd name="connsiteX77" fmla="*/ 621719 w 1304925"/>
                <a:gd name="connsiteY77" fmla="*/ 1241425 h 1304925"/>
                <a:gd name="connsiteX78" fmla="*/ 61912 w 1304925"/>
                <a:gd name="connsiteY78" fmla="*/ 686688 h 1304925"/>
                <a:gd name="connsiteX79" fmla="*/ 124828 w 1304925"/>
                <a:gd name="connsiteY79" fmla="*/ 686688 h 1304925"/>
                <a:gd name="connsiteX80" fmla="*/ 157716 w 1304925"/>
                <a:gd name="connsiteY80" fmla="*/ 654602 h 1304925"/>
                <a:gd name="connsiteX81" fmla="*/ 124828 w 1304925"/>
                <a:gd name="connsiteY81" fmla="*/ 621802 h 1304925"/>
                <a:gd name="connsiteX82" fmla="*/ 61912 w 1304925"/>
                <a:gd name="connsiteY82" fmla="*/ 621802 h 1304925"/>
                <a:gd name="connsiteX83" fmla="*/ 618145 w 1304925"/>
                <a:gd name="connsiteY83" fmla="*/ 63500 h 1304925"/>
                <a:gd name="connsiteX84" fmla="*/ 652462 w 1304925"/>
                <a:gd name="connsiteY84" fmla="*/ 31750 h 1304925"/>
                <a:gd name="connsiteX85" fmla="*/ 30162 w 1304925"/>
                <a:gd name="connsiteY85" fmla="*/ 652463 h 1304925"/>
                <a:gd name="connsiteX86" fmla="*/ 652462 w 1304925"/>
                <a:gd name="connsiteY86" fmla="*/ 1273176 h 1304925"/>
                <a:gd name="connsiteX87" fmla="*/ 1274762 w 1304925"/>
                <a:gd name="connsiteY87" fmla="*/ 652463 h 1304925"/>
                <a:gd name="connsiteX88" fmla="*/ 652462 w 1304925"/>
                <a:gd name="connsiteY88" fmla="*/ 31750 h 1304925"/>
                <a:gd name="connsiteX89" fmla="*/ 652463 w 1304925"/>
                <a:gd name="connsiteY89" fmla="*/ 0 h 1304925"/>
                <a:gd name="connsiteX90" fmla="*/ 1113612 w 1304925"/>
                <a:gd name="connsiteY90" fmla="*/ 191313 h 1304925"/>
                <a:gd name="connsiteX91" fmla="*/ 1304925 w 1304925"/>
                <a:gd name="connsiteY91" fmla="*/ 652463 h 1304925"/>
                <a:gd name="connsiteX92" fmla="*/ 1113612 w 1304925"/>
                <a:gd name="connsiteY92" fmla="*/ 1113612 h 1304925"/>
                <a:gd name="connsiteX93" fmla="*/ 652463 w 1304925"/>
                <a:gd name="connsiteY93" fmla="*/ 1304925 h 1304925"/>
                <a:gd name="connsiteX94" fmla="*/ 191313 w 1304925"/>
                <a:gd name="connsiteY94" fmla="*/ 1113612 h 1304925"/>
                <a:gd name="connsiteX95" fmla="*/ 0 w 1304925"/>
                <a:gd name="connsiteY95" fmla="*/ 652463 h 1304925"/>
                <a:gd name="connsiteX96" fmla="*/ 191313 w 1304925"/>
                <a:gd name="connsiteY96" fmla="*/ 191313 h 1304925"/>
                <a:gd name="connsiteX97" fmla="*/ 652463 w 1304925"/>
                <a:gd name="connsiteY97" fmla="*/ 0 h 1304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304925" h="1304925">
                  <a:moveTo>
                    <a:pt x="381635" y="1077640"/>
                  </a:moveTo>
                  <a:cubicBezTo>
                    <a:pt x="373471" y="1079908"/>
                    <a:pt x="366214" y="1085351"/>
                    <a:pt x="361860" y="1093334"/>
                  </a:cubicBezTo>
                  <a:cubicBezTo>
                    <a:pt x="352425" y="1108574"/>
                    <a:pt x="357505" y="1128894"/>
                    <a:pt x="373471" y="1138328"/>
                  </a:cubicBezTo>
                  <a:cubicBezTo>
                    <a:pt x="389437" y="1147762"/>
                    <a:pt x="409757" y="1141956"/>
                    <a:pt x="419191" y="1125991"/>
                  </a:cubicBezTo>
                  <a:cubicBezTo>
                    <a:pt x="428625" y="1110025"/>
                    <a:pt x="422820" y="1089705"/>
                    <a:pt x="406854" y="1080996"/>
                  </a:cubicBezTo>
                  <a:cubicBezTo>
                    <a:pt x="398871" y="1076279"/>
                    <a:pt x="389800" y="1075372"/>
                    <a:pt x="381635" y="1077640"/>
                  </a:cubicBezTo>
                  <a:close/>
                  <a:moveTo>
                    <a:pt x="926452" y="1077004"/>
                  </a:moveTo>
                  <a:cubicBezTo>
                    <a:pt x="918369" y="1074897"/>
                    <a:pt x="909486" y="1075775"/>
                    <a:pt x="901670" y="1079988"/>
                  </a:cubicBezTo>
                  <a:cubicBezTo>
                    <a:pt x="886036" y="1089116"/>
                    <a:pt x="881062" y="1108777"/>
                    <a:pt x="890300" y="1124224"/>
                  </a:cubicBezTo>
                  <a:cubicBezTo>
                    <a:pt x="898827" y="1139672"/>
                    <a:pt x="918724" y="1144587"/>
                    <a:pt x="934357" y="1136161"/>
                  </a:cubicBezTo>
                  <a:cubicBezTo>
                    <a:pt x="949990" y="1127033"/>
                    <a:pt x="955675" y="1107372"/>
                    <a:pt x="946437" y="1091925"/>
                  </a:cubicBezTo>
                  <a:cubicBezTo>
                    <a:pt x="941819" y="1084201"/>
                    <a:pt x="934535" y="1079110"/>
                    <a:pt x="926452" y="1077004"/>
                  </a:cubicBezTo>
                  <a:close/>
                  <a:moveTo>
                    <a:pt x="205188" y="885190"/>
                  </a:moveTo>
                  <a:cubicBezTo>
                    <a:pt x="197201" y="883104"/>
                    <a:pt x="188424" y="884192"/>
                    <a:pt x="180700" y="888909"/>
                  </a:cubicBezTo>
                  <a:cubicBezTo>
                    <a:pt x="165252" y="897618"/>
                    <a:pt x="160337" y="917938"/>
                    <a:pt x="168763" y="933904"/>
                  </a:cubicBezTo>
                  <a:cubicBezTo>
                    <a:pt x="177891" y="949869"/>
                    <a:pt x="197552" y="955675"/>
                    <a:pt x="213000" y="946241"/>
                  </a:cubicBezTo>
                  <a:cubicBezTo>
                    <a:pt x="228447" y="936807"/>
                    <a:pt x="233362" y="916487"/>
                    <a:pt x="224936" y="900521"/>
                  </a:cubicBezTo>
                  <a:cubicBezTo>
                    <a:pt x="220372" y="892538"/>
                    <a:pt x="213175" y="887277"/>
                    <a:pt x="205188" y="885190"/>
                  </a:cubicBezTo>
                  <a:close/>
                  <a:moveTo>
                    <a:pt x="1101752" y="882251"/>
                  </a:moveTo>
                  <a:cubicBezTo>
                    <a:pt x="1093758" y="884472"/>
                    <a:pt x="1086652" y="889802"/>
                    <a:pt x="1082388" y="897618"/>
                  </a:cubicBezTo>
                  <a:cubicBezTo>
                    <a:pt x="1073150" y="913251"/>
                    <a:pt x="1078835" y="933148"/>
                    <a:pt x="1094468" y="941675"/>
                  </a:cubicBezTo>
                  <a:cubicBezTo>
                    <a:pt x="1109391" y="950913"/>
                    <a:pt x="1129288" y="945939"/>
                    <a:pt x="1138525" y="930306"/>
                  </a:cubicBezTo>
                  <a:cubicBezTo>
                    <a:pt x="1147763" y="914673"/>
                    <a:pt x="1142078" y="894776"/>
                    <a:pt x="1126445" y="885538"/>
                  </a:cubicBezTo>
                  <a:cubicBezTo>
                    <a:pt x="1118629" y="880919"/>
                    <a:pt x="1109746" y="880031"/>
                    <a:pt x="1101752" y="882251"/>
                  </a:cubicBezTo>
                  <a:close/>
                  <a:moveTo>
                    <a:pt x="963286" y="393658"/>
                  </a:moveTo>
                  <a:cubicBezTo>
                    <a:pt x="958023" y="392852"/>
                    <a:pt x="952492" y="394105"/>
                    <a:pt x="947853" y="397685"/>
                  </a:cubicBezTo>
                  <a:cubicBezTo>
                    <a:pt x="947853" y="397685"/>
                    <a:pt x="947853" y="397685"/>
                    <a:pt x="666669" y="600314"/>
                  </a:cubicBezTo>
                  <a:cubicBezTo>
                    <a:pt x="662387" y="598882"/>
                    <a:pt x="658105" y="598166"/>
                    <a:pt x="653110" y="598166"/>
                  </a:cubicBezTo>
                  <a:cubicBezTo>
                    <a:pt x="647400" y="598166"/>
                    <a:pt x="640977" y="599598"/>
                    <a:pt x="635982" y="601030"/>
                  </a:cubicBezTo>
                  <a:cubicBezTo>
                    <a:pt x="635982" y="601030"/>
                    <a:pt x="635982" y="601030"/>
                    <a:pt x="460420" y="500789"/>
                  </a:cubicBezTo>
                  <a:cubicBezTo>
                    <a:pt x="450429" y="494345"/>
                    <a:pt x="437583" y="497209"/>
                    <a:pt x="431160" y="507234"/>
                  </a:cubicBezTo>
                  <a:cubicBezTo>
                    <a:pt x="425450" y="516542"/>
                    <a:pt x="428305" y="529430"/>
                    <a:pt x="437583" y="535874"/>
                  </a:cubicBezTo>
                  <a:cubicBezTo>
                    <a:pt x="437583" y="535874"/>
                    <a:pt x="437583" y="535874"/>
                    <a:pt x="600298" y="651150"/>
                  </a:cubicBezTo>
                  <a:cubicBezTo>
                    <a:pt x="600298" y="681222"/>
                    <a:pt x="623849" y="704850"/>
                    <a:pt x="653110" y="704850"/>
                  </a:cubicBezTo>
                  <a:cubicBezTo>
                    <a:pt x="682370" y="704850"/>
                    <a:pt x="705921" y="681222"/>
                    <a:pt x="705921" y="651150"/>
                  </a:cubicBezTo>
                  <a:cubicBezTo>
                    <a:pt x="705921" y="650434"/>
                    <a:pt x="705921" y="649718"/>
                    <a:pt x="705921" y="649002"/>
                  </a:cubicBezTo>
                  <a:cubicBezTo>
                    <a:pt x="705921" y="649002"/>
                    <a:pt x="705921" y="649002"/>
                    <a:pt x="973545" y="430621"/>
                  </a:cubicBezTo>
                  <a:cubicBezTo>
                    <a:pt x="982109" y="424177"/>
                    <a:pt x="984250" y="410573"/>
                    <a:pt x="977114" y="401981"/>
                  </a:cubicBezTo>
                  <a:cubicBezTo>
                    <a:pt x="973545" y="397327"/>
                    <a:pt x="968549" y="394463"/>
                    <a:pt x="963286" y="393658"/>
                  </a:cubicBezTo>
                  <a:close/>
                  <a:moveTo>
                    <a:pt x="186297" y="359608"/>
                  </a:moveTo>
                  <a:cubicBezTo>
                    <a:pt x="178303" y="361651"/>
                    <a:pt x="171019" y="366803"/>
                    <a:pt x="166400" y="374620"/>
                  </a:cubicBezTo>
                  <a:cubicBezTo>
                    <a:pt x="157162" y="390253"/>
                    <a:pt x="162847" y="410150"/>
                    <a:pt x="178480" y="419387"/>
                  </a:cubicBezTo>
                  <a:cubicBezTo>
                    <a:pt x="194113" y="428625"/>
                    <a:pt x="214010" y="422940"/>
                    <a:pt x="222537" y="407307"/>
                  </a:cubicBezTo>
                  <a:cubicBezTo>
                    <a:pt x="231775" y="391674"/>
                    <a:pt x="226090" y="371777"/>
                    <a:pt x="210457" y="363250"/>
                  </a:cubicBezTo>
                  <a:cubicBezTo>
                    <a:pt x="202996" y="358631"/>
                    <a:pt x="194291" y="357565"/>
                    <a:pt x="186297" y="359608"/>
                  </a:cubicBezTo>
                  <a:close/>
                  <a:moveTo>
                    <a:pt x="1117388" y="355328"/>
                  </a:moveTo>
                  <a:cubicBezTo>
                    <a:pt x="1109227" y="353060"/>
                    <a:pt x="1100260" y="353967"/>
                    <a:pt x="1092368" y="358684"/>
                  </a:cubicBezTo>
                  <a:cubicBezTo>
                    <a:pt x="1076584" y="368119"/>
                    <a:pt x="1071562" y="388439"/>
                    <a:pt x="1080171" y="404404"/>
                  </a:cubicBezTo>
                  <a:cubicBezTo>
                    <a:pt x="1089498" y="420370"/>
                    <a:pt x="1109586" y="425450"/>
                    <a:pt x="1125370" y="416016"/>
                  </a:cubicBezTo>
                  <a:cubicBezTo>
                    <a:pt x="1141153" y="407307"/>
                    <a:pt x="1146175" y="386987"/>
                    <a:pt x="1137566" y="371022"/>
                  </a:cubicBezTo>
                  <a:cubicBezTo>
                    <a:pt x="1132903" y="363039"/>
                    <a:pt x="1125549" y="357596"/>
                    <a:pt x="1117388" y="355328"/>
                  </a:cubicBezTo>
                  <a:close/>
                  <a:moveTo>
                    <a:pt x="395262" y="165897"/>
                  </a:moveTo>
                  <a:cubicBezTo>
                    <a:pt x="387267" y="163745"/>
                    <a:pt x="378385" y="164642"/>
                    <a:pt x="370568" y="168946"/>
                  </a:cubicBezTo>
                  <a:cubicBezTo>
                    <a:pt x="354935" y="178273"/>
                    <a:pt x="349250" y="198361"/>
                    <a:pt x="358488" y="214145"/>
                  </a:cubicBezTo>
                  <a:cubicBezTo>
                    <a:pt x="367726" y="229928"/>
                    <a:pt x="387623" y="234950"/>
                    <a:pt x="403256" y="226341"/>
                  </a:cubicBezTo>
                  <a:cubicBezTo>
                    <a:pt x="418889" y="217014"/>
                    <a:pt x="423863" y="196926"/>
                    <a:pt x="414625" y="181143"/>
                  </a:cubicBezTo>
                  <a:cubicBezTo>
                    <a:pt x="410362" y="173251"/>
                    <a:pt x="403256" y="168050"/>
                    <a:pt x="395262" y="165897"/>
                  </a:cubicBezTo>
                  <a:close/>
                  <a:moveTo>
                    <a:pt x="906145" y="163240"/>
                  </a:moveTo>
                  <a:cubicBezTo>
                    <a:pt x="897890" y="165508"/>
                    <a:pt x="890452" y="170951"/>
                    <a:pt x="885735" y="178934"/>
                  </a:cubicBezTo>
                  <a:cubicBezTo>
                    <a:pt x="876300" y="194899"/>
                    <a:pt x="882106" y="215219"/>
                    <a:pt x="898072" y="223928"/>
                  </a:cubicBezTo>
                  <a:cubicBezTo>
                    <a:pt x="914037" y="233362"/>
                    <a:pt x="934357" y="227556"/>
                    <a:pt x="943066" y="211591"/>
                  </a:cubicBezTo>
                  <a:cubicBezTo>
                    <a:pt x="952500" y="196351"/>
                    <a:pt x="947420" y="176031"/>
                    <a:pt x="931455" y="166596"/>
                  </a:cubicBezTo>
                  <a:cubicBezTo>
                    <a:pt x="923472" y="161879"/>
                    <a:pt x="914400" y="160972"/>
                    <a:pt x="906145" y="163240"/>
                  </a:cubicBezTo>
                  <a:close/>
                  <a:moveTo>
                    <a:pt x="618145" y="63500"/>
                  </a:moveTo>
                  <a:cubicBezTo>
                    <a:pt x="618145" y="63500"/>
                    <a:pt x="618145" y="63500"/>
                    <a:pt x="618145" y="126247"/>
                  </a:cubicBezTo>
                  <a:cubicBezTo>
                    <a:pt x="618145" y="144072"/>
                    <a:pt x="632444" y="159046"/>
                    <a:pt x="650317" y="159046"/>
                  </a:cubicBezTo>
                  <a:cubicBezTo>
                    <a:pt x="668906" y="159046"/>
                    <a:pt x="683205" y="144072"/>
                    <a:pt x="683205" y="126247"/>
                  </a:cubicBezTo>
                  <a:cubicBezTo>
                    <a:pt x="683205" y="126247"/>
                    <a:pt x="683205" y="126247"/>
                    <a:pt x="683205" y="63500"/>
                  </a:cubicBezTo>
                  <a:cubicBezTo>
                    <a:pt x="984200" y="79187"/>
                    <a:pt x="1225138" y="318765"/>
                    <a:pt x="1243012" y="618237"/>
                  </a:cubicBezTo>
                  <a:cubicBezTo>
                    <a:pt x="1243012" y="618237"/>
                    <a:pt x="1243012" y="618237"/>
                    <a:pt x="1180096" y="618237"/>
                  </a:cubicBezTo>
                  <a:cubicBezTo>
                    <a:pt x="1162223" y="618237"/>
                    <a:pt x="1147209" y="632498"/>
                    <a:pt x="1147209" y="650324"/>
                  </a:cubicBezTo>
                  <a:cubicBezTo>
                    <a:pt x="1147209" y="668862"/>
                    <a:pt x="1162223" y="683123"/>
                    <a:pt x="1180096" y="683123"/>
                  </a:cubicBezTo>
                  <a:lnTo>
                    <a:pt x="1243012" y="683123"/>
                  </a:lnTo>
                  <a:cubicBezTo>
                    <a:pt x="1227283" y="983308"/>
                    <a:pt x="987060" y="1223599"/>
                    <a:pt x="686780" y="1241425"/>
                  </a:cubicBezTo>
                  <a:cubicBezTo>
                    <a:pt x="686780" y="1241425"/>
                    <a:pt x="686780" y="1241425"/>
                    <a:pt x="686780" y="1178679"/>
                  </a:cubicBezTo>
                  <a:cubicBezTo>
                    <a:pt x="686780" y="1160853"/>
                    <a:pt x="672481" y="1145879"/>
                    <a:pt x="654607" y="1145879"/>
                  </a:cubicBezTo>
                  <a:cubicBezTo>
                    <a:pt x="636018" y="1145879"/>
                    <a:pt x="621719" y="1160853"/>
                    <a:pt x="621719" y="1178679"/>
                  </a:cubicBezTo>
                  <a:cubicBezTo>
                    <a:pt x="621719" y="1178679"/>
                    <a:pt x="621719" y="1178679"/>
                    <a:pt x="621719" y="1241425"/>
                  </a:cubicBezTo>
                  <a:cubicBezTo>
                    <a:pt x="320725" y="1225739"/>
                    <a:pt x="79786" y="986161"/>
                    <a:pt x="61912" y="686688"/>
                  </a:cubicBezTo>
                  <a:cubicBezTo>
                    <a:pt x="61912" y="686688"/>
                    <a:pt x="61912" y="686688"/>
                    <a:pt x="124828" y="686688"/>
                  </a:cubicBezTo>
                  <a:cubicBezTo>
                    <a:pt x="142702" y="686688"/>
                    <a:pt x="157716" y="672427"/>
                    <a:pt x="157716" y="654602"/>
                  </a:cubicBezTo>
                  <a:cubicBezTo>
                    <a:pt x="157716" y="636063"/>
                    <a:pt x="142702" y="621802"/>
                    <a:pt x="124828" y="621802"/>
                  </a:cubicBezTo>
                  <a:cubicBezTo>
                    <a:pt x="124828" y="621802"/>
                    <a:pt x="124828" y="621802"/>
                    <a:pt x="61912" y="621802"/>
                  </a:cubicBezTo>
                  <a:cubicBezTo>
                    <a:pt x="77641" y="321617"/>
                    <a:pt x="317865" y="81326"/>
                    <a:pt x="618145" y="63500"/>
                  </a:cubicBezTo>
                  <a:close/>
                  <a:moveTo>
                    <a:pt x="652462" y="31750"/>
                  </a:moveTo>
                  <a:cubicBezTo>
                    <a:pt x="308775" y="31750"/>
                    <a:pt x="30162" y="309653"/>
                    <a:pt x="30162" y="652463"/>
                  </a:cubicBezTo>
                  <a:cubicBezTo>
                    <a:pt x="30162" y="995273"/>
                    <a:pt x="308775" y="1273176"/>
                    <a:pt x="652462" y="1273176"/>
                  </a:cubicBezTo>
                  <a:cubicBezTo>
                    <a:pt x="996149" y="1273176"/>
                    <a:pt x="1274762" y="995273"/>
                    <a:pt x="1274762" y="652463"/>
                  </a:cubicBezTo>
                  <a:cubicBezTo>
                    <a:pt x="1274762" y="309653"/>
                    <a:pt x="996149" y="31750"/>
                    <a:pt x="652462" y="31750"/>
                  </a:cubicBezTo>
                  <a:close/>
                  <a:moveTo>
                    <a:pt x="652463" y="0"/>
                  </a:moveTo>
                  <a:cubicBezTo>
                    <a:pt x="826643" y="0"/>
                    <a:pt x="990829" y="67816"/>
                    <a:pt x="1113612" y="191313"/>
                  </a:cubicBezTo>
                  <a:cubicBezTo>
                    <a:pt x="1237109" y="314096"/>
                    <a:pt x="1304925" y="478282"/>
                    <a:pt x="1304925" y="652463"/>
                  </a:cubicBezTo>
                  <a:cubicBezTo>
                    <a:pt x="1304925" y="826643"/>
                    <a:pt x="1237109" y="990829"/>
                    <a:pt x="1113612" y="1113612"/>
                  </a:cubicBezTo>
                  <a:cubicBezTo>
                    <a:pt x="990829" y="1237109"/>
                    <a:pt x="826643" y="1304925"/>
                    <a:pt x="652463" y="1304925"/>
                  </a:cubicBezTo>
                  <a:cubicBezTo>
                    <a:pt x="478282" y="1304925"/>
                    <a:pt x="314096" y="1237109"/>
                    <a:pt x="191313" y="1113612"/>
                  </a:cubicBezTo>
                  <a:cubicBezTo>
                    <a:pt x="67816" y="990829"/>
                    <a:pt x="0" y="826643"/>
                    <a:pt x="0" y="652463"/>
                  </a:cubicBezTo>
                  <a:cubicBezTo>
                    <a:pt x="0" y="478282"/>
                    <a:pt x="67816" y="314096"/>
                    <a:pt x="191313" y="191313"/>
                  </a:cubicBezTo>
                  <a:cubicBezTo>
                    <a:pt x="314096" y="67816"/>
                    <a:pt x="478282" y="0"/>
                    <a:pt x="65246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76E0C3B-8FFF-46B5-9952-842C625CD4AF}"/>
              </a:ext>
            </a:extLst>
          </p:cNvPr>
          <p:cNvGrpSpPr>
            <a:grpSpLocks noChangeAspect="1"/>
          </p:cNvGrpSpPr>
          <p:nvPr/>
        </p:nvGrpSpPr>
        <p:grpSpPr>
          <a:xfrm>
            <a:off x="9487061" y="4251839"/>
            <a:ext cx="653143" cy="653143"/>
            <a:chOff x="5273675" y="2606675"/>
            <a:chExt cx="1644650" cy="1644650"/>
          </a:xfrm>
        </p:grpSpPr>
        <p:sp>
          <p:nvSpPr>
            <p:cNvPr id="72" name="AutoShape 3">
              <a:extLst>
                <a:ext uri="{FF2B5EF4-FFF2-40B4-BE49-F238E27FC236}">
                  <a16:creationId xmlns:a16="http://schemas.microsoft.com/office/drawing/2014/main" id="{C041B182-4E0F-426D-8407-C74EF007D25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29">
              <a:extLst>
                <a:ext uri="{FF2B5EF4-FFF2-40B4-BE49-F238E27FC236}">
                  <a16:creationId xmlns:a16="http://schemas.microsoft.com/office/drawing/2014/main" id="{7DB10426-A7E3-437B-AAD3-C8CE8FC06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5" y="2778125"/>
              <a:ext cx="1303339" cy="1301751"/>
            </a:xfrm>
            <a:custGeom>
              <a:avLst/>
              <a:gdLst>
                <a:gd name="connsiteX0" fmla="*/ 1200151 w 1303339"/>
                <a:gd name="connsiteY0" fmla="*/ 1095375 h 1301751"/>
                <a:gd name="connsiteX1" fmla="*/ 1303339 w 1303339"/>
                <a:gd name="connsiteY1" fmla="*/ 1198563 h 1301751"/>
                <a:gd name="connsiteX2" fmla="*/ 1200151 w 1303339"/>
                <a:gd name="connsiteY2" fmla="*/ 1301751 h 1301751"/>
                <a:gd name="connsiteX3" fmla="*/ 1096963 w 1303339"/>
                <a:gd name="connsiteY3" fmla="*/ 1198563 h 1301751"/>
                <a:gd name="connsiteX4" fmla="*/ 1200151 w 1303339"/>
                <a:gd name="connsiteY4" fmla="*/ 1095375 h 1301751"/>
                <a:gd name="connsiteX5" fmla="*/ 102394 w 1303339"/>
                <a:gd name="connsiteY5" fmla="*/ 1095375 h 1301751"/>
                <a:gd name="connsiteX6" fmla="*/ 204788 w 1303339"/>
                <a:gd name="connsiteY6" fmla="*/ 1198563 h 1301751"/>
                <a:gd name="connsiteX7" fmla="*/ 102394 w 1303339"/>
                <a:gd name="connsiteY7" fmla="*/ 1301751 h 1301751"/>
                <a:gd name="connsiteX8" fmla="*/ 0 w 1303339"/>
                <a:gd name="connsiteY8" fmla="*/ 1198563 h 1301751"/>
                <a:gd name="connsiteX9" fmla="*/ 102394 w 1303339"/>
                <a:gd name="connsiteY9" fmla="*/ 1095375 h 1301751"/>
                <a:gd name="connsiteX10" fmla="*/ 1228562 w 1303339"/>
                <a:gd name="connsiteY10" fmla="*/ 852488 h 1301751"/>
                <a:gd name="connsiteX11" fmla="*/ 1271588 w 1303339"/>
                <a:gd name="connsiteY11" fmla="*/ 895441 h 1301751"/>
                <a:gd name="connsiteX12" fmla="*/ 1271588 w 1303339"/>
                <a:gd name="connsiteY12" fmla="*/ 1083717 h 1301751"/>
                <a:gd name="connsiteX13" fmla="*/ 1240035 w 1303339"/>
                <a:gd name="connsiteY13" fmla="*/ 1069399 h 1301751"/>
                <a:gd name="connsiteX14" fmla="*/ 1240035 w 1303339"/>
                <a:gd name="connsiteY14" fmla="*/ 895441 h 1301751"/>
                <a:gd name="connsiteX15" fmla="*/ 1228562 w 1303339"/>
                <a:gd name="connsiteY15" fmla="*/ 883987 h 1301751"/>
                <a:gd name="connsiteX16" fmla="*/ 1216371 w 1303339"/>
                <a:gd name="connsiteY16" fmla="*/ 895441 h 1301751"/>
                <a:gd name="connsiteX17" fmla="*/ 1216371 w 1303339"/>
                <a:gd name="connsiteY17" fmla="*/ 954859 h 1301751"/>
                <a:gd name="connsiteX18" fmla="*/ 1194857 w 1303339"/>
                <a:gd name="connsiteY18" fmla="*/ 1006402 h 1301751"/>
                <a:gd name="connsiteX19" fmla="*/ 1009842 w 1303339"/>
                <a:gd name="connsiteY19" fmla="*/ 1192530 h 1301751"/>
                <a:gd name="connsiteX20" fmla="*/ 958210 w 1303339"/>
                <a:gd name="connsiteY20" fmla="*/ 1214006 h 1301751"/>
                <a:gd name="connsiteX21" fmla="*/ 898690 w 1303339"/>
                <a:gd name="connsiteY21" fmla="*/ 1214006 h 1301751"/>
                <a:gd name="connsiteX22" fmla="*/ 887216 w 1303339"/>
                <a:gd name="connsiteY22" fmla="*/ 1225460 h 1301751"/>
                <a:gd name="connsiteX23" fmla="*/ 898690 w 1303339"/>
                <a:gd name="connsiteY23" fmla="*/ 1236915 h 1301751"/>
                <a:gd name="connsiteX24" fmla="*/ 1071514 w 1303339"/>
                <a:gd name="connsiteY24" fmla="*/ 1236915 h 1301751"/>
                <a:gd name="connsiteX25" fmla="*/ 1085856 w 1303339"/>
                <a:gd name="connsiteY25" fmla="*/ 1268413 h 1301751"/>
                <a:gd name="connsiteX26" fmla="*/ 898690 w 1303339"/>
                <a:gd name="connsiteY26" fmla="*/ 1268413 h 1301751"/>
                <a:gd name="connsiteX27" fmla="*/ 855663 w 1303339"/>
                <a:gd name="connsiteY27" fmla="*/ 1225460 h 1301751"/>
                <a:gd name="connsiteX28" fmla="*/ 898690 w 1303339"/>
                <a:gd name="connsiteY28" fmla="*/ 1182508 h 1301751"/>
                <a:gd name="connsiteX29" fmla="*/ 958210 w 1303339"/>
                <a:gd name="connsiteY29" fmla="*/ 1182508 h 1301751"/>
                <a:gd name="connsiteX30" fmla="*/ 987612 w 1303339"/>
                <a:gd name="connsiteY30" fmla="*/ 1170338 h 1301751"/>
                <a:gd name="connsiteX31" fmla="*/ 1172627 w 1303339"/>
                <a:gd name="connsiteY31" fmla="*/ 984210 h 1301751"/>
                <a:gd name="connsiteX32" fmla="*/ 1184818 w 1303339"/>
                <a:gd name="connsiteY32" fmla="*/ 954859 h 1301751"/>
                <a:gd name="connsiteX33" fmla="*/ 1184818 w 1303339"/>
                <a:gd name="connsiteY33" fmla="*/ 895441 h 1301751"/>
                <a:gd name="connsiteX34" fmla="*/ 1228562 w 1303339"/>
                <a:gd name="connsiteY34" fmla="*/ 852488 h 1301751"/>
                <a:gd name="connsiteX35" fmla="*/ 74612 w 1303339"/>
                <a:gd name="connsiteY35" fmla="*/ 852488 h 1301751"/>
                <a:gd name="connsiteX36" fmla="*/ 118189 w 1303339"/>
                <a:gd name="connsiteY36" fmla="*/ 895441 h 1301751"/>
                <a:gd name="connsiteX37" fmla="*/ 118189 w 1303339"/>
                <a:gd name="connsiteY37" fmla="*/ 954859 h 1301751"/>
                <a:gd name="connsiteX38" fmla="*/ 130334 w 1303339"/>
                <a:gd name="connsiteY38" fmla="*/ 984210 h 1301751"/>
                <a:gd name="connsiteX39" fmla="*/ 314643 w 1303339"/>
                <a:gd name="connsiteY39" fmla="*/ 1170338 h 1301751"/>
                <a:gd name="connsiteX40" fmla="*/ 343932 w 1303339"/>
                <a:gd name="connsiteY40" fmla="*/ 1182508 h 1301751"/>
                <a:gd name="connsiteX41" fmla="*/ 403225 w 1303339"/>
                <a:gd name="connsiteY41" fmla="*/ 1182508 h 1301751"/>
                <a:gd name="connsiteX42" fmla="*/ 446088 w 1303339"/>
                <a:gd name="connsiteY42" fmla="*/ 1225460 h 1301751"/>
                <a:gd name="connsiteX43" fmla="*/ 403225 w 1303339"/>
                <a:gd name="connsiteY43" fmla="*/ 1268413 h 1301751"/>
                <a:gd name="connsiteX44" fmla="*/ 216773 w 1303339"/>
                <a:gd name="connsiteY44" fmla="*/ 1268413 h 1301751"/>
                <a:gd name="connsiteX45" fmla="*/ 231061 w 1303339"/>
                <a:gd name="connsiteY45" fmla="*/ 1236915 h 1301751"/>
                <a:gd name="connsiteX46" fmla="*/ 403225 w 1303339"/>
                <a:gd name="connsiteY46" fmla="*/ 1236915 h 1301751"/>
                <a:gd name="connsiteX47" fmla="*/ 414655 w 1303339"/>
                <a:gd name="connsiteY47" fmla="*/ 1225460 h 1301751"/>
                <a:gd name="connsiteX48" fmla="*/ 403225 w 1303339"/>
                <a:gd name="connsiteY48" fmla="*/ 1214006 h 1301751"/>
                <a:gd name="connsiteX49" fmla="*/ 343932 w 1303339"/>
                <a:gd name="connsiteY49" fmla="*/ 1214006 h 1301751"/>
                <a:gd name="connsiteX50" fmla="*/ 292497 w 1303339"/>
                <a:gd name="connsiteY50" fmla="*/ 1192530 h 1301751"/>
                <a:gd name="connsiteX51" fmla="*/ 108188 w 1303339"/>
                <a:gd name="connsiteY51" fmla="*/ 1006402 h 1301751"/>
                <a:gd name="connsiteX52" fmla="*/ 86757 w 1303339"/>
                <a:gd name="connsiteY52" fmla="*/ 954859 h 1301751"/>
                <a:gd name="connsiteX53" fmla="*/ 86757 w 1303339"/>
                <a:gd name="connsiteY53" fmla="*/ 895441 h 1301751"/>
                <a:gd name="connsiteX54" fmla="*/ 74612 w 1303339"/>
                <a:gd name="connsiteY54" fmla="*/ 883987 h 1301751"/>
                <a:gd name="connsiteX55" fmla="*/ 63182 w 1303339"/>
                <a:gd name="connsiteY55" fmla="*/ 895441 h 1301751"/>
                <a:gd name="connsiteX56" fmla="*/ 63182 w 1303339"/>
                <a:gd name="connsiteY56" fmla="*/ 1069399 h 1301751"/>
                <a:gd name="connsiteX57" fmla="*/ 31750 w 1303339"/>
                <a:gd name="connsiteY57" fmla="*/ 1083717 h 1301751"/>
                <a:gd name="connsiteX58" fmla="*/ 31750 w 1303339"/>
                <a:gd name="connsiteY58" fmla="*/ 895441 h 1301751"/>
                <a:gd name="connsiteX59" fmla="*/ 74612 w 1303339"/>
                <a:gd name="connsiteY59" fmla="*/ 852488 h 1301751"/>
                <a:gd name="connsiteX60" fmla="*/ 571500 w 1303339"/>
                <a:gd name="connsiteY60" fmla="*/ 835025 h 1301751"/>
                <a:gd name="connsiteX61" fmla="*/ 836613 w 1303339"/>
                <a:gd name="connsiteY61" fmla="*/ 835025 h 1301751"/>
                <a:gd name="connsiteX62" fmla="*/ 836613 w 1303339"/>
                <a:gd name="connsiteY62" fmla="*/ 969963 h 1301751"/>
                <a:gd name="connsiteX63" fmla="*/ 571500 w 1303339"/>
                <a:gd name="connsiteY63" fmla="*/ 969963 h 1301751"/>
                <a:gd name="connsiteX64" fmla="*/ 571500 w 1303339"/>
                <a:gd name="connsiteY64" fmla="*/ 835025 h 1301751"/>
                <a:gd name="connsiteX65" fmla="*/ 555466 w 1303339"/>
                <a:gd name="connsiteY65" fmla="*/ 804862 h 1301751"/>
                <a:gd name="connsiteX66" fmla="*/ 539749 w 1303339"/>
                <a:gd name="connsiteY66" fmla="*/ 820553 h 1301751"/>
                <a:gd name="connsiteX67" fmla="*/ 539749 w 1303339"/>
                <a:gd name="connsiteY67" fmla="*/ 986021 h 1301751"/>
                <a:gd name="connsiteX68" fmla="*/ 555466 w 1303339"/>
                <a:gd name="connsiteY68" fmla="*/ 1001712 h 1301751"/>
                <a:gd name="connsiteX69" fmla="*/ 852646 w 1303339"/>
                <a:gd name="connsiteY69" fmla="*/ 1001712 h 1301751"/>
                <a:gd name="connsiteX70" fmla="*/ 868362 w 1303339"/>
                <a:gd name="connsiteY70" fmla="*/ 986021 h 1301751"/>
                <a:gd name="connsiteX71" fmla="*/ 868362 w 1303339"/>
                <a:gd name="connsiteY71" fmla="*/ 820553 h 1301751"/>
                <a:gd name="connsiteX72" fmla="*/ 852646 w 1303339"/>
                <a:gd name="connsiteY72" fmla="*/ 804862 h 1301751"/>
                <a:gd name="connsiteX73" fmla="*/ 555466 w 1303339"/>
                <a:gd name="connsiteY73" fmla="*/ 804862 h 1301751"/>
                <a:gd name="connsiteX74" fmla="*/ 353219 w 1303339"/>
                <a:gd name="connsiteY74" fmla="*/ 771524 h 1301751"/>
                <a:gd name="connsiteX75" fmla="*/ 315912 w 1303339"/>
                <a:gd name="connsiteY75" fmla="*/ 809624 h 1301751"/>
                <a:gd name="connsiteX76" fmla="*/ 353219 w 1303339"/>
                <a:gd name="connsiteY76" fmla="*/ 847724 h 1301751"/>
                <a:gd name="connsiteX77" fmla="*/ 390526 w 1303339"/>
                <a:gd name="connsiteY77" fmla="*/ 809624 h 1301751"/>
                <a:gd name="connsiteX78" fmla="*/ 353219 w 1303339"/>
                <a:gd name="connsiteY78" fmla="*/ 771524 h 1301751"/>
                <a:gd name="connsiteX79" fmla="*/ 730249 w 1303339"/>
                <a:gd name="connsiteY79" fmla="*/ 603249 h 1301751"/>
                <a:gd name="connsiteX80" fmla="*/ 692149 w 1303339"/>
                <a:gd name="connsiteY80" fmla="*/ 641349 h 1301751"/>
                <a:gd name="connsiteX81" fmla="*/ 730249 w 1303339"/>
                <a:gd name="connsiteY81" fmla="*/ 679449 h 1301751"/>
                <a:gd name="connsiteX82" fmla="*/ 768349 w 1303339"/>
                <a:gd name="connsiteY82" fmla="*/ 641349 h 1301751"/>
                <a:gd name="connsiteX83" fmla="*/ 730249 w 1303339"/>
                <a:gd name="connsiteY83" fmla="*/ 603249 h 1301751"/>
                <a:gd name="connsiteX84" fmla="*/ 887413 w 1303339"/>
                <a:gd name="connsiteY84" fmla="*/ 534988 h 1301751"/>
                <a:gd name="connsiteX85" fmla="*/ 976313 w 1303339"/>
                <a:gd name="connsiteY85" fmla="*/ 534988 h 1301751"/>
                <a:gd name="connsiteX86" fmla="*/ 976313 w 1303339"/>
                <a:gd name="connsiteY86" fmla="*/ 669926 h 1301751"/>
                <a:gd name="connsiteX87" fmla="*/ 887413 w 1303339"/>
                <a:gd name="connsiteY87" fmla="*/ 669926 h 1301751"/>
                <a:gd name="connsiteX88" fmla="*/ 887413 w 1303339"/>
                <a:gd name="connsiteY88" fmla="*/ 534988 h 1301751"/>
                <a:gd name="connsiteX89" fmla="*/ 871387 w 1303339"/>
                <a:gd name="connsiteY89" fmla="*/ 504824 h 1301751"/>
                <a:gd name="connsiteX90" fmla="*/ 855662 w 1303339"/>
                <a:gd name="connsiteY90" fmla="*/ 520515 h 1301751"/>
                <a:gd name="connsiteX91" fmla="*/ 855662 w 1303339"/>
                <a:gd name="connsiteY91" fmla="*/ 685983 h 1301751"/>
                <a:gd name="connsiteX92" fmla="*/ 871387 w 1303339"/>
                <a:gd name="connsiteY92" fmla="*/ 701674 h 1301751"/>
                <a:gd name="connsiteX93" fmla="*/ 990751 w 1303339"/>
                <a:gd name="connsiteY93" fmla="*/ 701674 h 1301751"/>
                <a:gd name="connsiteX94" fmla="*/ 1006475 w 1303339"/>
                <a:gd name="connsiteY94" fmla="*/ 685983 h 1301751"/>
                <a:gd name="connsiteX95" fmla="*/ 1006475 w 1303339"/>
                <a:gd name="connsiteY95" fmla="*/ 520515 h 1301751"/>
                <a:gd name="connsiteX96" fmla="*/ 990751 w 1303339"/>
                <a:gd name="connsiteY96" fmla="*/ 504824 h 1301751"/>
                <a:gd name="connsiteX97" fmla="*/ 871387 w 1303339"/>
                <a:gd name="connsiteY97" fmla="*/ 504824 h 1301751"/>
                <a:gd name="connsiteX98" fmla="*/ 806449 w 1303339"/>
                <a:gd name="connsiteY98" fmla="*/ 342899 h 1301751"/>
                <a:gd name="connsiteX99" fmla="*/ 768349 w 1303339"/>
                <a:gd name="connsiteY99" fmla="*/ 380206 h 1301751"/>
                <a:gd name="connsiteX100" fmla="*/ 806449 w 1303339"/>
                <a:gd name="connsiteY100" fmla="*/ 417513 h 1301751"/>
                <a:gd name="connsiteX101" fmla="*/ 844549 w 1303339"/>
                <a:gd name="connsiteY101" fmla="*/ 380206 h 1301751"/>
                <a:gd name="connsiteX102" fmla="*/ 806449 w 1303339"/>
                <a:gd name="connsiteY102" fmla="*/ 342899 h 1301751"/>
                <a:gd name="connsiteX103" fmla="*/ 496651 w 1303339"/>
                <a:gd name="connsiteY103" fmla="*/ 304800 h 1301751"/>
                <a:gd name="connsiteX104" fmla="*/ 590551 w 1303339"/>
                <a:gd name="connsiteY104" fmla="*/ 399705 h 1301751"/>
                <a:gd name="connsiteX105" fmla="*/ 403463 w 1303339"/>
                <a:gd name="connsiteY105" fmla="*/ 587375 h 1301751"/>
                <a:gd name="connsiteX106" fmla="*/ 309563 w 1303339"/>
                <a:gd name="connsiteY106" fmla="*/ 492470 h 1301751"/>
                <a:gd name="connsiteX107" fmla="*/ 496651 w 1303339"/>
                <a:gd name="connsiteY107" fmla="*/ 304800 h 1301751"/>
                <a:gd name="connsiteX108" fmla="*/ 497215 w 1303339"/>
                <a:gd name="connsiteY108" fmla="*/ 268123 h 1301751"/>
                <a:gd name="connsiteX109" fmla="*/ 485870 w 1303339"/>
                <a:gd name="connsiteY109" fmla="*/ 272394 h 1301751"/>
                <a:gd name="connsiteX110" fmla="*/ 276465 w 1303339"/>
                <a:gd name="connsiteY110" fmla="*/ 482391 h 1301751"/>
                <a:gd name="connsiteX111" fmla="*/ 271462 w 1303339"/>
                <a:gd name="connsiteY111" fmla="*/ 493069 h 1301751"/>
                <a:gd name="connsiteX112" fmla="*/ 276465 w 1303339"/>
                <a:gd name="connsiteY112" fmla="*/ 504459 h 1301751"/>
                <a:gd name="connsiteX113" fmla="*/ 392960 w 1303339"/>
                <a:gd name="connsiteY113" fmla="*/ 621203 h 1301751"/>
                <a:gd name="connsiteX114" fmla="*/ 403680 w 1303339"/>
                <a:gd name="connsiteY114" fmla="*/ 625474 h 1301751"/>
                <a:gd name="connsiteX115" fmla="*/ 415115 w 1303339"/>
                <a:gd name="connsiteY115" fmla="*/ 621203 h 1301751"/>
                <a:gd name="connsiteX116" fmla="*/ 625234 w 1303339"/>
                <a:gd name="connsiteY116" fmla="*/ 411918 h 1301751"/>
                <a:gd name="connsiteX117" fmla="*/ 630237 w 1303339"/>
                <a:gd name="connsiteY117" fmla="*/ 400528 h 1301751"/>
                <a:gd name="connsiteX118" fmla="*/ 625234 w 1303339"/>
                <a:gd name="connsiteY118" fmla="*/ 389138 h 1301751"/>
                <a:gd name="connsiteX119" fmla="*/ 508025 w 1303339"/>
                <a:gd name="connsiteY119" fmla="*/ 272394 h 1301751"/>
                <a:gd name="connsiteX120" fmla="*/ 497215 w 1303339"/>
                <a:gd name="connsiteY120" fmla="*/ 268123 h 1301751"/>
                <a:gd name="connsiteX121" fmla="*/ 651669 w 1303339"/>
                <a:gd name="connsiteY121" fmla="*/ 176212 h 1301751"/>
                <a:gd name="connsiteX122" fmla="*/ 1127126 w 1303339"/>
                <a:gd name="connsiteY122" fmla="*/ 651669 h 1301751"/>
                <a:gd name="connsiteX123" fmla="*/ 651669 w 1303339"/>
                <a:gd name="connsiteY123" fmla="*/ 1127126 h 1301751"/>
                <a:gd name="connsiteX124" fmla="*/ 176212 w 1303339"/>
                <a:gd name="connsiteY124" fmla="*/ 651669 h 1301751"/>
                <a:gd name="connsiteX125" fmla="*/ 651669 w 1303339"/>
                <a:gd name="connsiteY125" fmla="*/ 176212 h 1301751"/>
                <a:gd name="connsiteX126" fmla="*/ 898690 w 1303339"/>
                <a:gd name="connsiteY126" fmla="*/ 30163 h 1301751"/>
                <a:gd name="connsiteX127" fmla="*/ 1088008 w 1303339"/>
                <a:gd name="connsiteY127" fmla="*/ 30163 h 1301751"/>
                <a:gd name="connsiteX128" fmla="*/ 1072948 w 1303339"/>
                <a:gd name="connsiteY128" fmla="*/ 61541 h 1301751"/>
                <a:gd name="connsiteX129" fmla="*/ 898690 w 1303339"/>
                <a:gd name="connsiteY129" fmla="*/ 61541 h 1301751"/>
                <a:gd name="connsiteX130" fmla="*/ 887216 w 1303339"/>
                <a:gd name="connsiteY130" fmla="*/ 72952 h 1301751"/>
                <a:gd name="connsiteX131" fmla="*/ 898690 w 1303339"/>
                <a:gd name="connsiteY131" fmla="*/ 84362 h 1301751"/>
                <a:gd name="connsiteX132" fmla="*/ 963947 w 1303339"/>
                <a:gd name="connsiteY132" fmla="*/ 84362 h 1301751"/>
                <a:gd name="connsiteX133" fmla="*/ 1005540 w 1303339"/>
                <a:gd name="connsiteY133" fmla="*/ 101478 h 1301751"/>
                <a:gd name="connsiteX134" fmla="*/ 1199160 w 1303339"/>
                <a:gd name="connsiteY134" fmla="*/ 295453 h 1301751"/>
                <a:gd name="connsiteX135" fmla="*/ 1216371 w 1303339"/>
                <a:gd name="connsiteY135" fmla="*/ 336816 h 1301751"/>
                <a:gd name="connsiteX136" fmla="*/ 1216371 w 1303339"/>
                <a:gd name="connsiteY136" fmla="*/ 401712 h 1301751"/>
                <a:gd name="connsiteX137" fmla="*/ 1228562 w 1303339"/>
                <a:gd name="connsiteY137" fmla="*/ 413122 h 1301751"/>
                <a:gd name="connsiteX138" fmla="*/ 1240035 w 1303339"/>
                <a:gd name="connsiteY138" fmla="*/ 401712 h 1301751"/>
                <a:gd name="connsiteX139" fmla="*/ 1240035 w 1303339"/>
                <a:gd name="connsiteY139" fmla="*/ 231270 h 1301751"/>
                <a:gd name="connsiteX140" fmla="*/ 1271588 w 1303339"/>
                <a:gd name="connsiteY140" fmla="*/ 217007 h 1301751"/>
                <a:gd name="connsiteX141" fmla="*/ 1271588 w 1303339"/>
                <a:gd name="connsiteY141" fmla="*/ 401712 h 1301751"/>
                <a:gd name="connsiteX142" fmla="*/ 1228562 w 1303339"/>
                <a:gd name="connsiteY142" fmla="*/ 444501 h 1301751"/>
                <a:gd name="connsiteX143" fmla="*/ 1184818 w 1303339"/>
                <a:gd name="connsiteY143" fmla="*/ 401712 h 1301751"/>
                <a:gd name="connsiteX144" fmla="*/ 1184818 w 1303339"/>
                <a:gd name="connsiteY144" fmla="*/ 336816 h 1301751"/>
                <a:gd name="connsiteX145" fmla="*/ 1176929 w 1303339"/>
                <a:gd name="connsiteY145" fmla="*/ 317561 h 1301751"/>
                <a:gd name="connsiteX146" fmla="*/ 983309 w 1303339"/>
                <a:gd name="connsiteY146" fmla="*/ 123585 h 1301751"/>
                <a:gd name="connsiteX147" fmla="*/ 963947 w 1303339"/>
                <a:gd name="connsiteY147" fmla="*/ 115740 h 1301751"/>
                <a:gd name="connsiteX148" fmla="*/ 898690 w 1303339"/>
                <a:gd name="connsiteY148" fmla="*/ 115740 h 1301751"/>
                <a:gd name="connsiteX149" fmla="*/ 855663 w 1303339"/>
                <a:gd name="connsiteY149" fmla="*/ 72952 h 1301751"/>
                <a:gd name="connsiteX150" fmla="*/ 898690 w 1303339"/>
                <a:gd name="connsiteY150" fmla="*/ 30163 h 1301751"/>
                <a:gd name="connsiteX151" fmla="*/ 214630 w 1303339"/>
                <a:gd name="connsiteY151" fmla="*/ 30163 h 1301751"/>
                <a:gd name="connsiteX152" fmla="*/ 403225 w 1303339"/>
                <a:gd name="connsiteY152" fmla="*/ 30163 h 1301751"/>
                <a:gd name="connsiteX153" fmla="*/ 446088 w 1303339"/>
                <a:gd name="connsiteY153" fmla="*/ 72952 h 1301751"/>
                <a:gd name="connsiteX154" fmla="*/ 403225 w 1303339"/>
                <a:gd name="connsiteY154" fmla="*/ 115740 h 1301751"/>
                <a:gd name="connsiteX155" fmla="*/ 343932 w 1303339"/>
                <a:gd name="connsiteY155" fmla="*/ 115740 h 1301751"/>
                <a:gd name="connsiteX156" fmla="*/ 314643 w 1303339"/>
                <a:gd name="connsiteY156" fmla="*/ 127864 h 1301751"/>
                <a:gd name="connsiteX157" fmla="*/ 130334 w 1303339"/>
                <a:gd name="connsiteY157" fmla="*/ 313282 h 1301751"/>
                <a:gd name="connsiteX158" fmla="*/ 118189 w 1303339"/>
                <a:gd name="connsiteY158" fmla="*/ 342521 h 1301751"/>
                <a:gd name="connsiteX159" fmla="*/ 118189 w 1303339"/>
                <a:gd name="connsiteY159" fmla="*/ 401712 h 1301751"/>
                <a:gd name="connsiteX160" fmla="*/ 74612 w 1303339"/>
                <a:gd name="connsiteY160" fmla="*/ 444501 h 1301751"/>
                <a:gd name="connsiteX161" fmla="*/ 31750 w 1303339"/>
                <a:gd name="connsiteY161" fmla="*/ 401712 h 1301751"/>
                <a:gd name="connsiteX162" fmla="*/ 31750 w 1303339"/>
                <a:gd name="connsiteY162" fmla="*/ 217007 h 1301751"/>
                <a:gd name="connsiteX163" fmla="*/ 63182 w 1303339"/>
                <a:gd name="connsiteY163" fmla="*/ 231270 h 1301751"/>
                <a:gd name="connsiteX164" fmla="*/ 63182 w 1303339"/>
                <a:gd name="connsiteY164" fmla="*/ 401712 h 1301751"/>
                <a:gd name="connsiteX165" fmla="*/ 74612 w 1303339"/>
                <a:gd name="connsiteY165" fmla="*/ 413122 h 1301751"/>
                <a:gd name="connsiteX166" fmla="*/ 86757 w 1303339"/>
                <a:gd name="connsiteY166" fmla="*/ 401712 h 1301751"/>
                <a:gd name="connsiteX167" fmla="*/ 86757 w 1303339"/>
                <a:gd name="connsiteY167" fmla="*/ 342521 h 1301751"/>
                <a:gd name="connsiteX168" fmla="*/ 108188 w 1303339"/>
                <a:gd name="connsiteY168" fmla="*/ 291174 h 1301751"/>
                <a:gd name="connsiteX169" fmla="*/ 292497 w 1303339"/>
                <a:gd name="connsiteY169" fmla="*/ 105756 h 1301751"/>
                <a:gd name="connsiteX170" fmla="*/ 343932 w 1303339"/>
                <a:gd name="connsiteY170" fmla="*/ 84362 h 1301751"/>
                <a:gd name="connsiteX171" fmla="*/ 403225 w 1303339"/>
                <a:gd name="connsiteY171" fmla="*/ 84362 h 1301751"/>
                <a:gd name="connsiteX172" fmla="*/ 414655 w 1303339"/>
                <a:gd name="connsiteY172" fmla="*/ 72952 h 1301751"/>
                <a:gd name="connsiteX173" fmla="*/ 403225 w 1303339"/>
                <a:gd name="connsiteY173" fmla="*/ 61541 h 1301751"/>
                <a:gd name="connsiteX174" fmla="*/ 229632 w 1303339"/>
                <a:gd name="connsiteY174" fmla="*/ 61541 h 1301751"/>
                <a:gd name="connsiteX175" fmla="*/ 214630 w 1303339"/>
                <a:gd name="connsiteY175" fmla="*/ 30163 h 1301751"/>
                <a:gd name="connsiteX176" fmla="*/ 1200151 w 1303339"/>
                <a:gd name="connsiteY176" fmla="*/ 0 h 1301751"/>
                <a:gd name="connsiteX177" fmla="*/ 1303339 w 1303339"/>
                <a:gd name="connsiteY177" fmla="*/ 103188 h 1301751"/>
                <a:gd name="connsiteX178" fmla="*/ 1200151 w 1303339"/>
                <a:gd name="connsiteY178" fmla="*/ 206376 h 1301751"/>
                <a:gd name="connsiteX179" fmla="*/ 1096963 w 1303339"/>
                <a:gd name="connsiteY179" fmla="*/ 103188 h 1301751"/>
                <a:gd name="connsiteX180" fmla="*/ 1200151 w 1303339"/>
                <a:gd name="connsiteY180" fmla="*/ 0 h 1301751"/>
                <a:gd name="connsiteX181" fmla="*/ 102394 w 1303339"/>
                <a:gd name="connsiteY181" fmla="*/ 0 h 1301751"/>
                <a:gd name="connsiteX182" fmla="*/ 204788 w 1303339"/>
                <a:gd name="connsiteY182" fmla="*/ 103188 h 1301751"/>
                <a:gd name="connsiteX183" fmla="*/ 102394 w 1303339"/>
                <a:gd name="connsiteY183" fmla="*/ 206376 h 1301751"/>
                <a:gd name="connsiteX184" fmla="*/ 0 w 1303339"/>
                <a:gd name="connsiteY184" fmla="*/ 103188 h 1301751"/>
                <a:gd name="connsiteX185" fmla="*/ 102394 w 1303339"/>
                <a:gd name="connsiteY185" fmla="*/ 0 h 1301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</a:cxnLst>
              <a:rect l="l" t="t" r="r" b="b"/>
              <a:pathLst>
                <a:path w="1303339" h="1301751">
                  <a:moveTo>
                    <a:pt x="1200151" y="1095375"/>
                  </a:moveTo>
                  <a:cubicBezTo>
                    <a:pt x="1257140" y="1095375"/>
                    <a:pt x="1303339" y="1141574"/>
                    <a:pt x="1303339" y="1198563"/>
                  </a:cubicBezTo>
                  <a:cubicBezTo>
                    <a:pt x="1303339" y="1255552"/>
                    <a:pt x="1257140" y="1301751"/>
                    <a:pt x="1200151" y="1301751"/>
                  </a:cubicBezTo>
                  <a:cubicBezTo>
                    <a:pt x="1143162" y="1301751"/>
                    <a:pt x="1096963" y="1255552"/>
                    <a:pt x="1096963" y="1198563"/>
                  </a:cubicBezTo>
                  <a:cubicBezTo>
                    <a:pt x="1096963" y="1141574"/>
                    <a:pt x="1143162" y="1095375"/>
                    <a:pt x="1200151" y="1095375"/>
                  </a:cubicBezTo>
                  <a:close/>
                  <a:moveTo>
                    <a:pt x="102394" y="1095375"/>
                  </a:moveTo>
                  <a:cubicBezTo>
                    <a:pt x="158945" y="1095375"/>
                    <a:pt x="204788" y="1141574"/>
                    <a:pt x="204788" y="1198563"/>
                  </a:cubicBezTo>
                  <a:cubicBezTo>
                    <a:pt x="204788" y="1255552"/>
                    <a:pt x="158945" y="1301751"/>
                    <a:pt x="102394" y="1301751"/>
                  </a:cubicBezTo>
                  <a:cubicBezTo>
                    <a:pt x="45843" y="1301751"/>
                    <a:pt x="0" y="1255552"/>
                    <a:pt x="0" y="1198563"/>
                  </a:cubicBezTo>
                  <a:cubicBezTo>
                    <a:pt x="0" y="1141574"/>
                    <a:pt x="45843" y="1095375"/>
                    <a:pt x="102394" y="1095375"/>
                  </a:cubicBezTo>
                  <a:close/>
                  <a:moveTo>
                    <a:pt x="1228562" y="852488"/>
                  </a:moveTo>
                  <a:cubicBezTo>
                    <a:pt x="1252226" y="852488"/>
                    <a:pt x="1271588" y="871817"/>
                    <a:pt x="1271588" y="895441"/>
                  </a:cubicBezTo>
                  <a:cubicBezTo>
                    <a:pt x="1271588" y="895441"/>
                    <a:pt x="1271588" y="895441"/>
                    <a:pt x="1271588" y="1083717"/>
                  </a:cubicBezTo>
                  <a:cubicBezTo>
                    <a:pt x="1261549" y="1077274"/>
                    <a:pt x="1251509" y="1072978"/>
                    <a:pt x="1240035" y="1069399"/>
                  </a:cubicBezTo>
                  <a:cubicBezTo>
                    <a:pt x="1240035" y="1069399"/>
                    <a:pt x="1240035" y="1069399"/>
                    <a:pt x="1240035" y="895441"/>
                  </a:cubicBezTo>
                  <a:cubicBezTo>
                    <a:pt x="1240035" y="888998"/>
                    <a:pt x="1235016" y="883987"/>
                    <a:pt x="1228562" y="883987"/>
                  </a:cubicBezTo>
                  <a:cubicBezTo>
                    <a:pt x="1222108" y="883987"/>
                    <a:pt x="1216371" y="888998"/>
                    <a:pt x="1216371" y="895441"/>
                  </a:cubicBezTo>
                  <a:cubicBezTo>
                    <a:pt x="1216371" y="895441"/>
                    <a:pt x="1216371" y="895441"/>
                    <a:pt x="1216371" y="954859"/>
                  </a:cubicBezTo>
                  <a:cubicBezTo>
                    <a:pt x="1216371" y="974187"/>
                    <a:pt x="1209199" y="992800"/>
                    <a:pt x="1194857" y="1006402"/>
                  </a:cubicBezTo>
                  <a:cubicBezTo>
                    <a:pt x="1194857" y="1006402"/>
                    <a:pt x="1194857" y="1006402"/>
                    <a:pt x="1009842" y="1192530"/>
                  </a:cubicBezTo>
                  <a:cubicBezTo>
                    <a:pt x="995500" y="1206132"/>
                    <a:pt x="977572" y="1214006"/>
                    <a:pt x="958210" y="1214006"/>
                  </a:cubicBezTo>
                  <a:cubicBezTo>
                    <a:pt x="958210" y="1214006"/>
                    <a:pt x="958210" y="1214006"/>
                    <a:pt x="898690" y="1214006"/>
                  </a:cubicBezTo>
                  <a:cubicBezTo>
                    <a:pt x="892236" y="1214006"/>
                    <a:pt x="887216" y="1219018"/>
                    <a:pt x="887216" y="1225460"/>
                  </a:cubicBezTo>
                  <a:cubicBezTo>
                    <a:pt x="887216" y="1231903"/>
                    <a:pt x="892236" y="1236915"/>
                    <a:pt x="898690" y="1236915"/>
                  </a:cubicBezTo>
                  <a:cubicBezTo>
                    <a:pt x="898690" y="1236915"/>
                    <a:pt x="898690" y="1236915"/>
                    <a:pt x="1071514" y="1236915"/>
                  </a:cubicBezTo>
                  <a:cubicBezTo>
                    <a:pt x="1075100" y="1248369"/>
                    <a:pt x="1080119" y="1259107"/>
                    <a:pt x="1085856" y="1268413"/>
                  </a:cubicBezTo>
                  <a:cubicBezTo>
                    <a:pt x="1085856" y="1268413"/>
                    <a:pt x="1085856" y="1268413"/>
                    <a:pt x="898690" y="1268413"/>
                  </a:cubicBezTo>
                  <a:cubicBezTo>
                    <a:pt x="875025" y="1268413"/>
                    <a:pt x="855663" y="1249084"/>
                    <a:pt x="855663" y="1225460"/>
                  </a:cubicBezTo>
                  <a:cubicBezTo>
                    <a:pt x="855663" y="1201837"/>
                    <a:pt x="875025" y="1182508"/>
                    <a:pt x="898690" y="1182508"/>
                  </a:cubicBezTo>
                  <a:cubicBezTo>
                    <a:pt x="898690" y="1182508"/>
                    <a:pt x="898690" y="1182508"/>
                    <a:pt x="958210" y="1182508"/>
                  </a:cubicBezTo>
                  <a:cubicBezTo>
                    <a:pt x="968967" y="1182508"/>
                    <a:pt x="979724" y="1178213"/>
                    <a:pt x="987612" y="1170338"/>
                  </a:cubicBezTo>
                  <a:cubicBezTo>
                    <a:pt x="987612" y="1170338"/>
                    <a:pt x="987612" y="1170338"/>
                    <a:pt x="1172627" y="984210"/>
                  </a:cubicBezTo>
                  <a:cubicBezTo>
                    <a:pt x="1180515" y="976335"/>
                    <a:pt x="1184818" y="965597"/>
                    <a:pt x="1184818" y="954859"/>
                  </a:cubicBezTo>
                  <a:cubicBezTo>
                    <a:pt x="1184818" y="954859"/>
                    <a:pt x="1184818" y="954859"/>
                    <a:pt x="1184818" y="895441"/>
                  </a:cubicBezTo>
                  <a:cubicBezTo>
                    <a:pt x="1184818" y="871817"/>
                    <a:pt x="1204180" y="852488"/>
                    <a:pt x="1228562" y="852488"/>
                  </a:cubicBezTo>
                  <a:close/>
                  <a:moveTo>
                    <a:pt x="74612" y="852488"/>
                  </a:moveTo>
                  <a:cubicBezTo>
                    <a:pt x="98901" y="852488"/>
                    <a:pt x="118189" y="871817"/>
                    <a:pt x="118189" y="895441"/>
                  </a:cubicBezTo>
                  <a:cubicBezTo>
                    <a:pt x="118189" y="895441"/>
                    <a:pt x="118189" y="895441"/>
                    <a:pt x="118189" y="954859"/>
                  </a:cubicBezTo>
                  <a:cubicBezTo>
                    <a:pt x="118189" y="965597"/>
                    <a:pt x="122475" y="976335"/>
                    <a:pt x="130334" y="984210"/>
                  </a:cubicBezTo>
                  <a:cubicBezTo>
                    <a:pt x="130334" y="984210"/>
                    <a:pt x="130334" y="984210"/>
                    <a:pt x="314643" y="1170338"/>
                  </a:cubicBezTo>
                  <a:cubicBezTo>
                    <a:pt x="322501" y="1178213"/>
                    <a:pt x="333216" y="1182508"/>
                    <a:pt x="343932" y="1182508"/>
                  </a:cubicBezTo>
                  <a:cubicBezTo>
                    <a:pt x="343932" y="1182508"/>
                    <a:pt x="343932" y="1182508"/>
                    <a:pt x="403225" y="1182508"/>
                  </a:cubicBezTo>
                  <a:cubicBezTo>
                    <a:pt x="426800" y="1182508"/>
                    <a:pt x="446088" y="1201837"/>
                    <a:pt x="446088" y="1225460"/>
                  </a:cubicBezTo>
                  <a:cubicBezTo>
                    <a:pt x="446088" y="1249084"/>
                    <a:pt x="426800" y="1268413"/>
                    <a:pt x="403225" y="1268413"/>
                  </a:cubicBezTo>
                  <a:cubicBezTo>
                    <a:pt x="403225" y="1268413"/>
                    <a:pt x="403225" y="1268413"/>
                    <a:pt x="216773" y="1268413"/>
                  </a:cubicBezTo>
                  <a:cubicBezTo>
                    <a:pt x="222488" y="1259107"/>
                    <a:pt x="227489" y="1248369"/>
                    <a:pt x="231061" y="1236915"/>
                  </a:cubicBezTo>
                  <a:cubicBezTo>
                    <a:pt x="231061" y="1236915"/>
                    <a:pt x="231061" y="1236915"/>
                    <a:pt x="403225" y="1236915"/>
                  </a:cubicBezTo>
                  <a:cubicBezTo>
                    <a:pt x="409655" y="1236915"/>
                    <a:pt x="414655" y="1231903"/>
                    <a:pt x="414655" y="1225460"/>
                  </a:cubicBezTo>
                  <a:cubicBezTo>
                    <a:pt x="414655" y="1219018"/>
                    <a:pt x="409655" y="1214006"/>
                    <a:pt x="403225" y="1214006"/>
                  </a:cubicBezTo>
                  <a:cubicBezTo>
                    <a:pt x="403225" y="1214006"/>
                    <a:pt x="403225" y="1214006"/>
                    <a:pt x="343932" y="1214006"/>
                  </a:cubicBezTo>
                  <a:cubicBezTo>
                    <a:pt x="324644" y="1214006"/>
                    <a:pt x="306784" y="1206132"/>
                    <a:pt x="292497" y="1192530"/>
                  </a:cubicBezTo>
                  <a:cubicBezTo>
                    <a:pt x="292497" y="1192530"/>
                    <a:pt x="292497" y="1192530"/>
                    <a:pt x="108188" y="1006402"/>
                  </a:cubicBezTo>
                  <a:cubicBezTo>
                    <a:pt x="93900" y="992800"/>
                    <a:pt x="86757" y="974187"/>
                    <a:pt x="86757" y="954859"/>
                  </a:cubicBezTo>
                  <a:cubicBezTo>
                    <a:pt x="86757" y="954859"/>
                    <a:pt x="86757" y="954859"/>
                    <a:pt x="86757" y="895441"/>
                  </a:cubicBezTo>
                  <a:cubicBezTo>
                    <a:pt x="86757" y="888998"/>
                    <a:pt x="81042" y="883987"/>
                    <a:pt x="74612" y="883987"/>
                  </a:cubicBezTo>
                  <a:cubicBezTo>
                    <a:pt x="68183" y="883987"/>
                    <a:pt x="63182" y="888998"/>
                    <a:pt x="63182" y="895441"/>
                  </a:cubicBezTo>
                  <a:cubicBezTo>
                    <a:pt x="63182" y="895441"/>
                    <a:pt x="63182" y="895441"/>
                    <a:pt x="63182" y="1069399"/>
                  </a:cubicBezTo>
                  <a:cubicBezTo>
                    <a:pt x="51752" y="1072978"/>
                    <a:pt x="41751" y="1077274"/>
                    <a:pt x="31750" y="1083717"/>
                  </a:cubicBezTo>
                  <a:cubicBezTo>
                    <a:pt x="31750" y="1083717"/>
                    <a:pt x="31750" y="1083717"/>
                    <a:pt x="31750" y="895441"/>
                  </a:cubicBezTo>
                  <a:cubicBezTo>
                    <a:pt x="31750" y="871817"/>
                    <a:pt x="51038" y="852488"/>
                    <a:pt x="74612" y="852488"/>
                  </a:cubicBezTo>
                  <a:close/>
                  <a:moveTo>
                    <a:pt x="571500" y="835025"/>
                  </a:moveTo>
                  <a:cubicBezTo>
                    <a:pt x="571500" y="835025"/>
                    <a:pt x="571500" y="835025"/>
                    <a:pt x="836613" y="835025"/>
                  </a:cubicBezTo>
                  <a:cubicBezTo>
                    <a:pt x="836613" y="835025"/>
                    <a:pt x="836613" y="835025"/>
                    <a:pt x="836613" y="969963"/>
                  </a:cubicBezTo>
                  <a:cubicBezTo>
                    <a:pt x="836613" y="969963"/>
                    <a:pt x="836613" y="969963"/>
                    <a:pt x="571500" y="969963"/>
                  </a:cubicBezTo>
                  <a:cubicBezTo>
                    <a:pt x="571500" y="969963"/>
                    <a:pt x="571500" y="969963"/>
                    <a:pt x="571500" y="835025"/>
                  </a:cubicBezTo>
                  <a:close/>
                  <a:moveTo>
                    <a:pt x="555466" y="804862"/>
                  </a:moveTo>
                  <a:cubicBezTo>
                    <a:pt x="546893" y="804862"/>
                    <a:pt x="539749" y="811994"/>
                    <a:pt x="539749" y="820553"/>
                  </a:cubicBezTo>
                  <a:cubicBezTo>
                    <a:pt x="539749" y="986021"/>
                    <a:pt x="539749" y="986021"/>
                    <a:pt x="539749" y="986021"/>
                  </a:cubicBezTo>
                  <a:cubicBezTo>
                    <a:pt x="539749" y="994580"/>
                    <a:pt x="546893" y="1001712"/>
                    <a:pt x="555466" y="1001712"/>
                  </a:cubicBezTo>
                  <a:cubicBezTo>
                    <a:pt x="852646" y="1001712"/>
                    <a:pt x="852646" y="1001712"/>
                    <a:pt x="852646" y="1001712"/>
                  </a:cubicBezTo>
                  <a:cubicBezTo>
                    <a:pt x="861218" y="1001712"/>
                    <a:pt x="868362" y="994580"/>
                    <a:pt x="868362" y="986021"/>
                  </a:cubicBezTo>
                  <a:cubicBezTo>
                    <a:pt x="868362" y="820553"/>
                    <a:pt x="868362" y="820553"/>
                    <a:pt x="868362" y="820553"/>
                  </a:cubicBezTo>
                  <a:cubicBezTo>
                    <a:pt x="868362" y="811994"/>
                    <a:pt x="861218" y="804862"/>
                    <a:pt x="852646" y="804862"/>
                  </a:cubicBezTo>
                  <a:cubicBezTo>
                    <a:pt x="555466" y="804862"/>
                    <a:pt x="555466" y="804862"/>
                    <a:pt x="555466" y="804862"/>
                  </a:cubicBezTo>
                  <a:close/>
                  <a:moveTo>
                    <a:pt x="353219" y="771524"/>
                  </a:moveTo>
                  <a:cubicBezTo>
                    <a:pt x="332615" y="771524"/>
                    <a:pt x="315912" y="788582"/>
                    <a:pt x="315912" y="809624"/>
                  </a:cubicBezTo>
                  <a:cubicBezTo>
                    <a:pt x="315912" y="830666"/>
                    <a:pt x="332615" y="847724"/>
                    <a:pt x="353219" y="847724"/>
                  </a:cubicBezTo>
                  <a:cubicBezTo>
                    <a:pt x="373823" y="847724"/>
                    <a:pt x="390526" y="830666"/>
                    <a:pt x="390526" y="809624"/>
                  </a:cubicBezTo>
                  <a:cubicBezTo>
                    <a:pt x="390526" y="788582"/>
                    <a:pt x="373823" y="771524"/>
                    <a:pt x="353219" y="771524"/>
                  </a:cubicBezTo>
                  <a:close/>
                  <a:moveTo>
                    <a:pt x="730249" y="603249"/>
                  </a:moveTo>
                  <a:cubicBezTo>
                    <a:pt x="709207" y="603249"/>
                    <a:pt x="692149" y="620307"/>
                    <a:pt x="692149" y="641349"/>
                  </a:cubicBezTo>
                  <a:cubicBezTo>
                    <a:pt x="692149" y="662391"/>
                    <a:pt x="709207" y="679449"/>
                    <a:pt x="730249" y="679449"/>
                  </a:cubicBezTo>
                  <a:cubicBezTo>
                    <a:pt x="751291" y="679449"/>
                    <a:pt x="768349" y="662391"/>
                    <a:pt x="768349" y="641349"/>
                  </a:cubicBezTo>
                  <a:cubicBezTo>
                    <a:pt x="768349" y="620307"/>
                    <a:pt x="751291" y="603249"/>
                    <a:pt x="730249" y="603249"/>
                  </a:cubicBezTo>
                  <a:close/>
                  <a:moveTo>
                    <a:pt x="887413" y="534988"/>
                  </a:moveTo>
                  <a:cubicBezTo>
                    <a:pt x="887413" y="534988"/>
                    <a:pt x="887413" y="534988"/>
                    <a:pt x="976313" y="534988"/>
                  </a:cubicBezTo>
                  <a:cubicBezTo>
                    <a:pt x="976313" y="534988"/>
                    <a:pt x="976313" y="534988"/>
                    <a:pt x="976313" y="669926"/>
                  </a:cubicBezTo>
                  <a:cubicBezTo>
                    <a:pt x="976313" y="669926"/>
                    <a:pt x="976313" y="669926"/>
                    <a:pt x="887413" y="669926"/>
                  </a:cubicBezTo>
                  <a:cubicBezTo>
                    <a:pt x="887413" y="669926"/>
                    <a:pt x="887413" y="669926"/>
                    <a:pt x="887413" y="534988"/>
                  </a:cubicBezTo>
                  <a:close/>
                  <a:moveTo>
                    <a:pt x="871387" y="504824"/>
                  </a:moveTo>
                  <a:cubicBezTo>
                    <a:pt x="862095" y="504824"/>
                    <a:pt x="855662" y="511956"/>
                    <a:pt x="855662" y="520515"/>
                  </a:cubicBezTo>
                  <a:cubicBezTo>
                    <a:pt x="855662" y="685983"/>
                    <a:pt x="855662" y="685983"/>
                    <a:pt x="855662" y="685983"/>
                  </a:cubicBezTo>
                  <a:cubicBezTo>
                    <a:pt x="855662" y="694542"/>
                    <a:pt x="862095" y="701674"/>
                    <a:pt x="871387" y="701674"/>
                  </a:cubicBezTo>
                  <a:cubicBezTo>
                    <a:pt x="990751" y="701674"/>
                    <a:pt x="990751" y="701674"/>
                    <a:pt x="990751" y="701674"/>
                  </a:cubicBezTo>
                  <a:cubicBezTo>
                    <a:pt x="999328" y="701674"/>
                    <a:pt x="1006475" y="694542"/>
                    <a:pt x="1006475" y="685983"/>
                  </a:cubicBezTo>
                  <a:cubicBezTo>
                    <a:pt x="1006475" y="520515"/>
                    <a:pt x="1006475" y="520515"/>
                    <a:pt x="1006475" y="520515"/>
                  </a:cubicBezTo>
                  <a:cubicBezTo>
                    <a:pt x="1006475" y="511956"/>
                    <a:pt x="999328" y="504824"/>
                    <a:pt x="990751" y="504824"/>
                  </a:cubicBezTo>
                  <a:cubicBezTo>
                    <a:pt x="871387" y="504824"/>
                    <a:pt x="871387" y="504824"/>
                    <a:pt x="871387" y="504824"/>
                  </a:cubicBezTo>
                  <a:close/>
                  <a:moveTo>
                    <a:pt x="806449" y="342899"/>
                  </a:moveTo>
                  <a:cubicBezTo>
                    <a:pt x="785407" y="342899"/>
                    <a:pt x="768349" y="359602"/>
                    <a:pt x="768349" y="380206"/>
                  </a:cubicBezTo>
                  <a:cubicBezTo>
                    <a:pt x="768349" y="400810"/>
                    <a:pt x="785407" y="417513"/>
                    <a:pt x="806449" y="417513"/>
                  </a:cubicBezTo>
                  <a:cubicBezTo>
                    <a:pt x="827491" y="417513"/>
                    <a:pt x="844549" y="400810"/>
                    <a:pt x="844549" y="380206"/>
                  </a:cubicBezTo>
                  <a:cubicBezTo>
                    <a:pt x="844549" y="359602"/>
                    <a:pt x="827491" y="342899"/>
                    <a:pt x="806449" y="342899"/>
                  </a:cubicBezTo>
                  <a:close/>
                  <a:moveTo>
                    <a:pt x="496651" y="304800"/>
                  </a:moveTo>
                  <a:cubicBezTo>
                    <a:pt x="590551" y="399705"/>
                    <a:pt x="590551" y="399705"/>
                    <a:pt x="590551" y="399705"/>
                  </a:cubicBezTo>
                  <a:cubicBezTo>
                    <a:pt x="403463" y="587375"/>
                    <a:pt x="403463" y="587375"/>
                    <a:pt x="403463" y="587375"/>
                  </a:cubicBezTo>
                  <a:cubicBezTo>
                    <a:pt x="309563" y="492470"/>
                    <a:pt x="309563" y="492470"/>
                    <a:pt x="309563" y="492470"/>
                  </a:cubicBezTo>
                  <a:cubicBezTo>
                    <a:pt x="496651" y="304800"/>
                    <a:pt x="496651" y="304800"/>
                    <a:pt x="496651" y="304800"/>
                  </a:cubicBezTo>
                  <a:close/>
                  <a:moveTo>
                    <a:pt x="497215" y="268123"/>
                  </a:moveTo>
                  <a:cubicBezTo>
                    <a:pt x="493195" y="268123"/>
                    <a:pt x="489086" y="269547"/>
                    <a:pt x="485870" y="272394"/>
                  </a:cubicBezTo>
                  <a:cubicBezTo>
                    <a:pt x="276465" y="482391"/>
                    <a:pt x="276465" y="482391"/>
                    <a:pt x="276465" y="482391"/>
                  </a:cubicBezTo>
                  <a:cubicBezTo>
                    <a:pt x="273606" y="485239"/>
                    <a:pt x="271462" y="488798"/>
                    <a:pt x="271462" y="493069"/>
                  </a:cubicBezTo>
                  <a:cubicBezTo>
                    <a:pt x="271462" y="497340"/>
                    <a:pt x="273606" y="500899"/>
                    <a:pt x="276465" y="504459"/>
                  </a:cubicBezTo>
                  <a:cubicBezTo>
                    <a:pt x="392960" y="621203"/>
                    <a:pt x="392960" y="621203"/>
                    <a:pt x="392960" y="621203"/>
                  </a:cubicBezTo>
                  <a:cubicBezTo>
                    <a:pt x="395819" y="624050"/>
                    <a:pt x="400107" y="625474"/>
                    <a:pt x="403680" y="625474"/>
                  </a:cubicBezTo>
                  <a:cubicBezTo>
                    <a:pt x="407968" y="625474"/>
                    <a:pt x="412256" y="624050"/>
                    <a:pt x="415115" y="621203"/>
                  </a:cubicBezTo>
                  <a:cubicBezTo>
                    <a:pt x="625234" y="411918"/>
                    <a:pt x="625234" y="411918"/>
                    <a:pt x="625234" y="411918"/>
                  </a:cubicBezTo>
                  <a:cubicBezTo>
                    <a:pt x="628093" y="408358"/>
                    <a:pt x="630237" y="404799"/>
                    <a:pt x="630237" y="400528"/>
                  </a:cubicBezTo>
                  <a:cubicBezTo>
                    <a:pt x="630237" y="396257"/>
                    <a:pt x="628093" y="392697"/>
                    <a:pt x="625234" y="389138"/>
                  </a:cubicBezTo>
                  <a:cubicBezTo>
                    <a:pt x="508025" y="272394"/>
                    <a:pt x="508025" y="272394"/>
                    <a:pt x="508025" y="272394"/>
                  </a:cubicBezTo>
                  <a:cubicBezTo>
                    <a:pt x="505167" y="269547"/>
                    <a:pt x="501236" y="268123"/>
                    <a:pt x="497215" y="268123"/>
                  </a:cubicBezTo>
                  <a:close/>
                  <a:moveTo>
                    <a:pt x="651669" y="176212"/>
                  </a:moveTo>
                  <a:cubicBezTo>
                    <a:pt x="914257" y="176212"/>
                    <a:pt x="1127126" y="389081"/>
                    <a:pt x="1127126" y="651669"/>
                  </a:cubicBezTo>
                  <a:cubicBezTo>
                    <a:pt x="1127126" y="914257"/>
                    <a:pt x="914257" y="1127126"/>
                    <a:pt x="651669" y="1127126"/>
                  </a:cubicBezTo>
                  <a:cubicBezTo>
                    <a:pt x="389081" y="1127126"/>
                    <a:pt x="176212" y="914257"/>
                    <a:pt x="176212" y="651669"/>
                  </a:cubicBezTo>
                  <a:cubicBezTo>
                    <a:pt x="176212" y="389081"/>
                    <a:pt x="389081" y="176212"/>
                    <a:pt x="651669" y="176212"/>
                  </a:cubicBezTo>
                  <a:close/>
                  <a:moveTo>
                    <a:pt x="898690" y="30163"/>
                  </a:moveTo>
                  <a:cubicBezTo>
                    <a:pt x="898690" y="30163"/>
                    <a:pt x="898690" y="30163"/>
                    <a:pt x="1088008" y="30163"/>
                  </a:cubicBezTo>
                  <a:cubicBezTo>
                    <a:pt x="1081554" y="39434"/>
                    <a:pt x="1076534" y="50131"/>
                    <a:pt x="1072948" y="61541"/>
                  </a:cubicBezTo>
                  <a:cubicBezTo>
                    <a:pt x="1072948" y="61541"/>
                    <a:pt x="1072948" y="61541"/>
                    <a:pt x="898690" y="61541"/>
                  </a:cubicBezTo>
                  <a:cubicBezTo>
                    <a:pt x="892236" y="61541"/>
                    <a:pt x="887216" y="66533"/>
                    <a:pt x="887216" y="72952"/>
                  </a:cubicBezTo>
                  <a:cubicBezTo>
                    <a:pt x="887216" y="79370"/>
                    <a:pt x="892236" y="84362"/>
                    <a:pt x="898690" y="84362"/>
                  </a:cubicBezTo>
                  <a:cubicBezTo>
                    <a:pt x="898690" y="84362"/>
                    <a:pt x="898690" y="84362"/>
                    <a:pt x="963947" y="84362"/>
                  </a:cubicBezTo>
                  <a:cubicBezTo>
                    <a:pt x="979724" y="84362"/>
                    <a:pt x="994066" y="90780"/>
                    <a:pt x="1005540" y="101478"/>
                  </a:cubicBezTo>
                  <a:cubicBezTo>
                    <a:pt x="1043547" y="139987"/>
                    <a:pt x="1160436" y="256943"/>
                    <a:pt x="1199160" y="295453"/>
                  </a:cubicBezTo>
                  <a:cubicBezTo>
                    <a:pt x="1210634" y="306150"/>
                    <a:pt x="1216371" y="321127"/>
                    <a:pt x="1216371" y="336816"/>
                  </a:cubicBezTo>
                  <a:cubicBezTo>
                    <a:pt x="1216371" y="336816"/>
                    <a:pt x="1216371" y="336816"/>
                    <a:pt x="1216371" y="401712"/>
                  </a:cubicBezTo>
                  <a:cubicBezTo>
                    <a:pt x="1216371" y="408130"/>
                    <a:pt x="1222108" y="413122"/>
                    <a:pt x="1228562" y="413122"/>
                  </a:cubicBezTo>
                  <a:cubicBezTo>
                    <a:pt x="1235016" y="413122"/>
                    <a:pt x="1240035" y="408130"/>
                    <a:pt x="1240035" y="401712"/>
                  </a:cubicBezTo>
                  <a:cubicBezTo>
                    <a:pt x="1240035" y="401712"/>
                    <a:pt x="1240035" y="401712"/>
                    <a:pt x="1240035" y="231270"/>
                  </a:cubicBezTo>
                  <a:cubicBezTo>
                    <a:pt x="1251509" y="227704"/>
                    <a:pt x="1261549" y="223426"/>
                    <a:pt x="1271588" y="217007"/>
                  </a:cubicBezTo>
                  <a:cubicBezTo>
                    <a:pt x="1271588" y="217007"/>
                    <a:pt x="1271588" y="217007"/>
                    <a:pt x="1271588" y="401712"/>
                  </a:cubicBezTo>
                  <a:cubicBezTo>
                    <a:pt x="1271588" y="425246"/>
                    <a:pt x="1252226" y="444501"/>
                    <a:pt x="1228562" y="444501"/>
                  </a:cubicBezTo>
                  <a:cubicBezTo>
                    <a:pt x="1204180" y="444501"/>
                    <a:pt x="1184818" y="425246"/>
                    <a:pt x="1184818" y="401712"/>
                  </a:cubicBezTo>
                  <a:cubicBezTo>
                    <a:pt x="1184818" y="401712"/>
                    <a:pt x="1184818" y="401712"/>
                    <a:pt x="1184818" y="336816"/>
                  </a:cubicBezTo>
                  <a:cubicBezTo>
                    <a:pt x="1184818" y="329684"/>
                    <a:pt x="1181949" y="322553"/>
                    <a:pt x="1176929" y="317561"/>
                  </a:cubicBezTo>
                  <a:cubicBezTo>
                    <a:pt x="1138205" y="279051"/>
                    <a:pt x="1022033" y="162095"/>
                    <a:pt x="983309" y="123585"/>
                  </a:cubicBezTo>
                  <a:cubicBezTo>
                    <a:pt x="978289" y="118593"/>
                    <a:pt x="971118" y="115740"/>
                    <a:pt x="963947" y="115740"/>
                  </a:cubicBezTo>
                  <a:cubicBezTo>
                    <a:pt x="963947" y="115740"/>
                    <a:pt x="963947" y="115740"/>
                    <a:pt x="898690" y="115740"/>
                  </a:cubicBezTo>
                  <a:cubicBezTo>
                    <a:pt x="875025" y="115740"/>
                    <a:pt x="855663" y="96485"/>
                    <a:pt x="855663" y="72952"/>
                  </a:cubicBezTo>
                  <a:cubicBezTo>
                    <a:pt x="855663" y="49418"/>
                    <a:pt x="875025" y="30163"/>
                    <a:pt x="898690" y="30163"/>
                  </a:cubicBezTo>
                  <a:close/>
                  <a:moveTo>
                    <a:pt x="214630" y="30163"/>
                  </a:moveTo>
                  <a:cubicBezTo>
                    <a:pt x="214630" y="30163"/>
                    <a:pt x="214630" y="30163"/>
                    <a:pt x="403225" y="30163"/>
                  </a:cubicBezTo>
                  <a:cubicBezTo>
                    <a:pt x="426800" y="30163"/>
                    <a:pt x="446088" y="49418"/>
                    <a:pt x="446088" y="72952"/>
                  </a:cubicBezTo>
                  <a:cubicBezTo>
                    <a:pt x="446088" y="96485"/>
                    <a:pt x="426800" y="115740"/>
                    <a:pt x="403225" y="115740"/>
                  </a:cubicBezTo>
                  <a:cubicBezTo>
                    <a:pt x="403225" y="115740"/>
                    <a:pt x="403225" y="115740"/>
                    <a:pt x="343932" y="115740"/>
                  </a:cubicBezTo>
                  <a:cubicBezTo>
                    <a:pt x="333216" y="115740"/>
                    <a:pt x="322501" y="120019"/>
                    <a:pt x="314643" y="127864"/>
                  </a:cubicBezTo>
                  <a:cubicBezTo>
                    <a:pt x="314643" y="127864"/>
                    <a:pt x="314643" y="127864"/>
                    <a:pt x="130334" y="313282"/>
                  </a:cubicBezTo>
                  <a:cubicBezTo>
                    <a:pt x="122475" y="321127"/>
                    <a:pt x="118189" y="331824"/>
                    <a:pt x="118189" y="342521"/>
                  </a:cubicBezTo>
                  <a:cubicBezTo>
                    <a:pt x="118189" y="342521"/>
                    <a:pt x="118189" y="342521"/>
                    <a:pt x="118189" y="401712"/>
                  </a:cubicBezTo>
                  <a:cubicBezTo>
                    <a:pt x="118189" y="425246"/>
                    <a:pt x="98901" y="444501"/>
                    <a:pt x="74612" y="444501"/>
                  </a:cubicBezTo>
                  <a:cubicBezTo>
                    <a:pt x="51038" y="444501"/>
                    <a:pt x="31750" y="425246"/>
                    <a:pt x="31750" y="401712"/>
                  </a:cubicBezTo>
                  <a:cubicBezTo>
                    <a:pt x="31750" y="401712"/>
                    <a:pt x="31750" y="401712"/>
                    <a:pt x="31750" y="217007"/>
                  </a:cubicBezTo>
                  <a:cubicBezTo>
                    <a:pt x="41751" y="223426"/>
                    <a:pt x="51752" y="227704"/>
                    <a:pt x="63182" y="231270"/>
                  </a:cubicBezTo>
                  <a:cubicBezTo>
                    <a:pt x="63182" y="231270"/>
                    <a:pt x="63182" y="231270"/>
                    <a:pt x="63182" y="401712"/>
                  </a:cubicBezTo>
                  <a:cubicBezTo>
                    <a:pt x="63182" y="408130"/>
                    <a:pt x="68183" y="413122"/>
                    <a:pt x="74612" y="413122"/>
                  </a:cubicBezTo>
                  <a:cubicBezTo>
                    <a:pt x="81042" y="413122"/>
                    <a:pt x="86757" y="408130"/>
                    <a:pt x="86757" y="401712"/>
                  </a:cubicBezTo>
                  <a:cubicBezTo>
                    <a:pt x="86757" y="401712"/>
                    <a:pt x="86757" y="401712"/>
                    <a:pt x="86757" y="342521"/>
                  </a:cubicBezTo>
                  <a:cubicBezTo>
                    <a:pt x="86757" y="323266"/>
                    <a:pt x="93900" y="304724"/>
                    <a:pt x="108188" y="291174"/>
                  </a:cubicBezTo>
                  <a:cubicBezTo>
                    <a:pt x="108188" y="291174"/>
                    <a:pt x="108188" y="291174"/>
                    <a:pt x="292497" y="105756"/>
                  </a:cubicBezTo>
                  <a:cubicBezTo>
                    <a:pt x="306784" y="92207"/>
                    <a:pt x="324644" y="84362"/>
                    <a:pt x="343932" y="84362"/>
                  </a:cubicBezTo>
                  <a:cubicBezTo>
                    <a:pt x="343932" y="84362"/>
                    <a:pt x="343932" y="84362"/>
                    <a:pt x="403225" y="84362"/>
                  </a:cubicBezTo>
                  <a:cubicBezTo>
                    <a:pt x="409655" y="84362"/>
                    <a:pt x="414655" y="79370"/>
                    <a:pt x="414655" y="72952"/>
                  </a:cubicBezTo>
                  <a:cubicBezTo>
                    <a:pt x="414655" y="66533"/>
                    <a:pt x="409655" y="61541"/>
                    <a:pt x="403225" y="61541"/>
                  </a:cubicBezTo>
                  <a:cubicBezTo>
                    <a:pt x="403225" y="61541"/>
                    <a:pt x="403225" y="61541"/>
                    <a:pt x="229632" y="61541"/>
                  </a:cubicBezTo>
                  <a:cubicBezTo>
                    <a:pt x="226060" y="50131"/>
                    <a:pt x="221059" y="39434"/>
                    <a:pt x="214630" y="30163"/>
                  </a:cubicBezTo>
                  <a:close/>
                  <a:moveTo>
                    <a:pt x="1200151" y="0"/>
                  </a:moveTo>
                  <a:cubicBezTo>
                    <a:pt x="1257140" y="0"/>
                    <a:pt x="1303339" y="46199"/>
                    <a:pt x="1303339" y="103188"/>
                  </a:cubicBezTo>
                  <a:cubicBezTo>
                    <a:pt x="1303339" y="160177"/>
                    <a:pt x="1257140" y="206376"/>
                    <a:pt x="1200151" y="206376"/>
                  </a:cubicBezTo>
                  <a:cubicBezTo>
                    <a:pt x="1143162" y="206376"/>
                    <a:pt x="1096963" y="160177"/>
                    <a:pt x="1096963" y="103188"/>
                  </a:cubicBezTo>
                  <a:cubicBezTo>
                    <a:pt x="1096963" y="46199"/>
                    <a:pt x="1143162" y="0"/>
                    <a:pt x="1200151" y="0"/>
                  </a:cubicBezTo>
                  <a:close/>
                  <a:moveTo>
                    <a:pt x="102394" y="0"/>
                  </a:moveTo>
                  <a:cubicBezTo>
                    <a:pt x="158945" y="0"/>
                    <a:pt x="204788" y="46199"/>
                    <a:pt x="204788" y="103188"/>
                  </a:cubicBezTo>
                  <a:cubicBezTo>
                    <a:pt x="204788" y="160177"/>
                    <a:pt x="158945" y="206376"/>
                    <a:pt x="102394" y="206376"/>
                  </a:cubicBezTo>
                  <a:cubicBezTo>
                    <a:pt x="45843" y="206376"/>
                    <a:pt x="0" y="160177"/>
                    <a:pt x="0" y="103188"/>
                  </a:cubicBezTo>
                  <a:cubicBezTo>
                    <a:pt x="0" y="46199"/>
                    <a:pt x="45843" y="0"/>
                    <a:pt x="10239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FB4983B9-C18A-4D5C-B2D5-618365C5B3A5}"/>
              </a:ext>
            </a:extLst>
          </p:cNvPr>
          <p:cNvGrpSpPr>
            <a:grpSpLocks noChangeAspect="1"/>
          </p:cNvGrpSpPr>
          <p:nvPr/>
        </p:nvGrpSpPr>
        <p:grpSpPr>
          <a:xfrm>
            <a:off x="9487061" y="5313276"/>
            <a:ext cx="653143" cy="653143"/>
            <a:chOff x="5273675" y="2606675"/>
            <a:chExt cx="1644650" cy="1644650"/>
          </a:xfrm>
        </p:grpSpPr>
        <p:sp>
          <p:nvSpPr>
            <p:cNvPr id="75" name="AutoShape 3">
              <a:extLst>
                <a:ext uri="{FF2B5EF4-FFF2-40B4-BE49-F238E27FC236}">
                  <a16:creationId xmlns:a16="http://schemas.microsoft.com/office/drawing/2014/main" id="{26117A9A-DF4E-42D0-85BB-35DE011FCC8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25">
              <a:extLst>
                <a:ext uri="{FF2B5EF4-FFF2-40B4-BE49-F238E27FC236}">
                  <a16:creationId xmlns:a16="http://schemas.microsoft.com/office/drawing/2014/main" id="{302FCDFF-20CC-481D-9966-D9F815039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5124" y="2963863"/>
              <a:ext cx="1303338" cy="931863"/>
            </a:xfrm>
            <a:custGeom>
              <a:avLst/>
              <a:gdLst>
                <a:gd name="connsiteX0" fmla="*/ 142724 w 1303338"/>
                <a:gd name="connsiteY0" fmla="*/ 765175 h 931863"/>
                <a:gd name="connsiteX1" fmla="*/ 127000 w 1303338"/>
                <a:gd name="connsiteY1" fmla="*/ 781050 h 931863"/>
                <a:gd name="connsiteX2" fmla="*/ 142724 w 1303338"/>
                <a:gd name="connsiteY2" fmla="*/ 796925 h 931863"/>
                <a:gd name="connsiteX3" fmla="*/ 1159027 w 1303338"/>
                <a:gd name="connsiteY3" fmla="*/ 796925 h 931863"/>
                <a:gd name="connsiteX4" fmla="*/ 1174750 w 1303338"/>
                <a:gd name="connsiteY4" fmla="*/ 781050 h 931863"/>
                <a:gd name="connsiteX5" fmla="*/ 1159027 w 1303338"/>
                <a:gd name="connsiteY5" fmla="*/ 765175 h 931863"/>
                <a:gd name="connsiteX6" fmla="*/ 142724 w 1303338"/>
                <a:gd name="connsiteY6" fmla="*/ 765175 h 931863"/>
                <a:gd name="connsiteX7" fmla="*/ 142724 w 1303338"/>
                <a:gd name="connsiteY7" fmla="*/ 682625 h 931863"/>
                <a:gd name="connsiteX8" fmla="*/ 127000 w 1303338"/>
                <a:gd name="connsiteY8" fmla="*/ 698147 h 931863"/>
                <a:gd name="connsiteX9" fmla="*/ 142724 w 1303338"/>
                <a:gd name="connsiteY9" fmla="*/ 714375 h 931863"/>
                <a:gd name="connsiteX10" fmla="*/ 1159027 w 1303338"/>
                <a:gd name="connsiteY10" fmla="*/ 714375 h 931863"/>
                <a:gd name="connsiteX11" fmla="*/ 1174750 w 1303338"/>
                <a:gd name="connsiteY11" fmla="*/ 698147 h 931863"/>
                <a:gd name="connsiteX12" fmla="*/ 1159027 w 1303338"/>
                <a:gd name="connsiteY12" fmla="*/ 682625 h 931863"/>
                <a:gd name="connsiteX13" fmla="*/ 142724 w 1303338"/>
                <a:gd name="connsiteY13" fmla="*/ 682625 h 931863"/>
                <a:gd name="connsiteX14" fmla="*/ 142724 w 1303338"/>
                <a:gd name="connsiteY14" fmla="*/ 600075 h 931863"/>
                <a:gd name="connsiteX15" fmla="*/ 127000 w 1303338"/>
                <a:gd name="connsiteY15" fmla="*/ 615950 h 931863"/>
                <a:gd name="connsiteX16" fmla="*/ 142724 w 1303338"/>
                <a:gd name="connsiteY16" fmla="*/ 631825 h 931863"/>
                <a:gd name="connsiteX17" fmla="*/ 1159027 w 1303338"/>
                <a:gd name="connsiteY17" fmla="*/ 631825 h 931863"/>
                <a:gd name="connsiteX18" fmla="*/ 1174750 w 1303338"/>
                <a:gd name="connsiteY18" fmla="*/ 615950 h 931863"/>
                <a:gd name="connsiteX19" fmla="*/ 1159027 w 1303338"/>
                <a:gd name="connsiteY19" fmla="*/ 600075 h 931863"/>
                <a:gd name="connsiteX20" fmla="*/ 142724 w 1303338"/>
                <a:gd name="connsiteY20" fmla="*/ 600075 h 931863"/>
                <a:gd name="connsiteX21" fmla="*/ 155766 w 1303338"/>
                <a:gd name="connsiteY21" fmla="*/ 368300 h 931863"/>
                <a:gd name="connsiteX22" fmla="*/ 142875 w 1303338"/>
                <a:gd name="connsiteY22" fmla="*/ 381148 h 931863"/>
                <a:gd name="connsiteX23" fmla="*/ 142875 w 1303338"/>
                <a:gd name="connsiteY23" fmla="*/ 539602 h 931863"/>
                <a:gd name="connsiteX24" fmla="*/ 155766 w 1303338"/>
                <a:gd name="connsiteY24" fmla="*/ 552450 h 931863"/>
                <a:gd name="connsiteX25" fmla="*/ 225234 w 1303338"/>
                <a:gd name="connsiteY25" fmla="*/ 552450 h 931863"/>
                <a:gd name="connsiteX26" fmla="*/ 238125 w 1303338"/>
                <a:gd name="connsiteY26" fmla="*/ 539602 h 931863"/>
                <a:gd name="connsiteX27" fmla="*/ 238125 w 1303338"/>
                <a:gd name="connsiteY27" fmla="*/ 381148 h 931863"/>
                <a:gd name="connsiteX28" fmla="*/ 225234 w 1303338"/>
                <a:gd name="connsiteY28" fmla="*/ 368300 h 931863"/>
                <a:gd name="connsiteX29" fmla="*/ 155766 w 1303338"/>
                <a:gd name="connsiteY29" fmla="*/ 368300 h 931863"/>
                <a:gd name="connsiteX30" fmla="*/ 271654 w 1303338"/>
                <a:gd name="connsiteY30" fmla="*/ 296862 h 931863"/>
                <a:gd name="connsiteX31" fmla="*/ 258763 w 1303338"/>
                <a:gd name="connsiteY31" fmla="*/ 309713 h 931863"/>
                <a:gd name="connsiteX32" fmla="*/ 258763 w 1303338"/>
                <a:gd name="connsiteY32" fmla="*/ 539599 h 931863"/>
                <a:gd name="connsiteX33" fmla="*/ 271654 w 1303338"/>
                <a:gd name="connsiteY33" fmla="*/ 552450 h 931863"/>
                <a:gd name="connsiteX34" fmla="*/ 341122 w 1303338"/>
                <a:gd name="connsiteY34" fmla="*/ 552450 h 931863"/>
                <a:gd name="connsiteX35" fmla="*/ 354013 w 1303338"/>
                <a:gd name="connsiteY35" fmla="*/ 539599 h 931863"/>
                <a:gd name="connsiteX36" fmla="*/ 354013 w 1303338"/>
                <a:gd name="connsiteY36" fmla="*/ 309713 h 931863"/>
                <a:gd name="connsiteX37" fmla="*/ 341122 w 1303338"/>
                <a:gd name="connsiteY37" fmla="*/ 296862 h 931863"/>
                <a:gd name="connsiteX38" fmla="*/ 271654 w 1303338"/>
                <a:gd name="connsiteY38" fmla="*/ 296862 h 931863"/>
                <a:gd name="connsiteX39" fmla="*/ 387520 w 1303338"/>
                <a:gd name="connsiteY39" fmla="*/ 215900 h 931863"/>
                <a:gd name="connsiteX40" fmla="*/ 374650 w 1303338"/>
                <a:gd name="connsiteY40" fmla="*/ 228762 h 931863"/>
                <a:gd name="connsiteX41" fmla="*/ 374650 w 1303338"/>
                <a:gd name="connsiteY41" fmla="*/ 539588 h 931863"/>
                <a:gd name="connsiteX42" fmla="*/ 387520 w 1303338"/>
                <a:gd name="connsiteY42" fmla="*/ 552450 h 931863"/>
                <a:gd name="connsiteX43" fmla="*/ 455444 w 1303338"/>
                <a:gd name="connsiteY43" fmla="*/ 552450 h 931863"/>
                <a:gd name="connsiteX44" fmla="*/ 468313 w 1303338"/>
                <a:gd name="connsiteY44" fmla="*/ 539588 h 931863"/>
                <a:gd name="connsiteX45" fmla="*/ 468313 w 1303338"/>
                <a:gd name="connsiteY45" fmla="*/ 228762 h 931863"/>
                <a:gd name="connsiteX46" fmla="*/ 455444 w 1303338"/>
                <a:gd name="connsiteY46" fmla="*/ 215900 h 931863"/>
                <a:gd name="connsiteX47" fmla="*/ 387520 w 1303338"/>
                <a:gd name="connsiteY47" fmla="*/ 215900 h 931863"/>
                <a:gd name="connsiteX48" fmla="*/ 939563 w 1303338"/>
                <a:gd name="connsiteY48" fmla="*/ 142875 h 931863"/>
                <a:gd name="connsiteX49" fmla="*/ 944563 w 1303338"/>
                <a:gd name="connsiteY49" fmla="*/ 143589 h 931863"/>
                <a:gd name="connsiteX50" fmla="*/ 939563 w 1303338"/>
                <a:gd name="connsiteY50" fmla="*/ 334963 h 931863"/>
                <a:gd name="connsiteX51" fmla="*/ 787400 w 1303338"/>
                <a:gd name="connsiteY51" fmla="*/ 220710 h 931863"/>
                <a:gd name="connsiteX52" fmla="*/ 939563 w 1303338"/>
                <a:gd name="connsiteY52" fmla="*/ 142875 h 931863"/>
                <a:gd name="connsiteX53" fmla="*/ 939007 w 1303338"/>
                <a:gd name="connsiteY53" fmla="*/ 111125 h 931863"/>
                <a:gd name="connsiteX54" fmla="*/ 719138 w 1303338"/>
                <a:gd name="connsiteY54" fmla="*/ 331788 h 931863"/>
                <a:gd name="connsiteX55" fmla="*/ 839781 w 1303338"/>
                <a:gd name="connsiteY55" fmla="*/ 528884 h 931863"/>
                <a:gd name="connsiteX56" fmla="*/ 938293 w 1303338"/>
                <a:gd name="connsiteY56" fmla="*/ 552450 h 931863"/>
                <a:gd name="connsiteX57" fmla="*/ 939007 w 1303338"/>
                <a:gd name="connsiteY57" fmla="*/ 552450 h 931863"/>
                <a:gd name="connsiteX58" fmla="*/ 1158876 w 1303338"/>
                <a:gd name="connsiteY58" fmla="*/ 331788 h 931863"/>
                <a:gd name="connsiteX59" fmla="*/ 958281 w 1303338"/>
                <a:gd name="connsiteY59" fmla="*/ 112553 h 931863"/>
                <a:gd name="connsiteX60" fmla="*/ 951857 w 1303338"/>
                <a:gd name="connsiteY60" fmla="*/ 111839 h 931863"/>
                <a:gd name="connsiteX61" fmla="*/ 949715 w 1303338"/>
                <a:gd name="connsiteY61" fmla="*/ 111839 h 931863"/>
                <a:gd name="connsiteX62" fmla="*/ 944718 w 1303338"/>
                <a:gd name="connsiteY62" fmla="*/ 111125 h 931863"/>
                <a:gd name="connsiteX63" fmla="*/ 944718 w 1303338"/>
                <a:gd name="connsiteY63" fmla="*/ 111839 h 931863"/>
                <a:gd name="connsiteX64" fmla="*/ 939007 w 1303338"/>
                <a:gd name="connsiteY64" fmla="*/ 111125 h 931863"/>
                <a:gd name="connsiteX65" fmla="*/ 501820 w 1303338"/>
                <a:gd name="connsiteY65" fmla="*/ 111125 h 931863"/>
                <a:gd name="connsiteX66" fmla="*/ 488950 w 1303338"/>
                <a:gd name="connsiteY66" fmla="*/ 123979 h 931863"/>
                <a:gd name="connsiteX67" fmla="*/ 488950 w 1303338"/>
                <a:gd name="connsiteY67" fmla="*/ 539596 h 931863"/>
                <a:gd name="connsiteX68" fmla="*/ 501820 w 1303338"/>
                <a:gd name="connsiteY68" fmla="*/ 552450 h 931863"/>
                <a:gd name="connsiteX69" fmla="*/ 569744 w 1303338"/>
                <a:gd name="connsiteY69" fmla="*/ 552450 h 931863"/>
                <a:gd name="connsiteX70" fmla="*/ 582613 w 1303338"/>
                <a:gd name="connsiteY70" fmla="*/ 539596 h 931863"/>
                <a:gd name="connsiteX71" fmla="*/ 582613 w 1303338"/>
                <a:gd name="connsiteY71" fmla="*/ 123979 h 931863"/>
                <a:gd name="connsiteX72" fmla="*/ 569744 w 1303338"/>
                <a:gd name="connsiteY72" fmla="*/ 111125 h 931863"/>
                <a:gd name="connsiteX73" fmla="*/ 501820 w 1303338"/>
                <a:gd name="connsiteY73" fmla="*/ 111125 h 931863"/>
                <a:gd name="connsiteX74" fmla="*/ 61913 w 1303338"/>
                <a:gd name="connsiteY74" fmla="*/ 63500 h 931863"/>
                <a:gd name="connsiteX75" fmla="*/ 1239838 w 1303338"/>
                <a:gd name="connsiteY75" fmla="*/ 63500 h 931863"/>
                <a:gd name="connsiteX76" fmla="*/ 1239838 w 1303338"/>
                <a:gd name="connsiteY76" fmla="*/ 869950 h 931863"/>
                <a:gd name="connsiteX77" fmla="*/ 61913 w 1303338"/>
                <a:gd name="connsiteY77" fmla="*/ 869950 h 931863"/>
                <a:gd name="connsiteX78" fmla="*/ 61913 w 1303338"/>
                <a:gd name="connsiteY78" fmla="*/ 63500 h 931863"/>
                <a:gd name="connsiteX79" fmla="*/ 31750 w 1303338"/>
                <a:gd name="connsiteY79" fmla="*/ 31750 h 931863"/>
                <a:gd name="connsiteX80" fmla="*/ 31750 w 1303338"/>
                <a:gd name="connsiteY80" fmla="*/ 900113 h 931863"/>
                <a:gd name="connsiteX81" fmla="*/ 1271588 w 1303338"/>
                <a:gd name="connsiteY81" fmla="*/ 900113 h 931863"/>
                <a:gd name="connsiteX82" fmla="*/ 1271588 w 1303338"/>
                <a:gd name="connsiteY82" fmla="*/ 31750 h 931863"/>
                <a:gd name="connsiteX83" fmla="*/ 31750 w 1303338"/>
                <a:gd name="connsiteY83" fmla="*/ 31750 h 931863"/>
                <a:gd name="connsiteX84" fmla="*/ 15703 w 1303338"/>
                <a:gd name="connsiteY84" fmla="*/ 0 h 931863"/>
                <a:gd name="connsiteX85" fmla="*/ 1287635 w 1303338"/>
                <a:gd name="connsiteY85" fmla="*/ 0 h 931863"/>
                <a:gd name="connsiteX86" fmla="*/ 1303338 w 1303338"/>
                <a:gd name="connsiteY86" fmla="*/ 15698 h 931863"/>
                <a:gd name="connsiteX87" fmla="*/ 1303338 w 1303338"/>
                <a:gd name="connsiteY87" fmla="*/ 916166 h 931863"/>
                <a:gd name="connsiteX88" fmla="*/ 1287635 w 1303338"/>
                <a:gd name="connsiteY88" fmla="*/ 931863 h 931863"/>
                <a:gd name="connsiteX89" fmla="*/ 15703 w 1303338"/>
                <a:gd name="connsiteY89" fmla="*/ 931863 h 931863"/>
                <a:gd name="connsiteX90" fmla="*/ 0 w 1303338"/>
                <a:gd name="connsiteY90" fmla="*/ 916166 h 931863"/>
                <a:gd name="connsiteX91" fmla="*/ 0 w 1303338"/>
                <a:gd name="connsiteY91" fmla="*/ 15698 h 931863"/>
                <a:gd name="connsiteX92" fmla="*/ 15703 w 1303338"/>
                <a:gd name="connsiteY92" fmla="*/ 0 h 931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1303338" h="931863">
                  <a:moveTo>
                    <a:pt x="142724" y="765175"/>
                  </a:moveTo>
                  <a:cubicBezTo>
                    <a:pt x="134147" y="765175"/>
                    <a:pt x="127000" y="772391"/>
                    <a:pt x="127000" y="781050"/>
                  </a:cubicBezTo>
                  <a:cubicBezTo>
                    <a:pt x="127000" y="789709"/>
                    <a:pt x="134147" y="796925"/>
                    <a:pt x="142724" y="796925"/>
                  </a:cubicBezTo>
                  <a:cubicBezTo>
                    <a:pt x="142724" y="796925"/>
                    <a:pt x="142724" y="796925"/>
                    <a:pt x="1159027" y="796925"/>
                  </a:cubicBezTo>
                  <a:cubicBezTo>
                    <a:pt x="1167603" y="796925"/>
                    <a:pt x="1174750" y="789709"/>
                    <a:pt x="1174750" y="781050"/>
                  </a:cubicBezTo>
                  <a:cubicBezTo>
                    <a:pt x="1174750" y="772391"/>
                    <a:pt x="1167603" y="765175"/>
                    <a:pt x="1159027" y="765175"/>
                  </a:cubicBezTo>
                  <a:cubicBezTo>
                    <a:pt x="1159027" y="765175"/>
                    <a:pt x="1159027" y="765175"/>
                    <a:pt x="142724" y="765175"/>
                  </a:cubicBezTo>
                  <a:close/>
                  <a:moveTo>
                    <a:pt x="142724" y="682625"/>
                  </a:moveTo>
                  <a:cubicBezTo>
                    <a:pt x="134147" y="682625"/>
                    <a:pt x="127000" y="689681"/>
                    <a:pt x="127000" y="698147"/>
                  </a:cubicBezTo>
                  <a:cubicBezTo>
                    <a:pt x="127000" y="708025"/>
                    <a:pt x="134147" y="714375"/>
                    <a:pt x="142724" y="714375"/>
                  </a:cubicBezTo>
                  <a:cubicBezTo>
                    <a:pt x="142724" y="714375"/>
                    <a:pt x="142724" y="714375"/>
                    <a:pt x="1159027" y="714375"/>
                  </a:cubicBezTo>
                  <a:cubicBezTo>
                    <a:pt x="1167603" y="714375"/>
                    <a:pt x="1174750" y="708025"/>
                    <a:pt x="1174750" y="698147"/>
                  </a:cubicBezTo>
                  <a:cubicBezTo>
                    <a:pt x="1174750" y="689681"/>
                    <a:pt x="1167603" y="682625"/>
                    <a:pt x="1159027" y="682625"/>
                  </a:cubicBezTo>
                  <a:cubicBezTo>
                    <a:pt x="1159027" y="682625"/>
                    <a:pt x="1159027" y="682625"/>
                    <a:pt x="142724" y="682625"/>
                  </a:cubicBezTo>
                  <a:close/>
                  <a:moveTo>
                    <a:pt x="142724" y="600075"/>
                  </a:moveTo>
                  <a:cubicBezTo>
                    <a:pt x="134147" y="600075"/>
                    <a:pt x="127000" y="607291"/>
                    <a:pt x="127000" y="615950"/>
                  </a:cubicBezTo>
                  <a:cubicBezTo>
                    <a:pt x="127000" y="624609"/>
                    <a:pt x="134147" y="631825"/>
                    <a:pt x="142724" y="631825"/>
                  </a:cubicBezTo>
                  <a:cubicBezTo>
                    <a:pt x="142724" y="631825"/>
                    <a:pt x="142724" y="631825"/>
                    <a:pt x="1159027" y="631825"/>
                  </a:cubicBezTo>
                  <a:cubicBezTo>
                    <a:pt x="1167603" y="631825"/>
                    <a:pt x="1174750" y="624609"/>
                    <a:pt x="1174750" y="615950"/>
                  </a:cubicBezTo>
                  <a:cubicBezTo>
                    <a:pt x="1174750" y="607291"/>
                    <a:pt x="1167603" y="600075"/>
                    <a:pt x="1159027" y="600075"/>
                  </a:cubicBezTo>
                  <a:cubicBezTo>
                    <a:pt x="1159027" y="600075"/>
                    <a:pt x="1159027" y="600075"/>
                    <a:pt x="142724" y="600075"/>
                  </a:cubicBezTo>
                  <a:close/>
                  <a:moveTo>
                    <a:pt x="155766" y="368300"/>
                  </a:moveTo>
                  <a:cubicBezTo>
                    <a:pt x="147888" y="368300"/>
                    <a:pt x="142875" y="374724"/>
                    <a:pt x="142875" y="381148"/>
                  </a:cubicBezTo>
                  <a:cubicBezTo>
                    <a:pt x="142875" y="381148"/>
                    <a:pt x="142875" y="381148"/>
                    <a:pt x="142875" y="539602"/>
                  </a:cubicBezTo>
                  <a:cubicBezTo>
                    <a:pt x="142875" y="546740"/>
                    <a:pt x="147888" y="552450"/>
                    <a:pt x="155766" y="552450"/>
                  </a:cubicBezTo>
                  <a:cubicBezTo>
                    <a:pt x="155766" y="552450"/>
                    <a:pt x="155766" y="552450"/>
                    <a:pt x="225234" y="552450"/>
                  </a:cubicBezTo>
                  <a:cubicBezTo>
                    <a:pt x="231680" y="552450"/>
                    <a:pt x="238125" y="546740"/>
                    <a:pt x="238125" y="539602"/>
                  </a:cubicBezTo>
                  <a:cubicBezTo>
                    <a:pt x="238125" y="539602"/>
                    <a:pt x="238125" y="539602"/>
                    <a:pt x="238125" y="381148"/>
                  </a:cubicBezTo>
                  <a:cubicBezTo>
                    <a:pt x="238125" y="374724"/>
                    <a:pt x="231680" y="368300"/>
                    <a:pt x="225234" y="368300"/>
                  </a:cubicBezTo>
                  <a:cubicBezTo>
                    <a:pt x="225234" y="368300"/>
                    <a:pt x="225234" y="368300"/>
                    <a:pt x="155766" y="368300"/>
                  </a:cubicBezTo>
                  <a:close/>
                  <a:moveTo>
                    <a:pt x="271654" y="296862"/>
                  </a:moveTo>
                  <a:cubicBezTo>
                    <a:pt x="264493" y="296862"/>
                    <a:pt x="258763" y="302574"/>
                    <a:pt x="258763" y="309713"/>
                  </a:cubicBezTo>
                  <a:cubicBezTo>
                    <a:pt x="258763" y="539599"/>
                    <a:pt x="258763" y="539599"/>
                    <a:pt x="258763" y="539599"/>
                  </a:cubicBezTo>
                  <a:cubicBezTo>
                    <a:pt x="258763" y="546739"/>
                    <a:pt x="264493" y="552450"/>
                    <a:pt x="271654" y="552450"/>
                  </a:cubicBezTo>
                  <a:cubicBezTo>
                    <a:pt x="341122" y="552450"/>
                    <a:pt x="341122" y="552450"/>
                    <a:pt x="341122" y="552450"/>
                  </a:cubicBezTo>
                  <a:cubicBezTo>
                    <a:pt x="348284" y="552450"/>
                    <a:pt x="354013" y="546739"/>
                    <a:pt x="354013" y="539599"/>
                  </a:cubicBezTo>
                  <a:cubicBezTo>
                    <a:pt x="354013" y="309713"/>
                    <a:pt x="354013" y="309713"/>
                    <a:pt x="354013" y="309713"/>
                  </a:cubicBezTo>
                  <a:cubicBezTo>
                    <a:pt x="354013" y="302574"/>
                    <a:pt x="348284" y="296862"/>
                    <a:pt x="341122" y="296862"/>
                  </a:cubicBezTo>
                  <a:cubicBezTo>
                    <a:pt x="271654" y="296862"/>
                    <a:pt x="271654" y="296862"/>
                    <a:pt x="271654" y="296862"/>
                  </a:cubicBezTo>
                  <a:close/>
                  <a:moveTo>
                    <a:pt x="387520" y="215900"/>
                  </a:moveTo>
                  <a:cubicBezTo>
                    <a:pt x="380370" y="215900"/>
                    <a:pt x="374650" y="221616"/>
                    <a:pt x="374650" y="228762"/>
                  </a:cubicBezTo>
                  <a:cubicBezTo>
                    <a:pt x="374650" y="539588"/>
                    <a:pt x="374650" y="539588"/>
                    <a:pt x="374650" y="539588"/>
                  </a:cubicBezTo>
                  <a:cubicBezTo>
                    <a:pt x="374650" y="546734"/>
                    <a:pt x="380370" y="552450"/>
                    <a:pt x="387520" y="552450"/>
                  </a:cubicBezTo>
                  <a:cubicBezTo>
                    <a:pt x="455444" y="552450"/>
                    <a:pt x="455444" y="552450"/>
                    <a:pt x="455444" y="552450"/>
                  </a:cubicBezTo>
                  <a:cubicBezTo>
                    <a:pt x="462593" y="552450"/>
                    <a:pt x="468313" y="546734"/>
                    <a:pt x="468313" y="539588"/>
                  </a:cubicBezTo>
                  <a:cubicBezTo>
                    <a:pt x="468313" y="228762"/>
                    <a:pt x="468313" y="228762"/>
                    <a:pt x="468313" y="228762"/>
                  </a:cubicBezTo>
                  <a:cubicBezTo>
                    <a:pt x="468313" y="221616"/>
                    <a:pt x="462593" y="215900"/>
                    <a:pt x="455444" y="215900"/>
                  </a:cubicBezTo>
                  <a:cubicBezTo>
                    <a:pt x="387520" y="215900"/>
                    <a:pt x="387520" y="215900"/>
                    <a:pt x="387520" y="215900"/>
                  </a:cubicBezTo>
                  <a:close/>
                  <a:moveTo>
                    <a:pt x="939563" y="142875"/>
                  </a:moveTo>
                  <a:cubicBezTo>
                    <a:pt x="940991" y="142875"/>
                    <a:pt x="943134" y="143589"/>
                    <a:pt x="944563" y="143589"/>
                  </a:cubicBezTo>
                  <a:cubicBezTo>
                    <a:pt x="943849" y="172152"/>
                    <a:pt x="942420" y="227851"/>
                    <a:pt x="939563" y="334963"/>
                  </a:cubicBezTo>
                  <a:cubicBezTo>
                    <a:pt x="939563" y="334963"/>
                    <a:pt x="939563" y="334963"/>
                    <a:pt x="787400" y="220710"/>
                  </a:cubicBezTo>
                  <a:cubicBezTo>
                    <a:pt x="822405" y="173581"/>
                    <a:pt x="876697" y="142875"/>
                    <a:pt x="939563" y="142875"/>
                  </a:cubicBezTo>
                  <a:close/>
                  <a:moveTo>
                    <a:pt x="939007" y="111125"/>
                  </a:moveTo>
                  <a:cubicBezTo>
                    <a:pt x="817651" y="111125"/>
                    <a:pt x="719138" y="210388"/>
                    <a:pt x="719138" y="331788"/>
                  </a:cubicBezTo>
                  <a:cubicBezTo>
                    <a:pt x="719138" y="418196"/>
                    <a:pt x="768395" y="492464"/>
                    <a:pt x="839781" y="528884"/>
                  </a:cubicBezTo>
                  <a:cubicBezTo>
                    <a:pt x="869763" y="543881"/>
                    <a:pt x="903314" y="552450"/>
                    <a:pt x="938293" y="552450"/>
                  </a:cubicBezTo>
                  <a:cubicBezTo>
                    <a:pt x="938293" y="552450"/>
                    <a:pt x="938293" y="552450"/>
                    <a:pt x="939007" y="552450"/>
                  </a:cubicBezTo>
                  <a:cubicBezTo>
                    <a:pt x="1059650" y="552450"/>
                    <a:pt x="1158876" y="453902"/>
                    <a:pt x="1158876" y="331788"/>
                  </a:cubicBezTo>
                  <a:cubicBezTo>
                    <a:pt x="1158876" y="216815"/>
                    <a:pt x="1070358" y="121837"/>
                    <a:pt x="958281" y="112553"/>
                  </a:cubicBezTo>
                  <a:cubicBezTo>
                    <a:pt x="956140" y="111839"/>
                    <a:pt x="953998" y="111839"/>
                    <a:pt x="951857" y="111839"/>
                  </a:cubicBezTo>
                  <a:cubicBezTo>
                    <a:pt x="951143" y="111839"/>
                    <a:pt x="950429" y="111839"/>
                    <a:pt x="949715" y="111839"/>
                  </a:cubicBezTo>
                  <a:cubicBezTo>
                    <a:pt x="948287" y="111839"/>
                    <a:pt x="946146" y="111125"/>
                    <a:pt x="944718" y="111125"/>
                  </a:cubicBezTo>
                  <a:cubicBezTo>
                    <a:pt x="944718" y="111125"/>
                    <a:pt x="944718" y="111125"/>
                    <a:pt x="944718" y="111839"/>
                  </a:cubicBezTo>
                  <a:cubicBezTo>
                    <a:pt x="942577" y="111839"/>
                    <a:pt x="941149" y="111125"/>
                    <a:pt x="939007" y="111125"/>
                  </a:cubicBezTo>
                  <a:close/>
                  <a:moveTo>
                    <a:pt x="501820" y="111125"/>
                  </a:moveTo>
                  <a:cubicBezTo>
                    <a:pt x="494670" y="111125"/>
                    <a:pt x="488950" y="116838"/>
                    <a:pt x="488950" y="123979"/>
                  </a:cubicBezTo>
                  <a:cubicBezTo>
                    <a:pt x="488950" y="539596"/>
                    <a:pt x="488950" y="539596"/>
                    <a:pt x="488950" y="539596"/>
                  </a:cubicBezTo>
                  <a:cubicBezTo>
                    <a:pt x="488950" y="546737"/>
                    <a:pt x="494670" y="552450"/>
                    <a:pt x="501820" y="552450"/>
                  </a:cubicBezTo>
                  <a:cubicBezTo>
                    <a:pt x="569744" y="552450"/>
                    <a:pt x="569744" y="552450"/>
                    <a:pt x="569744" y="552450"/>
                  </a:cubicBezTo>
                  <a:cubicBezTo>
                    <a:pt x="577608" y="552450"/>
                    <a:pt x="582613" y="546737"/>
                    <a:pt x="582613" y="539596"/>
                  </a:cubicBezTo>
                  <a:cubicBezTo>
                    <a:pt x="582613" y="123979"/>
                    <a:pt x="582613" y="123979"/>
                    <a:pt x="582613" y="123979"/>
                  </a:cubicBezTo>
                  <a:cubicBezTo>
                    <a:pt x="582613" y="116838"/>
                    <a:pt x="577608" y="111125"/>
                    <a:pt x="569744" y="111125"/>
                  </a:cubicBezTo>
                  <a:cubicBezTo>
                    <a:pt x="501820" y="111125"/>
                    <a:pt x="501820" y="111125"/>
                    <a:pt x="501820" y="111125"/>
                  </a:cubicBezTo>
                  <a:close/>
                  <a:moveTo>
                    <a:pt x="61913" y="63500"/>
                  </a:moveTo>
                  <a:cubicBezTo>
                    <a:pt x="61913" y="63500"/>
                    <a:pt x="61913" y="63500"/>
                    <a:pt x="1239838" y="63500"/>
                  </a:cubicBezTo>
                  <a:cubicBezTo>
                    <a:pt x="1239838" y="63500"/>
                    <a:pt x="1239838" y="63500"/>
                    <a:pt x="1239838" y="869950"/>
                  </a:cubicBezTo>
                  <a:cubicBezTo>
                    <a:pt x="1239838" y="869950"/>
                    <a:pt x="1239838" y="869950"/>
                    <a:pt x="61913" y="869950"/>
                  </a:cubicBezTo>
                  <a:cubicBezTo>
                    <a:pt x="61913" y="869950"/>
                    <a:pt x="61913" y="869950"/>
                    <a:pt x="61913" y="63500"/>
                  </a:cubicBezTo>
                  <a:close/>
                  <a:moveTo>
                    <a:pt x="31750" y="31750"/>
                  </a:moveTo>
                  <a:cubicBezTo>
                    <a:pt x="31750" y="31750"/>
                    <a:pt x="31750" y="31750"/>
                    <a:pt x="31750" y="900113"/>
                  </a:cubicBezTo>
                  <a:cubicBezTo>
                    <a:pt x="31750" y="900113"/>
                    <a:pt x="31750" y="900113"/>
                    <a:pt x="1271588" y="900113"/>
                  </a:cubicBezTo>
                  <a:cubicBezTo>
                    <a:pt x="1271588" y="900113"/>
                    <a:pt x="1271588" y="900113"/>
                    <a:pt x="1271588" y="31750"/>
                  </a:cubicBezTo>
                  <a:cubicBezTo>
                    <a:pt x="1271588" y="31750"/>
                    <a:pt x="1271588" y="31750"/>
                    <a:pt x="31750" y="31750"/>
                  </a:cubicBezTo>
                  <a:close/>
                  <a:moveTo>
                    <a:pt x="15703" y="0"/>
                  </a:moveTo>
                  <a:cubicBezTo>
                    <a:pt x="15703" y="0"/>
                    <a:pt x="15703" y="0"/>
                    <a:pt x="1287635" y="0"/>
                  </a:cubicBezTo>
                  <a:cubicBezTo>
                    <a:pt x="1296201" y="0"/>
                    <a:pt x="1303338" y="6422"/>
                    <a:pt x="1303338" y="15698"/>
                  </a:cubicBezTo>
                  <a:cubicBezTo>
                    <a:pt x="1303338" y="15698"/>
                    <a:pt x="1303338" y="15698"/>
                    <a:pt x="1303338" y="916166"/>
                  </a:cubicBezTo>
                  <a:cubicBezTo>
                    <a:pt x="1303338" y="925441"/>
                    <a:pt x="1296201" y="931863"/>
                    <a:pt x="1287635" y="931863"/>
                  </a:cubicBezTo>
                  <a:cubicBezTo>
                    <a:pt x="1287635" y="931863"/>
                    <a:pt x="1287635" y="931863"/>
                    <a:pt x="15703" y="931863"/>
                  </a:cubicBezTo>
                  <a:cubicBezTo>
                    <a:pt x="7138" y="931863"/>
                    <a:pt x="0" y="925441"/>
                    <a:pt x="0" y="916166"/>
                  </a:cubicBezTo>
                  <a:cubicBezTo>
                    <a:pt x="0" y="916166"/>
                    <a:pt x="0" y="916166"/>
                    <a:pt x="0" y="15698"/>
                  </a:cubicBezTo>
                  <a:cubicBezTo>
                    <a:pt x="0" y="6422"/>
                    <a:pt x="7138" y="0"/>
                    <a:pt x="15703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A8D6D4E-F5FE-4FAD-A726-71023F74DDB9}"/>
              </a:ext>
            </a:extLst>
          </p:cNvPr>
          <p:cNvGrpSpPr/>
          <p:nvPr/>
        </p:nvGrpSpPr>
        <p:grpSpPr>
          <a:xfrm>
            <a:off x="4411039" y="456858"/>
            <a:ext cx="914400" cy="914400"/>
            <a:chOff x="4411039" y="456858"/>
            <a:chExt cx="914400" cy="91440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632C7EBA-793D-4330-929D-AF1B71BB5A49}"/>
                </a:ext>
              </a:extLst>
            </p:cNvPr>
            <p:cNvSpPr/>
            <p:nvPr/>
          </p:nvSpPr>
          <p:spPr>
            <a:xfrm>
              <a:off x="4411039" y="456858"/>
              <a:ext cx="914400" cy="914400"/>
            </a:xfrm>
            <a:prstGeom prst="ellipse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A6B1FA4A-50CF-4B49-A311-E58A83313D5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522646" y="568465"/>
              <a:ext cx="691187" cy="691187"/>
              <a:chOff x="5273675" y="2606675"/>
              <a:chExt cx="1644650" cy="1644650"/>
            </a:xfrm>
          </p:grpSpPr>
          <p:sp>
            <p:nvSpPr>
              <p:cNvPr id="53" name="AutoShape 3">
                <a:extLst>
                  <a:ext uri="{FF2B5EF4-FFF2-40B4-BE49-F238E27FC236}">
                    <a16:creationId xmlns:a16="http://schemas.microsoft.com/office/drawing/2014/main" id="{CCF19AD3-6B6F-4EAF-9726-33C4D27BEAB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6BDA6A26-5ECF-48AD-B5C8-F8DB75690DAF}"/>
                  </a:ext>
                </a:extLst>
              </p:cNvPr>
              <p:cNvGrpSpPr/>
              <p:nvPr/>
            </p:nvGrpSpPr>
            <p:grpSpPr>
              <a:xfrm>
                <a:off x="5646738" y="2776538"/>
                <a:ext cx="898525" cy="1304925"/>
                <a:chOff x="5646738" y="2776538"/>
                <a:chExt cx="898525" cy="1304925"/>
              </a:xfrm>
            </p:grpSpPr>
            <p:sp>
              <p:nvSpPr>
                <p:cNvPr id="64" name="Freeform 27">
                  <a:extLst>
                    <a:ext uri="{FF2B5EF4-FFF2-40B4-BE49-F238E27FC236}">
                      <a16:creationId xmlns:a16="http://schemas.microsoft.com/office/drawing/2014/main" id="{598FCC96-CA7E-4D67-B155-CD9B3ED3F7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6738" y="2890838"/>
                  <a:ext cx="898525" cy="1190625"/>
                </a:xfrm>
                <a:custGeom>
                  <a:avLst/>
                  <a:gdLst>
                    <a:gd name="connsiteX0" fmla="*/ 311196 w 898525"/>
                    <a:gd name="connsiteY0" fmla="*/ 816042 h 1190625"/>
                    <a:gd name="connsiteX1" fmla="*/ 333306 w 898525"/>
                    <a:gd name="connsiteY1" fmla="*/ 816042 h 1190625"/>
                    <a:gd name="connsiteX2" fmla="*/ 333306 w 898525"/>
                    <a:gd name="connsiteY2" fmla="*/ 838143 h 1190625"/>
                    <a:gd name="connsiteX3" fmla="*/ 302637 w 898525"/>
                    <a:gd name="connsiteY3" fmla="*/ 868800 h 1190625"/>
                    <a:gd name="connsiteX4" fmla="*/ 271255 w 898525"/>
                    <a:gd name="connsiteY4" fmla="*/ 900170 h 1190625"/>
                    <a:gd name="connsiteX5" fmla="*/ 247006 w 898525"/>
                    <a:gd name="connsiteY5" fmla="*/ 924410 h 1190625"/>
                    <a:gd name="connsiteX6" fmla="*/ 236307 w 898525"/>
                    <a:gd name="connsiteY6" fmla="*/ 928688 h 1190625"/>
                    <a:gd name="connsiteX7" fmla="*/ 224896 w 898525"/>
                    <a:gd name="connsiteY7" fmla="*/ 924410 h 1190625"/>
                    <a:gd name="connsiteX8" fmla="*/ 197793 w 898525"/>
                    <a:gd name="connsiteY8" fmla="*/ 896605 h 1190625"/>
                    <a:gd name="connsiteX9" fmla="*/ 197793 w 898525"/>
                    <a:gd name="connsiteY9" fmla="*/ 874504 h 1190625"/>
                    <a:gd name="connsiteX10" fmla="*/ 219903 w 898525"/>
                    <a:gd name="connsiteY10" fmla="*/ 874504 h 1190625"/>
                    <a:gd name="connsiteX11" fmla="*/ 236307 w 898525"/>
                    <a:gd name="connsiteY11" fmla="*/ 890902 h 1190625"/>
                    <a:gd name="connsiteX12" fmla="*/ 269829 w 898525"/>
                    <a:gd name="connsiteY12" fmla="*/ 857393 h 1190625"/>
                    <a:gd name="connsiteX13" fmla="*/ 297645 w 898525"/>
                    <a:gd name="connsiteY13" fmla="*/ 829588 h 1190625"/>
                    <a:gd name="connsiteX14" fmla="*/ 311196 w 898525"/>
                    <a:gd name="connsiteY14" fmla="*/ 816042 h 1190625"/>
                    <a:gd name="connsiteX15" fmla="*/ 311196 w 898525"/>
                    <a:gd name="connsiteY15" fmla="*/ 539104 h 1190625"/>
                    <a:gd name="connsiteX16" fmla="*/ 333306 w 898525"/>
                    <a:gd name="connsiteY16" fmla="*/ 539104 h 1190625"/>
                    <a:gd name="connsiteX17" fmla="*/ 333306 w 898525"/>
                    <a:gd name="connsiteY17" fmla="*/ 561918 h 1190625"/>
                    <a:gd name="connsiteX18" fmla="*/ 302637 w 898525"/>
                    <a:gd name="connsiteY18" fmla="*/ 592575 h 1190625"/>
                    <a:gd name="connsiteX19" fmla="*/ 271255 w 898525"/>
                    <a:gd name="connsiteY19" fmla="*/ 623945 h 1190625"/>
                    <a:gd name="connsiteX20" fmla="*/ 247006 w 898525"/>
                    <a:gd name="connsiteY20" fmla="*/ 647472 h 1190625"/>
                    <a:gd name="connsiteX21" fmla="*/ 236307 w 898525"/>
                    <a:gd name="connsiteY21" fmla="*/ 652463 h 1190625"/>
                    <a:gd name="connsiteX22" fmla="*/ 224896 w 898525"/>
                    <a:gd name="connsiteY22" fmla="*/ 647472 h 1190625"/>
                    <a:gd name="connsiteX23" fmla="*/ 197793 w 898525"/>
                    <a:gd name="connsiteY23" fmla="*/ 620380 h 1190625"/>
                    <a:gd name="connsiteX24" fmla="*/ 197793 w 898525"/>
                    <a:gd name="connsiteY24" fmla="*/ 598279 h 1190625"/>
                    <a:gd name="connsiteX25" fmla="*/ 219903 w 898525"/>
                    <a:gd name="connsiteY25" fmla="*/ 598279 h 1190625"/>
                    <a:gd name="connsiteX26" fmla="*/ 236307 w 898525"/>
                    <a:gd name="connsiteY26" fmla="*/ 614677 h 1190625"/>
                    <a:gd name="connsiteX27" fmla="*/ 269829 w 898525"/>
                    <a:gd name="connsiteY27" fmla="*/ 581168 h 1190625"/>
                    <a:gd name="connsiteX28" fmla="*/ 297645 w 898525"/>
                    <a:gd name="connsiteY28" fmla="*/ 553363 h 1190625"/>
                    <a:gd name="connsiteX29" fmla="*/ 311196 w 898525"/>
                    <a:gd name="connsiteY29" fmla="*/ 539104 h 1190625"/>
                    <a:gd name="connsiteX30" fmla="*/ 311196 w 898525"/>
                    <a:gd name="connsiteY30" fmla="*/ 257242 h 1190625"/>
                    <a:gd name="connsiteX31" fmla="*/ 333306 w 898525"/>
                    <a:gd name="connsiteY31" fmla="*/ 257242 h 1190625"/>
                    <a:gd name="connsiteX32" fmla="*/ 333306 w 898525"/>
                    <a:gd name="connsiteY32" fmla="*/ 279343 h 1190625"/>
                    <a:gd name="connsiteX33" fmla="*/ 302637 w 898525"/>
                    <a:gd name="connsiteY33" fmla="*/ 310000 h 1190625"/>
                    <a:gd name="connsiteX34" fmla="*/ 271255 w 898525"/>
                    <a:gd name="connsiteY34" fmla="*/ 341370 h 1190625"/>
                    <a:gd name="connsiteX35" fmla="*/ 247006 w 898525"/>
                    <a:gd name="connsiteY35" fmla="*/ 365610 h 1190625"/>
                    <a:gd name="connsiteX36" fmla="*/ 236307 w 898525"/>
                    <a:gd name="connsiteY36" fmla="*/ 369888 h 1190625"/>
                    <a:gd name="connsiteX37" fmla="*/ 224896 w 898525"/>
                    <a:gd name="connsiteY37" fmla="*/ 365610 h 1190625"/>
                    <a:gd name="connsiteX38" fmla="*/ 197793 w 898525"/>
                    <a:gd name="connsiteY38" fmla="*/ 338518 h 1190625"/>
                    <a:gd name="connsiteX39" fmla="*/ 197793 w 898525"/>
                    <a:gd name="connsiteY39" fmla="*/ 316417 h 1190625"/>
                    <a:gd name="connsiteX40" fmla="*/ 219903 w 898525"/>
                    <a:gd name="connsiteY40" fmla="*/ 316417 h 1190625"/>
                    <a:gd name="connsiteX41" fmla="*/ 236307 w 898525"/>
                    <a:gd name="connsiteY41" fmla="*/ 332102 h 1190625"/>
                    <a:gd name="connsiteX42" fmla="*/ 269829 w 898525"/>
                    <a:gd name="connsiteY42" fmla="*/ 298593 h 1190625"/>
                    <a:gd name="connsiteX43" fmla="*/ 297645 w 898525"/>
                    <a:gd name="connsiteY43" fmla="*/ 271501 h 1190625"/>
                    <a:gd name="connsiteX44" fmla="*/ 311196 w 898525"/>
                    <a:gd name="connsiteY44" fmla="*/ 257242 h 1190625"/>
                    <a:gd name="connsiteX45" fmla="*/ 15714 w 898525"/>
                    <a:gd name="connsiteY45" fmla="*/ 0 h 1190625"/>
                    <a:gd name="connsiteX46" fmla="*/ 272843 w 898525"/>
                    <a:gd name="connsiteY46" fmla="*/ 0 h 1190625"/>
                    <a:gd name="connsiteX47" fmla="*/ 272843 w 898525"/>
                    <a:gd name="connsiteY47" fmla="*/ 31370 h 1190625"/>
                    <a:gd name="connsiteX48" fmla="*/ 31427 w 898525"/>
                    <a:gd name="connsiteY48" fmla="*/ 31370 h 1190625"/>
                    <a:gd name="connsiteX49" fmla="*/ 31427 w 898525"/>
                    <a:gd name="connsiteY49" fmla="*/ 1159255 h 1190625"/>
                    <a:gd name="connsiteX50" fmla="*/ 867098 w 898525"/>
                    <a:gd name="connsiteY50" fmla="*/ 1159255 h 1190625"/>
                    <a:gd name="connsiteX51" fmla="*/ 867098 w 898525"/>
                    <a:gd name="connsiteY51" fmla="*/ 31370 h 1190625"/>
                    <a:gd name="connsiteX52" fmla="*/ 625682 w 898525"/>
                    <a:gd name="connsiteY52" fmla="*/ 31370 h 1190625"/>
                    <a:gd name="connsiteX53" fmla="*/ 625682 w 898525"/>
                    <a:gd name="connsiteY53" fmla="*/ 0 h 1190625"/>
                    <a:gd name="connsiteX54" fmla="*/ 882812 w 898525"/>
                    <a:gd name="connsiteY54" fmla="*/ 0 h 1190625"/>
                    <a:gd name="connsiteX55" fmla="*/ 898525 w 898525"/>
                    <a:gd name="connsiteY55" fmla="*/ 15685 h 1190625"/>
                    <a:gd name="connsiteX56" fmla="*/ 898525 w 898525"/>
                    <a:gd name="connsiteY56" fmla="*/ 1174940 h 1190625"/>
                    <a:gd name="connsiteX57" fmla="*/ 882812 w 898525"/>
                    <a:gd name="connsiteY57" fmla="*/ 1190625 h 1190625"/>
                    <a:gd name="connsiteX58" fmla="*/ 15714 w 898525"/>
                    <a:gd name="connsiteY58" fmla="*/ 1190625 h 1190625"/>
                    <a:gd name="connsiteX59" fmla="*/ 0 w 898525"/>
                    <a:gd name="connsiteY59" fmla="*/ 1174940 h 1190625"/>
                    <a:gd name="connsiteX60" fmla="*/ 0 w 898525"/>
                    <a:gd name="connsiteY60" fmla="*/ 15685 h 1190625"/>
                    <a:gd name="connsiteX61" fmla="*/ 15714 w 898525"/>
                    <a:gd name="connsiteY61" fmla="*/ 0 h 1190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898525" h="1190625">
                      <a:moveTo>
                        <a:pt x="311196" y="816042"/>
                      </a:moveTo>
                      <a:cubicBezTo>
                        <a:pt x="317615" y="809625"/>
                        <a:pt x="327600" y="809625"/>
                        <a:pt x="333306" y="816042"/>
                      </a:cubicBezTo>
                      <a:cubicBezTo>
                        <a:pt x="339725" y="821745"/>
                        <a:pt x="339725" y="831727"/>
                        <a:pt x="333306" y="838143"/>
                      </a:cubicBezTo>
                      <a:cubicBezTo>
                        <a:pt x="333306" y="838143"/>
                        <a:pt x="333306" y="838143"/>
                        <a:pt x="302637" y="868800"/>
                      </a:cubicBezTo>
                      <a:cubicBezTo>
                        <a:pt x="302637" y="868800"/>
                        <a:pt x="302637" y="868800"/>
                        <a:pt x="271255" y="900170"/>
                      </a:cubicBezTo>
                      <a:cubicBezTo>
                        <a:pt x="271255" y="900170"/>
                        <a:pt x="271255" y="900170"/>
                        <a:pt x="247006" y="924410"/>
                      </a:cubicBezTo>
                      <a:cubicBezTo>
                        <a:pt x="244153" y="927262"/>
                        <a:pt x="240587" y="928688"/>
                        <a:pt x="236307" y="928688"/>
                      </a:cubicBezTo>
                      <a:cubicBezTo>
                        <a:pt x="232028" y="928688"/>
                        <a:pt x="228462" y="927262"/>
                        <a:pt x="224896" y="924410"/>
                      </a:cubicBezTo>
                      <a:cubicBezTo>
                        <a:pt x="224896" y="924410"/>
                        <a:pt x="224896" y="924410"/>
                        <a:pt x="197793" y="896605"/>
                      </a:cubicBezTo>
                      <a:cubicBezTo>
                        <a:pt x="192087" y="890902"/>
                        <a:pt x="192087" y="880920"/>
                        <a:pt x="197793" y="874504"/>
                      </a:cubicBezTo>
                      <a:cubicBezTo>
                        <a:pt x="204212" y="868800"/>
                        <a:pt x="214197" y="868800"/>
                        <a:pt x="219903" y="874504"/>
                      </a:cubicBezTo>
                      <a:cubicBezTo>
                        <a:pt x="219903" y="874504"/>
                        <a:pt x="219903" y="874504"/>
                        <a:pt x="236307" y="890902"/>
                      </a:cubicBezTo>
                      <a:cubicBezTo>
                        <a:pt x="236307" y="890902"/>
                        <a:pt x="236307" y="890902"/>
                        <a:pt x="269829" y="857393"/>
                      </a:cubicBezTo>
                      <a:cubicBezTo>
                        <a:pt x="269829" y="857393"/>
                        <a:pt x="269829" y="857393"/>
                        <a:pt x="297645" y="829588"/>
                      </a:cubicBezTo>
                      <a:cubicBezTo>
                        <a:pt x="297645" y="829588"/>
                        <a:pt x="297645" y="829588"/>
                        <a:pt x="311196" y="816042"/>
                      </a:cubicBezTo>
                      <a:close/>
                      <a:moveTo>
                        <a:pt x="311196" y="539104"/>
                      </a:moveTo>
                      <a:cubicBezTo>
                        <a:pt x="317615" y="533400"/>
                        <a:pt x="327600" y="533400"/>
                        <a:pt x="333306" y="539104"/>
                      </a:cubicBezTo>
                      <a:cubicBezTo>
                        <a:pt x="339725" y="545520"/>
                        <a:pt x="339725" y="555502"/>
                        <a:pt x="333306" y="561918"/>
                      </a:cubicBezTo>
                      <a:cubicBezTo>
                        <a:pt x="333306" y="561918"/>
                        <a:pt x="333306" y="561918"/>
                        <a:pt x="302637" y="592575"/>
                      </a:cubicBezTo>
                      <a:cubicBezTo>
                        <a:pt x="302637" y="592575"/>
                        <a:pt x="302637" y="592575"/>
                        <a:pt x="271255" y="623945"/>
                      </a:cubicBezTo>
                      <a:cubicBezTo>
                        <a:pt x="271255" y="623945"/>
                        <a:pt x="271255" y="623945"/>
                        <a:pt x="247006" y="647472"/>
                      </a:cubicBezTo>
                      <a:cubicBezTo>
                        <a:pt x="244153" y="651037"/>
                        <a:pt x="240587" y="652463"/>
                        <a:pt x="236307" y="652463"/>
                      </a:cubicBezTo>
                      <a:cubicBezTo>
                        <a:pt x="232028" y="652463"/>
                        <a:pt x="228462" y="651037"/>
                        <a:pt x="224896" y="647472"/>
                      </a:cubicBezTo>
                      <a:cubicBezTo>
                        <a:pt x="224896" y="647472"/>
                        <a:pt x="224896" y="647472"/>
                        <a:pt x="197793" y="620380"/>
                      </a:cubicBezTo>
                      <a:cubicBezTo>
                        <a:pt x="192087" y="614677"/>
                        <a:pt x="192087" y="604695"/>
                        <a:pt x="197793" y="598279"/>
                      </a:cubicBezTo>
                      <a:cubicBezTo>
                        <a:pt x="204212" y="592575"/>
                        <a:pt x="214197" y="592575"/>
                        <a:pt x="219903" y="598279"/>
                      </a:cubicBezTo>
                      <a:cubicBezTo>
                        <a:pt x="219903" y="598279"/>
                        <a:pt x="219903" y="598279"/>
                        <a:pt x="236307" y="614677"/>
                      </a:cubicBezTo>
                      <a:cubicBezTo>
                        <a:pt x="236307" y="614677"/>
                        <a:pt x="236307" y="614677"/>
                        <a:pt x="269829" y="581168"/>
                      </a:cubicBezTo>
                      <a:cubicBezTo>
                        <a:pt x="269829" y="581168"/>
                        <a:pt x="269829" y="581168"/>
                        <a:pt x="297645" y="553363"/>
                      </a:cubicBezTo>
                      <a:cubicBezTo>
                        <a:pt x="297645" y="553363"/>
                        <a:pt x="297645" y="553363"/>
                        <a:pt x="311196" y="539104"/>
                      </a:cubicBezTo>
                      <a:close/>
                      <a:moveTo>
                        <a:pt x="311196" y="257242"/>
                      </a:moveTo>
                      <a:cubicBezTo>
                        <a:pt x="317615" y="250825"/>
                        <a:pt x="327600" y="250825"/>
                        <a:pt x="333306" y="257242"/>
                      </a:cubicBezTo>
                      <a:cubicBezTo>
                        <a:pt x="339725" y="263658"/>
                        <a:pt x="339725" y="272927"/>
                        <a:pt x="333306" y="279343"/>
                      </a:cubicBezTo>
                      <a:cubicBezTo>
                        <a:pt x="333306" y="279343"/>
                        <a:pt x="333306" y="279343"/>
                        <a:pt x="302637" y="310000"/>
                      </a:cubicBezTo>
                      <a:cubicBezTo>
                        <a:pt x="302637" y="310000"/>
                        <a:pt x="302637" y="310000"/>
                        <a:pt x="271255" y="341370"/>
                      </a:cubicBezTo>
                      <a:cubicBezTo>
                        <a:pt x="271255" y="341370"/>
                        <a:pt x="271255" y="341370"/>
                        <a:pt x="247006" y="365610"/>
                      </a:cubicBezTo>
                      <a:cubicBezTo>
                        <a:pt x="244153" y="368462"/>
                        <a:pt x="240587" y="369888"/>
                        <a:pt x="236307" y="369888"/>
                      </a:cubicBezTo>
                      <a:cubicBezTo>
                        <a:pt x="232028" y="369888"/>
                        <a:pt x="228462" y="368462"/>
                        <a:pt x="224896" y="365610"/>
                      </a:cubicBezTo>
                      <a:cubicBezTo>
                        <a:pt x="224896" y="365610"/>
                        <a:pt x="224896" y="365610"/>
                        <a:pt x="197793" y="338518"/>
                      </a:cubicBezTo>
                      <a:cubicBezTo>
                        <a:pt x="192087" y="332102"/>
                        <a:pt x="192087" y="322120"/>
                        <a:pt x="197793" y="316417"/>
                      </a:cubicBezTo>
                      <a:cubicBezTo>
                        <a:pt x="204212" y="310000"/>
                        <a:pt x="214197" y="310000"/>
                        <a:pt x="219903" y="316417"/>
                      </a:cubicBezTo>
                      <a:cubicBezTo>
                        <a:pt x="219903" y="316417"/>
                        <a:pt x="219903" y="316417"/>
                        <a:pt x="236307" y="332102"/>
                      </a:cubicBezTo>
                      <a:cubicBezTo>
                        <a:pt x="236307" y="332102"/>
                        <a:pt x="236307" y="332102"/>
                        <a:pt x="269829" y="298593"/>
                      </a:cubicBezTo>
                      <a:cubicBezTo>
                        <a:pt x="269829" y="298593"/>
                        <a:pt x="269829" y="298593"/>
                        <a:pt x="297645" y="271501"/>
                      </a:cubicBezTo>
                      <a:cubicBezTo>
                        <a:pt x="297645" y="271501"/>
                        <a:pt x="297645" y="271501"/>
                        <a:pt x="311196" y="257242"/>
                      </a:cubicBezTo>
                      <a:close/>
                      <a:moveTo>
                        <a:pt x="15714" y="0"/>
                      </a:moveTo>
                      <a:cubicBezTo>
                        <a:pt x="15714" y="0"/>
                        <a:pt x="15714" y="0"/>
                        <a:pt x="272843" y="0"/>
                      </a:cubicBezTo>
                      <a:cubicBezTo>
                        <a:pt x="272843" y="0"/>
                        <a:pt x="272843" y="0"/>
                        <a:pt x="272843" y="31370"/>
                      </a:cubicBezTo>
                      <a:cubicBezTo>
                        <a:pt x="272843" y="31370"/>
                        <a:pt x="272843" y="31370"/>
                        <a:pt x="31427" y="31370"/>
                      </a:cubicBezTo>
                      <a:cubicBezTo>
                        <a:pt x="31427" y="31370"/>
                        <a:pt x="31427" y="31370"/>
                        <a:pt x="31427" y="1159255"/>
                      </a:cubicBezTo>
                      <a:cubicBezTo>
                        <a:pt x="31427" y="1159255"/>
                        <a:pt x="31427" y="1159255"/>
                        <a:pt x="867098" y="1159255"/>
                      </a:cubicBezTo>
                      <a:cubicBezTo>
                        <a:pt x="867098" y="1159255"/>
                        <a:pt x="867098" y="1159255"/>
                        <a:pt x="867098" y="31370"/>
                      </a:cubicBezTo>
                      <a:cubicBezTo>
                        <a:pt x="867098" y="31370"/>
                        <a:pt x="867098" y="31370"/>
                        <a:pt x="625682" y="31370"/>
                      </a:cubicBezTo>
                      <a:cubicBezTo>
                        <a:pt x="625682" y="31370"/>
                        <a:pt x="625682" y="31370"/>
                        <a:pt x="625682" y="0"/>
                      </a:cubicBezTo>
                      <a:cubicBezTo>
                        <a:pt x="625682" y="0"/>
                        <a:pt x="625682" y="0"/>
                        <a:pt x="882812" y="0"/>
                      </a:cubicBezTo>
                      <a:cubicBezTo>
                        <a:pt x="892097" y="0"/>
                        <a:pt x="898525" y="7130"/>
                        <a:pt x="898525" y="15685"/>
                      </a:cubicBezTo>
                      <a:cubicBezTo>
                        <a:pt x="898525" y="15685"/>
                        <a:pt x="898525" y="15685"/>
                        <a:pt x="898525" y="1174940"/>
                      </a:cubicBezTo>
                      <a:cubicBezTo>
                        <a:pt x="898525" y="1184209"/>
                        <a:pt x="892097" y="1190625"/>
                        <a:pt x="882812" y="1190625"/>
                      </a:cubicBezTo>
                      <a:cubicBezTo>
                        <a:pt x="882812" y="1190625"/>
                        <a:pt x="882812" y="1190625"/>
                        <a:pt x="15714" y="1190625"/>
                      </a:cubicBezTo>
                      <a:cubicBezTo>
                        <a:pt x="6428" y="1190625"/>
                        <a:pt x="0" y="1184209"/>
                        <a:pt x="0" y="1174940"/>
                      </a:cubicBezTo>
                      <a:cubicBezTo>
                        <a:pt x="0" y="1174940"/>
                        <a:pt x="0" y="1174940"/>
                        <a:pt x="0" y="15685"/>
                      </a:cubicBezTo>
                      <a:cubicBezTo>
                        <a:pt x="0" y="7130"/>
                        <a:pt x="6428" y="0"/>
                        <a:pt x="1571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65" name="Freeform 26">
                  <a:extLst>
                    <a:ext uri="{FF2B5EF4-FFF2-40B4-BE49-F238E27FC236}">
                      <a16:creationId xmlns:a16="http://schemas.microsoft.com/office/drawing/2014/main" id="{6CE0CB77-A239-41A4-AB97-02DC80EDAA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5963" y="2776538"/>
                  <a:ext cx="600075" cy="1093787"/>
                </a:xfrm>
                <a:custGeom>
                  <a:avLst/>
                  <a:gdLst>
                    <a:gd name="connsiteX0" fmla="*/ 296727 w 600075"/>
                    <a:gd name="connsiteY0" fmla="*/ 1044575 h 1093787"/>
                    <a:gd name="connsiteX1" fmla="*/ 584335 w 600075"/>
                    <a:gd name="connsiteY1" fmla="*/ 1044575 h 1093787"/>
                    <a:gd name="connsiteX2" fmla="*/ 600075 w 600075"/>
                    <a:gd name="connsiteY2" fmla="*/ 1060450 h 1093787"/>
                    <a:gd name="connsiteX3" fmla="*/ 584335 w 600075"/>
                    <a:gd name="connsiteY3" fmla="*/ 1076325 h 1093787"/>
                    <a:gd name="connsiteX4" fmla="*/ 296727 w 600075"/>
                    <a:gd name="connsiteY4" fmla="*/ 1076325 h 1093787"/>
                    <a:gd name="connsiteX5" fmla="*/ 280987 w 600075"/>
                    <a:gd name="connsiteY5" fmla="*/ 1060450 h 1093787"/>
                    <a:gd name="connsiteX6" fmla="*/ 296727 w 600075"/>
                    <a:gd name="connsiteY6" fmla="*/ 1044575 h 1093787"/>
                    <a:gd name="connsiteX7" fmla="*/ 296727 w 600075"/>
                    <a:gd name="connsiteY7" fmla="*/ 958850 h 1093787"/>
                    <a:gd name="connsiteX8" fmla="*/ 584335 w 600075"/>
                    <a:gd name="connsiteY8" fmla="*/ 958850 h 1093787"/>
                    <a:gd name="connsiteX9" fmla="*/ 600075 w 600075"/>
                    <a:gd name="connsiteY9" fmla="*/ 974725 h 1093787"/>
                    <a:gd name="connsiteX10" fmla="*/ 584335 w 600075"/>
                    <a:gd name="connsiteY10" fmla="*/ 990600 h 1093787"/>
                    <a:gd name="connsiteX11" fmla="*/ 296727 w 600075"/>
                    <a:gd name="connsiteY11" fmla="*/ 990600 h 1093787"/>
                    <a:gd name="connsiteX12" fmla="*/ 280987 w 600075"/>
                    <a:gd name="connsiteY12" fmla="*/ 974725 h 1093787"/>
                    <a:gd name="connsiteX13" fmla="*/ 296727 w 600075"/>
                    <a:gd name="connsiteY13" fmla="*/ 958850 h 1093787"/>
                    <a:gd name="connsiteX14" fmla="*/ 15667 w 600075"/>
                    <a:gd name="connsiteY14" fmla="*/ 941387 h 1093787"/>
                    <a:gd name="connsiteX15" fmla="*/ 107534 w 600075"/>
                    <a:gd name="connsiteY15" fmla="*/ 941387 h 1093787"/>
                    <a:gd name="connsiteX16" fmla="*/ 76200 w 600075"/>
                    <a:gd name="connsiteY16" fmla="*/ 972722 h 1093787"/>
                    <a:gd name="connsiteX17" fmla="*/ 31334 w 600075"/>
                    <a:gd name="connsiteY17" fmla="*/ 972722 h 1093787"/>
                    <a:gd name="connsiteX18" fmla="*/ 31334 w 600075"/>
                    <a:gd name="connsiteY18" fmla="*/ 1062453 h 1093787"/>
                    <a:gd name="connsiteX19" fmla="*/ 121065 w 600075"/>
                    <a:gd name="connsiteY19" fmla="*/ 1062453 h 1093787"/>
                    <a:gd name="connsiteX20" fmla="*/ 121065 w 600075"/>
                    <a:gd name="connsiteY20" fmla="*/ 1058892 h 1093787"/>
                    <a:gd name="connsiteX21" fmla="*/ 152400 w 600075"/>
                    <a:gd name="connsiteY21" fmla="*/ 1027557 h 1093787"/>
                    <a:gd name="connsiteX22" fmla="*/ 152400 w 600075"/>
                    <a:gd name="connsiteY22" fmla="*/ 1078120 h 1093787"/>
                    <a:gd name="connsiteX23" fmla="*/ 136732 w 600075"/>
                    <a:gd name="connsiteY23" fmla="*/ 1093787 h 1093787"/>
                    <a:gd name="connsiteX24" fmla="*/ 15667 w 600075"/>
                    <a:gd name="connsiteY24" fmla="*/ 1093787 h 1093787"/>
                    <a:gd name="connsiteX25" fmla="*/ 0 w 600075"/>
                    <a:gd name="connsiteY25" fmla="*/ 1078120 h 1093787"/>
                    <a:gd name="connsiteX26" fmla="*/ 0 w 600075"/>
                    <a:gd name="connsiteY26" fmla="*/ 957054 h 1093787"/>
                    <a:gd name="connsiteX27" fmla="*/ 15667 w 600075"/>
                    <a:gd name="connsiteY27" fmla="*/ 941387 h 1093787"/>
                    <a:gd name="connsiteX28" fmla="*/ 296727 w 600075"/>
                    <a:gd name="connsiteY28" fmla="*/ 766762 h 1093787"/>
                    <a:gd name="connsiteX29" fmla="*/ 584335 w 600075"/>
                    <a:gd name="connsiteY29" fmla="*/ 766762 h 1093787"/>
                    <a:gd name="connsiteX30" fmla="*/ 600075 w 600075"/>
                    <a:gd name="connsiteY30" fmla="*/ 782637 h 1093787"/>
                    <a:gd name="connsiteX31" fmla="*/ 584335 w 600075"/>
                    <a:gd name="connsiteY31" fmla="*/ 798512 h 1093787"/>
                    <a:gd name="connsiteX32" fmla="*/ 296727 w 600075"/>
                    <a:gd name="connsiteY32" fmla="*/ 798512 h 1093787"/>
                    <a:gd name="connsiteX33" fmla="*/ 280987 w 600075"/>
                    <a:gd name="connsiteY33" fmla="*/ 782637 h 1093787"/>
                    <a:gd name="connsiteX34" fmla="*/ 296727 w 600075"/>
                    <a:gd name="connsiteY34" fmla="*/ 766762 h 1093787"/>
                    <a:gd name="connsiteX35" fmla="*/ 296727 w 600075"/>
                    <a:gd name="connsiteY35" fmla="*/ 681037 h 1093787"/>
                    <a:gd name="connsiteX36" fmla="*/ 584335 w 600075"/>
                    <a:gd name="connsiteY36" fmla="*/ 681037 h 1093787"/>
                    <a:gd name="connsiteX37" fmla="*/ 600075 w 600075"/>
                    <a:gd name="connsiteY37" fmla="*/ 696912 h 1093787"/>
                    <a:gd name="connsiteX38" fmla="*/ 584335 w 600075"/>
                    <a:gd name="connsiteY38" fmla="*/ 712787 h 1093787"/>
                    <a:gd name="connsiteX39" fmla="*/ 296727 w 600075"/>
                    <a:gd name="connsiteY39" fmla="*/ 712787 h 1093787"/>
                    <a:gd name="connsiteX40" fmla="*/ 280987 w 600075"/>
                    <a:gd name="connsiteY40" fmla="*/ 696912 h 1093787"/>
                    <a:gd name="connsiteX41" fmla="*/ 296727 w 600075"/>
                    <a:gd name="connsiteY41" fmla="*/ 681037 h 1093787"/>
                    <a:gd name="connsiteX42" fmla="*/ 15667 w 600075"/>
                    <a:gd name="connsiteY42" fmla="*/ 663575 h 1093787"/>
                    <a:gd name="connsiteX43" fmla="*/ 107534 w 600075"/>
                    <a:gd name="connsiteY43" fmla="*/ 663575 h 1093787"/>
                    <a:gd name="connsiteX44" fmla="*/ 76200 w 600075"/>
                    <a:gd name="connsiteY44" fmla="*/ 694910 h 1093787"/>
                    <a:gd name="connsiteX45" fmla="*/ 31334 w 600075"/>
                    <a:gd name="connsiteY45" fmla="*/ 694910 h 1093787"/>
                    <a:gd name="connsiteX46" fmla="*/ 31334 w 600075"/>
                    <a:gd name="connsiteY46" fmla="*/ 784641 h 1093787"/>
                    <a:gd name="connsiteX47" fmla="*/ 121065 w 600075"/>
                    <a:gd name="connsiteY47" fmla="*/ 784641 h 1093787"/>
                    <a:gd name="connsiteX48" fmla="*/ 121065 w 600075"/>
                    <a:gd name="connsiteY48" fmla="*/ 781080 h 1093787"/>
                    <a:gd name="connsiteX49" fmla="*/ 152400 w 600075"/>
                    <a:gd name="connsiteY49" fmla="*/ 749745 h 1093787"/>
                    <a:gd name="connsiteX50" fmla="*/ 152400 w 600075"/>
                    <a:gd name="connsiteY50" fmla="*/ 800308 h 1093787"/>
                    <a:gd name="connsiteX51" fmla="*/ 136732 w 600075"/>
                    <a:gd name="connsiteY51" fmla="*/ 815975 h 1093787"/>
                    <a:gd name="connsiteX52" fmla="*/ 15667 w 600075"/>
                    <a:gd name="connsiteY52" fmla="*/ 815975 h 1093787"/>
                    <a:gd name="connsiteX53" fmla="*/ 0 w 600075"/>
                    <a:gd name="connsiteY53" fmla="*/ 800308 h 1093787"/>
                    <a:gd name="connsiteX54" fmla="*/ 0 w 600075"/>
                    <a:gd name="connsiteY54" fmla="*/ 679242 h 1093787"/>
                    <a:gd name="connsiteX55" fmla="*/ 15667 w 600075"/>
                    <a:gd name="connsiteY55" fmla="*/ 663575 h 1093787"/>
                    <a:gd name="connsiteX56" fmla="*/ 296727 w 600075"/>
                    <a:gd name="connsiteY56" fmla="*/ 485775 h 1093787"/>
                    <a:gd name="connsiteX57" fmla="*/ 584335 w 600075"/>
                    <a:gd name="connsiteY57" fmla="*/ 485775 h 1093787"/>
                    <a:gd name="connsiteX58" fmla="*/ 600075 w 600075"/>
                    <a:gd name="connsiteY58" fmla="*/ 501650 h 1093787"/>
                    <a:gd name="connsiteX59" fmla="*/ 584335 w 600075"/>
                    <a:gd name="connsiteY59" fmla="*/ 517525 h 1093787"/>
                    <a:gd name="connsiteX60" fmla="*/ 296727 w 600075"/>
                    <a:gd name="connsiteY60" fmla="*/ 517525 h 1093787"/>
                    <a:gd name="connsiteX61" fmla="*/ 280987 w 600075"/>
                    <a:gd name="connsiteY61" fmla="*/ 501650 h 1093787"/>
                    <a:gd name="connsiteX62" fmla="*/ 296727 w 600075"/>
                    <a:gd name="connsiteY62" fmla="*/ 485775 h 1093787"/>
                    <a:gd name="connsiteX63" fmla="*/ 296727 w 600075"/>
                    <a:gd name="connsiteY63" fmla="*/ 400050 h 1093787"/>
                    <a:gd name="connsiteX64" fmla="*/ 584335 w 600075"/>
                    <a:gd name="connsiteY64" fmla="*/ 400050 h 1093787"/>
                    <a:gd name="connsiteX65" fmla="*/ 600075 w 600075"/>
                    <a:gd name="connsiteY65" fmla="*/ 415925 h 1093787"/>
                    <a:gd name="connsiteX66" fmla="*/ 584335 w 600075"/>
                    <a:gd name="connsiteY66" fmla="*/ 431800 h 1093787"/>
                    <a:gd name="connsiteX67" fmla="*/ 296727 w 600075"/>
                    <a:gd name="connsiteY67" fmla="*/ 431800 h 1093787"/>
                    <a:gd name="connsiteX68" fmla="*/ 280987 w 600075"/>
                    <a:gd name="connsiteY68" fmla="*/ 415925 h 1093787"/>
                    <a:gd name="connsiteX69" fmla="*/ 296727 w 600075"/>
                    <a:gd name="connsiteY69" fmla="*/ 400050 h 1093787"/>
                    <a:gd name="connsiteX70" fmla="*/ 15667 w 600075"/>
                    <a:gd name="connsiteY70" fmla="*/ 382587 h 1093787"/>
                    <a:gd name="connsiteX71" fmla="*/ 107534 w 600075"/>
                    <a:gd name="connsiteY71" fmla="*/ 382587 h 1093787"/>
                    <a:gd name="connsiteX72" fmla="*/ 76200 w 600075"/>
                    <a:gd name="connsiteY72" fmla="*/ 413776 h 1093787"/>
                    <a:gd name="connsiteX73" fmla="*/ 31334 w 600075"/>
                    <a:gd name="connsiteY73" fmla="*/ 413776 h 1093787"/>
                    <a:gd name="connsiteX74" fmla="*/ 31334 w 600075"/>
                    <a:gd name="connsiteY74" fmla="*/ 503798 h 1093787"/>
                    <a:gd name="connsiteX75" fmla="*/ 121065 w 600075"/>
                    <a:gd name="connsiteY75" fmla="*/ 503798 h 1093787"/>
                    <a:gd name="connsiteX76" fmla="*/ 121065 w 600075"/>
                    <a:gd name="connsiteY76" fmla="*/ 499545 h 1093787"/>
                    <a:gd name="connsiteX77" fmla="*/ 152400 w 600075"/>
                    <a:gd name="connsiteY77" fmla="*/ 468356 h 1093787"/>
                    <a:gd name="connsiteX78" fmla="*/ 152400 w 600075"/>
                    <a:gd name="connsiteY78" fmla="*/ 519393 h 1093787"/>
                    <a:gd name="connsiteX79" fmla="*/ 136732 w 600075"/>
                    <a:gd name="connsiteY79" fmla="*/ 534987 h 1093787"/>
                    <a:gd name="connsiteX80" fmla="*/ 15667 w 600075"/>
                    <a:gd name="connsiteY80" fmla="*/ 534987 h 1093787"/>
                    <a:gd name="connsiteX81" fmla="*/ 0 w 600075"/>
                    <a:gd name="connsiteY81" fmla="*/ 519393 h 1093787"/>
                    <a:gd name="connsiteX82" fmla="*/ 0 w 600075"/>
                    <a:gd name="connsiteY82" fmla="*/ 398182 h 1093787"/>
                    <a:gd name="connsiteX83" fmla="*/ 15667 w 600075"/>
                    <a:gd name="connsiteY83" fmla="*/ 382587 h 1093787"/>
                    <a:gd name="connsiteX84" fmla="*/ 301266 w 600075"/>
                    <a:gd name="connsiteY84" fmla="*/ 31750 h 1093787"/>
                    <a:gd name="connsiteX85" fmla="*/ 279758 w 600075"/>
                    <a:gd name="connsiteY85" fmla="*/ 36027 h 1093787"/>
                    <a:gd name="connsiteX86" fmla="*/ 246062 w 600075"/>
                    <a:gd name="connsiteY86" fmla="*/ 66675 h 1093787"/>
                    <a:gd name="connsiteX87" fmla="*/ 357187 w 600075"/>
                    <a:gd name="connsiteY87" fmla="*/ 66675 h 1093787"/>
                    <a:gd name="connsiteX88" fmla="*/ 323491 w 600075"/>
                    <a:gd name="connsiteY88" fmla="*/ 36027 h 1093787"/>
                    <a:gd name="connsiteX89" fmla="*/ 301266 w 600075"/>
                    <a:gd name="connsiteY89" fmla="*/ 31750 h 1093787"/>
                    <a:gd name="connsiteX90" fmla="*/ 300832 w 600075"/>
                    <a:gd name="connsiteY90" fmla="*/ 0 h 1093787"/>
                    <a:gd name="connsiteX91" fmla="*/ 373818 w 600075"/>
                    <a:gd name="connsiteY91" fmla="*/ 35602 h 1093787"/>
                    <a:gd name="connsiteX92" fmla="*/ 390275 w 600075"/>
                    <a:gd name="connsiteY92" fmla="*/ 66220 h 1093787"/>
                    <a:gd name="connsiteX93" fmla="*/ 439648 w 600075"/>
                    <a:gd name="connsiteY93" fmla="*/ 66220 h 1093787"/>
                    <a:gd name="connsiteX94" fmla="*/ 446088 w 600075"/>
                    <a:gd name="connsiteY94" fmla="*/ 73340 h 1093787"/>
                    <a:gd name="connsiteX95" fmla="*/ 446088 w 600075"/>
                    <a:gd name="connsiteY95" fmla="*/ 113927 h 1093787"/>
                    <a:gd name="connsiteX96" fmla="*/ 446088 w 600075"/>
                    <a:gd name="connsiteY96" fmla="*/ 145256 h 1093787"/>
                    <a:gd name="connsiteX97" fmla="*/ 446088 w 600075"/>
                    <a:gd name="connsiteY97" fmla="*/ 178010 h 1093787"/>
                    <a:gd name="connsiteX98" fmla="*/ 431062 w 600075"/>
                    <a:gd name="connsiteY98" fmla="*/ 193675 h 1093787"/>
                    <a:gd name="connsiteX99" fmla="*/ 171317 w 600075"/>
                    <a:gd name="connsiteY99" fmla="*/ 193675 h 1093787"/>
                    <a:gd name="connsiteX100" fmla="*/ 155575 w 600075"/>
                    <a:gd name="connsiteY100" fmla="*/ 178010 h 1093787"/>
                    <a:gd name="connsiteX101" fmla="*/ 155575 w 600075"/>
                    <a:gd name="connsiteY101" fmla="*/ 145256 h 1093787"/>
                    <a:gd name="connsiteX102" fmla="*/ 155575 w 600075"/>
                    <a:gd name="connsiteY102" fmla="*/ 113927 h 1093787"/>
                    <a:gd name="connsiteX103" fmla="*/ 155575 w 600075"/>
                    <a:gd name="connsiteY103" fmla="*/ 73340 h 1093787"/>
                    <a:gd name="connsiteX104" fmla="*/ 162731 w 600075"/>
                    <a:gd name="connsiteY104" fmla="*/ 66220 h 1093787"/>
                    <a:gd name="connsiteX105" fmla="*/ 212104 w 600075"/>
                    <a:gd name="connsiteY105" fmla="*/ 66220 h 1093787"/>
                    <a:gd name="connsiteX106" fmla="*/ 227846 w 600075"/>
                    <a:gd name="connsiteY106" fmla="*/ 35602 h 1093787"/>
                    <a:gd name="connsiteX107" fmla="*/ 300832 w 600075"/>
                    <a:gd name="connsiteY107" fmla="*/ 0 h 1093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</a:cxnLst>
                  <a:rect l="l" t="t" r="r" b="b"/>
                  <a:pathLst>
                    <a:path w="600075" h="1093787">
                      <a:moveTo>
                        <a:pt x="296727" y="1044575"/>
                      </a:moveTo>
                      <a:cubicBezTo>
                        <a:pt x="296727" y="1044575"/>
                        <a:pt x="296727" y="1044575"/>
                        <a:pt x="584335" y="1044575"/>
                      </a:cubicBezTo>
                      <a:cubicBezTo>
                        <a:pt x="592921" y="1044575"/>
                        <a:pt x="600075" y="1051791"/>
                        <a:pt x="600075" y="1060450"/>
                      </a:cubicBezTo>
                      <a:cubicBezTo>
                        <a:pt x="600075" y="1069109"/>
                        <a:pt x="592921" y="1076325"/>
                        <a:pt x="584335" y="1076325"/>
                      </a:cubicBezTo>
                      <a:cubicBezTo>
                        <a:pt x="584335" y="1076325"/>
                        <a:pt x="584335" y="1076325"/>
                        <a:pt x="296727" y="1076325"/>
                      </a:cubicBezTo>
                      <a:cubicBezTo>
                        <a:pt x="288142" y="1076325"/>
                        <a:pt x="280987" y="1069109"/>
                        <a:pt x="280987" y="1060450"/>
                      </a:cubicBezTo>
                      <a:cubicBezTo>
                        <a:pt x="280987" y="1051791"/>
                        <a:pt x="288142" y="1044575"/>
                        <a:pt x="296727" y="1044575"/>
                      </a:cubicBezTo>
                      <a:close/>
                      <a:moveTo>
                        <a:pt x="296727" y="958850"/>
                      </a:moveTo>
                      <a:cubicBezTo>
                        <a:pt x="296727" y="958850"/>
                        <a:pt x="296727" y="958850"/>
                        <a:pt x="584335" y="958850"/>
                      </a:cubicBezTo>
                      <a:cubicBezTo>
                        <a:pt x="592921" y="958850"/>
                        <a:pt x="600075" y="966066"/>
                        <a:pt x="600075" y="974725"/>
                      </a:cubicBezTo>
                      <a:cubicBezTo>
                        <a:pt x="600075" y="983384"/>
                        <a:pt x="592921" y="990600"/>
                        <a:pt x="584335" y="990600"/>
                      </a:cubicBezTo>
                      <a:cubicBezTo>
                        <a:pt x="584335" y="990600"/>
                        <a:pt x="584335" y="990600"/>
                        <a:pt x="296727" y="990600"/>
                      </a:cubicBezTo>
                      <a:cubicBezTo>
                        <a:pt x="288142" y="990600"/>
                        <a:pt x="280987" y="983384"/>
                        <a:pt x="280987" y="974725"/>
                      </a:cubicBezTo>
                      <a:cubicBezTo>
                        <a:pt x="280987" y="966066"/>
                        <a:pt x="288142" y="958850"/>
                        <a:pt x="296727" y="958850"/>
                      </a:cubicBezTo>
                      <a:close/>
                      <a:moveTo>
                        <a:pt x="15667" y="941387"/>
                      </a:moveTo>
                      <a:cubicBezTo>
                        <a:pt x="15667" y="941387"/>
                        <a:pt x="15667" y="941387"/>
                        <a:pt x="107534" y="941387"/>
                      </a:cubicBezTo>
                      <a:cubicBezTo>
                        <a:pt x="107534" y="941387"/>
                        <a:pt x="107534" y="941387"/>
                        <a:pt x="76200" y="972722"/>
                      </a:cubicBezTo>
                      <a:cubicBezTo>
                        <a:pt x="76200" y="972722"/>
                        <a:pt x="76200" y="972722"/>
                        <a:pt x="31334" y="972722"/>
                      </a:cubicBezTo>
                      <a:cubicBezTo>
                        <a:pt x="31334" y="972722"/>
                        <a:pt x="31334" y="972722"/>
                        <a:pt x="31334" y="1062453"/>
                      </a:cubicBezTo>
                      <a:cubicBezTo>
                        <a:pt x="31334" y="1062453"/>
                        <a:pt x="31334" y="1062453"/>
                        <a:pt x="121065" y="1062453"/>
                      </a:cubicBezTo>
                      <a:cubicBezTo>
                        <a:pt x="121065" y="1062453"/>
                        <a:pt x="121065" y="1062453"/>
                        <a:pt x="121065" y="1058892"/>
                      </a:cubicBezTo>
                      <a:cubicBezTo>
                        <a:pt x="121065" y="1058892"/>
                        <a:pt x="121065" y="1058892"/>
                        <a:pt x="152400" y="1027557"/>
                      </a:cubicBezTo>
                      <a:cubicBezTo>
                        <a:pt x="152400" y="1027557"/>
                        <a:pt x="152400" y="1027557"/>
                        <a:pt x="152400" y="1078120"/>
                      </a:cubicBezTo>
                      <a:cubicBezTo>
                        <a:pt x="152400" y="1086666"/>
                        <a:pt x="145990" y="1093787"/>
                        <a:pt x="136732" y="1093787"/>
                      </a:cubicBezTo>
                      <a:lnTo>
                        <a:pt x="15667" y="1093787"/>
                      </a:lnTo>
                      <a:cubicBezTo>
                        <a:pt x="7121" y="1093787"/>
                        <a:pt x="0" y="1086666"/>
                        <a:pt x="0" y="1078120"/>
                      </a:cubicBezTo>
                      <a:cubicBezTo>
                        <a:pt x="0" y="1078120"/>
                        <a:pt x="0" y="1078120"/>
                        <a:pt x="0" y="957054"/>
                      </a:cubicBezTo>
                      <a:cubicBezTo>
                        <a:pt x="0" y="948509"/>
                        <a:pt x="7121" y="941387"/>
                        <a:pt x="15667" y="941387"/>
                      </a:cubicBezTo>
                      <a:close/>
                      <a:moveTo>
                        <a:pt x="296727" y="766762"/>
                      </a:moveTo>
                      <a:cubicBezTo>
                        <a:pt x="296727" y="766762"/>
                        <a:pt x="296727" y="766762"/>
                        <a:pt x="584335" y="766762"/>
                      </a:cubicBezTo>
                      <a:cubicBezTo>
                        <a:pt x="592921" y="766762"/>
                        <a:pt x="600075" y="773978"/>
                        <a:pt x="600075" y="782637"/>
                      </a:cubicBezTo>
                      <a:cubicBezTo>
                        <a:pt x="600075" y="791296"/>
                        <a:pt x="592921" y="798512"/>
                        <a:pt x="584335" y="798512"/>
                      </a:cubicBezTo>
                      <a:cubicBezTo>
                        <a:pt x="584335" y="798512"/>
                        <a:pt x="584335" y="798512"/>
                        <a:pt x="296727" y="798512"/>
                      </a:cubicBezTo>
                      <a:cubicBezTo>
                        <a:pt x="288142" y="798512"/>
                        <a:pt x="280987" y="791296"/>
                        <a:pt x="280987" y="782637"/>
                      </a:cubicBezTo>
                      <a:cubicBezTo>
                        <a:pt x="280987" y="773978"/>
                        <a:pt x="288142" y="766762"/>
                        <a:pt x="296727" y="766762"/>
                      </a:cubicBezTo>
                      <a:close/>
                      <a:moveTo>
                        <a:pt x="296727" y="681037"/>
                      </a:moveTo>
                      <a:cubicBezTo>
                        <a:pt x="296727" y="681037"/>
                        <a:pt x="296727" y="681037"/>
                        <a:pt x="584335" y="681037"/>
                      </a:cubicBezTo>
                      <a:cubicBezTo>
                        <a:pt x="592921" y="681037"/>
                        <a:pt x="600075" y="688253"/>
                        <a:pt x="600075" y="696912"/>
                      </a:cubicBezTo>
                      <a:cubicBezTo>
                        <a:pt x="600075" y="705571"/>
                        <a:pt x="592921" y="712787"/>
                        <a:pt x="584335" y="712787"/>
                      </a:cubicBezTo>
                      <a:cubicBezTo>
                        <a:pt x="584335" y="712787"/>
                        <a:pt x="584335" y="712787"/>
                        <a:pt x="296727" y="712787"/>
                      </a:cubicBezTo>
                      <a:cubicBezTo>
                        <a:pt x="288142" y="712787"/>
                        <a:pt x="280987" y="705571"/>
                        <a:pt x="280987" y="696912"/>
                      </a:cubicBezTo>
                      <a:cubicBezTo>
                        <a:pt x="280987" y="688253"/>
                        <a:pt x="288142" y="681037"/>
                        <a:pt x="296727" y="681037"/>
                      </a:cubicBezTo>
                      <a:close/>
                      <a:moveTo>
                        <a:pt x="15667" y="663575"/>
                      </a:moveTo>
                      <a:cubicBezTo>
                        <a:pt x="15667" y="663575"/>
                        <a:pt x="15667" y="663575"/>
                        <a:pt x="107534" y="663575"/>
                      </a:cubicBezTo>
                      <a:cubicBezTo>
                        <a:pt x="107534" y="663575"/>
                        <a:pt x="107534" y="663575"/>
                        <a:pt x="76200" y="694910"/>
                      </a:cubicBezTo>
                      <a:cubicBezTo>
                        <a:pt x="76200" y="694910"/>
                        <a:pt x="76200" y="694910"/>
                        <a:pt x="31334" y="694910"/>
                      </a:cubicBezTo>
                      <a:cubicBezTo>
                        <a:pt x="31334" y="694910"/>
                        <a:pt x="31334" y="694910"/>
                        <a:pt x="31334" y="784641"/>
                      </a:cubicBezTo>
                      <a:cubicBezTo>
                        <a:pt x="31334" y="784641"/>
                        <a:pt x="31334" y="784641"/>
                        <a:pt x="121065" y="784641"/>
                      </a:cubicBezTo>
                      <a:cubicBezTo>
                        <a:pt x="121065" y="784641"/>
                        <a:pt x="121065" y="784641"/>
                        <a:pt x="121065" y="781080"/>
                      </a:cubicBezTo>
                      <a:cubicBezTo>
                        <a:pt x="121065" y="781080"/>
                        <a:pt x="121065" y="781080"/>
                        <a:pt x="152400" y="749745"/>
                      </a:cubicBezTo>
                      <a:cubicBezTo>
                        <a:pt x="152400" y="749745"/>
                        <a:pt x="152400" y="749745"/>
                        <a:pt x="152400" y="800308"/>
                      </a:cubicBezTo>
                      <a:cubicBezTo>
                        <a:pt x="152400" y="808854"/>
                        <a:pt x="145990" y="815975"/>
                        <a:pt x="136732" y="815975"/>
                      </a:cubicBezTo>
                      <a:cubicBezTo>
                        <a:pt x="136732" y="815975"/>
                        <a:pt x="136732" y="815975"/>
                        <a:pt x="15667" y="815975"/>
                      </a:cubicBezTo>
                      <a:cubicBezTo>
                        <a:pt x="7121" y="815975"/>
                        <a:pt x="0" y="808854"/>
                        <a:pt x="0" y="800308"/>
                      </a:cubicBezTo>
                      <a:lnTo>
                        <a:pt x="0" y="679242"/>
                      </a:lnTo>
                      <a:cubicBezTo>
                        <a:pt x="0" y="670697"/>
                        <a:pt x="7121" y="663575"/>
                        <a:pt x="15667" y="663575"/>
                      </a:cubicBezTo>
                      <a:close/>
                      <a:moveTo>
                        <a:pt x="296727" y="485775"/>
                      </a:moveTo>
                      <a:cubicBezTo>
                        <a:pt x="296727" y="485775"/>
                        <a:pt x="296727" y="485775"/>
                        <a:pt x="584335" y="485775"/>
                      </a:cubicBezTo>
                      <a:cubicBezTo>
                        <a:pt x="592921" y="485775"/>
                        <a:pt x="600075" y="492991"/>
                        <a:pt x="600075" y="501650"/>
                      </a:cubicBezTo>
                      <a:cubicBezTo>
                        <a:pt x="600075" y="511031"/>
                        <a:pt x="592921" y="517525"/>
                        <a:pt x="584335" y="517525"/>
                      </a:cubicBezTo>
                      <a:cubicBezTo>
                        <a:pt x="584335" y="517525"/>
                        <a:pt x="584335" y="517525"/>
                        <a:pt x="296727" y="517525"/>
                      </a:cubicBezTo>
                      <a:cubicBezTo>
                        <a:pt x="288142" y="517525"/>
                        <a:pt x="280987" y="511031"/>
                        <a:pt x="280987" y="501650"/>
                      </a:cubicBezTo>
                      <a:cubicBezTo>
                        <a:pt x="280987" y="492991"/>
                        <a:pt x="288142" y="485775"/>
                        <a:pt x="296727" y="485775"/>
                      </a:cubicBezTo>
                      <a:close/>
                      <a:moveTo>
                        <a:pt x="296727" y="400050"/>
                      </a:moveTo>
                      <a:cubicBezTo>
                        <a:pt x="296727" y="400050"/>
                        <a:pt x="296727" y="400050"/>
                        <a:pt x="584335" y="400050"/>
                      </a:cubicBezTo>
                      <a:cubicBezTo>
                        <a:pt x="592921" y="400050"/>
                        <a:pt x="600075" y="406544"/>
                        <a:pt x="600075" y="415925"/>
                      </a:cubicBezTo>
                      <a:cubicBezTo>
                        <a:pt x="600075" y="424584"/>
                        <a:pt x="592921" y="431800"/>
                        <a:pt x="584335" y="431800"/>
                      </a:cubicBezTo>
                      <a:cubicBezTo>
                        <a:pt x="584335" y="431800"/>
                        <a:pt x="584335" y="431800"/>
                        <a:pt x="296727" y="431800"/>
                      </a:cubicBezTo>
                      <a:cubicBezTo>
                        <a:pt x="288142" y="431800"/>
                        <a:pt x="280987" y="424584"/>
                        <a:pt x="280987" y="415925"/>
                      </a:cubicBezTo>
                      <a:cubicBezTo>
                        <a:pt x="280987" y="406544"/>
                        <a:pt x="288142" y="400050"/>
                        <a:pt x="296727" y="400050"/>
                      </a:cubicBezTo>
                      <a:close/>
                      <a:moveTo>
                        <a:pt x="15667" y="382587"/>
                      </a:moveTo>
                      <a:cubicBezTo>
                        <a:pt x="15667" y="382587"/>
                        <a:pt x="15667" y="382587"/>
                        <a:pt x="107534" y="382587"/>
                      </a:cubicBezTo>
                      <a:cubicBezTo>
                        <a:pt x="107534" y="382587"/>
                        <a:pt x="107534" y="382587"/>
                        <a:pt x="76200" y="413776"/>
                      </a:cubicBezTo>
                      <a:lnTo>
                        <a:pt x="31334" y="413776"/>
                      </a:lnTo>
                      <a:cubicBezTo>
                        <a:pt x="31334" y="413776"/>
                        <a:pt x="31334" y="413776"/>
                        <a:pt x="31334" y="503798"/>
                      </a:cubicBezTo>
                      <a:cubicBezTo>
                        <a:pt x="31334" y="503798"/>
                        <a:pt x="31334" y="503798"/>
                        <a:pt x="121065" y="503798"/>
                      </a:cubicBezTo>
                      <a:cubicBezTo>
                        <a:pt x="121065" y="503798"/>
                        <a:pt x="121065" y="503798"/>
                        <a:pt x="121065" y="499545"/>
                      </a:cubicBezTo>
                      <a:cubicBezTo>
                        <a:pt x="121065" y="499545"/>
                        <a:pt x="121065" y="499545"/>
                        <a:pt x="152400" y="468356"/>
                      </a:cubicBezTo>
                      <a:cubicBezTo>
                        <a:pt x="152400" y="468356"/>
                        <a:pt x="152400" y="468356"/>
                        <a:pt x="152400" y="519393"/>
                      </a:cubicBezTo>
                      <a:cubicBezTo>
                        <a:pt x="152400" y="527899"/>
                        <a:pt x="145990" y="534987"/>
                        <a:pt x="136732" y="534987"/>
                      </a:cubicBezTo>
                      <a:cubicBezTo>
                        <a:pt x="136732" y="534987"/>
                        <a:pt x="136732" y="534987"/>
                        <a:pt x="15667" y="534987"/>
                      </a:cubicBezTo>
                      <a:cubicBezTo>
                        <a:pt x="7121" y="534987"/>
                        <a:pt x="0" y="527899"/>
                        <a:pt x="0" y="519393"/>
                      </a:cubicBezTo>
                      <a:cubicBezTo>
                        <a:pt x="0" y="519393"/>
                        <a:pt x="0" y="519393"/>
                        <a:pt x="0" y="398182"/>
                      </a:cubicBezTo>
                      <a:cubicBezTo>
                        <a:pt x="0" y="389675"/>
                        <a:pt x="7121" y="382587"/>
                        <a:pt x="15667" y="382587"/>
                      </a:cubicBezTo>
                      <a:close/>
                      <a:moveTo>
                        <a:pt x="301266" y="31750"/>
                      </a:moveTo>
                      <a:cubicBezTo>
                        <a:pt x="294097" y="31750"/>
                        <a:pt x="286211" y="33176"/>
                        <a:pt x="279758" y="36027"/>
                      </a:cubicBezTo>
                      <a:cubicBezTo>
                        <a:pt x="264703" y="41016"/>
                        <a:pt x="252515" y="52420"/>
                        <a:pt x="246062" y="66675"/>
                      </a:cubicBezTo>
                      <a:cubicBezTo>
                        <a:pt x="246062" y="66675"/>
                        <a:pt x="246062" y="66675"/>
                        <a:pt x="357187" y="66675"/>
                      </a:cubicBezTo>
                      <a:cubicBezTo>
                        <a:pt x="350018" y="52420"/>
                        <a:pt x="337830" y="41016"/>
                        <a:pt x="323491" y="36027"/>
                      </a:cubicBezTo>
                      <a:cubicBezTo>
                        <a:pt x="316322" y="33176"/>
                        <a:pt x="309153" y="31750"/>
                        <a:pt x="301266" y="31750"/>
                      </a:cubicBezTo>
                      <a:close/>
                      <a:moveTo>
                        <a:pt x="300832" y="0"/>
                      </a:moveTo>
                      <a:cubicBezTo>
                        <a:pt x="330885" y="0"/>
                        <a:pt x="356645" y="13529"/>
                        <a:pt x="373818" y="35602"/>
                      </a:cubicBezTo>
                      <a:cubicBezTo>
                        <a:pt x="380973" y="44147"/>
                        <a:pt x="386698" y="54827"/>
                        <a:pt x="390275" y="66220"/>
                      </a:cubicBezTo>
                      <a:cubicBezTo>
                        <a:pt x="390275" y="66220"/>
                        <a:pt x="390275" y="66220"/>
                        <a:pt x="439648" y="66220"/>
                      </a:cubicBezTo>
                      <a:cubicBezTo>
                        <a:pt x="443226" y="66220"/>
                        <a:pt x="446088" y="69068"/>
                        <a:pt x="446088" y="73340"/>
                      </a:cubicBezTo>
                      <a:cubicBezTo>
                        <a:pt x="446088" y="73340"/>
                        <a:pt x="446088" y="73340"/>
                        <a:pt x="446088" y="113927"/>
                      </a:cubicBezTo>
                      <a:cubicBezTo>
                        <a:pt x="446088" y="113927"/>
                        <a:pt x="446088" y="113927"/>
                        <a:pt x="446088" y="145256"/>
                      </a:cubicBezTo>
                      <a:cubicBezTo>
                        <a:pt x="446088" y="145256"/>
                        <a:pt x="446088" y="145256"/>
                        <a:pt x="446088" y="178010"/>
                      </a:cubicBezTo>
                      <a:cubicBezTo>
                        <a:pt x="446088" y="186555"/>
                        <a:pt x="439648" y="193675"/>
                        <a:pt x="431062" y="193675"/>
                      </a:cubicBezTo>
                      <a:lnTo>
                        <a:pt x="171317" y="193675"/>
                      </a:lnTo>
                      <a:cubicBezTo>
                        <a:pt x="162731" y="193675"/>
                        <a:pt x="155575" y="186555"/>
                        <a:pt x="155575" y="178010"/>
                      </a:cubicBezTo>
                      <a:cubicBezTo>
                        <a:pt x="155575" y="178010"/>
                        <a:pt x="155575" y="178010"/>
                        <a:pt x="155575" y="145256"/>
                      </a:cubicBezTo>
                      <a:cubicBezTo>
                        <a:pt x="155575" y="145256"/>
                        <a:pt x="155575" y="145256"/>
                        <a:pt x="155575" y="113927"/>
                      </a:cubicBezTo>
                      <a:cubicBezTo>
                        <a:pt x="155575" y="113927"/>
                        <a:pt x="155575" y="113927"/>
                        <a:pt x="155575" y="73340"/>
                      </a:cubicBezTo>
                      <a:cubicBezTo>
                        <a:pt x="155575" y="69068"/>
                        <a:pt x="159153" y="66220"/>
                        <a:pt x="162731" y="66220"/>
                      </a:cubicBezTo>
                      <a:cubicBezTo>
                        <a:pt x="162731" y="66220"/>
                        <a:pt x="162731" y="66220"/>
                        <a:pt x="212104" y="66220"/>
                      </a:cubicBezTo>
                      <a:cubicBezTo>
                        <a:pt x="215681" y="54827"/>
                        <a:pt x="220690" y="44147"/>
                        <a:pt x="227846" y="35602"/>
                      </a:cubicBezTo>
                      <a:cubicBezTo>
                        <a:pt x="245019" y="13529"/>
                        <a:pt x="271494" y="0"/>
                        <a:pt x="300832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F9563DB-3C76-4755-BDA3-5204CAD9FC47}"/>
              </a:ext>
            </a:extLst>
          </p:cNvPr>
          <p:cNvGrpSpPr>
            <a:grpSpLocks noChangeAspect="1"/>
          </p:cNvGrpSpPr>
          <p:nvPr/>
        </p:nvGrpSpPr>
        <p:grpSpPr>
          <a:xfrm>
            <a:off x="351079" y="1371599"/>
            <a:ext cx="1430332" cy="1430332"/>
            <a:chOff x="5273675" y="2606675"/>
            <a:chExt cx="1644650" cy="1644650"/>
          </a:xfrm>
        </p:grpSpPr>
        <p:sp>
          <p:nvSpPr>
            <p:cNvPr id="66" name="AutoShape 3">
              <a:extLst>
                <a:ext uri="{FF2B5EF4-FFF2-40B4-BE49-F238E27FC236}">
                  <a16:creationId xmlns:a16="http://schemas.microsoft.com/office/drawing/2014/main" id="{4A6C7471-1073-4005-98E5-454080EFC7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5">
              <a:extLst>
                <a:ext uri="{FF2B5EF4-FFF2-40B4-BE49-F238E27FC236}">
                  <a16:creationId xmlns:a16="http://schemas.microsoft.com/office/drawing/2014/main" id="{E8AE95AF-5B44-40F8-A801-357302960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4123" y="2805113"/>
              <a:ext cx="1282167" cy="1198563"/>
            </a:xfrm>
            <a:custGeom>
              <a:avLst/>
              <a:gdLst>
                <a:gd name="connsiteX0" fmla="*/ 643424 w 1282167"/>
                <a:gd name="connsiteY0" fmla="*/ 947737 h 1198563"/>
                <a:gd name="connsiteX1" fmla="*/ 712685 w 1282167"/>
                <a:gd name="connsiteY1" fmla="*/ 957001 h 1198563"/>
                <a:gd name="connsiteX2" fmla="*/ 716969 w 1282167"/>
                <a:gd name="connsiteY2" fmla="*/ 966977 h 1198563"/>
                <a:gd name="connsiteX3" fmla="*/ 671271 w 1282167"/>
                <a:gd name="connsiteY3" fmla="*/ 1038946 h 1198563"/>
                <a:gd name="connsiteX4" fmla="*/ 670557 w 1282167"/>
                <a:gd name="connsiteY4" fmla="*/ 1044647 h 1198563"/>
                <a:gd name="connsiteX5" fmla="*/ 719825 w 1282167"/>
                <a:gd name="connsiteY5" fmla="*/ 1188586 h 1198563"/>
                <a:gd name="connsiteX6" fmla="*/ 713399 w 1282167"/>
                <a:gd name="connsiteY6" fmla="*/ 1198562 h 1198563"/>
                <a:gd name="connsiteX7" fmla="*/ 566309 w 1282167"/>
                <a:gd name="connsiteY7" fmla="*/ 1198562 h 1198563"/>
                <a:gd name="connsiteX8" fmla="*/ 559168 w 1282167"/>
                <a:gd name="connsiteY8" fmla="*/ 1188586 h 1198563"/>
                <a:gd name="connsiteX9" fmla="*/ 612721 w 1282167"/>
                <a:gd name="connsiteY9" fmla="*/ 1044647 h 1198563"/>
                <a:gd name="connsiteX10" fmla="*/ 612007 w 1282167"/>
                <a:gd name="connsiteY10" fmla="*/ 1038946 h 1198563"/>
                <a:gd name="connsiteX11" fmla="*/ 566309 w 1282167"/>
                <a:gd name="connsiteY11" fmla="*/ 967689 h 1198563"/>
                <a:gd name="connsiteX12" fmla="*/ 570593 w 1282167"/>
                <a:gd name="connsiteY12" fmla="*/ 957001 h 1198563"/>
                <a:gd name="connsiteX13" fmla="*/ 643424 w 1282167"/>
                <a:gd name="connsiteY13" fmla="*/ 947737 h 1198563"/>
                <a:gd name="connsiteX14" fmla="*/ 855340 w 1282167"/>
                <a:gd name="connsiteY14" fmla="*/ 904875 h 1198563"/>
                <a:gd name="connsiteX15" fmla="*/ 1126174 w 1282167"/>
                <a:gd name="connsiteY15" fmla="*/ 951808 h 1198563"/>
                <a:gd name="connsiteX16" fmla="*/ 1281242 w 1282167"/>
                <a:gd name="connsiteY16" fmla="*/ 1177230 h 1198563"/>
                <a:gd name="connsiteX17" fmla="*/ 1266236 w 1282167"/>
                <a:gd name="connsiteY17" fmla="*/ 1198563 h 1198563"/>
                <a:gd name="connsiteX18" fmla="*/ 791026 w 1282167"/>
                <a:gd name="connsiteY18" fmla="*/ 1198563 h 1198563"/>
                <a:gd name="connsiteX19" fmla="*/ 783880 w 1282167"/>
                <a:gd name="connsiteY19" fmla="*/ 1189319 h 1198563"/>
                <a:gd name="connsiteX20" fmla="*/ 848194 w 1282167"/>
                <a:gd name="connsiteY20" fmla="*/ 909853 h 1198563"/>
                <a:gd name="connsiteX21" fmla="*/ 855340 w 1282167"/>
                <a:gd name="connsiteY21" fmla="*/ 904875 h 1198563"/>
                <a:gd name="connsiteX22" fmla="*/ 426828 w 1282167"/>
                <a:gd name="connsiteY22" fmla="*/ 904875 h 1198563"/>
                <a:gd name="connsiteX23" fmla="*/ 433974 w 1282167"/>
                <a:gd name="connsiteY23" fmla="*/ 909853 h 1198563"/>
                <a:gd name="connsiteX24" fmla="*/ 498288 w 1282167"/>
                <a:gd name="connsiteY24" fmla="*/ 1189319 h 1198563"/>
                <a:gd name="connsiteX25" fmla="*/ 491142 w 1282167"/>
                <a:gd name="connsiteY25" fmla="*/ 1198563 h 1198563"/>
                <a:gd name="connsiteX26" fmla="*/ 15931 w 1282167"/>
                <a:gd name="connsiteY26" fmla="*/ 1198563 h 1198563"/>
                <a:gd name="connsiteX27" fmla="*/ 925 w 1282167"/>
                <a:gd name="connsiteY27" fmla="*/ 1177230 h 1198563"/>
                <a:gd name="connsiteX28" fmla="*/ 155993 w 1282167"/>
                <a:gd name="connsiteY28" fmla="*/ 951808 h 1198563"/>
                <a:gd name="connsiteX29" fmla="*/ 426828 w 1282167"/>
                <a:gd name="connsiteY29" fmla="*/ 904875 h 1198563"/>
                <a:gd name="connsiteX30" fmla="*/ 300565 w 1282167"/>
                <a:gd name="connsiteY30" fmla="*/ 512762 h 1198563"/>
                <a:gd name="connsiteX31" fmla="*/ 337049 w 1282167"/>
                <a:gd name="connsiteY31" fmla="*/ 529877 h 1198563"/>
                <a:gd name="connsiteX32" fmla="*/ 369957 w 1282167"/>
                <a:gd name="connsiteY32" fmla="*/ 567671 h 1198563"/>
                <a:gd name="connsiteX33" fmla="*/ 377110 w 1282167"/>
                <a:gd name="connsiteY33" fmla="*/ 576228 h 1198563"/>
                <a:gd name="connsiteX34" fmla="*/ 479409 w 1282167"/>
                <a:gd name="connsiteY34" fmla="*/ 792298 h 1198563"/>
                <a:gd name="connsiteX35" fmla="*/ 641084 w 1282167"/>
                <a:gd name="connsiteY35" fmla="*/ 872878 h 1198563"/>
                <a:gd name="connsiteX36" fmla="*/ 802759 w 1282167"/>
                <a:gd name="connsiteY36" fmla="*/ 792298 h 1198563"/>
                <a:gd name="connsiteX37" fmla="*/ 905058 w 1282167"/>
                <a:gd name="connsiteY37" fmla="*/ 576228 h 1198563"/>
                <a:gd name="connsiteX38" fmla="*/ 912212 w 1282167"/>
                <a:gd name="connsiteY38" fmla="*/ 567671 h 1198563"/>
                <a:gd name="connsiteX39" fmla="*/ 945119 w 1282167"/>
                <a:gd name="connsiteY39" fmla="*/ 529877 h 1198563"/>
                <a:gd name="connsiteX40" fmla="*/ 981603 w 1282167"/>
                <a:gd name="connsiteY40" fmla="*/ 512762 h 1198563"/>
                <a:gd name="connsiteX41" fmla="*/ 981603 w 1282167"/>
                <a:gd name="connsiteY41" fmla="*/ 514901 h 1198563"/>
                <a:gd name="connsiteX42" fmla="*/ 932242 w 1282167"/>
                <a:gd name="connsiteY42" fmla="*/ 592630 h 1198563"/>
                <a:gd name="connsiteX43" fmla="*/ 829943 w 1282167"/>
                <a:gd name="connsiteY43" fmla="*/ 808699 h 1198563"/>
                <a:gd name="connsiteX44" fmla="*/ 829943 w 1282167"/>
                <a:gd name="connsiteY44" fmla="*/ 878583 h 1198563"/>
                <a:gd name="connsiteX45" fmla="*/ 824936 w 1282167"/>
                <a:gd name="connsiteY45" fmla="*/ 885714 h 1198563"/>
                <a:gd name="connsiteX46" fmla="*/ 798467 w 1282167"/>
                <a:gd name="connsiteY46" fmla="*/ 912812 h 1198563"/>
                <a:gd name="connsiteX47" fmla="*/ 798467 w 1282167"/>
                <a:gd name="connsiteY47" fmla="*/ 835084 h 1198563"/>
                <a:gd name="connsiteX48" fmla="*/ 641084 w 1282167"/>
                <a:gd name="connsiteY48" fmla="*/ 904255 h 1198563"/>
                <a:gd name="connsiteX49" fmla="*/ 483702 w 1282167"/>
                <a:gd name="connsiteY49" fmla="*/ 835084 h 1198563"/>
                <a:gd name="connsiteX50" fmla="*/ 483702 w 1282167"/>
                <a:gd name="connsiteY50" fmla="*/ 912812 h 1198563"/>
                <a:gd name="connsiteX51" fmla="*/ 457233 w 1282167"/>
                <a:gd name="connsiteY51" fmla="*/ 885714 h 1198563"/>
                <a:gd name="connsiteX52" fmla="*/ 452225 w 1282167"/>
                <a:gd name="connsiteY52" fmla="*/ 878583 h 1198563"/>
                <a:gd name="connsiteX53" fmla="*/ 452225 w 1282167"/>
                <a:gd name="connsiteY53" fmla="*/ 808699 h 1198563"/>
                <a:gd name="connsiteX54" fmla="*/ 349926 w 1282167"/>
                <a:gd name="connsiteY54" fmla="*/ 592630 h 1198563"/>
                <a:gd name="connsiteX55" fmla="*/ 300565 w 1282167"/>
                <a:gd name="connsiteY55" fmla="*/ 516328 h 1198563"/>
                <a:gd name="connsiteX56" fmla="*/ 300565 w 1282167"/>
                <a:gd name="connsiteY56" fmla="*/ 512762 h 1198563"/>
                <a:gd name="connsiteX57" fmla="*/ 641878 w 1282167"/>
                <a:gd name="connsiteY57" fmla="*/ 0 h 1198563"/>
                <a:gd name="connsiteX58" fmla="*/ 979300 w 1282167"/>
                <a:gd name="connsiteY58" fmla="*/ 344087 h 1198563"/>
                <a:gd name="connsiteX59" fmla="*/ 967147 w 1282167"/>
                <a:gd name="connsiteY59" fmla="*/ 460920 h 1198563"/>
                <a:gd name="connsiteX60" fmla="*/ 967147 w 1282167"/>
                <a:gd name="connsiteY60" fmla="*/ 460208 h 1198563"/>
                <a:gd name="connsiteX61" fmla="*/ 928544 w 1282167"/>
                <a:gd name="connsiteY61" fmla="*/ 514350 h 1198563"/>
                <a:gd name="connsiteX62" fmla="*/ 904238 w 1282167"/>
                <a:gd name="connsiteY62" fmla="*/ 514350 h 1198563"/>
                <a:gd name="connsiteX63" fmla="*/ 900664 w 1282167"/>
                <a:gd name="connsiteY63" fmla="*/ 260737 h 1198563"/>
                <a:gd name="connsiteX64" fmla="*/ 456724 w 1282167"/>
                <a:gd name="connsiteY64" fmla="*/ 276410 h 1198563"/>
                <a:gd name="connsiteX65" fmla="*/ 373798 w 1282167"/>
                <a:gd name="connsiteY65" fmla="*/ 510075 h 1198563"/>
                <a:gd name="connsiteX66" fmla="*/ 351637 w 1282167"/>
                <a:gd name="connsiteY66" fmla="*/ 507938 h 1198563"/>
                <a:gd name="connsiteX67" fmla="*/ 318038 w 1282167"/>
                <a:gd name="connsiteY67" fmla="*/ 465195 h 1198563"/>
                <a:gd name="connsiteX68" fmla="*/ 318038 w 1282167"/>
                <a:gd name="connsiteY68" fmla="*/ 464482 h 1198563"/>
                <a:gd name="connsiteX69" fmla="*/ 304455 w 1282167"/>
                <a:gd name="connsiteY69" fmla="*/ 344087 h 1198563"/>
                <a:gd name="connsiteX70" fmla="*/ 641878 w 1282167"/>
                <a:gd name="connsiteY70" fmla="*/ 0 h 1198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282167" h="1198563">
                  <a:moveTo>
                    <a:pt x="643424" y="947737"/>
                  </a:moveTo>
                  <a:cubicBezTo>
                    <a:pt x="667701" y="947737"/>
                    <a:pt x="697690" y="953438"/>
                    <a:pt x="712685" y="957001"/>
                  </a:cubicBezTo>
                  <a:cubicBezTo>
                    <a:pt x="716969" y="958426"/>
                    <a:pt x="719111" y="963414"/>
                    <a:pt x="716969" y="966977"/>
                  </a:cubicBezTo>
                  <a:cubicBezTo>
                    <a:pt x="716969" y="966977"/>
                    <a:pt x="716969" y="966977"/>
                    <a:pt x="671271" y="1038946"/>
                  </a:cubicBezTo>
                  <a:cubicBezTo>
                    <a:pt x="670557" y="1040371"/>
                    <a:pt x="669843" y="1042509"/>
                    <a:pt x="670557" y="1044647"/>
                  </a:cubicBezTo>
                  <a:cubicBezTo>
                    <a:pt x="670557" y="1044647"/>
                    <a:pt x="670557" y="1044647"/>
                    <a:pt x="719825" y="1188586"/>
                  </a:cubicBezTo>
                  <a:cubicBezTo>
                    <a:pt x="721253" y="1193574"/>
                    <a:pt x="718397" y="1198562"/>
                    <a:pt x="713399" y="1198562"/>
                  </a:cubicBezTo>
                  <a:cubicBezTo>
                    <a:pt x="713399" y="1198562"/>
                    <a:pt x="713399" y="1198562"/>
                    <a:pt x="566309" y="1198562"/>
                  </a:cubicBezTo>
                  <a:cubicBezTo>
                    <a:pt x="561310" y="1198562"/>
                    <a:pt x="557740" y="1193574"/>
                    <a:pt x="559168" y="1188586"/>
                  </a:cubicBezTo>
                  <a:cubicBezTo>
                    <a:pt x="559168" y="1188586"/>
                    <a:pt x="559168" y="1188586"/>
                    <a:pt x="612721" y="1044647"/>
                  </a:cubicBezTo>
                  <a:cubicBezTo>
                    <a:pt x="613435" y="1043222"/>
                    <a:pt x="612721" y="1041084"/>
                    <a:pt x="612007" y="1038946"/>
                  </a:cubicBezTo>
                  <a:cubicBezTo>
                    <a:pt x="612007" y="1038946"/>
                    <a:pt x="612007" y="1038946"/>
                    <a:pt x="566309" y="967689"/>
                  </a:cubicBezTo>
                  <a:cubicBezTo>
                    <a:pt x="564167" y="963414"/>
                    <a:pt x="566309" y="958426"/>
                    <a:pt x="570593" y="957001"/>
                  </a:cubicBezTo>
                  <a:cubicBezTo>
                    <a:pt x="586301" y="954150"/>
                    <a:pt x="619147" y="947737"/>
                    <a:pt x="643424" y="947737"/>
                  </a:cubicBezTo>
                  <a:close/>
                  <a:moveTo>
                    <a:pt x="855340" y="904875"/>
                  </a:moveTo>
                  <a:cubicBezTo>
                    <a:pt x="886782" y="905586"/>
                    <a:pt x="1039707" y="911275"/>
                    <a:pt x="1126174" y="951808"/>
                  </a:cubicBezTo>
                  <a:cubicBezTo>
                    <a:pt x="1204780" y="987364"/>
                    <a:pt x="1261233" y="1124608"/>
                    <a:pt x="1281242" y="1177230"/>
                  </a:cubicBezTo>
                  <a:cubicBezTo>
                    <a:pt x="1284815" y="1187185"/>
                    <a:pt x="1277669" y="1198563"/>
                    <a:pt x="1266236" y="1198563"/>
                  </a:cubicBezTo>
                  <a:cubicBezTo>
                    <a:pt x="1266236" y="1198563"/>
                    <a:pt x="1266236" y="1198563"/>
                    <a:pt x="791026" y="1198563"/>
                  </a:cubicBezTo>
                  <a:cubicBezTo>
                    <a:pt x="786024" y="1198563"/>
                    <a:pt x="783165" y="1194296"/>
                    <a:pt x="783880" y="1189319"/>
                  </a:cubicBezTo>
                  <a:cubicBezTo>
                    <a:pt x="783880" y="1189319"/>
                    <a:pt x="783880" y="1189319"/>
                    <a:pt x="848194" y="909853"/>
                  </a:cubicBezTo>
                  <a:cubicBezTo>
                    <a:pt x="848909" y="907008"/>
                    <a:pt x="851767" y="904875"/>
                    <a:pt x="855340" y="904875"/>
                  </a:cubicBezTo>
                  <a:close/>
                  <a:moveTo>
                    <a:pt x="426828" y="904875"/>
                  </a:moveTo>
                  <a:cubicBezTo>
                    <a:pt x="430401" y="904875"/>
                    <a:pt x="433259" y="907008"/>
                    <a:pt x="433974" y="909853"/>
                  </a:cubicBezTo>
                  <a:cubicBezTo>
                    <a:pt x="498288" y="1189319"/>
                    <a:pt x="498288" y="1189319"/>
                    <a:pt x="498288" y="1189319"/>
                  </a:cubicBezTo>
                  <a:cubicBezTo>
                    <a:pt x="499002" y="1194296"/>
                    <a:pt x="496144" y="1198563"/>
                    <a:pt x="491142" y="1198563"/>
                  </a:cubicBezTo>
                  <a:cubicBezTo>
                    <a:pt x="15931" y="1198563"/>
                    <a:pt x="15931" y="1198563"/>
                    <a:pt x="15931" y="1198563"/>
                  </a:cubicBezTo>
                  <a:cubicBezTo>
                    <a:pt x="4498" y="1198563"/>
                    <a:pt x="-2648" y="1187185"/>
                    <a:pt x="925" y="1177230"/>
                  </a:cubicBezTo>
                  <a:cubicBezTo>
                    <a:pt x="20934" y="1124608"/>
                    <a:pt x="77387" y="987364"/>
                    <a:pt x="155993" y="951808"/>
                  </a:cubicBezTo>
                  <a:cubicBezTo>
                    <a:pt x="242460" y="911275"/>
                    <a:pt x="395385" y="905586"/>
                    <a:pt x="426828" y="904875"/>
                  </a:cubicBezTo>
                  <a:close/>
                  <a:moveTo>
                    <a:pt x="300565" y="512762"/>
                  </a:moveTo>
                  <a:cubicBezTo>
                    <a:pt x="300565" y="512762"/>
                    <a:pt x="300565" y="512762"/>
                    <a:pt x="337049" y="529877"/>
                  </a:cubicBezTo>
                  <a:cubicBezTo>
                    <a:pt x="342057" y="543425"/>
                    <a:pt x="352072" y="559114"/>
                    <a:pt x="369957" y="567671"/>
                  </a:cubicBezTo>
                  <a:cubicBezTo>
                    <a:pt x="373534" y="569810"/>
                    <a:pt x="376395" y="572663"/>
                    <a:pt x="377110" y="576228"/>
                  </a:cubicBezTo>
                  <a:cubicBezTo>
                    <a:pt x="406441" y="649678"/>
                    <a:pt x="459379" y="773757"/>
                    <a:pt x="479409" y="792298"/>
                  </a:cubicBezTo>
                  <a:cubicBezTo>
                    <a:pt x="511601" y="820109"/>
                    <a:pt x="594585" y="872878"/>
                    <a:pt x="641084" y="872878"/>
                  </a:cubicBezTo>
                  <a:cubicBezTo>
                    <a:pt x="687584" y="872878"/>
                    <a:pt x="770567" y="820109"/>
                    <a:pt x="802759" y="792298"/>
                  </a:cubicBezTo>
                  <a:cubicBezTo>
                    <a:pt x="822790" y="773757"/>
                    <a:pt x="875728" y="649678"/>
                    <a:pt x="905058" y="576228"/>
                  </a:cubicBezTo>
                  <a:cubicBezTo>
                    <a:pt x="905773" y="572663"/>
                    <a:pt x="908635" y="569810"/>
                    <a:pt x="912212" y="567671"/>
                  </a:cubicBezTo>
                  <a:cubicBezTo>
                    <a:pt x="930096" y="559114"/>
                    <a:pt x="940111" y="543425"/>
                    <a:pt x="945119" y="529877"/>
                  </a:cubicBezTo>
                  <a:cubicBezTo>
                    <a:pt x="945119" y="529877"/>
                    <a:pt x="945119" y="529877"/>
                    <a:pt x="981603" y="512762"/>
                  </a:cubicBezTo>
                  <a:cubicBezTo>
                    <a:pt x="981603" y="513475"/>
                    <a:pt x="981603" y="514188"/>
                    <a:pt x="981603" y="514901"/>
                  </a:cubicBezTo>
                  <a:cubicBezTo>
                    <a:pt x="979457" y="531303"/>
                    <a:pt x="969442" y="571236"/>
                    <a:pt x="932242" y="592630"/>
                  </a:cubicBezTo>
                  <a:cubicBezTo>
                    <a:pt x="916504" y="632563"/>
                    <a:pt x="861420" y="768766"/>
                    <a:pt x="829943" y="808699"/>
                  </a:cubicBezTo>
                  <a:cubicBezTo>
                    <a:pt x="829943" y="808699"/>
                    <a:pt x="829943" y="808699"/>
                    <a:pt x="829943" y="878583"/>
                  </a:cubicBezTo>
                  <a:cubicBezTo>
                    <a:pt x="829943" y="878583"/>
                    <a:pt x="829943" y="878583"/>
                    <a:pt x="824936" y="885714"/>
                  </a:cubicBezTo>
                  <a:cubicBezTo>
                    <a:pt x="823505" y="887140"/>
                    <a:pt x="814921" y="898550"/>
                    <a:pt x="798467" y="912812"/>
                  </a:cubicBezTo>
                  <a:cubicBezTo>
                    <a:pt x="798467" y="912812"/>
                    <a:pt x="798467" y="912812"/>
                    <a:pt x="798467" y="835084"/>
                  </a:cubicBezTo>
                  <a:cubicBezTo>
                    <a:pt x="756260" y="865747"/>
                    <a:pt x="687584" y="904255"/>
                    <a:pt x="641084" y="904255"/>
                  </a:cubicBezTo>
                  <a:cubicBezTo>
                    <a:pt x="594585" y="904255"/>
                    <a:pt x="525909" y="865747"/>
                    <a:pt x="483702" y="835084"/>
                  </a:cubicBezTo>
                  <a:cubicBezTo>
                    <a:pt x="483702" y="835084"/>
                    <a:pt x="483702" y="835084"/>
                    <a:pt x="483702" y="912812"/>
                  </a:cubicBezTo>
                  <a:cubicBezTo>
                    <a:pt x="467248" y="898550"/>
                    <a:pt x="458663" y="887140"/>
                    <a:pt x="457233" y="885714"/>
                  </a:cubicBezTo>
                  <a:cubicBezTo>
                    <a:pt x="457233" y="885714"/>
                    <a:pt x="457233" y="885714"/>
                    <a:pt x="452225" y="878583"/>
                  </a:cubicBezTo>
                  <a:cubicBezTo>
                    <a:pt x="452225" y="878583"/>
                    <a:pt x="452225" y="878583"/>
                    <a:pt x="452225" y="808699"/>
                  </a:cubicBezTo>
                  <a:cubicBezTo>
                    <a:pt x="420748" y="769479"/>
                    <a:pt x="365664" y="632563"/>
                    <a:pt x="349926" y="592630"/>
                  </a:cubicBezTo>
                  <a:cubicBezTo>
                    <a:pt x="314873" y="571950"/>
                    <a:pt x="304142" y="536294"/>
                    <a:pt x="300565" y="516328"/>
                  </a:cubicBezTo>
                  <a:cubicBezTo>
                    <a:pt x="300565" y="515615"/>
                    <a:pt x="300565" y="514188"/>
                    <a:pt x="300565" y="512762"/>
                  </a:cubicBezTo>
                  <a:close/>
                  <a:moveTo>
                    <a:pt x="641878" y="0"/>
                  </a:moveTo>
                  <a:cubicBezTo>
                    <a:pt x="832750" y="0"/>
                    <a:pt x="979300" y="153877"/>
                    <a:pt x="979300" y="344087"/>
                  </a:cubicBezTo>
                  <a:cubicBezTo>
                    <a:pt x="979300" y="385406"/>
                    <a:pt x="980015" y="424588"/>
                    <a:pt x="967147" y="460920"/>
                  </a:cubicBezTo>
                  <a:cubicBezTo>
                    <a:pt x="967147" y="460920"/>
                    <a:pt x="967147" y="460920"/>
                    <a:pt x="967147" y="460208"/>
                  </a:cubicBezTo>
                  <a:cubicBezTo>
                    <a:pt x="965718" y="460920"/>
                    <a:pt x="960714" y="478730"/>
                    <a:pt x="928544" y="514350"/>
                  </a:cubicBezTo>
                  <a:cubicBezTo>
                    <a:pt x="928544" y="514350"/>
                    <a:pt x="928544" y="514350"/>
                    <a:pt x="904238" y="514350"/>
                  </a:cubicBezTo>
                  <a:cubicBezTo>
                    <a:pt x="904238" y="514350"/>
                    <a:pt x="904238" y="501527"/>
                    <a:pt x="900664" y="260737"/>
                  </a:cubicBezTo>
                  <a:cubicBezTo>
                    <a:pt x="862775" y="453796"/>
                    <a:pt x="456724" y="276410"/>
                    <a:pt x="456724" y="276410"/>
                  </a:cubicBezTo>
                  <a:cubicBezTo>
                    <a:pt x="355926" y="307043"/>
                    <a:pt x="373798" y="510075"/>
                    <a:pt x="373798" y="510075"/>
                  </a:cubicBezTo>
                  <a:cubicBezTo>
                    <a:pt x="373798" y="510075"/>
                    <a:pt x="373798" y="510075"/>
                    <a:pt x="351637" y="507938"/>
                  </a:cubicBezTo>
                  <a:cubicBezTo>
                    <a:pt x="351637" y="507938"/>
                    <a:pt x="351637" y="495115"/>
                    <a:pt x="318038" y="465195"/>
                  </a:cubicBezTo>
                  <a:cubicBezTo>
                    <a:pt x="318038" y="464482"/>
                    <a:pt x="318038" y="464482"/>
                    <a:pt x="318038" y="464482"/>
                  </a:cubicBezTo>
                  <a:cubicBezTo>
                    <a:pt x="303740" y="427438"/>
                    <a:pt x="304455" y="386831"/>
                    <a:pt x="304455" y="344087"/>
                  </a:cubicBezTo>
                  <a:cubicBezTo>
                    <a:pt x="304455" y="153877"/>
                    <a:pt x="451005" y="0"/>
                    <a:pt x="64187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47" name="Isosceles Triangle 46">
            <a:extLst>
              <a:ext uri="{FF2B5EF4-FFF2-40B4-BE49-F238E27FC236}">
                <a16:creationId xmlns:a16="http://schemas.microsoft.com/office/drawing/2014/main" id="{B9EF094D-8E70-4AA1-B5DE-00D01EA53557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7" name="Oval 20">
            <a:extLst>
              <a:ext uri="{FF2B5EF4-FFF2-40B4-BE49-F238E27FC236}">
                <a16:creationId xmlns:a16="http://schemas.microsoft.com/office/drawing/2014/main" id="{E0CABA0C-08D2-459A-8530-5FDB2859F0E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562B982B-A571-4450-8437-751B35863338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306203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8"/>
            <a:ext cx="325587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Berkshires 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/>
        </p:nvGraphicFramePr>
        <p:xfrm>
          <a:off x="4325960" y="830223"/>
          <a:ext cx="7165378" cy="153805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898781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471907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7047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erkshire Career Ctr</a:t>
                      </a:r>
                    </a:p>
                  </a:txBody>
                  <a:tcPr marL="7620" marR="7620" marT="7620" marB="0" anchor="b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lanie Herzi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mherzig@masshireberkshirecc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-499-2220 x124</a:t>
                      </a:r>
                    </a:p>
                  </a:txBody>
                  <a:tcPr marL="72000" marR="72000" marT="73152" marB="73152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erkshire Career Ctr</a:t>
                      </a:r>
                    </a:p>
                  </a:txBody>
                  <a:tcPr marL="7620" marR="7620" marT="7620" marB="0" anchor="b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izabeth Rolison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erolison@masshireberkshirecc.com</a:t>
                      </a:r>
                      <a:endParaRPr lang="en-US" sz="1400" b="0" i="0" u="none" strike="noStrike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413-499-2220 x 138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73152" marB="73152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</a:tbl>
          </a:graphicData>
        </a:graphic>
      </p:graphicFrame>
      <p:sp>
        <p:nvSpPr>
          <p:cNvPr id="23" name="Isosceles Triangle 22">
            <a:extLst>
              <a:ext uri="{FF2B5EF4-FFF2-40B4-BE49-F238E27FC236}">
                <a16:creationId xmlns:a16="http://schemas.microsoft.com/office/drawing/2014/main" id="{3CEE7066-56F1-46D4-AB21-8D110057EF42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4" name="Oval 20">
            <a:extLst>
              <a:ext uri="{FF2B5EF4-FFF2-40B4-BE49-F238E27FC236}">
                <a16:creationId xmlns:a16="http://schemas.microsoft.com/office/drawing/2014/main" id="{E50D091B-05E6-44A8-8CAD-ED1F546A084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D6BFFE0-B8E8-45D9-A197-ABC81FFED110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408380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E6059D2-2BDA-470C-9A76-456AA9432D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E6059D2-2BDA-470C-9A76-456AA9432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7AD61972-84B9-4527-B2CB-2A45B887674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4076700" cy="6858000"/>
          </a:xfrm>
          <a:custGeom>
            <a:avLst/>
            <a:gdLst>
              <a:gd name="connsiteX0" fmla="*/ 0 w 4076700"/>
              <a:gd name="connsiteY0" fmla="*/ 0 h 6858000"/>
              <a:gd name="connsiteX1" fmla="*/ 4076700 w 4076700"/>
              <a:gd name="connsiteY1" fmla="*/ 0 h 6858000"/>
              <a:gd name="connsiteX2" fmla="*/ 4076700 w 4076700"/>
              <a:gd name="connsiteY2" fmla="*/ 6858000 h 6858000"/>
              <a:gd name="connsiteX3" fmla="*/ 0 w 40767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76700" h="6858000">
                <a:moveTo>
                  <a:pt x="0" y="0"/>
                </a:moveTo>
                <a:lnTo>
                  <a:pt x="4076700" y="0"/>
                </a:lnTo>
                <a:lnTo>
                  <a:pt x="40767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2" name="Overlay">
            <a:extLst>
              <a:ext uri="{FF2B5EF4-FFF2-40B4-BE49-F238E27FC236}">
                <a16:creationId xmlns:a16="http://schemas.microsoft.com/office/drawing/2014/main" id="{A7B2DACB-0B4A-4CC5-819C-0A9610EAA2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4076700" cy="6858000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F001E6-48FB-4880-9DB0-50545251C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2901704"/>
            <a:ext cx="3127881" cy="1994392"/>
          </a:xfrm>
        </p:spPr>
        <p:txBody>
          <a:bodyPr vert="horz">
            <a:noAutofit/>
          </a:bodyPr>
          <a:lstStyle/>
          <a:p>
            <a:r>
              <a:rPr lang="en-US" sz="3600"/>
              <a:t>Table of contents for Market Maker onboarding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CE5848-4E2D-4AF6-BF66-1F1EEE699C95}"/>
              </a:ext>
            </a:extLst>
          </p:cNvPr>
          <p:cNvSpPr txBox="1"/>
          <p:nvPr/>
        </p:nvSpPr>
        <p:spPr>
          <a:xfrm>
            <a:off x="4673599" y="1480556"/>
            <a:ext cx="180656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10000"/>
                    <a:lumOff val="9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r>
              <a:rPr lang="en-US">
                <a:solidFill>
                  <a:schemeClr val="tx2"/>
                </a:solidFill>
                <a:sym typeface="Trebuchet MS" panose="020B0603020202020204" pitchFamily="34" charset="0"/>
              </a:rPr>
              <a:t>Market Maker </a:t>
            </a:r>
          </a:p>
          <a:p>
            <a:r>
              <a:rPr lang="en-US">
                <a:solidFill>
                  <a:schemeClr val="tx2"/>
                </a:solidFill>
                <a:sym typeface="Trebuchet MS" panose="020B0603020202020204" pitchFamily="34" charset="0"/>
              </a:rPr>
              <a:t>role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0C136E-0F83-4489-9208-E6B148631081}"/>
              </a:ext>
            </a:extLst>
          </p:cNvPr>
          <p:cNvSpPr txBox="1"/>
          <p:nvPr/>
        </p:nvSpPr>
        <p:spPr>
          <a:xfrm>
            <a:off x="4673599" y="4305100"/>
            <a:ext cx="1806565" cy="83099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10000"/>
                    <a:lumOff val="9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Connecting employers to </a:t>
            </a:r>
            <a:br>
              <a:rPr lang="en-US">
                <a:solidFill>
                  <a:schemeClr val="tx2"/>
                </a:solidFill>
              </a:rPr>
            </a:br>
            <a:r>
              <a:rPr lang="en-US">
                <a:solidFill>
                  <a:schemeClr val="tx2"/>
                </a:solidFill>
              </a:rPr>
              <a:t>training progra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4885AB-19F6-4027-89BE-41046951D9B1}"/>
              </a:ext>
            </a:extLst>
          </p:cNvPr>
          <p:cNvSpPr txBox="1"/>
          <p:nvPr/>
        </p:nvSpPr>
        <p:spPr>
          <a:xfrm>
            <a:off x="4673599" y="5709678"/>
            <a:ext cx="180656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10000"/>
                    <a:lumOff val="9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r>
              <a:rPr lang="en-US">
                <a:solidFill>
                  <a:schemeClr val="tx2"/>
                </a:solidFill>
              </a:rPr>
              <a:t>Additional suppor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05B54D7-F07A-473C-BBB2-BB1B50B98492}"/>
              </a:ext>
            </a:extLst>
          </p:cNvPr>
          <p:cNvSpPr txBox="1"/>
          <p:nvPr/>
        </p:nvSpPr>
        <p:spPr>
          <a:xfrm>
            <a:off x="6751675" y="1003503"/>
            <a:ext cx="4811675" cy="15081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RPA workforce strategy, and how Market Makers support it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Market Maker role and responsibilitie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Market Maker role in MassHire Workforce System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Market Maker collaboration with Business </a:t>
            </a:r>
            <a:br>
              <a:rPr lang="en-US" sz="1400">
                <a:solidFill>
                  <a:schemeClr val="tx1"/>
                </a:solidFill>
              </a:rPr>
            </a:br>
            <a:r>
              <a:rPr lang="en-US" sz="1400">
                <a:solidFill>
                  <a:schemeClr val="tx1"/>
                </a:solidFill>
              </a:rPr>
              <a:t>Service Representatives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Initial events for Market Makers to attend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D482ADA0-706D-4F36-BB53-EB8403BB86D8}"/>
              </a:ext>
            </a:extLst>
          </p:cNvPr>
          <p:cNvSpPr txBox="1"/>
          <p:nvPr/>
        </p:nvSpPr>
        <p:spPr>
          <a:xfrm>
            <a:off x="6751675" y="2592746"/>
            <a:ext cx="4811675" cy="12926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ARPA pipeline training grants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Points of contact for additional questions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Employer-facing grant summaries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Training partner-facing grant summaries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Internal stakeholder-facing grant summaries</a:t>
            </a:r>
          </a:p>
          <a:p>
            <a:pPr marL="648000" lvl="2" indent="-216000">
              <a:spcAft>
                <a:spcPts val="9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Occupations vs gra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D9030D-0F3D-4E95-ADB5-7F4E133829A2}"/>
              </a:ext>
            </a:extLst>
          </p:cNvPr>
          <p:cNvSpPr txBox="1"/>
          <p:nvPr/>
        </p:nvSpPr>
        <p:spPr>
          <a:xfrm>
            <a:off x="6751674" y="4085404"/>
            <a:ext cx="4811675" cy="12926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Market Maker collaboration with training providers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CTI occupations overview</a:t>
            </a:r>
          </a:p>
          <a:p>
            <a:pPr marL="648000" lvl="2" indent="-216000">
              <a:buClr>
                <a:schemeClr val="tx2"/>
              </a:buClr>
              <a:buFont typeface="Trebuchet MS" panose="020B0603020202020204" pitchFamily="34" charset="0"/>
              <a:buChar char="–"/>
              <a:defRPr/>
            </a:pPr>
            <a:r>
              <a:rPr lang="en-US" sz="1400">
                <a:solidFill>
                  <a:schemeClr val="tx1"/>
                </a:solidFill>
              </a:rPr>
              <a:t>CTI training partners and programs by region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Employer engagement guidebook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Market Maker target outcomes</a:t>
            </a:r>
          </a:p>
          <a:p>
            <a:pPr marL="324000" lvl="1" indent="-216000">
              <a:spcAft>
                <a:spcPts val="90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400">
                <a:solidFill>
                  <a:schemeClr val="tx1"/>
                </a:solidFill>
              </a:rPr>
              <a:t>Tracking employer interactions in MOSE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0E3FA64-3F3F-4410-A8AA-B9D8258B5B8F}"/>
              </a:ext>
            </a:extLst>
          </p:cNvPr>
          <p:cNvGrpSpPr>
            <a:grpSpLocks noChangeAspect="1"/>
          </p:cNvGrpSpPr>
          <p:nvPr/>
        </p:nvGrpSpPr>
        <p:grpSpPr>
          <a:xfrm>
            <a:off x="278787" y="1298575"/>
            <a:ext cx="1646238" cy="1644650"/>
            <a:chOff x="5272881" y="2606675"/>
            <a:chExt cx="1646238" cy="1644650"/>
          </a:xfrm>
        </p:grpSpPr>
        <p:sp>
          <p:nvSpPr>
            <p:cNvPr id="27" name="AutoShape 3">
              <a:extLst>
                <a:ext uri="{FF2B5EF4-FFF2-40B4-BE49-F238E27FC236}">
                  <a16:creationId xmlns:a16="http://schemas.microsoft.com/office/drawing/2014/main" id="{58CF5722-46C5-420D-862A-250A4ABFEA5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881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0BE297F2-F67A-49FA-9D31-D67180DEB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7993" y="2881312"/>
              <a:ext cx="1123838" cy="1125538"/>
            </a:xfrm>
            <a:custGeom>
              <a:avLst/>
              <a:gdLst>
                <a:gd name="connsiteX0" fmla="*/ 409739 w 1123838"/>
                <a:gd name="connsiteY0" fmla="*/ 615791 h 1125538"/>
                <a:gd name="connsiteX1" fmla="*/ 326138 w 1123838"/>
                <a:gd name="connsiteY1" fmla="*/ 635801 h 1125538"/>
                <a:gd name="connsiteX2" fmla="*/ 31750 w 1123838"/>
                <a:gd name="connsiteY2" fmla="*/ 803020 h 1125538"/>
                <a:gd name="connsiteX3" fmla="*/ 31750 w 1123838"/>
                <a:gd name="connsiteY3" fmla="*/ 1087437 h 1125538"/>
                <a:gd name="connsiteX4" fmla="*/ 368296 w 1123838"/>
                <a:gd name="connsiteY4" fmla="*/ 957377 h 1125538"/>
                <a:gd name="connsiteX5" fmla="*/ 419028 w 1123838"/>
                <a:gd name="connsiteY5" fmla="*/ 949516 h 1125538"/>
                <a:gd name="connsiteX6" fmla="*/ 568366 w 1123838"/>
                <a:gd name="connsiteY6" fmla="*/ 960236 h 1125538"/>
                <a:gd name="connsiteX7" fmla="*/ 797017 w 1123838"/>
                <a:gd name="connsiteY7" fmla="*/ 933795 h 1125538"/>
                <a:gd name="connsiteX8" fmla="*/ 1047818 w 1123838"/>
                <a:gd name="connsiteY8" fmla="*/ 767290 h 1125538"/>
                <a:gd name="connsiteX9" fmla="*/ 1079972 w 1123838"/>
                <a:gd name="connsiteY9" fmla="*/ 730130 h 1125538"/>
                <a:gd name="connsiteX10" fmla="*/ 1074971 w 1123838"/>
                <a:gd name="connsiteY10" fmla="*/ 655810 h 1125538"/>
                <a:gd name="connsiteX11" fmla="*/ 1036386 w 1123838"/>
                <a:gd name="connsiteY11" fmla="*/ 642232 h 1125538"/>
                <a:gd name="connsiteX12" fmla="*/ 999230 w 1123838"/>
                <a:gd name="connsiteY12" fmla="*/ 660097 h 1125538"/>
                <a:gd name="connsiteX13" fmla="*/ 951356 w 1123838"/>
                <a:gd name="connsiteY13" fmla="*/ 713694 h 1125538"/>
                <a:gd name="connsiteX14" fmla="*/ 805591 w 1123838"/>
                <a:gd name="connsiteY14" fmla="*/ 805164 h 1125538"/>
                <a:gd name="connsiteX15" fmla="*/ 608380 w 1123838"/>
                <a:gd name="connsiteY15" fmla="*/ 794445 h 1125538"/>
                <a:gd name="connsiteX16" fmla="*/ 553360 w 1123838"/>
                <a:gd name="connsiteY16" fmla="*/ 772292 h 1125538"/>
                <a:gd name="connsiteX17" fmla="*/ 544071 w 1123838"/>
                <a:gd name="connsiteY17" fmla="*/ 755856 h 1125538"/>
                <a:gd name="connsiteX18" fmla="*/ 557648 w 1123838"/>
                <a:gd name="connsiteY18" fmla="*/ 742278 h 1125538"/>
                <a:gd name="connsiteX19" fmla="*/ 715560 w 1123838"/>
                <a:gd name="connsiteY19" fmla="*/ 726557 h 1125538"/>
                <a:gd name="connsiteX20" fmla="*/ 759146 w 1123838"/>
                <a:gd name="connsiteY20" fmla="*/ 679392 h 1125538"/>
                <a:gd name="connsiteX21" fmla="*/ 713416 w 1123838"/>
                <a:gd name="connsiteY21" fmla="*/ 631513 h 1125538"/>
                <a:gd name="connsiteX22" fmla="*/ 409739 w 1123838"/>
                <a:gd name="connsiteY22" fmla="*/ 615791 h 1125538"/>
                <a:gd name="connsiteX23" fmla="*/ 390213 w 1123838"/>
                <a:gd name="connsiteY23" fmla="*/ 584200 h 1125538"/>
                <a:gd name="connsiteX24" fmla="*/ 393786 w 1123838"/>
                <a:gd name="connsiteY24" fmla="*/ 584200 h 1125538"/>
                <a:gd name="connsiteX25" fmla="*/ 396645 w 1123838"/>
                <a:gd name="connsiteY25" fmla="*/ 584200 h 1125538"/>
                <a:gd name="connsiteX26" fmla="*/ 399504 w 1123838"/>
                <a:gd name="connsiteY26" fmla="*/ 584200 h 1125538"/>
                <a:gd name="connsiteX27" fmla="*/ 403077 w 1123838"/>
                <a:gd name="connsiteY27" fmla="*/ 584200 h 1125538"/>
                <a:gd name="connsiteX28" fmla="*/ 410939 w 1123838"/>
                <a:gd name="connsiteY28" fmla="*/ 584200 h 1125538"/>
                <a:gd name="connsiteX29" fmla="*/ 715390 w 1123838"/>
                <a:gd name="connsiteY29" fmla="*/ 599912 h 1125538"/>
                <a:gd name="connsiteX30" fmla="*/ 780426 w 1123838"/>
                <a:gd name="connsiteY30" fmla="*/ 640619 h 1125538"/>
                <a:gd name="connsiteX31" fmla="*/ 782570 w 1123838"/>
                <a:gd name="connsiteY31" fmla="*/ 644904 h 1125538"/>
                <a:gd name="connsiteX32" fmla="*/ 789002 w 1123838"/>
                <a:gd name="connsiteY32" fmla="*/ 663473 h 1125538"/>
                <a:gd name="connsiteX33" fmla="*/ 790431 w 1123838"/>
                <a:gd name="connsiteY33" fmla="*/ 679184 h 1125538"/>
                <a:gd name="connsiteX34" fmla="*/ 789716 w 1123838"/>
                <a:gd name="connsiteY34" fmla="*/ 684898 h 1125538"/>
                <a:gd name="connsiteX35" fmla="*/ 789716 w 1123838"/>
                <a:gd name="connsiteY35" fmla="*/ 685612 h 1125538"/>
                <a:gd name="connsiteX36" fmla="*/ 789002 w 1123838"/>
                <a:gd name="connsiteY36" fmla="*/ 691325 h 1125538"/>
                <a:gd name="connsiteX37" fmla="*/ 763988 w 1123838"/>
                <a:gd name="connsiteY37" fmla="*/ 738460 h 1125538"/>
                <a:gd name="connsiteX38" fmla="*/ 763273 w 1123838"/>
                <a:gd name="connsiteY38" fmla="*/ 738460 h 1125538"/>
                <a:gd name="connsiteX39" fmla="*/ 758985 w 1123838"/>
                <a:gd name="connsiteY39" fmla="*/ 742031 h 1125538"/>
                <a:gd name="connsiteX40" fmla="*/ 754697 w 1123838"/>
                <a:gd name="connsiteY40" fmla="*/ 744888 h 1125538"/>
                <a:gd name="connsiteX41" fmla="*/ 753983 w 1123838"/>
                <a:gd name="connsiteY41" fmla="*/ 745602 h 1125538"/>
                <a:gd name="connsiteX42" fmla="*/ 749695 w 1123838"/>
                <a:gd name="connsiteY42" fmla="*/ 748458 h 1125538"/>
                <a:gd name="connsiteX43" fmla="*/ 748265 w 1123838"/>
                <a:gd name="connsiteY43" fmla="*/ 749173 h 1125538"/>
                <a:gd name="connsiteX44" fmla="*/ 743263 w 1123838"/>
                <a:gd name="connsiteY44" fmla="*/ 751315 h 1125538"/>
                <a:gd name="connsiteX45" fmla="*/ 742548 w 1123838"/>
                <a:gd name="connsiteY45" fmla="*/ 752029 h 1125538"/>
                <a:gd name="connsiteX46" fmla="*/ 738260 w 1123838"/>
                <a:gd name="connsiteY46" fmla="*/ 753458 h 1125538"/>
                <a:gd name="connsiteX47" fmla="*/ 718964 w 1123838"/>
                <a:gd name="connsiteY47" fmla="*/ 757743 h 1125538"/>
                <a:gd name="connsiteX48" fmla="*/ 624626 w 1123838"/>
                <a:gd name="connsiteY48" fmla="*/ 767027 h 1125538"/>
                <a:gd name="connsiteX49" fmla="*/ 743263 w 1123838"/>
                <a:gd name="connsiteY49" fmla="*/ 784167 h 1125538"/>
                <a:gd name="connsiteX50" fmla="*/ 775423 w 1123838"/>
                <a:gd name="connsiteY50" fmla="*/ 779882 h 1125538"/>
                <a:gd name="connsiteX51" fmla="*/ 785428 w 1123838"/>
                <a:gd name="connsiteY51" fmla="*/ 777739 h 1125538"/>
                <a:gd name="connsiteX52" fmla="*/ 786858 w 1123838"/>
                <a:gd name="connsiteY52" fmla="*/ 777025 h 1125538"/>
                <a:gd name="connsiteX53" fmla="*/ 796863 w 1123838"/>
                <a:gd name="connsiteY53" fmla="*/ 774883 h 1125538"/>
                <a:gd name="connsiteX54" fmla="*/ 826880 w 1123838"/>
                <a:gd name="connsiteY54" fmla="*/ 764170 h 1125538"/>
                <a:gd name="connsiteX55" fmla="*/ 909782 w 1123838"/>
                <a:gd name="connsiteY55" fmla="*/ 711322 h 1125538"/>
                <a:gd name="connsiteX56" fmla="*/ 928363 w 1123838"/>
                <a:gd name="connsiteY56" fmla="*/ 692753 h 1125538"/>
                <a:gd name="connsiteX57" fmla="*/ 975532 w 1123838"/>
                <a:gd name="connsiteY57" fmla="*/ 639191 h 1125538"/>
                <a:gd name="connsiteX58" fmla="*/ 978391 w 1123838"/>
                <a:gd name="connsiteY58" fmla="*/ 635620 h 1125538"/>
                <a:gd name="connsiteX59" fmla="*/ 979105 w 1123838"/>
                <a:gd name="connsiteY59" fmla="*/ 635620 h 1125538"/>
                <a:gd name="connsiteX60" fmla="*/ 1034135 w 1123838"/>
                <a:gd name="connsiteY60" fmla="*/ 610624 h 1125538"/>
                <a:gd name="connsiteX61" fmla="*/ 1034850 w 1123838"/>
                <a:gd name="connsiteY61" fmla="*/ 610624 h 1125538"/>
                <a:gd name="connsiteX62" fmla="*/ 1039138 w 1123838"/>
                <a:gd name="connsiteY62" fmla="*/ 610624 h 1125538"/>
                <a:gd name="connsiteX63" fmla="*/ 1040567 w 1123838"/>
                <a:gd name="connsiteY63" fmla="*/ 610624 h 1125538"/>
                <a:gd name="connsiteX64" fmla="*/ 1079875 w 1123838"/>
                <a:gd name="connsiteY64" fmla="*/ 621337 h 1125538"/>
                <a:gd name="connsiteX65" fmla="*/ 1083448 w 1123838"/>
                <a:gd name="connsiteY65" fmla="*/ 623479 h 1125538"/>
                <a:gd name="connsiteX66" fmla="*/ 1086307 w 1123838"/>
                <a:gd name="connsiteY66" fmla="*/ 624908 h 1125538"/>
                <a:gd name="connsiteX67" fmla="*/ 1087021 w 1123838"/>
                <a:gd name="connsiteY67" fmla="*/ 625622 h 1125538"/>
                <a:gd name="connsiteX68" fmla="*/ 1089880 w 1123838"/>
                <a:gd name="connsiteY68" fmla="*/ 627764 h 1125538"/>
                <a:gd name="connsiteX69" fmla="*/ 1090595 w 1123838"/>
                <a:gd name="connsiteY69" fmla="*/ 628478 h 1125538"/>
                <a:gd name="connsiteX70" fmla="*/ 1092739 w 1123838"/>
                <a:gd name="connsiteY70" fmla="*/ 629907 h 1125538"/>
                <a:gd name="connsiteX71" fmla="*/ 1095597 w 1123838"/>
                <a:gd name="connsiteY71" fmla="*/ 632049 h 1125538"/>
                <a:gd name="connsiteX72" fmla="*/ 1095597 w 1123838"/>
                <a:gd name="connsiteY72" fmla="*/ 632763 h 1125538"/>
                <a:gd name="connsiteX73" fmla="*/ 1103459 w 1123838"/>
                <a:gd name="connsiteY73" fmla="*/ 749887 h 1125538"/>
                <a:gd name="connsiteX74" fmla="*/ 1072013 w 1123838"/>
                <a:gd name="connsiteY74" fmla="*/ 787738 h 1125538"/>
                <a:gd name="connsiteX75" fmla="*/ 966241 w 1123838"/>
                <a:gd name="connsiteY75" fmla="*/ 884150 h 1125538"/>
                <a:gd name="connsiteX76" fmla="*/ 956950 w 1123838"/>
                <a:gd name="connsiteY76" fmla="*/ 890577 h 1125538"/>
                <a:gd name="connsiteX77" fmla="*/ 948374 w 1123838"/>
                <a:gd name="connsiteY77" fmla="*/ 896291 h 1125538"/>
                <a:gd name="connsiteX78" fmla="*/ 806154 w 1123838"/>
                <a:gd name="connsiteY78" fmla="*/ 963422 h 1125538"/>
                <a:gd name="connsiteX79" fmla="*/ 792575 w 1123838"/>
                <a:gd name="connsiteY79" fmla="*/ 967707 h 1125538"/>
                <a:gd name="connsiteX80" fmla="*/ 788287 w 1123838"/>
                <a:gd name="connsiteY80" fmla="*/ 968422 h 1125538"/>
                <a:gd name="connsiteX81" fmla="*/ 779711 w 1123838"/>
                <a:gd name="connsiteY81" fmla="*/ 971278 h 1125538"/>
                <a:gd name="connsiteX82" fmla="*/ 773994 w 1123838"/>
                <a:gd name="connsiteY82" fmla="*/ 972707 h 1125538"/>
                <a:gd name="connsiteX83" fmla="*/ 766132 w 1123838"/>
                <a:gd name="connsiteY83" fmla="*/ 974135 h 1125538"/>
                <a:gd name="connsiteX84" fmla="*/ 759700 w 1123838"/>
                <a:gd name="connsiteY84" fmla="*/ 976277 h 1125538"/>
                <a:gd name="connsiteX85" fmla="*/ 753983 w 1123838"/>
                <a:gd name="connsiteY85" fmla="*/ 976992 h 1125538"/>
                <a:gd name="connsiteX86" fmla="*/ 724681 w 1123838"/>
                <a:gd name="connsiteY86" fmla="*/ 983419 h 1125538"/>
                <a:gd name="connsiteX87" fmla="*/ 721822 w 1123838"/>
                <a:gd name="connsiteY87" fmla="*/ 983419 h 1125538"/>
                <a:gd name="connsiteX88" fmla="*/ 711102 w 1123838"/>
                <a:gd name="connsiteY88" fmla="*/ 985562 h 1125538"/>
                <a:gd name="connsiteX89" fmla="*/ 709673 w 1123838"/>
                <a:gd name="connsiteY89" fmla="*/ 985562 h 1125538"/>
                <a:gd name="connsiteX90" fmla="*/ 650355 w 1123838"/>
                <a:gd name="connsiteY90" fmla="*/ 991989 h 1125538"/>
                <a:gd name="connsiteX91" fmla="*/ 648211 w 1123838"/>
                <a:gd name="connsiteY91" fmla="*/ 991989 h 1125538"/>
                <a:gd name="connsiteX92" fmla="*/ 637491 w 1123838"/>
                <a:gd name="connsiteY92" fmla="*/ 992703 h 1125538"/>
                <a:gd name="connsiteX93" fmla="*/ 635347 w 1123838"/>
                <a:gd name="connsiteY93" fmla="*/ 992703 h 1125538"/>
                <a:gd name="connsiteX94" fmla="*/ 621053 w 1123838"/>
                <a:gd name="connsiteY94" fmla="*/ 992703 h 1125538"/>
                <a:gd name="connsiteX95" fmla="*/ 620338 w 1123838"/>
                <a:gd name="connsiteY95" fmla="*/ 992703 h 1125538"/>
                <a:gd name="connsiteX96" fmla="*/ 612477 w 1123838"/>
                <a:gd name="connsiteY96" fmla="*/ 992703 h 1125538"/>
                <a:gd name="connsiteX97" fmla="*/ 606045 w 1123838"/>
                <a:gd name="connsiteY97" fmla="*/ 992703 h 1125538"/>
                <a:gd name="connsiteX98" fmla="*/ 598898 w 1123838"/>
                <a:gd name="connsiteY98" fmla="*/ 992703 h 1125538"/>
                <a:gd name="connsiteX99" fmla="*/ 592466 w 1123838"/>
                <a:gd name="connsiteY99" fmla="*/ 992703 h 1125538"/>
                <a:gd name="connsiteX100" fmla="*/ 584605 w 1123838"/>
                <a:gd name="connsiteY100" fmla="*/ 991989 h 1125538"/>
                <a:gd name="connsiteX101" fmla="*/ 578887 w 1123838"/>
                <a:gd name="connsiteY101" fmla="*/ 991989 h 1125538"/>
                <a:gd name="connsiteX102" fmla="*/ 566738 w 1123838"/>
                <a:gd name="connsiteY102" fmla="*/ 991275 h 1125538"/>
                <a:gd name="connsiteX103" fmla="*/ 566023 w 1123838"/>
                <a:gd name="connsiteY103" fmla="*/ 991275 h 1125538"/>
                <a:gd name="connsiteX104" fmla="*/ 485265 w 1123838"/>
                <a:gd name="connsiteY104" fmla="*/ 985562 h 1125538"/>
                <a:gd name="connsiteX105" fmla="*/ 416656 w 1123838"/>
                <a:gd name="connsiteY105" fmla="*/ 980562 h 1125538"/>
                <a:gd name="connsiteX106" fmla="*/ 410939 w 1123838"/>
                <a:gd name="connsiteY106" fmla="*/ 980562 h 1125538"/>
                <a:gd name="connsiteX107" fmla="*/ 407365 w 1123838"/>
                <a:gd name="connsiteY107" fmla="*/ 980562 h 1125538"/>
                <a:gd name="connsiteX108" fmla="*/ 393072 w 1123838"/>
                <a:gd name="connsiteY108" fmla="*/ 981991 h 1125538"/>
                <a:gd name="connsiteX109" fmla="*/ 388784 w 1123838"/>
                <a:gd name="connsiteY109" fmla="*/ 982705 h 1125538"/>
                <a:gd name="connsiteX110" fmla="*/ 388784 w 1123838"/>
                <a:gd name="connsiteY110" fmla="*/ 983419 h 1125538"/>
                <a:gd name="connsiteX111" fmla="*/ 384496 w 1123838"/>
                <a:gd name="connsiteY111" fmla="*/ 984133 h 1125538"/>
                <a:gd name="connsiteX112" fmla="*/ 383781 w 1123838"/>
                <a:gd name="connsiteY112" fmla="*/ 984847 h 1125538"/>
                <a:gd name="connsiteX113" fmla="*/ 379493 w 1123838"/>
                <a:gd name="connsiteY113" fmla="*/ 986276 h 1125538"/>
                <a:gd name="connsiteX114" fmla="*/ 21441 w 1123838"/>
                <a:gd name="connsiteY114" fmla="*/ 1124824 h 1125538"/>
                <a:gd name="connsiteX115" fmla="*/ 15723 w 1123838"/>
                <a:gd name="connsiteY115" fmla="*/ 1125538 h 1125538"/>
                <a:gd name="connsiteX116" fmla="*/ 7147 w 1123838"/>
                <a:gd name="connsiteY116" fmla="*/ 1122681 h 1125538"/>
                <a:gd name="connsiteX117" fmla="*/ 0 w 1123838"/>
                <a:gd name="connsiteY117" fmla="*/ 1109826 h 1125538"/>
                <a:gd name="connsiteX118" fmla="*/ 0 w 1123838"/>
                <a:gd name="connsiteY118" fmla="*/ 793451 h 1125538"/>
                <a:gd name="connsiteX119" fmla="*/ 7862 w 1123838"/>
                <a:gd name="connsiteY119" fmla="*/ 779882 h 1125538"/>
                <a:gd name="connsiteX120" fmla="*/ 310169 w 1123838"/>
                <a:gd name="connsiteY120" fmla="*/ 608482 h 1125538"/>
                <a:gd name="connsiteX121" fmla="*/ 315887 w 1123838"/>
                <a:gd name="connsiteY121" fmla="*/ 605625 h 1125538"/>
                <a:gd name="connsiteX122" fmla="*/ 318031 w 1123838"/>
                <a:gd name="connsiteY122" fmla="*/ 604197 h 1125538"/>
                <a:gd name="connsiteX123" fmla="*/ 320889 w 1123838"/>
                <a:gd name="connsiteY123" fmla="*/ 602768 h 1125538"/>
                <a:gd name="connsiteX124" fmla="*/ 324463 w 1123838"/>
                <a:gd name="connsiteY124" fmla="*/ 601340 h 1125538"/>
                <a:gd name="connsiteX125" fmla="*/ 326607 w 1123838"/>
                <a:gd name="connsiteY125" fmla="*/ 599912 h 1125538"/>
                <a:gd name="connsiteX126" fmla="*/ 330180 w 1123838"/>
                <a:gd name="connsiteY126" fmla="*/ 598483 h 1125538"/>
                <a:gd name="connsiteX127" fmla="*/ 332324 w 1123838"/>
                <a:gd name="connsiteY127" fmla="*/ 597769 h 1125538"/>
                <a:gd name="connsiteX128" fmla="*/ 336612 w 1123838"/>
                <a:gd name="connsiteY128" fmla="*/ 596341 h 1125538"/>
                <a:gd name="connsiteX129" fmla="*/ 338042 w 1123838"/>
                <a:gd name="connsiteY129" fmla="*/ 595627 h 1125538"/>
                <a:gd name="connsiteX130" fmla="*/ 342330 w 1123838"/>
                <a:gd name="connsiteY130" fmla="*/ 594198 h 1125538"/>
                <a:gd name="connsiteX131" fmla="*/ 343044 w 1123838"/>
                <a:gd name="connsiteY131" fmla="*/ 593484 h 1125538"/>
                <a:gd name="connsiteX132" fmla="*/ 348047 w 1123838"/>
                <a:gd name="connsiteY132" fmla="*/ 592056 h 1125538"/>
                <a:gd name="connsiteX133" fmla="*/ 348762 w 1123838"/>
                <a:gd name="connsiteY133" fmla="*/ 592056 h 1125538"/>
                <a:gd name="connsiteX134" fmla="*/ 382352 w 1123838"/>
                <a:gd name="connsiteY134" fmla="*/ 584914 h 1125538"/>
                <a:gd name="connsiteX135" fmla="*/ 383781 w 1123838"/>
                <a:gd name="connsiteY135" fmla="*/ 584914 h 1125538"/>
                <a:gd name="connsiteX136" fmla="*/ 387354 w 1123838"/>
                <a:gd name="connsiteY136" fmla="*/ 584914 h 1125538"/>
                <a:gd name="connsiteX137" fmla="*/ 390213 w 1123838"/>
                <a:gd name="connsiteY137" fmla="*/ 584200 h 1125538"/>
                <a:gd name="connsiteX138" fmla="*/ 1046954 w 1123838"/>
                <a:gd name="connsiteY138" fmla="*/ 0 h 1125538"/>
                <a:gd name="connsiteX139" fmla="*/ 1053386 w 1123838"/>
                <a:gd name="connsiteY139" fmla="*/ 5711 h 1125538"/>
                <a:gd name="connsiteX140" fmla="*/ 796124 w 1123838"/>
                <a:gd name="connsiteY140" fmla="*/ 347661 h 1125538"/>
                <a:gd name="connsiteX141" fmla="*/ 789693 w 1123838"/>
                <a:gd name="connsiteY141" fmla="*/ 340522 h 1125538"/>
                <a:gd name="connsiteX142" fmla="*/ 884022 w 1123838"/>
                <a:gd name="connsiteY142" fmla="*/ 138493 h 1125538"/>
                <a:gd name="connsiteX143" fmla="*/ 876876 w 1123838"/>
                <a:gd name="connsiteY143" fmla="*/ 128499 h 1125538"/>
                <a:gd name="connsiteX144" fmla="*/ 829711 w 1123838"/>
                <a:gd name="connsiteY144" fmla="*/ 162051 h 1125538"/>
                <a:gd name="connsiteX145" fmla="*/ 757535 w 1123838"/>
                <a:gd name="connsiteY145" fmla="*/ 279128 h 1125538"/>
                <a:gd name="connsiteX146" fmla="*/ 741099 w 1123838"/>
                <a:gd name="connsiteY146" fmla="*/ 374074 h 1125538"/>
                <a:gd name="connsiteX147" fmla="*/ 740384 w 1123838"/>
                <a:gd name="connsiteY147" fmla="*/ 486154 h 1125538"/>
                <a:gd name="connsiteX148" fmla="*/ 746101 w 1123838"/>
                <a:gd name="connsiteY148" fmla="*/ 574675 h 1125538"/>
                <a:gd name="connsiteX149" fmla="*/ 716802 w 1123838"/>
                <a:gd name="connsiteY149" fmla="*/ 568964 h 1125538"/>
                <a:gd name="connsiteX150" fmla="*/ 673925 w 1123838"/>
                <a:gd name="connsiteY150" fmla="*/ 566822 h 1125538"/>
                <a:gd name="connsiteX151" fmla="*/ 673925 w 1123838"/>
                <a:gd name="connsiteY151" fmla="*/ 546834 h 1125538"/>
                <a:gd name="connsiteX152" fmla="*/ 554584 w 1123838"/>
                <a:gd name="connsiteY152" fmla="*/ 294120 h 1125538"/>
                <a:gd name="connsiteX153" fmla="*/ 547438 w 1123838"/>
                <a:gd name="connsiteY153" fmla="*/ 304114 h 1125538"/>
                <a:gd name="connsiteX154" fmla="*/ 625331 w 1123838"/>
                <a:gd name="connsiteY154" fmla="*/ 457598 h 1125538"/>
                <a:gd name="connsiteX155" fmla="*/ 619614 w 1123838"/>
                <a:gd name="connsiteY155" fmla="*/ 463310 h 1125538"/>
                <a:gd name="connsiteX156" fmla="*/ 344487 w 1123838"/>
                <a:gd name="connsiteY156" fmla="*/ 188465 h 1125538"/>
                <a:gd name="connsiteX157" fmla="*/ 350919 w 1123838"/>
                <a:gd name="connsiteY157" fmla="*/ 182040 h 1125538"/>
                <a:gd name="connsiteX158" fmla="*/ 679642 w 1123838"/>
                <a:gd name="connsiteY158" fmla="*/ 309111 h 1125538"/>
                <a:gd name="connsiteX159" fmla="*/ 691790 w 1123838"/>
                <a:gd name="connsiteY159" fmla="*/ 306256 h 1125538"/>
                <a:gd name="connsiteX160" fmla="*/ 1046954 w 1123838"/>
                <a:gd name="connsiteY160" fmla="*/ 0 h 1125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</a:cxnLst>
              <a:rect l="l" t="t" r="r" b="b"/>
              <a:pathLst>
                <a:path w="1123838" h="1125538">
                  <a:moveTo>
                    <a:pt x="409739" y="615791"/>
                  </a:moveTo>
                  <a:cubicBezTo>
                    <a:pt x="380443" y="614362"/>
                    <a:pt x="351147" y="621508"/>
                    <a:pt x="326138" y="635801"/>
                  </a:cubicBezTo>
                  <a:cubicBezTo>
                    <a:pt x="326138" y="635801"/>
                    <a:pt x="326138" y="635801"/>
                    <a:pt x="31750" y="803020"/>
                  </a:cubicBezTo>
                  <a:cubicBezTo>
                    <a:pt x="31750" y="803020"/>
                    <a:pt x="31750" y="803020"/>
                    <a:pt x="31750" y="1087437"/>
                  </a:cubicBezTo>
                  <a:cubicBezTo>
                    <a:pt x="31750" y="1087437"/>
                    <a:pt x="31750" y="1087437"/>
                    <a:pt x="368296" y="957377"/>
                  </a:cubicBezTo>
                  <a:cubicBezTo>
                    <a:pt x="384730" y="950946"/>
                    <a:pt x="401879" y="948087"/>
                    <a:pt x="419028" y="949516"/>
                  </a:cubicBezTo>
                  <a:cubicBezTo>
                    <a:pt x="419028" y="949516"/>
                    <a:pt x="419028" y="949516"/>
                    <a:pt x="568366" y="960236"/>
                  </a:cubicBezTo>
                  <a:cubicBezTo>
                    <a:pt x="645535" y="965953"/>
                    <a:pt x="722705" y="956663"/>
                    <a:pt x="797017" y="933795"/>
                  </a:cubicBezTo>
                  <a:cubicBezTo>
                    <a:pt x="894908" y="903067"/>
                    <a:pt x="981367" y="845897"/>
                    <a:pt x="1047818" y="767290"/>
                  </a:cubicBezTo>
                  <a:cubicBezTo>
                    <a:pt x="1047818" y="767290"/>
                    <a:pt x="1047818" y="767290"/>
                    <a:pt x="1079972" y="730130"/>
                  </a:cubicBezTo>
                  <a:cubicBezTo>
                    <a:pt x="1098550" y="707977"/>
                    <a:pt x="1096407" y="675104"/>
                    <a:pt x="1074971" y="655810"/>
                  </a:cubicBezTo>
                  <a:cubicBezTo>
                    <a:pt x="1064253" y="646520"/>
                    <a:pt x="1050676" y="641517"/>
                    <a:pt x="1036386" y="642232"/>
                  </a:cubicBezTo>
                  <a:cubicBezTo>
                    <a:pt x="1022095" y="642947"/>
                    <a:pt x="1008519" y="649378"/>
                    <a:pt x="999230" y="660097"/>
                  </a:cubicBezTo>
                  <a:cubicBezTo>
                    <a:pt x="999230" y="660097"/>
                    <a:pt x="999230" y="660097"/>
                    <a:pt x="951356" y="713694"/>
                  </a:cubicBezTo>
                  <a:cubicBezTo>
                    <a:pt x="912771" y="758000"/>
                    <a:pt x="862039" y="789443"/>
                    <a:pt x="805591" y="805164"/>
                  </a:cubicBezTo>
                  <a:cubicBezTo>
                    <a:pt x="740568" y="823744"/>
                    <a:pt x="670544" y="819457"/>
                    <a:pt x="608380" y="794445"/>
                  </a:cubicBezTo>
                  <a:cubicBezTo>
                    <a:pt x="608380" y="794445"/>
                    <a:pt x="608380" y="794445"/>
                    <a:pt x="553360" y="772292"/>
                  </a:cubicBezTo>
                  <a:cubicBezTo>
                    <a:pt x="546930" y="769434"/>
                    <a:pt x="542642" y="763002"/>
                    <a:pt x="544071" y="755856"/>
                  </a:cubicBezTo>
                  <a:cubicBezTo>
                    <a:pt x="544786" y="748710"/>
                    <a:pt x="550502" y="742993"/>
                    <a:pt x="557648" y="742278"/>
                  </a:cubicBezTo>
                  <a:cubicBezTo>
                    <a:pt x="557648" y="742278"/>
                    <a:pt x="557648" y="742278"/>
                    <a:pt x="715560" y="726557"/>
                  </a:cubicBezTo>
                  <a:cubicBezTo>
                    <a:pt x="740568" y="724413"/>
                    <a:pt x="759146" y="703689"/>
                    <a:pt x="759146" y="679392"/>
                  </a:cubicBezTo>
                  <a:cubicBezTo>
                    <a:pt x="759146" y="653666"/>
                    <a:pt x="739139" y="632942"/>
                    <a:pt x="713416" y="631513"/>
                  </a:cubicBezTo>
                  <a:cubicBezTo>
                    <a:pt x="713416" y="631513"/>
                    <a:pt x="713416" y="631513"/>
                    <a:pt x="409739" y="615791"/>
                  </a:cubicBezTo>
                  <a:close/>
                  <a:moveTo>
                    <a:pt x="390213" y="584200"/>
                  </a:moveTo>
                  <a:cubicBezTo>
                    <a:pt x="391642" y="584200"/>
                    <a:pt x="392357" y="584200"/>
                    <a:pt x="393786" y="584200"/>
                  </a:cubicBezTo>
                  <a:cubicBezTo>
                    <a:pt x="394501" y="584200"/>
                    <a:pt x="395930" y="584200"/>
                    <a:pt x="396645" y="584200"/>
                  </a:cubicBezTo>
                  <a:cubicBezTo>
                    <a:pt x="398074" y="584200"/>
                    <a:pt x="398789" y="584200"/>
                    <a:pt x="399504" y="584200"/>
                  </a:cubicBezTo>
                  <a:cubicBezTo>
                    <a:pt x="400933" y="584200"/>
                    <a:pt x="401648" y="584200"/>
                    <a:pt x="403077" y="584200"/>
                  </a:cubicBezTo>
                  <a:cubicBezTo>
                    <a:pt x="405221" y="584200"/>
                    <a:pt x="408080" y="584200"/>
                    <a:pt x="410939" y="584200"/>
                  </a:cubicBezTo>
                  <a:cubicBezTo>
                    <a:pt x="410939" y="584200"/>
                    <a:pt x="410939" y="584200"/>
                    <a:pt x="715390" y="599912"/>
                  </a:cubicBezTo>
                  <a:cubicBezTo>
                    <a:pt x="743263" y="601340"/>
                    <a:pt x="766847" y="617766"/>
                    <a:pt x="780426" y="640619"/>
                  </a:cubicBezTo>
                  <a:cubicBezTo>
                    <a:pt x="781140" y="642048"/>
                    <a:pt x="781855" y="643476"/>
                    <a:pt x="782570" y="644904"/>
                  </a:cubicBezTo>
                  <a:cubicBezTo>
                    <a:pt x="785428" y="650618"/>
                    <a:pt x="787572" y="657045"/>
                    <a:pt x="789002" y="663473"/>
                  </a:cubicBezTo>
                  <a:cubicBezTo>
                    <a:pt x="789716" y="668472"/>
                    <a:pt x="790431" y="673471"/>
                    <a:pt x="790431" y="679184"/>
                  </a:cubicBezTo>
                  <a:cubicBezTo>
                    <a:pt x="790431" y="681327"/>
                    <a:pt x="790431" y="682755"/>
                    <a:pt x="789716" y="684898"/>
                  </a:cubicBezTo>
                  <a:cubicBezTo>
                    <a:pt x="789716" y="684898"/>
                    <a:pt x="789716" y="685612"/>
                    <a:pt x="789716" y="685612"/>
                  </a:cubicBezTo>
                  <a:cubicBezTo>
                    <a:pt x="789716" y="687754"/>
                    <a:pt x="789716" y="689183"/>
                    <a:pt x="789002" y="691325"/>
                  </a:cubicBezTo>
                  <a:cubicBezTo>
                    <a:pt x="786143" y="709893"/>
                    <a:pt x="776852" y="726319"/>
                    <a:pt x="763988" y="738460"/>
                  </a:cubicBezTo>
                  <a:cubicBezTo>
                    <a:pt x="763988" y="738460"/>
                    <a:pt x="763273" y="738460"/>
                    <a:pt x="763273" y="738460"/>
                  </a:cubicBezTo>
                  <a:cubicBezTo>
                    <a:pt x="761844" y="739888"/>
                    <a:pt x="760415" y="740603"/>
                    <a:pt x="758985" y="742031"/>
                  </a:cubicBezTo>
                  <a:cubicBezTo>
                    <a:pt x="757556" y="743459"/>
                    <a:pt x="756127" y="744173"/>
                    <a:pt x="754697" y="744888"/>
                  </a:cubicBezTo>
                  <a:cubicBezTo>
                    <a:pt x="753983" y="745602"/>
                    <a:pt x="753983" y="745602"/>
                    <a:pt x="753983" y="745602"/>
                  </a:cubicBezTo>
                  <a:cubicBezTo>
                    <a:pt x="752553" y="746316"/>
                    <a:pt x="751124" y="747744"/>
                    <a:pt x="749695" y="748458"/>
                  </a:cubicBezTo>
                  <a:cubicBezTo>
                    <a:pt x="748980" y="748458"/>
                    <a:pt x="748265" y="748458"/>
                    <a:pt x="748265" y="749173"/>
                  </a:cubicBezTo>
                  <a:cubicBezTo>
                    <a:pt x="746836" y="749887"/>
                    <a:pt x="745407" y="750601"/>
                    <a:pt x="743263" y="751315"/>
                  </a:cubicBezTo>
                  <a:cubicBezTo>
                    <a:pt x="743263" y="751315"/>
                    <a:pt x="742548" y="751315"/>
                    <a:pt x="742548" y="752029"/>
                  </a:cubicBezTo>
                  <a:cubicBezTo>
                    <a:pt x="741118" y="752029"/>
                    <a:pt x="739689" y="752743"/>
                    <a:pt x="738260" y="753458"/>
                  </a:cubicBezTo>
                  <a:cubicBezTo>
                    <a:pt x="731828" y="755600"/>
                    <a:pt x="725396" y="757028"/>
                    <a:pt x="718964" y="757743"/>
                  </a:cubicBezTo>
                  <a:cubicBezTo>
                    <a:pt x="718964" y="757743"/>
                    <a:pt x="718964" y="757743"/>
                    <a:pt x="624626" y="767027"/>
                  </a:cubicBezTo>
                  <a:cubicBezTo>
                    <a:pt x="662504" y="781310"/>
                    <a:pt x="703241" y="787023"/>
                    <a:pt x="743263" y="784167"/>
                  </a:cubicBezTo>
                  <a:cubicBezTo>
                    <a:pt x="753983" y="783453"/>
                    <a:pt x="764703" y="782024"/>
                    <a:pt x="775423" y="779882"/>
                  </a:cubicBezTo>
                  <a:cubicBezTo>
                    <a:pt x="778996" y="779168"/>
                    <a:pt x="781855" y="778453"/>
                    <a:pt x="785428" y="777739"/>
                  </a:cubicBezTo>
                  <a:cubicBezTo>
                    <a:pt x="786143" y="777739"/>
                    <a:pt x="786143" y="777739"/>
                    <a:pt x="786858" y="777025"/>
                  </a:cubicBezTo>
                  <a:cubicBezTo>
                    <a:pt x="790431" y="776311"/>
                    <a:pt x="793290" y="775597"/>
                    <a:pt x="796863" y="774883"/>
                  </a:cubicBezTo>
                  <a:cubicBezTo>
                    <a:pt x="806869" y="772026"/>
                    <a:pt x="816874" y="768455"/>
                    <a:pt x="826880" y="764170"/>
                  </a:cubicBezTo>
                  <a:cubicBezTo>
                    <a:pt x="857611" y="752029"/>
                    <a:pt x="885483" y="734175"/>
                    <a:pt x="909782" y="711322"/>
                  </a:cubicBezTo>
                  <a:cubicBezTo>
                    <a:pt x="916214" y="705608"/>
                    <a:pt x="921931" y="699181"/>
                    <a:pt x="928363" y="692753"/>
                  </a:cubicBezTo>
                  <a:cubicBezTo>
                    <a:pt x="928363" y="692753"/>
                    <a:pt x="928363" y="692753"/>
                    <a:pt x="975532" y="639191"/>
                  </a:cubicBezTo>
                  <a:cubicBezTo>
                    <a:pt x="976961" y="637763"/>
                    <a:pt x="977676" y="637048"/>
                    <a:pt x="978391" y="635620"/>
                  </a:cubicBezTo>
                  <a:cubicBezTo>
                    <a:pt x="979105" y="635620"/>
                    <a:pt x="979105" y="635620"/>
                    <a:pt x="979105" y="635620"/>
                  </a:cubicBezTo>
                  <a:cubicBezTo>
                    <a:pt x="994114" y="620623"/>
                    <a:pt x="1013410" y="612053"/>
                    <a:pt x="1034135" y="610624"/>
                  </a:cubicBezTo>
                  <a:cubicBezTo>
                    <a:pt x="1034850" y="610624"/>
                    <a:pt x="1034850" y="610624"/>
                    <a:pt x="1034850" y="610624"/>
                  </a:cubicBezTo>
                  <a:cubicBezTo>
                    <a:pt x="1036279" y="610624"/>
                    <a:pt x="1037709" y="610624"/>
                    <a:pt x="1039138" y="610624"/>
                  </a:cubicBezTo>
                  <a:cubicBezTo>
                    <a:pt x="1039138" y="610624"/>
                    <a:pt x="1039853" y="610624"/>
                    <a:pt x="1040567" y="610624"/>
                  </a:cubicBezTo>
                  <a:cubicBezTo>
                    <a:pt x="1054146" y="610624"/>
                    <a:pt x="1067725" y="614909"/>
                    <a:pt x="1079875" y="621337"/>
                  </a:cubicBezTo>
                  <a:cubicBezTo>
                    <a:pt x="1081304" y="622051"/>
                    <a:pt x="1082019" y="622765"/>
                    <a:pt x="1083448" y="623479"/>
                  </a:cubicBezTo>
                  <a:cubicBezTo>
                    <a:pt x="1084877" y="624193"/>
                    <a:pt x="1085592" y="624908"/>
                    <a:pt x="1086307" y="624908"/>
                  </a:cubicBezTo>
                  <a:cubicBezTo>
                    <a:pt x="1087021" y="625622"/>
                    <a:pt x="1087021" y="625622"/>
                    <a:pt x="1087021" y="625622"/>
                  </a:cubicBezTo>
                  <a:cubicBezTo>
                    <a:pt x="1087736" y="626336"/>
                    <a:pt x="1089165" y="627050"/>
                    <a:pt x="1089880" y="627764"/>
                  </a:cubicBezTo>
                  <a:cubicBezTo>
                    <a:pt x="1089880" y="627764"/>
                    <a:pt x="1090595" y="628478"/>
                    <a:pt x="1090595" y="628478"/>
                  </a:cubicBezTo>
                  <a:cubicBezTo>
                    <a:pt x="1091309" y="629193"/>
                    <a:pt x="1092024" y="629193"/>
                    <a:pt x="1092739" y="629907"/>
                  </a:cubicBezTo>
                  <a:cubicBezTo>
                    <a:pt x="1093453" y="630621"/>
                    <a:pt x="1094168" y="631335"/>
                    <a:pt x="1095597" y="632049"/>
                  </a:cubicBezTo>
                  <a:cubicBezTo>
                    <a:pt x="1095597" y="632049"/>
                    <a:pt x="1095597" y="632763"/>
                    <a:pt x="1095597" y="632763"/>
                  </a:cubicBezTo>
                  <a:cubicBezTo>
                    <a:pt x="1129902" y="663473"/>
                    <a:pt x="1133475" y="714893"/>
                    <a:pt x="1103459" y="749887"/>
                  </a:cubicBezTo>
                  <a:cubicBezTo>
                    <a:pt x="1103459" y="749887"/>
                    <a:pt x="1103459" y="749887"/>
                    <a:pt x="1072013" y="787738"/>
                  </a:cubicBezTo>
                  <a:cubicBezTo>
                    <a:pt x="1040567" y="824160"/>
                    <a:pt x="1004834" y="857012"/>
                    <a:pt x="966241" y="884150"/>
                  </a:cubicBezTo>
                  <a:cubicBezTo>
                    <a:pt x="963383" y="886292"/>
                    <a:pt x="959809" y="888435"/>
                    <a:pt x="956950" y="890577"/>
                  </a:cubicBezTo>
                  <a:cubicBezTo>
                    <a:pt x="954092" y="892720"/>
                    <a:pt x="951233" y="894862"/>
                    <a:pt x="948374" y="896291"/>
                  </a:cubicBezTo>
                  <a:cubicBezTo>
                    <a:pt x="904779" y="924857"/>
                    <a:pt x="856896" y="947711"/>
                    <a:pt x="806154" y="963422"/>
                  </a:cubicBezTo>
                  <a:cubicBezTo>
                    <a:pt x="801866" y="964851"/>
                    <a:pt x="797578" y="966279"/>
                    <a:pt x="792575" y="967707"/>
                  </a:cubicBezTo>
                  <a:cubicBezTo>
                    <a:pt x="791146" y="967707"/>
                    <a:pt x="789716" y="968422"/>
                    <a:pt x="788287" y="968422"/>
                  </a:cubicBezTo>
                  <a:cubicBezTo>
                    <a:pt x="785428" y="969136"/>
                    <a:pt x="782570" y="970564"/>
                    <a:pt x="779711" y="971278"/>
                  </a:cubicBezTo>
                  <a:cubicBezTo>
                    <a:pt x="777567" y="971278"/>
                    <a:pt x="775423" y="971992"/>
                    <a:pt x="773994" y="972707"/>
                  </a:cubicBezTo>
                  <a:cubicBezTo>
                    <a:pt x="771135" y="973421"/>
                    <a:pt x="768991" y="973421"/>
                    <a:pt x="766132" y="974135"/>
                  </a:cubicBezTo>
                  <a:cubicBezTo>
                    <a:pt x="763988" y="974849"/>
                    <a:pt x="761844" y="975563"/>
                    <a:pt x="759700" y="976277"/>
                  </a:cubicBezTo>
                  <a:cubicBezTo>
                    <a:pt x="757556" y="976277"/>
                    <a:pt x="756127" y="976992"/>
                    <a:pt x="753983" y="976992"/>
                  </a:cubicBezTo>
                  <a:cubicBezTo>
                    <a:pt x="743977" y="979134"/>
                    <a:pt x="733972" y="981277"/>
                    <a:pt x="724681" y="983419"/>
                  </a:cubicBezTo>
                  <a:cubicBezTo>
                    <a:pt x="723252" y="983419"/>
                    <a:pt x="722537" y="983419"/>
                    <a:pt x="721822" y="983419"/>
                  </a:cubicBezTo>
                  <a:cubicBezTo>
                    <a:pt x="718249" y="984133"/>
                    <a:pt x="714676" y="984847"/>
                    <a:pt x="711102" y="985562"/>
                  </a:cubicBezTo>
                  <a:cubicBezTo>
                    <a:pt x="710387" y="985562"/>
                    <a:pt x="710387" y="985562"/>
                    <a:pt x="709673" y="985562"/>
                  </a:cubicBezTo>
                  <a:cubicBezTo>
                    <a:pt x="689662" y="988418"/>
                    <a:pt x="670366" y="990561"/>
                    <a:pt x="650355" y="991989"/>
                  </a:cubicBezTo>
                  <a:cubicBezTo>
                    <a:pt x="649640" y="991989"/>
                    <a:pt x="648925" y="991989"/>
                    <a:pt x="648211" y="991989"/>
                  </a:cubicBezTo>
                  <a:cubicBezTo>
                    <a:pt x="644637" y="991989"/>
                    <a:pt x="641064" y="991989"/>
                    <a:pt x="637491" y="992703"/>
                  </a:cubicBezTo>
                  <a:cubicBezTo>
                    <a:pt x="636776" y="992703"/>
                    <a:pt x="636061" y="992703"/>
                    <a:pt x="635347" y="992703"/>
                  </a:cubicBezTo>
                  <a:cubicBezTo>
                    <a:pt x="630344" y="992703"/>
                    <a:pt x="626056" y="992703"/>
                    <a:pt x="621053" y="992703"/>
                  </a:cubicBezTo>
                  <a:cubicBezTo>
                    <a:pt x="621053" y="992703"/>
                    <a:pt x="620338" y="992703"/>
                    <a:pt x="620338" y="992703"/>
                  </a:cubicBezTo>
                  <a:cubicBezTo>
                    <a:pt x="617480" y="992703"/>
                    <a:pt x="614621" y="992703"/>
                    <a:pt x="612477" y="992703"/>
                  </a:cubicBezTo>
                  <a:cubicBezTo>
                    <a:pt x="610333" y="992703"/>
                    <a:pt x="608189" y="992703"/>
                    <a:pt x="606045" y="992703"/>
                  </a:cubicBezTo>
                  <a:cubicBezTo>
                    <a:pt x="603901" y="992703"/>
                    <a:pt x="601042" y="992703"/>
                    <a:pt x="598898" y="992703"/>
                  </a:cubicBezTo>
                  <a:cubicBezTo>
                    <a:pt x="596754" y="992703"/>
                    <a:pt x="594610" y="992703"/>
                    <a:pt x="592466" y="992703"/>
                  </a:cubicBezTo>
                  <a:cubicBezTo>
                    <a:pt x="589607" y="992703"/>
                    <a:pt x="587463" y="992703"/>
                    <a:pt x="584605" y="991989"/>
                  </a:cubicBezTo>
                  <a:cubicBezTo>
                    <a:pt x="582461" y="991989"/>
                    <a:pt x="581031" y="991989"/>
                    <a:pt x="578887" y="991989"/>
                  </a:cubicBezTo>
                  <a:cubicBezTo>
                    <a:pt x="575314" y="991989"/>
                    <a:pt x="571026" y="991275"/>
                    <a:pt x="566738" y="991275"/>
                  </a:cubicBezTo>
                  <a:cubicBezTo>
                    <a:pt x="566738" y="991275"/>
                    <a:pt x="566023" y="991275"/>
                    <a:pt x="566023" y="991275"/>
                  </a:cubicBezTo>
                  <a:cubicBezTo>
                    <a:pt x="566023" y="991275"/>
                    <a:pt x="566023" y="991275"/>
                    <a:pt x="485265" y="985562"/>
                  </a:cubicBezTo>
                  <a:cubicBezTo>
                    <a:pt x="485265" y="985562"/>
                    <a:pt x="485265" y="985562"/>
                    <a:pt x="416656" y="980562"/>
                  </a:cubicBezTo>
                  <a:cubicBezTo>
                    <a:pt x="415227" y="980562"/>
                    <a:pt x="413083" y="980562"/>
                    <a:pt x="410939" y="980562"/>
                  </a:cubicBezTo>
                  <a:cubicBezTo>
                    <a:pt x="410224" y="980562"/>
                    <a:pt x="408794" y="980562"/>
                    <a:pt x="407365" y="980562"/>
                  </a:cubicBezTo>
                  <a:cubicBezTo>
                    <a:pt x="402362" y="980562"/>
                    <a:pt x="398074" y="981277"/>
                    <a:pt x="393072" y="981991"/>
                  </a:cubicBezTo>
                  <a:cubicBezTo>
                    <a:pt x="391642" y="982705"/>
                    <a:pt x="390213" y="982705"/>
                    <a:pt x="388784" y="982705"/>
                  </a:cubicBezTo>
                  <a:cubicBezTo>
                    <a:pt x="388784" y="983419"/>
                    <a:pt x="388784" y="983419"/>
                    <a:pt x="388784" y="983419"/>
                  </a:cubicBezTo>
                  <a:cubicBezTo>
                    <a:pt x="387354" y="983419"/>
                    <a:pt x="385925" y="984133"/>
                    <a:pt x="384496" y="984133"/>
                  </a:cubicBezTo>
                  <a:cubicBezTo>
                    <a:pt x="384496" y="984133"/>
                    <a:pt x="384496" y="984133"/>
                    <a:pt x="383781" y="984847"/>
                  </a:cubicBezTo>
                  <a:cubicBezTo>
                    <a:pt x="382352" y="984847"/>
                    <a:pt x="380922" y="985562"/>
                    <a:pt x="379493" y="986276"/>
                  </a:cubicBezTo>
                  <a:cubicBezTo>
                    <a:pt x="379493" y="986276"/>
                    <a:pt x="379493" y="986276"/>
                    <a:pt x="21441" y="1124824"/>
                  </a:cubicBezTo>
                  <a:cubicBezTo>
                    <a:pt x="20011" y="1125538"/>
                    <a:pt x="17867" y="1125538"/>
                    <a:pt x="15723" y="1125538"/>
                  </a:cubicBezTo>
                  <a:cubicBezTo>
                    <a:pt x="12864" y="1125538"/>
                    <a:pt x="10006" y="1124824"/>
                    <a:pt x="7147" y="1122681"/>
                  </a:cubicBezTo>
                  <a:cubicBezTo>
                    <a:pt x="2859" y="1119825"/>
                    <a:pt x="0" y="1114826"/>
                    <a:pt x="0" y="1109826"/>
                  </a:cubicBezTo>
                  <a:cubicBezTo>
                    <a:pt x="0" y="1109826"/>
                    <a:pt x="0" y="1109826"/>
                    <a:pt x="0" y="793451"/>
                  </a:cubicBezTo>
                  <a:cubicBezTo>
                    <a:pt x="0" y="787738"/>
                    <a:pt x="3574" y="782738"/>
                    <a:pt x="7862" y="779882"/>
                  </a:cubicBezTo>
                  <a:cubicBezTo>
                    <a:pt x="7862" y="779882"/>
                    <a:pt x="7862" y="779882"/>
                    <a:pt x="310169" y="608482"/>
                  </a:cubicBezTo>
                  <a:cubicBezTo>
                    <a:pt x="311599" y="607053"/>
                    <a:pt x="313743" y="606339"/>
                    <a:pt x="315887" y="605625"/>
                  </a:cubicBezTo>
                  <a:cubicBezTo>
                    <a:pt x="316601" y="604911"/>
                    <a:pt x="317316" y="604911"/>
                    <a:pt x="318031" y="604197"/>
                  </a:cubicBezTo>
                  <a:cubicBezTo>
                    <a:pt x="318745" y="603483"/>
                    <a:pt x="320175" y="602768"/>
                    <a:pt x="320889" y="602768"/>
                  </a:cubicBezTo>
                  <a:cubicBezTo>
                    <a:pt x="322319" y="602054"/>
                    <a:pt x="323033" y="601340"/>
                    <a:pt x="324463" y="601340"/>
                  </a:cubicBezTo>
                  <a:cubicBezTo>
                    <a:pt x="325177" y="600626"/>
                    <a:pt x="325892" y="600626"/>
                    <a:pt x="326607" y="599912"/>
                  </a:cubicBezTo>
                  <a:cubicBezTo>
                    <a:pt x="328036" y="599198"/>
                    <a:pt x="329466" y="599198"/>
                    <a:pt x="330180" y="598483"/>
                  </a:cubicBezTo>
                  <a:cubicBezTo>
                    <a:pt x="330895" y="598483"/>
                    <a:pt x="331610" y="597769"/>
                    <a:pt x="332324" y="597769"/>
                  </a:cubicBezTo>
                  <a:cubicBezTo>
                    <a:pt x="333754" y="597055"/>
                    <a:pt x="335183" y="596341"/>
                    <a:pt x="336612" y="596341"/>
                  </a:cubicBezTo>
                  <a:cubicBezTo>
                    <a:pt x="336612" y="595627"/>
                    <a:pt x="337327" y="595627"/>
                    <a:pt x="338042" y="595627"/>
                  </a:cubicBezTo>
                  <a:cubicBezTo>
                    <a:pt x="339471" y="594913"/>
                    <a:pt x="340900" y="594198"/>
                    <a:pt x="342330" y="594198"/>
                  </a:cubicBezTo>
                  <a:cubicBezTo>
                    <a:pt x="343044" y="593484"/>
                    <a:pt x="343044" y="593484"/>
                    <a:pt x="343044" y="593484"/>
                  </a:cubicBezTo>
                  <a:cubicBezTo>
                    <a:pt x="345188" y="592770"/>
                    <a:pt x="346618" y="592770"/>
                    <a:pt x="348047" y="592056"/>
                  </a:cubicBezTo>
                  <a:cubicBezTo>
                    <a:pt x="348762" y="592056"/>
                    <a:pt x="348762" y="592056"/>
                    <a:pt x="348762" y="592056"/>
                  </a:cubicBezTo>
                  <a:cubicBezTo>
                    <a:pt x="360197" y="588485"/>
                    <a:pt x="370917" y="586343"/>
                    <a:pt x="382352" y="584914"/>
                  </a:cubicBezTo>
                  <a:cubicBezTo>
                    <a:pt x="383066" y="584914"/>
                    <a:pt x="383781" y="584914"/>
                    <a:pt x="383781" y="584914"/>
                  </a:cubicBezTo>
                  <a:cubicBezTo>
                    <a:pt x="385210" y="584914"/>
                    <a:pt x="386640" y="584914"/>
                    <a:pt x="387354" y="584914"/>
                  </a:cubicBezTo>
                  <a:cubicBezTo>
                    <a:pt x="388784" y="584914"/>
                    <a:pt x="389498" y="584914"/>
                    <a:pt x="390213" y="584200"/>
                  </a:cubicBezTo>
                  <a:close/>
                  <a:moveTo>
                    <a:pt x="1046954" y="0"/>
                  </a:moveTo>
                  <a:cubicBezTo>
                    <a:pt x="1050527" y="0"/>
                    <a:pt x="1053386" y="2142"/>
                    <a:pt x="1053386" y="5711"/>
                  </a:cubicBezTo>
                  <a:cubicBezTo>
                    <a:pt x="1054100" y="52114"/>
                    <a:pt x="1047669" y="342663"/>
                    <a:pt x="796124" y="347661"/>
                  </a:cubicBezTo>
                  <a:cubicBezTo>
                    <a:pt x="792551" y="347661"/>
                    <a:pt x="789693" y="344091"/>
                    <a:pt x="789693" y="340522"/>
                  </a:cubicBezTo>
                  <a:cubicBezTo>
                    <a:pt x="791836" y="316964"/>
                    <a:pt x="803985" y="229870"/>
                    <a:pt x="884022" y="138493"/>
                  </a:cubicBezTo>
                  <a:cubicBezTo>
                    <a:pt x="888309" y="132782"/>
                    <a:pt x="882593" y="124929"/>
                    <a:pt x="876876" y="128499"/>
                  </a:cubicBezTo>
                  <a:cubicBezTo>
                    <a:pt x="859725" y="137779"/>
                    <a:pt x="844003" y="149201"/>
                    <a:pt x="829711" y="162051"/>
                  </a:cubicBezTo>
                  <a:cubicBezTo>
                    <a:pt x="796124" y="194176"/>
                    <a:pt x="771113" y="234867"/>
                    <a:pt x="757535" y="279128"/>
                  </a:cubicBezTo>
                  <a:cubicBezTo>
                    <a:pt x="747530" y="309825"/>
                    <a:pt x="742528" y="341950"/>
                    <a:pt x="741099" y="374074"/>
                  </a:cubicBezTo>
                  <a:cubicBezTo>
                    <a:pt x="738955" y="411196"/>
                    <a:pt x="738240" y="448318"/>
                    <a:pt x="740384" y="486154"/>
                  </a:cubicBezTo>
                  <a:cubicBezTo>
                    <a:pt x="742528" y="506856"/>
                    <a:pt x="748245" y="544692"/>
                    <a:pt x="746101" y="574675"/>
                  </a:cubicBezTo>
                  <a:cubicBezTo>
                    <a:pt x="736811" y="571820"/>
                    <a:pt x="726806" y="569678"/>
                    <a:pt x="716802" y="568964"/>
                  </a:cubicBezTo>
                  <a:cubicBezTo>
                    <a:pt x="716802" y="568964"/>
                    <a:pt x="716802" y="568964"/>
                    <a:pt x="673925" y="566822"/>
                  </a:cubicBezTo>
                  <a:cubicBezTo>
                    <a:pt x="673210" y="558256"/>
                    <a:pt x="673210" y="551117"/>
                    <a:pt x="673925" y="546834"/>
                  </a:cubicBezTo>
                  <a:cubicBezTo>
                    <a:pt x="678213" y="449746"/>
                    <a:pt x="649628" y="339094"/>
                    <a:pt x="554584" y="294120"/>
                  </a:cubicBezTo>
                  <a:cubicBezTo>
                    <a:pt x="547438" y="291264"/>
                    <a:pt x="541721" y="299831"/>
                    <a:pt x="547438" y="304114"/>
                  </a:cubicBezTo>
                  <a:cubicBezTo>
                    <a:pt x="624616" y="373360"/>
                    <a:pt x="626760" y="438324"/>
                    <a:pt x="625331" y="457598"/>
                  </a:cubicBezTo>
                  <a:cubicBezTo>
                    <a:pt x="625331" y="460454"/>
                    <a:pt x="622473" y="463310"/>
                    <a:pt x="619614" y="463310"/>
                  </a:cubicBezTo>
                  <a:cubicBezTo>
                    <a:pt x="369499" y="460454"/>
                    <a:pt x="346631" y="229156"/>
                    <a:pt x="344487" y="188465"/>
                  </a:cubicBezTo>
                  <a:cubicBezTo>
                    <a:pt x="344487" y="184896"/>
                    <a:pt x="347346" y="182040"/>
                    <a:pt x="350919" y="182040"/>
                  </a:cubicBezTo>
                  <a:cubicBezTo>
                    <a:pt x="553870" y="172760"/>
                    <a:pt x="642482" y="233440"/>
                    <a:pt x="679642" y="309111"/>
                  </a:cubicBezTo>
                  <a:cubicBezTo>
                    <a:pt x="683215" y="314822"/>
                    <a:pt x="691790" y="312680"/>
                    <a:pt x="691790" y="306256"/>
                  </a:cubicBezTo>
                  <a:cubicBezTo>
                    <a:pt x="698222" y="184896"/>
                    <a:pt x="743957" y="2142"/>
                    <a:pt x="1046954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46" name="Oval 20">
            <a:extLst>
              <a:ext uri="{FF2B5EF4-FFF2-40B4-BE49-F238E27FC236}">
                <a16:creationId xmlns:a16="http://schemas.microsoft.com/office/drawing/2014/main" id="{3B042C7A-D270-4286-B7E4-72B795FCF27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1021370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1</a:t>
            </a:r>
          </a:p>
        </p:txBody>
      </p:sp>
      <p:sp>
        <p:nvSpPr>
          <p:cNvPr id="47" name="Oval 20">
            <a:extLst>
              <a:ext uri="{FF2B5EF4-FFF2-40B4-BE49-F238E27FC236}">
                <a16:creationId xmlns:a16="http://schemas.microsoft.com/office/drawing/2014/main" id="{2CED4ED5-C531-4055-AB52-6F00D637A71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1423573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2</a:t>
            </a: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C094412F-6694-4303-9570-7360885FDB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1636948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3</a:t>
            </a:r>
          </a:p>
        </p:txBody>
      </p:sp>
      <p:sp>
        <p:nvSpPr>
          <p:cNvPr id="49" name="Oval 20">
            <a:extLst>
              <a:ext uri="{FF2B5EF4-FFF2-40B4-BE49-F238E27FC236}">
                <a16:creationId xmlns:a16="http://schemas.microsoft.com/office/drawing/2014/main" id="{DADECD63-85C5-4BE0-9C8B-1EA58769F5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2605405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4</a:t>
            </a:r>
          </a:p>
        </p:txBody>
      </p:sp>
      <p:sp>
        <p:nvSpPr>
          <p:cNvPr id="50" name="Oval 20">
            <a:extLst>
              <a:ext uri="{FF2B5EF4-FFF2-40B4-BE49-F238E27FC236}">
                <a16:creationId xmlns:a16="http://schemas.microsoft.com/office/drawing/2014/main" id="{C3F3BB37-8243-46C2-BCB4-B6349FDDF3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4105809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5</a:t>
            </a:r>
          </a:p>
        </p:txBody>
      </p:sp>
      <p:sp>
        <p:nvSpPr>
          <p:cNvPr id="51" name="Oval 20">
            <a:extLst>
              <a:ext uri="{FF2B5EF4-FFF2-40B4-BE49-F238E27FC236}">
                <a16:creationId xmlns:a16="http://schemas.microsoft.com/office/drawing/2014/main" id="{7AF05A80-4CF7-460A-AB58-2DAF4328F84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4736140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6</a:t>
            </a:r>
          </a:p>
        </p:txBody>
      </p:sp>
      <p:sp>
        <p:nvSpPr>
          <p:cNvPr id="52" name="Oval 20">
            <a:extLst>
              <a:ext uri="{FF2B5EF4-FFF2-40B4-BE49-F238E27FC236}">
                <a16:creationId xmlns:a16="http://schemas.microsoft.com/office/drawing/2014/main" id="{CB9A6604-1112-4B90-85F9-C16F65ACE8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4952339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7</a:t>
            </a:r>
          </a:p>
        </p:txBody>
      </p:sp>
      <p:sp>
        <p:nvSpPr>
          <p:cNvPr id="53" name="Oval 20">
            <a:extLst>
              <a:ext uri="{FF2B5EF4-FFF2-40B4-BE49-F238E27FC236}">
                <a16:creationId xmlns:a16="http://schemas.microsoft.com/office/drawing/2014/main" id="{6AD258D5-53ED-410D-A3E4-71BB8B9E2C4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5168538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8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A1CEFE1-15E3-42B2-B6C6-6093758A36C1}"/>
              </a:ext>
            </a:extLst>
          </p:cNvPr>
          <p:cNvSpPr txBox="1"/>
          <p:nvPr/>
        </p:nvSpPr>
        <p:spPr>
          <a:xfrm>
            <a:off x="4673599" y="2962078"/>
            <a:ext cx="1806565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lumMod val="10000"/>
                    <a:lumOff val="9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r>
              <a:rPr lang="en-US" sz="1800" err="1">
                <a:solidFill>
                  <a:schemeClr val="tx2"/>
                </a:solidFill>
                <a:sym typeface="Trebuchet MS" panose="020B0603020202020204" pitchFamily="34" charset="0"/>
              </a:rPr>
              <a:t>ARPA</a:t>
            </a:r>
            <a:r>
              <a:rPr lang="en-US" sz="1800">
                <a:solidFill>
                  <a:schemeClr val="tx2"/>
                </a:solidFill>
                <a:sym typeface="Trebuchet MS" panose="020B0603020202020204" pitchFamily="34" charset="0"/>
              </a:rPr>
              <a:t> pipeline </a:t>
            </a:r>
          </a:p>
          <a:p>
            <a:r>
              <a:rPr lang="en-US">
                <a:solidFill>
                  <a:schemeClr val="tx2"/>
                </a:solidFill>
                <a:sym typeface="Trebuchet MS" panose="020B0603020202020204" pitchFamily="34" charset="0"/>
              </a:rPr>
              <a:t>training </a:t>
            </a:r>
            <a:r>
              <a:rPr lang="en-US" sz="1800">
                <a:solidFill>
                  <a:schemeClr val="tx2"/>
                </a:solidFill>
                <a:sym typeface="Trebuchet MS" panose="020B0603020202020204" pitchFamily="34" charset="0"/>
              </a:rPr>
              <a:t>grants</a:t>
            </a:r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C39A085-9BD4-4A47-8CD6-E4D65C723EE2}"/>
              </a:ext>
            </a:extLst>
          </p:cNvPr>
          <p:cNvGrpSpPr/>
          <p:nvPr/>
        </p:nvGrpSpPr>
        <p:grpSpPr>
          <a:xfrm>
            <a:off x="3567851" y="1313980"/>
            <a:ext cx="908258" cy="1008757"/>
            <a:chOff x="3472484" y="1208060"/>
            <a:chExt cx="1098992" cy="1220596"/>
          </a:xfrm>
        </p:grpSpPr>
        <p:sp>
          <p:nvSpPr>
            <p:cNvPr id="6" name="Right Triangle 5">
              <a:extLst>
                <a:ext uri="{FF2B5EF4-FFF2-40B4-BE49-F238E27FC236}">
                  <a16:creationId xmlns:a16="http://schemas.microsoft.com/office/drawing/2014/main" id="{B03145F6-C57D-4646-89BE-0CAAE7DDA7F1}"/>
                </a:ext>
              </a:extLst>
            </p:cNvPr>
            <p:cNvSpPr/>
            <p:nvPr/>
          </p:nvSpPr>
          <p:spPr>
            <a:xfrm flipH="1" flipV="1">
              <a:off x="3472484" y="2307049"/>
              <a:ext cx="604216" cy="121607"/>
            </a:xfrm>
            <a:prstGeom prst="rtTriangle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 cap="rnd" cmpd="sng" algn="ctr">
              <a:solidFill>
                <a:schemeClr val="accent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A26D8D66-B9CF-44C9-B9BD-11FF83A42976}"/>
                </a:ext>
              </a:extLst>
            </p:cNvPr>
            <p:cNvSpPr/>
            <p:nvPr/>
          </p:nvSpPr>
          <p:spPr>
            <a:xfrm>
              <a:off x="3472485" y="1208060"/>
              <a:ext cx="1098991" cy="1098991"/>
            </a:xfrm>
            <a:prstGeom prst="rect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+mn-lt"/>
              </a:endParaRP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2CBB2DE1-66D3-41F3-A491-88730419448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01966" y="1337946"/>
              <a:ext cx="840029" cy="839218"/>
              <a:chOff x="6464300" y="2606675"/>
              <a:chExt cx="1646238" cy="1644650"/>
            </a:xfrm>
          </p:grpSpPr>
          <p:sp>
            <p:nvSpPr>
              <p:cNvPr id="96" name="AutoShape 3">
                <a:extLst>
                  <a:ext uri="{FF2B5EF4-FFF2-40B4-BE49-F238E27FC236}">
                    <a16:creationId xmlns:a16="http://schemas.microsoft.com/office/drawing/2014/main" id="{E53DA1B2-4EE7-470C-82D5-C129EF95DCD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7E375357-D358-4123-813F-DC8B5ED1484A}"/>
                  </a:ext>
                </a:extLst>
              </p:cNvPr>
              <p:cNvGrpSpPr/>
              <p:nvPr/>
            </p:nvGrpSpPr>
            <p:grpSpPr>
              <a:xfrm>
                <a:off x="6729413" y="2881312"/>
                <a:ext cx="1146175" cy="1125538"/>
                <a:chOff x="6729413" y="2881312"/>
                <a:chExt cx="1146175" cy="1125538"/>
              </a:xfrm>
            </p:grpSpPr>
            <p:sp>
              <p:nvSpPr>
                <p:cNvPr id="98" name="Freeform 10">
                  <a:extLst>
                    <a:ext uri="{FF2B5EF4-FFF2-40B4-BE49-F238E27FC236}">
                      <a16:creationId xmlns:a16="http://schemas.microsoft.com/office/drawing/2014/main" id="{159C4DA7-B0AA-44C3-B527-30DDAFA593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89763" y="2944813"/>
                  <a:ext cx="822325" cy="336550"/>
                </a:xfrm>
                <a:custGeom>
                  <a:avLst/>
                  <a:gdLst>
                    <a:gd name="connsiteX0" fmla="*/ 485775 w 822325"/>
                    <a:gd name="connsiteY0" fmla="*/ 0 h 336550"/>
                    <a:gd name="connsiteX1" fmla="*/ 779453 w 822325"/>
                    <a:gd name="connsiteY1" fmla="*/ 0 h 336550"/>
                    <a:gd name="connsiteX2" fmla="*/ 822325 w 822325"/>
                    <a:gd name="connsiteY2" fmla="*/ 39134 h 336550"/>
                    <a:gd name="connsiteX3" fmla="*/ 822325 w 822325"/>
                    <a:gd name="connsiteY3" fmla="*/ 300974 h 336550"/>
                    <a:gd name="connsiteX4" fmla="*/ 780167 w 822325"/>
                    <a:gd name="connsiteY4" fmla="*/ 336550 h 336550"/>
                    <a:gd name="connsiteX5" fmla="*/ 487919 w 822325"/>
                    <a:gd name="connsiteY5" fmla="*/ 336550 h 336550"/>
                    <a:gd name="connsiteX6" fmla="*/ 552228 w 822325"/>
                    <a:gd name="connsiteY6" fmla="*/ 169342 h 336550"/>
                    <a:gd name="connsiteX7" fmla="*/ 485775 w 822325"/>
                    <a:gd name="connsiteY7" fmla="*/ 0 h 336550"/>
                    <a:gd name="connsiteX8" fmla="*/ 41444 w 822325"/>
                    <a:gd name="connsiteY8" fmla="*/ 0 h 336550"/>
                    <a:gd name="connsiteX9" fmla="*/ 336550 w 822325"/>
                    <a:gd name="connsiteY9" fmla="*/ 0 h 336550"/>
                    <a:gd name="connsiteX10" fmla="*/ 269383 w 822325"/>
                    <a:gd name="connsiteY10" fmla="*/ 169342 h 336550"/>
                    <a:gd name="connsiteX11" fmla="*/ 334407 w 822325"/>
                    <a:gd name="connsiteY11" fmla="*/ 336550 h 336550"/>
                    <a:gd name="connsiteX12" fmla="*/ 40729 w 822325"/>
                    <a:gd name="connsiteY12" fmla="*/ 336550 h 336550"/>
                    <a:gd name="connsiteX13" fmla="*/ 0 w 822325"/>
                    <a:gd name="connsiteY13" fmla="*/ 301686 h 336550"/>
                    <a:gd name="connsiteX14" fmla="*/ 0 w 822325"/>
                    <a:gd name="connsiteY14" fmla="*/ 39134 h 336550"/>
                    <a:gd name="connsiteX15" fmla="*/ 41444 w 822325"/>
                    <a:gd name="connsiteY15" fmla="*/ 0 h 336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822325" h="336550">
                      <a:moveTo>
                        <a:pt x="485775" y="0"/>
                      </a:moveTo>
                      <a:cubicBezTo>
                        <a:pt x="485775" y="0"/>
                        <a:pt x="485775" y="0"/>
                        <a:pt x="779453" y="0"/>
                      </a:cubicBezTo>
                      <a:cubicBezTo>
                        <a:pt x="782311" y="21346"/>
                        <a:pt x="800174" y="38422"/>
                        <a:pt x="822325" y="39134"/>
                      </a:cubicBezTo>
                      <a:cubicBezTo>
                        <a:pt x="822325" y="39134"/>
                        <a:pt x="822325" y="39134"/>
                        <a:pt x="822325" y="300974"/>
                      </a:cubicBezTo>
                      <a:cubicBezTo>
                        <a:pt x="801603" y="301686"/>
                        <a:pt x="784454" y="316628"/>
                        <a:pt x="780167" y="336550"/>
                      </a:cubicBezTo>
                      <a:cubicBezTo>
                        <a:pt x="780167" y="336550"/>
                        <a:pt x="780167" y="336550"/>
                        <a:pt x="487919" y="336550"/>
                      </a:cubicBezTo>
                      <a:cubicBezTo>
                        <a:pt x="522932" y="298839"/>
                        <a:pt x="552228" y="237649"/>
                        <a:pt x="552228" y="169342"/>
                      </a:cubicBezTo>
                      <a:cubicBezTo>
                        <a:pt x="552228" y="99613"/>
                        <a:pt x="522217" y="37711"/>
                        <a:pt x="485775" y="0"/>
                      </a:cubicBezTo>
                      <a:close/>
                      <a:moveTo>
                        <a:pt x="41444" y="0"/>
                      </a:moveTo>
                      <a:lnTo>
                        <a:pt x="336550" y="0"/>
                      </a:lnTo>
                      <a:cubicBezTo>
                        <a:pt x="300109" y="37711"/>
                        <a:pt x="269383" y="99613"/>
                        <a:pt x="269383" y="169342"/>
                      </a:cubicBezTo>
                      <a:cubicBezTo>
                        <a:pt x="269383" y="237649"/>
                        <a:pt x="299394" y="298839"/>
                        <a:pt x="334407" y="336550"/>
                      </a:cubicBezTo>
                      <a:cubicBezTo>
                        <a:pt x="334407" y="336550"/>
                        <a:pt x="334407" y="336550"/>
                        <a:pt x="40729" y="336550"/>
                      </a:cubicBezTo>
                      <a:cubicBezTo>
                        <a:pt x="37157" y="317339"/>
                        <a:pt x="20007" y="303109"/>
                        <a:pt x="0" y="301686"/>
                      </a:cubicBezTo>
                      <a:cubicBezTo>
                        <a:pt x="0" y="301686"/>
                        <a:pt x="0" y="301686"/>
                        <a:pt x="0" y="39134"/>
                      </a:cubicBezTo>
                      <a:cubicBezTo>
                        <a:pt x="21437" y="37711"/>
                        <a:pt x="38586" y="20634"/>
                        <a:pt x="4144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99" name="Freeform 11">
                  <a:extLst>
                    <a:ext uri="{FF2B5EF4-FFF2-40B4-BE49-F238E27FC236}">
                      <a16:creationId xmlns:a16="http://schemas.microsoft.com/office/drawing/2014/main" id="{9A59669C-196D-4658-9521-B322A9B155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29413" y="2881312"/>
                  <a:ext cx="1146175" cy="1125538"/>
                </a:xfrm>
                <a:custGeom>
                  <a:avLst/>
                  <a:gdLst>
                    <a:gd name="connsiteX0" fmla="*/ 409739 w 1146175"/>
                    <a:gd name="connsiteY0" fmla="*/ 615791 h 1125538"/>
                    <a:gd name="connsiteX1" fmla="*/ 326138 w 1146175"/>
                    <a:gd name="connsiteY1" fmla="*/ 635801 h 1125538"/>
                    <a:gd name="connsiteX2" fmla="*/ 31750 w 1146175"/>
                    <a:gd name="connsiteY2" fmla="*/ 803020 h 1125538"/>
                    <a:gd name="connsiteX3" fmla="*/ 31750 w 1146175"/>
                    <a:gd name="connsiteY3" fmla="*/ 1087437 h 1125538"/>
                    <a:gd name="connsiteX4" fmla="*/ 368296 w 1146175"/>
                    <a:gd name="connsiteY4" fmla="*/ 957377 h 1125538"/>
                    <a:gd name="connsiteX5" fmla="*/ 419028 w 1146175"/>
                    <a:gd name="connsiteY5" fmla="*/ 949516 h 1125538"/>
                    <a:gd name="connsiteX6" fmla="*/ 568366 w 1146175"/>
                    <a:gd name="connsiteY6" fmla="*/ 960236 h 1125538"/>
                    <a:gd name="connsiteX7" fmla="*/ 797017 w 1146175"/>
                    <a:gd name="connsiteY7" fmla="*/ 933795 h 1125538"/>
                    <a:gd name="connsiteX8" fmla="*/ 1047818 w 1146175"/>
                    <a:gd name="connsiteY8" fmla="*/ 767290 h 1125538"/>
                    <a:gd name="connsiteX9" fmla="*/ 1079972 w 1146175"/>
                    <a:gd name="connsiteY9" fmla="*/ 730130 h 1125538"/>
                    <a:gd name="connsiteX10" fmla="*/ 1074971 w 1146175"/>
                    <a:gd name="connsiteY10" fmla="*/ 655810 h 1125538"/>
                    <a:gd name="connsiteX11" fmla="*/ 1036386 w 1146175"/>
                    <a:gd name="connsiteY11" fmla="*/ 642232 h 1125538"/>
                    <a:gd name="connsiteX12" fmla="*/ 999230 w 1146175"/>
                    <a:gd name="connsiteY12" fmla="*/ 660097 h 1125538"/>
                    <a:gd name="connsiteX13" fmla="*/ 951356 w 1146175"/>
                    <a:gd name="connsiteY13" fmla="*/ 713694 h 1125538"/>
                    <a:gd name="connsiteX14" fmla="*/ 805591 w 1146175"/>
                    <a:gd name="connsiteY14" fmla="*/ 805164 h 1125538"/>
                    <a:gd name="connsiteX15" fmla="*/ 608380 w 1146175"/>
                    <a:gd name="connsiteY15" fmla="*/ 794445 h 1125538"/>
                    <a:gd name="connsiteX16" fmla="*/ 553360 w 1146175"/>
                    <a:gd name="connsiteY16" fmla="*/ 772292 h 1125538"/>
                    <a:gd name="connsiteX17" fmla="*/ 544071 w 1146175"/>
                    <a:gd name="connsiteY17" fmla="*/ 755856 h 1125538"/>
                    <a:gd name="connsiteX18" fmla="*/ 557648 w 1146175"/>
                    <a:gd name="connsiteY18" fmla="*/ 742278 h 1125538"/>
                    <a:gd name="connsiteX19" fmla="*/ 715560 w 1146175"/>
                    <a:gd name="connsiteY19" fmla="*/ 726557 h 1125538"/>
                    <a:gd name="connsiteX20" fmla="*/ 759146 w 1146175"/>
                    <a:gd name="connsiteY20" fmla="*/ 679392 h 1125538"/>
                    <a:gd name="connsiteX21" fmla="*/ 713416 w 1146175"/>
                    <a:gd name="connsiteY21" fmla="*/ 631513 h 1125538"/>
                    <a:gd name="connsiteX22" fmla="*/ 409739 w 1146175"/>
                    <a:gd name="connsiteY22" fmla="*/ 615791 h 1125538"/>
                    <a:gd name="connsiteX23" fmla="*/ 390213 w 1146175"/>
                    <a:gd name="connsiteY23" fmla="*/ 584200 h 1125538"/>
                    <a:gd name="connsiteX24" fmla="*/ 393786 w 1146175"/>
                    <a:gd name="connsiteY24" fmla="*/ 584200 h 1125538"/>
                    <a:gd name="connsiteX25" fmla="*/ 396645 w 1146175"/>
                    <a:gd name="connsiteY25" fmla="*/ 584200 h 1125538"/>
                    <a:gd name="connsiteX26" fmla="*/ 399504 w 1146175"/>
                    <a:gd name="connsiteY26" fmla="*/ 584200 h 1125538"/>
                    <a:gd name="connsiteX27" fmla="*/ 403077 w 1146175"/>
                    <a:gd name="connsiteY27" fmla="*/ 584200 h 1125538"/>
                    <a:gd name="connsiteX28" fmla="*/ 410939 w 1146175"/>
                    <a:gd name="connsiteY28" fmla="*/ 584200 h 1125538"/>
                    <a:gd name="connsiteX29" fmla="*/ 715390 w 1146175"/>
                    <a:gd name="connsiteY29" fmla="*/ 599912 h 1125538"/>
                    <a:gd name="connsiteX30" fmla="*/ 780426 w 1146175"/>
                    <a:gd name="connsiteY30" fmla="*/ 640619 h 1125538"/>
                    <a:gd name="connsiteX31" fmla="*/ 782570 w 1146175"/>
                    <a:gd name="connsiteY31" fmla="*/ 644904 h 1125538"/>
                    <a:gd name="connsiteX32" fmla="*/ 789002 w 1146175"/>
                    <a:gd name="connsiteY32" fmla="*/ 663473 h 1125538"/>
                    <a:gd name="connsiteX33" fmla="*/ 790431 w 1146175"/>
                    <a:gd name="connsiteY33" fmla="*/ 679184 h 1125538"/>
                    <a:gd name="connsiteX34" fmla="*/ 789716 w 1146175"/>
                    <a:gd name="connsiteY34" fmla="*/ 684898 h 1125538"/>
                    <a:gd name="connsiteX35" fmla="*/ 789716 w 1146175"/>
                    <a:gd name="connsiteY35" fmla="*/ 685612 h 1125538"/>
                    <a:gd name="connsiteX36" fmla="*/ 789002 w 1146175"/>
                    <a:gd name="connsiteY36" fmla="*/ 691325 h 1125538"/>
                    <a:gd name="connsiteX37" fmla="*/ 763988 w 1146175"/>
                    <a:gd name="connsiteY37" fmla="*/ 738460 h 1125538"/>
                    <a:gd name="connsiteX38" fmla="*/ 763273 w 1146175"/>
                    <a:gd name="connsiteY38" fmla="*/ 738460 h 1125538"/>
                    <a:gd name="connsiteX39" fmla="*/ 758985 w 1146175"/>
                    <a:gd name="connsiteY39" fmla="*/ 742031 h 1125538"/>
                    <a:gd name="connsiteX40" fmla="*/ 754697 w 1146175"/>
                    <a:gd name="connsiteY40" fmla="*/ 744888 h 1125538"/>
                    <a:gd name="connsiteX41" fmla="*/ 753983 w 1146175"/>
                    <a:gd name="connsiteY41" fmla="*/ 745602 h 1125538"/>
                    <a:gd name="connsiteX42" fmla="*/ 749695 w 1146175"/>
                    <a:gd name="connsiteY42" fmla="*/ 748458 h 1125538"/>
                    <a:gd name="connsiteX43" fmla="*/ 748265 w 1146175"/>
                    <a:gd name="connsiteY43" fmla="*/ 749173 h 1125538"/>
                    <a:gd name="connsiteX44" fmla="*/ 743263 w 1146175"/>
                    <a:gd name="connsiteY44" fmla="*/ 751315 h 1125538"/>
                    <a:gd name="connsiteX45" fmla="*/ 742548 w 1146175"/>
                    <a:gd name="connsiteY45" fmla="*/ 752029 h 1125538"/>
                    <a:gd name="connsiteX46" fmla="*/ 738260 w 1146175"/>
                    <a:gd name="connsiteY46" fmla="*/ 753458 h 1125538"/>
                    <a:gd name="connsiteX47" fmla="*/ 718964 w 1146175"/>
                    <a:gd name="connsiteY47" fmla="*/ 757743 h 1125538"/>
                    <a:gd name="connsiteX48" fmla="*/ 624626 w 1146175"/>
                    <a:gd name="connsiteY48" fmla="*/ 767027 h 1125538"/>
                    <a:gd name="connsiteX49" fmla="*/ 743263 w 1146175"/>
                    <a:gd name="connsiteY49" fmla="*/ 784167 h 1125538"/>
                    <a:gd name="connsiteX50" fmla="*/ 775423 w 1146175"/>
                    <a:gd name="connsiteY50" fmla="*/ 779882 h 1125538"/>
                    <a:gd name="connsiteX51" fmla="*/ 785428 w 1146175"/>
                    <a:gd name="connsiteY51" fmla="*/ 777739 h 1125538"/>
                    <a:gd name="connsiteX52" fmla="*/ 786858 w 1146175"/>
                    <a:gd name="connsiteY52" fmla="*/ 777025 h 1125538"/>
                    <a:gd name="connsiteX53" fmla="*/ 796863 w 1146175"/>
                    <a:gd name="connsiteY53" fmla="*/ 774883 h 1125538"/>
                    <a:gd name="connsiteX54" fmla="*/ 826880 w 1146175"/>
                    <a:gd name="connsiteY54" fmla="*/ 764170 h 1125538"/>
                    <a:gd name="connsiteX55" fmla="*/ 909782 w 1146175"/>
                    <a:gd name="connsiteY55" fmla="*/ 711322 h 1125538"/>
                    <a:gd name="connsiteX56" fmla="*/ 928363 w 1146175"/>
                    <a:gd name="connsiteY56" fmla="*/ 692753 h 1125538"/>
                    <a:gd name="connsiteX57" fmla="*/ 975532 w 1146175"/>
                    <a:gd name="connsiteY57" fmla="*/ 639191 h 1125538"/>
                    <a:gd name="connsiteX58" fmla="*/ 978391 w 1146175"/>
                    <a:gd name="connsiteY58" fmla="*/ 635620 h 1125538"/>
                    <a:gd name="connsiteX59" fmla="*/ 979105 w 1146175"/>
                    <a:gd name="connsiteY59" fmla="*/ 635620 h 1125538"/>
                    <a:gd name="connsiteX60" fmla="*/ 1034135 w 1146175"/>
                    <a:gd name="connsiteY60" fmla="*/ 610624 h 1125538"/>
                    <a:gd name="connsiteX61" fmla="*/ 1034850 w 1146175"/>
                    <a:gd name="connsiteY61" fmla="*/ 610624 h 1125538"/>
                    <a:gd name="connsiteX62" fmla="*/ 1039138 w 1146175"/>
                    <a:gd name="connsiteY62" fmla="*/ 610624 h 1125538"/>
                    <a:gd name="connsiteX63" fmla="*/ 1040567 w 1146175"/>
                    <a:gd name="connsiteY63" fmla="*/ 610624 h 1125538"/>
                    <a:gd name="connsiteX64" fmla="*/ 1079875 w 1146175"/>
                    <a:gd name="connsiteY64" fmla="*/ 621337 h 1125538"/>
                    <a:gd name="connsiteX65" fmla="*/ 1083448 w 1146175"/>
                    <a:gd name="connsiteY65" fmla="*/ 623479 h 1125538"/>
                    <a:gd name="connsiteX66" fmla="*/ 1086307 w 1146175"/>
                    <a:gd name="connsiteY66" fmla="*/ 624908 h 1125538"/>
                    <a:gd name="connsiteX67" fmla="*/ 1087021 w 1146175"/>
                    <a:gd name="connsiteY67" fmla="*/ 625622 h 1125538"/>
                    <a:gd name="connsiteX68" fmla="*/ 1089880 w 1146175"/>
                    <a:gd name="connsiteY68" fmla="*/ 627764 h 1125538"/>
                    <a:gd name="connsiteX69" fmla="*/ 1090595 w 1146175"/>
                    <a:gd name="connsiteY69" fmla="*/ 628478 h 1125538"/>
                    <a:gd name="connsiteX70" fmla="*/ 1092739 w 1146175"/>
                    <a:gd name="connsiteY70" fmla="*/ 629907 h 1125538"/>
                    <a:gd name="connsiteX71" fmla="*/ 1095597 w 1146175"/>
                    <a:gd name="connsiteY71" fmla="*/ 632049 h 1125538"/>
                    <a:gd name="connsiteX72" fmla="*/ 1095597 w 1146175"/>
                    <a:gd name="connsiteY72" fmla="*/ 632763 h 1125538"/>
                    <a:gd name="connsiteX73" fmla="*/ 1103459 w 1146175"/>
                    <a:gd name="connsiteY73" fmla="*/ 749887 h 1125538"/>
                    <a:gd name="connsiteX74" fmla="*/ 1072013 w 1146175"/>
                    <a:gd name="connsiteY74" fmla="*/ 787738 h 1125538"/>
                    <a:gd name="connsiteX75" fmla="*/ 966241 w 1146175"/>
                    <a:gd name="connsiteY75" fmla="*/ 884150 h 1125538"/>
                    <a:gd name="connsiteX76" fmla="*/ 956950 w 1146175"/>
                    <a:gd name="connsiteY76" fmla="*/ 890577 h 1125538"/>
                    <a:gd name="connsiteX77" fmla="*/ 948374 w 1146175"/>
                    <a:gd name="connsiteY77" fmla="*/ 896291 h 1125538"/>
                    <a:gd name="connsiteX78" fmla="*/ 806154 w 1146175"/>
                    <a:gd name="connsiteY78" fmla="*/ 963422 h 1125538"/>
                    <a:gd name="connsiteX79" fmla="*/ 792575 w 1146175"/>
                    <a:gd name="connsiteY79" fmla="*/ 967707 h 1125538"/>
                    <a:gd name="connsiteX80" fmla="*/ 788287 w 1146175"/>
                    <a:gd name="connsiteY80" fmla="*/ 968422 h 1125538"/>
                    <a:gd name="connsiteX81" fmla="*/ 779711 w 1146175"/>
                    <a:gd name="connsiteY81" fmla="*/ 971278 h 1125538"/>
                    <a:gd name="connsiteX82" fmla="*/ 773994 w 1146175"/>
                    <a:gd name="connsiteY82" fmla="*/ 972707 h 1125538"/>
                    <a:gd name="connsiteX83" fmla="*/ 766132 w 1146175"/>
                    <a:gd name="connsiteY83" fmla="*/ 974135 h 1125538"/>
                    <a:gd name="connsiteX84" fmla="*/ 759700 w 1146175"/>
                    <a:gd name="connsiteY84" fmla="*/ 976277 h 1125538"/>
                    <a:gd name="connsiteX85" fmla="*/ 753983 w 1146175"/>
                    <a:gd name="connsiteY85" fmla="*/ 976992 h 1125538"/>
                    <a:gd name="connsiteX86" fmla="*/ 724681 w 1146175"/>
                    <a:gd name="connsiteY86" fmla="*/ 983419 h 1125538"/>
                    <a:gd name="connsiteX87" fmla="*/ 721822 w 1146175"/>
                    <a:gd name="connsiteY87" fmla="*/ 983419 h 1125538"/>
                    <a:gd name="connsiteX88" fmla="*/ 711102 w 1146175"/>
                    <a:gd name="connsiteY88" fmla="*/ 985562 h 1125538"/>
                    <a:gd name="connsiteX89" fmla="*/ 709673 w 1146175"/>
                    <a:gd name="connsiteY89" fmla="*/ 985562 h 1125538"/>
                    <a:gd name="connsiteX90" fmla="*/ 650355 w 1146175"/>
                    <a:gd name="connsiteY90" fmla="*/ 991989 h 1125538"/>
                    <a:gd name="connsiteX91" fmla="*/ 648211 w 1146175"/>
                    <a:gd name="connsiteY91" fmla="*/ 991989 h 1125538"/>
                    <a:gd name="connsiteX92" fmla="*/ 637491 w 1146175"/>
                    <a:gd name="connsiteY92" fmla="*/ 992703 h 1125538"/>
                    <a:gd name="connsiteX93" fmla="*/ 635347 w 1146175"/>
                    <a:gd name="connsiteY93" fmla="*/ 992703 h 1125538"/>
                    <a:gd name="connsiteX94" fmla="*/ 621053 w 1146175"/>
                    <a:gd name="connsiteY94" fmla="*/ 992703 h 1125538"/>
                    <a:gd name="connsiteX95" fmla="*/ 620338 w 1146175"/>
                    <a:gd name="connsiteY95" fmla="*/ 992703 h 1125538"/>
                    <a:gd name="connsiteX96" fmla="*/ 612477 w 1146175"/>
                    <a:gd name="connsiteY96" fmla="*/ 992703 h 1125538"/>
                    <a:gd name="connsiteX97" fmla="*/ 606045 w 1146175"/>
                    <a:gd name="connsiteY97" fmla="*/ 992703 h 1125538"/>
                    <a:gd name="connsiteX98" fmla="*/ 598898 w 1146175"/>
                    <a:gd name="connsiteY98" fmla="*/ 992703 h 1125538"/>
                    <a:gd name="connsiteX99" fmla="*/ 592466 w 1146175"/>
                    <a:gd name="connsiteY99" fmla="*/ 992703 h 1125538"/>
                    <a:gd name="connsiteX100" fmla="*/ 584605 w 1146175"/>
                    <a:gd name="connsiteY100" fmla="*/ 991989 h 1125538"/>
                    <a:gd name="connsiteX101" fmla="*/ 578887 w 1146175"/>
                    <a:gd name="connsiteY101" fmla="*/ 991989 h 1125538"/>
                    <a:gd name="connsiteX102" fmla="*/ 566738 w 1146175"/>
                    <a:gd name="connsiteY102" fmla="*/ 991275 h 1125538"/>
                    <a:gd name="connsiteX103" fmla="*/ 566023 w 1146175"/>
                    <a:gd name="connsiteY103" fmla="*/ 991275 h 1125538"/>
                    <a:gd name="connsiteX104" fmla="*/ 485265 w 1146175"/>
                    <a:gd name="connsiteY104" fmla="*/ 985562 h 1125538"/>
                    <a:gd name="connsiteX105" fmla="*/ 416656 w 1146175"/>
                    <a:gd name="connsiteY105" fmla="*/ 980562 h 1125538"/>
                    <a:gd name="connsiteX106" fmla="*/ 410939 w 1146175"/>
                    <a:gd name="connsiteY106" fmla="*/ 980562 h 1125538"/>
                    <a:gd name="connsiteX107" fmla="*/ 407365 w 1146175"/>
                    <a:gd name="connsiteY107" fmla="*/ 980562 h 1125538"/>
                    <a:gd name="connsiteX108" fmla="*/ 393072 w 1146175"/>
                    <a:gd name="connsiteY108" fmla="*/ 981991 h 1125538"/>
                    <a:gd name="connsiteX109" fmla="*/ 388784 w 1146175"/>
                    <a:gd name="connsiteY109" fmla="*/ 982705 h 1125538"/>
                    <a:gd name="connsiteX110" fmla="*/ 388784 w 1146175"/>
                    <a:gd name="connsiteY110" fmla="*/ 983419 h 1125538"/>
                    <a:gd name="connsiteX111" fmla="*/ 384496 w 1146175"/>
                    <a:gd name="connsiteY111" fmla="*/ 984133 h 1125538"/>
                    <a:gd name="connsiteX112" fmla="*/ 383781 w 1146175"/>
                    <a:gd name="connsiteY112" fmla="*/ 984847 h 1125538"/>
                    <a:gd name="connsiteX113" fmla="*/ 379493 w 1146175"/>
                    <a:gd name="connsiteY113" fmla="*/ 986276 h 1125538"/>
                    <a:gd name="connsiteX114" fmla="*/ 21441 w 1146175"/>
                    <a:gd name="connsiteY114" fmla="*/ 1124824 h 1125538"/>
                    <a:gd name="connsiteX115" fmla="*/ 15723 w 1146175"/>
                    <a:gd name="connsiteY115" fmla="*/ 1125538 h 1125538"/>
                    <a:gd name="connsiteX116" fmla="*/ 7147 w 1146175"/>
                    <a:gd name="connsiteY116" fmla="*/ 1122681 h 1125538"/>
                    <a:gd name="connsiteX117" fmla="*/ 0 w 1146175"/>
                    <a:gd name="connsiteY117" fmla="*/ 1109826 h 1125538"/>
                    <a:gd name="connsiteX118" fmla="*/ 0 w 1146175"/>
                    <a:gd name="connsiteY118" fmla="*/ 793451 h 1125538"/>
                    <a:gd name="connsiteX119" fmla="*/ 7862 w 1146175"/>
                    <a:gd name="connsiteY119" fmla="*/ 779882 h 1125538"/>
                    <a:gd name="connsiteX120" fmla="*/ 310169 w 1146175"/>
                    <a:gd name="connsiteY120" fmla="*/ 608482 h 1125538"/>
                    <a:gd name="connsiteX121" fmla="*/ 315887 w 1146175"/>
                    <a:gd name="connsiteY121" fmla="*/ 605625 h 1125538"/>
                    <a:gd name="connsiteX122" fmla="*/ 318031 w 1146175"/>
                    <a:gd name="connsiteY122" fmla="*/ 604197 h 1125538"/>
                    <a:gd name="connsiteX123" fmla="*/ 320889 w 1146175"/>
                    <a:gd name="connsiteY123" fmla="*/ 602768 h 1125538"/>
                    <a:gd name="connsiteX124" fmla="*/ 324463 w 1146175"/>
                    <a:gd name="connsiteY124" fmla="*/ 601340 h 1125538"/>
                    <a:gd name="connsiteX125" fmla="*/ 326607 w 1146175"/>
                    <a:gd name="connsiteY125" fmla="*/ 599912 h 1125538"/>
                    <a:gd name="connsiteX126" fmla="*/ 330180 w 1146175"/>
                    <a:gd name="connsiteY126" fmla="*/ 598483 h 1125538"/>
                    <a:gd name="connsiteX127" fmla="*/ 332324 w 1146175"/>
                    <a:gd name="connsiteY127" fmla="*/ 597769 h 1125538"/>
                    <a:gd name="connsiteX128" fmla="*/ 336612 w 1146175"/>
                    <a:gd name="connsiteY128" fmla="*/ 596341 h 1125538"/>
                    <a:gd name="connsiteX129" fmla="*/ 338042 w 1146175"/>
                    <a:gd name="connsiteY129" fmla="*/ 595627 h 1125538"/>
                    <a:gd name="connsiteX130" fmla="*/ 342330 w 1146175"/>
                    <a:gd name="connsiteY130" fmla="*/ 594198 h 1125538"/>
                    <a:gd name="connsiteX131" fmla="*/ 343044 w 1146175"/>
                    <a:gd name="connsiteY131" fmla="*/ 593484 h 1125538"/>
                    <a:gd name="connsiteX132" fmla="*/ 348047 w 1146175"/>
                    <a:gd name="connsiteY132" fmla="*/ 592056 h 1125538"/>
                    <a:gd name="connsiteX133" fmla="*/ 348762 w 1146175"/>
                    <a:gd name="connsiteY133" fmla="*/ 592056 h 1125538"/>
                    <a:gd name="connsiteX134" fmla="*/ 382352 w 1146175"/>
                    <a:gd name="connsiteY134" fmla="*/ 584914 h 1125538"/>
                    <a:gd name="connsiteX135" fmla="*/ 383781 w 1146175"/>
                    <a:gd name="connsiteY135" fmla="*/ 584914 h 1125538"/>
                    <a:gd name="connsiteX136" fmla="*/ 387354 w 1146175"/>
                    <a:gd name="connsiteY136" fmla="*/ 584914 h 1125538"/>
                    <a:gd name="connsiteX137" fmla="*/ 390213 w 1146175"/>
                    <a:gd name="connsiteY137" fmla="*/ 584200 h 1125538"/>
                    <a:gd name="connsiteX138" fmla="*/ 654433 w 1146175"/>
                    <a:gd name="connsiteY138" fmla="*/ 103187 h 1125538"/>
                    <a:gd name="connsiteX139" fmla="*/ 686457 w 1146175"/>
                    <a:gd name="connsiteY139" fmla="*/ 103187 h 1125538"/>
                    <a:gd name="connsiteX140" fmla="*/ 686457 w 1146175"/>
                    <a:gd name="connsiteY140" fmla="*/ 126776 h 1125538"/>
                    <a:gd name="connsiteX141" fmla="*/ 724174 w 1146175"/>
                    <a:gd name="connsiteY141" fmla="*/ 139643 h 1125538"/>
                    <a:gd name="connsiteX142" fmla="*/ 714211 w 1146175"/>
                    <a:gd name="connsiteY142" fmla="*/ 169665 h 1125538"/>
                    <a:gd name="connsiteX143" fmla="*/ 672936 w 1146175"/>
                    <a:gd name="connsiteY143" fmla="*/ 156083 h 1125538"/>
                    <a:gd name="connsiteX144" fmla="*/ 653722 w 1146175"/>
                    <a:gd name="connsiteY144" fmla="*/ 162517 h 1125538"/>
                    <a:gd name="connsiteX145" fmla="*/ 646605 w 1146175"/>
                    <a:gd name="connsiteY145" fmla="*/ 179672 h 1125538"/>
                    <a:gd name="connsiteX146" fmla="*/ 685034 w 1146175"/>
                    <a:gd name="connsiteY146" fmla="*/ 215413 h 1125538"/>
                    <a:gd name="connsiteX147" fmla="*/ 715634 w 1146175"/>
                    <a:gd name="connsiteY147" fmla="*/ 233998 h 1125538"/>
                    <a:gd name="connsiteX148" fmla="*/ 729155 w 1146175"/>
                    <a:gd name="connsiteY148" fmla="*/ 253298 h 1125538"/>
                    <a:gd name="connsiteX149" fmla="*/ 733425 w 1146175"/>
                    <a:gd name="connsiteY149" fmla="*/ 278317 h 1125538"/>
                    <a:gd name="connsiteX150" fmla="*/ 721327 w 1146175"/>
                    <a:gd name="connsiteY150" fmla="*/ 311198 h 1125538"/>
                    <a:gd name="connsiteX151" fmla="*/ 686457 w 1146175"/>
                    <a:gd name="connsiteY151" fmla="*/ 331213 h 1125538"/>
                    <a:gd name="connsiteX152" fmla="*/ 686457 w 1146175"/>
                    <a:gd name="connsiteY152" fmla="*/ 361950 h 1125538"/>
                    <a:gd name="connsiteX153" fmla="*/ 654433 w 1146175"/>
                    <a:gd name="connsiteY153" fmla="*/ 361950 h 1125538"/>
                    <a:gd name="connsiteX154" fmla="*/ 654433 w 1146175"/>
                    <a:gd name="connsiteY154" fmla="*/ 332643 h 1125538"/>
                    <a:gd name="connsiteX155" fmla="*/ 609600 w 1146175"/>
                    <a:gd name="connsiteY155" fmla="*/ 319061 h 1125538"/>
                    <a:gd name="connsiteX156" fmla="*/ 623833 w 1146175"/>
                    <a:gd name="connsiteY156" fmla="*/ 287609 h 1125538"/>
                    <a:gd name="connsiteX157" fmla="*/ 665820 w 1146175"/>
                    <a:gd name="connsiteY157" fmla="*/ 301906 h 1125538"/>
                    <a:gd name="connsiteX158" fmla="*/ 697132 w 1146175"/>
                    <a:gd name="connsiteY158" fmla="*/ 280461 h 1125538"/>
                    <a:gd name="connsiteX159" fmla="*/ 689304 w 1146175"/>
                    <a:gd name="connsiteY159" fmla="*/ 259732 h 1125538"/>
                    <a:gd name="connsiteX160" fmla="*/ 658703 w 1146175"/>
                    <a:gd name="connsiteY160" fmla="*/ 239002 h 1125538"/>
                    <a:gd name="connsiteX161" fmla="*/ 627391 w 1146175"/>
                    <a:gd name="connsiteY161" fmla="*/ 220417 h 1125538"/>
                    <a:gd name="connsiteX162" fmla="*/ 613870 w 1146175"/>
                    <a:gd name="connsiteY162" fmla="*/ 202546 h 1125538"/>
                    <a:gd name="connsiteX163" fmla="*/ 610312 w 1146175"/>
                    <a:gd name="connsiteY163" fmla="*/ 179672 h 1125538"/>
                    <a:gd name="connsiteX164" fmla="*/ 623121 w 1146175"/>
                    <a:gd name="connsiteY164" fmla="*/ 147506 h 1125538"/>
                    <a:gd name="connsiteX165" fmla="*/ 654433 w 1146175"/>
                    <a:gd name="connsiteY165" fmla="*/ 128920 h 1125538"/>
                    <a:gd name="connsiteX166" fmla="*/ 654433 w 1146175"/>
                    <a:gd name="connsiteY166" fmla="*/ 103187 h 1125538"/>
                    <a:gd name="connsiteX167" fmla="*/ 228600 w 1146175"/>
                    <a:gd name="connsiteY167" fmla="*/ 31750 h 1125538"/>
                    <a:gd name="connsiteX168" fmla="*/ 228600 w 1146175"/>
                    <a:gd name="connsiteY168" fmla="*/ 431800 h 1125538"/>
                    <a:gd name="connsiteX169" fmla="*/ 1114425 w 1146175"/>
                    <a:gd name="connsiteY169" fmla="*/ 431800 h 1125538"/>
                    <a:gd name="connsiteX170" fmla="*/ 1114425 w 1146175"/>
                    <a:gd name="connsiteY170" fmla="*/ 31750 h 1125538"/>
                    <a:gd name="connsiteX171" fmla="*/ 209003 w 1146175"/>
                    <a:gd name="connsiteY171" fmla="*/ 0 h 1125538"/>
                    <a:gd name="connsiteX172" fmla="*/ 1134023 w 1146175"/>
                    <a:gd name="connsiteY172" fmla="*/ 0 h 1125538"/>
                    <a:gd name="connsiteX173" fmla="*/ 1146175 w 1146175"/>
                    <a:gd name="connsiteY173" fmla="*/ 11428 h 1125538"/>
                    <a:gd name="connsiteX174" fmla="*/ 1146175 w 1146175"/>
                    <a:gd name="connsiteY174" fmla="*/ 451408 h 1125538"/>
                    <a:gd name="connsiteX175" fmla="*/ 1134023 w 1146175"/>
                    <a:gd name="connsiteY175" fmla="*/ 463550 h 1125538"/>
                    <a:gd name="connsiteX176" fmla="*/ 209003 w 1146175"/>
                    <a:gd name="connsiteY176" fmla="*/ 463550 h 1125538"/>
                    <a:gd name="connsiteX177" fmla="*/ 196850 w 1146175"/>
                    <a:gd name="connsiteY177" fmla="*/ 451408 h 1125538"/>
                    <a:gd name="connsiteX178" fmla="*/ 196850 w 1146175"/>
                    <a:gd name="connsiteY178" fmla="*/ 11428 h 1125538"/>
                    <a:gd name="connsiteX179" fmla="*/ 209003 w 1146175"/>
                    <a:gd name="connsiteY179" fmla="*/ 0 h 11255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</a:cxnLst>
                  <a:rect l="l" t="t" r="r" b="b"/>
                  <a:pathLst>
                    <a:path w="1146175" h="1125538">
                      <a:moveTo>
                        <a:pt x="409739" y="615791"/>
                      </a:moveTo>
                      <a:cubicBezTo>
                        <a:pt x="380443" y="614362"/>
                        <a:pt x="351147" y="621508"/>
                        <a:pt x="326138" y="635801"/>
                      </a:cubicBezTo>
                      <a:cubicBezTo>
                        <a:pt x="326138" y="635801"/>
                        <a:pt x="326138" y="635801"/>
                        <a:pt x="31750" y="803020"/>
                      </a:cubicBezTo>
                      <a:cubicBezTo>
                        <a:pt x="31750" y="803020"/>
                        <a:pt x="31750" y="803020"/>
                        <a:pt x="31750" y="1087437"/>
                      </a:cubicBezTo>
                      <a:cubicBezTo>
                        <a:pt x="31750" y="1087437"/>
                        <a:pt x="31750" y="1087437"/>
                        <a:pt x="368296" y="957377"/>
                      </a:cubicBezTo>
                      <a:cubicBezTo>
                        <a:pt x="384730" y="950946"/>
                        <a:pt x="401879" y="948087"/>
                        <a:pt x="419028" y="949516"/>
                      </a:cubicBezTo>
                      <a:cubicBezTo>
                        <a:pt x="419028" y="949516"/>
                        <a:pt x="419028" y="949516"/>
                        <a:pt x="568366" y="960236"/>
                      </a:cubicBezTo>
                      <a:cubicBezTo>
                        <a:pt x="645535" y="965953"/>
                        <a:pt x="722705" y="956663"/>
                        <a:pt x="797017" y="933795"/>
                      </a:cubicBezTo>
                      <a:cubicBezTo>
                        <a:pt x="894908" y="903067"/>
                        <a:pt x="981367" y="845897"/>
                        <a:pt x="1047818" y="767290"/>
                      </a:cubicBezTo>
                      <a:cubicBezTo>
                        <a:pt x="1047818" y="767290"/>
                        <a:pt x="1047818" y="767290"/>
                        <a:pt x="1079972" y="730130"/>
                      </a:cubicBezTo>
                      <a:cubicBezTo>
                        <a:pt x="1098550" y="707977"/>
                        <a:pt x="1096407" y="675104"/>
                        <a:pt x="1074971" y="655810"/>
                      </a:cubicBezTo>
                      <a:cubicBezTo>
                        <a:pt x="1064253" y="646520"/>
                        <a:pt x="1050676" y="641517"/>
                        <a:pt x="1036386" y="642232"/>
                      </a:cubicBezTo>
                      <a:cubicBezTo>
                        <a:pt x="1022095" y="642947"/>
                        <a:pt x="1008519" y="649378"/>
                        <a:pt x="999230" y="660097"/>
                      </a:cubicBezTo>
                      <a:cubicBezTo>
                        <a:pt x="999230" y="660097"/>
                        <a:pt x="999230" y="660097"/>
                        <a:pt x="951356" y="713694"/>
                      </a:cubicBezTo>
                      <a:cubicBezTo>
                        <a:pt x="912771" y="758000"/>
                        <a:pt x="862039" y="789443"/>
                        <a:pt x="805591" y="805164"/>
                      </a:cubicBezTo>
                      <a:cubicBezTo>
                        <a:pt x="740568" y="823744"/>
                        <a:pt x="670544" y="819457"/>
                        <a:pt x="608380" y="794445"/>
                      </a:cubicBezTo>
                      <a:cubicBezTo>
                        <a:pt x="608380" y="794445"/>
                        <a:pt x="608380" y="794445"/>
                        <a:pt x="553360" y="772292"/>
                      </a:cubicBezTo>
                      <a:cubicBezTo>
                        <a:pt x="546930" y="769434"/>
                        <a:pt x="542642" y="763002"/>
                        <a:pt x="544071" y="755856"/>
                      </a:cubicBezTo>
                      <a:cubicBezTo>
                        <a:pt x="544786" y="748710"/>
                        <a:pt x="550502" y="742993"/>
                        <a:pt x="557648" y="742278"/>
                      </a:cubicBezTo>
                      <a:cubicBezTo>
                        <a:pt x="557648" y="742278"/>
                        <a:pt x="557648" y="742278"/>
                        <a:pt x="715560" y="726557"/>
                      </a:cubicBezTo>
                      <a:cubicBezTo>
                        <a:pt x="740568" y="724413"/>
                        <a:pt x="759146" y="703689"/>
                        <a:pt x="759146" y="679392"/>
                      </a:cubicBezTo>
                      <a:cubicBezTo>
                        <a:pt x="759146" y="653666"/>
                        <a:pt x="739139" y="632942"/>
                        <a:pt x="713416" y="631513"/>
                      </a:cubicBezTo>
                      <a:cubicBezTo>
                        <a:pt x="713416" y="631513"/>
                        <a:pt x="713416" y="631513"/>
                        <a:pt x="409739" y="615791"/>
                      </a:cubicBezTo>
                      <a:close/>
                      <a:moveTo>
                        <a:pt x="390213" y="584200"/>
                      </a:moveTo>
                      <a:cubicBezTo>
                        <a:pt x="391642" y="584200"/>
                        <a:pt x="392357" y="584200"/>
                        <a:pt x="393786" y="584200"/>
                      </a:cubicBezTo>
                      <a:cubicBezTo>
                        <a:pt x="394501" y="584200"/>
                        <a:pt x="395930" y="584200"/>
                        <a:pt x="396645" y="584200"/>
                      </a:cubicBezTo>
                      <a:cubicBezTo>
                        <a:pt x="398074" y="584200"/>
                        <a:pt x="398789" y="584200"/>
                        <a:pt x="399504" y="584200"/>
                      </a:cubicBezTo>
                      <a:cubicBezTo>
                        <a:pt x="400933" y="584200"/>
                        <a:pt x="401648" y="584200"/>
                        <a:pt x="403077" y="584200"/>
                      </a:cubicBezTo>
                      <a:cubicBezTo>
                        <a:pt x="405221" y="584200"/>
                        <a:pt x="408080" y="584200"/>
                        <a:pt x="410939" y="584200"/>
                      </a:cubicBezTo>
                      <a:cubicBezTo>
                        <a:pt x="410939" y="584200"/>
                        <a:pt x="410939" y="584200"/>
                        <a:pt x="715390" y="599912"/>
                      </a:cubicBezTo>
                      <a:cubicBezTo>
                        <a:pt x="743263" y="601340"/>
                        <a:pt x="766847" y="617766"/>
                        <a:pt x="780426" y="640619"/>
                      </a:cubicBezTo>
                      <a:cubicBezTo>
                        <a:pt x="781140" y="642048"/>
                        <a:pt x="781855" y="643476"/>
                        <a:pt x="782570" y="644904"/>
                      </a:cubicBezTo>
                      <a:cubicBezTo>
                        <a:pt x="785428" y="650618"/>
                        <a:pt x="787572" y="657045"/>
                        <a:pt x="789002" y="663473"/>
                      </a:cubicBezTo>
                      <a:cubicBezTo>
                        <a:pt x="789716" y="668472"/>
                        <a:pt x="790431" y="673471"/>
                        <a:pt x="790431" y="679184"/>
                      </a:cubicBezTo>
                      <a:cubicBezTo>
                        <a:pt x="790431" y="681327"/>
                        <a:pt x="790431" y="682755"/>
                        <a:pt x="789716" y="684898"/>
                      </a:cubicBezTo>
                      <a:cubicBezTo>
                        <a:pt x="789716" y="684898"/>
                        <a:pt x="789716" y="685612"/>
                        <a:pt x="789716" y="685612"/>
                      </a:cubicBezTo>
                      <a:cubicBezTo>
                        <a:pt x="789716" y="687754"/>
                        <a:pt x="789716" y="689183"/>
                        <a:pt x="789002" y="691325"/>
                      </a:cubicBezTo>
                      <a:cubicBezTo>
                        <a:pt x="786143" y="709893"/>
                        <a:pt x="776852" y="726319"/>
                        <a:pt x="763988" y="738460"/>
                      </a:cubicBezTo>
                      <a:cubicBezTo>
                        <a:pt x="763988" y="738460"/>
                        <a:pt x="763273" y="738460"/>
                        <a:pt x="763273" y="738460"/>
                      </a:cubicBezTo>
                      <a:cubicBezTo>
                        <a:pt x="761844" y="739888"/>
                        <a:pt x="760415" y="740603"/>
                        <a:pt x="758985" y="742031"/>
                      </a:cubicBezTo>
                      <a:cubicBezTo>
                        <a:pt x="757556" y="743459"/>
                        <a:pt x="756127" y="744173"/>
                        <a:pt x="754697" y="744888"/>
                      </a:cubicBezTo>
                      <a:cubicBezTo>
                        <a:pt x="753983" y="745602"/>
                        <a:pt x="753983" y="745602"/>
                        <a:pt x="753983" y="745602"/>
                      </a:cubicBezTo>
                      <a:cubicBezTo>
                        <a:pt x="752553" y="746316"/>
                        <a:pt x="751124" y="747744"/>
                        <a:pt x="749695" y="748458"/>
                      </a:cubicBezTo>
                      <a:cubicBezTo>
                        <a:pt x="748980" y="748458"/>
                        <a:pt x="748265" y="748458"/>
                        <a:pt x="748265" y="749173"/>
                      </a:cubicBezTo>
                      <a:cubicBezTo>
                        <a:pt x="746836" y="749887"/>
                        <a:pt x="745407" y="750601"/>
                        <a:pt x="743263" y="751315"/>
                      </a:cubicBezTo>
                      <a:cubicBezTo>
                        <a:pt x="743263" y="751315"/>
                        <a:pt x="742548" y="751315"/>
                        <a:pt x="742548" y="752029"/>
                      </a:cubicBezTo>
                      <a:cubicBezTo>
                        <a:pt x="741118" y="752029"/>
                        <a:pt x="739689" y="752743"/>
                        <a:pt x="738260" y="753458"/>
                      </a:cubicBezTo>
                      <a:cubicBezTo>
                        <a:pt x="731828" y="755600"/>
                        <a:pt x="725396" y="757028"/>
                        <a:pt x="718964" y="757743"/>
                      </a:cubicBezTo>
                      <a:cubicBezTo>
                        <a:pt x="718964" y="757743"/>
                        <a:pt x="718964" y="757743"/>
                        <a:pt x="624626" y="767027"/>
                      </a:cubicBezTo>
                      <a:cubicBezTo>
                        <a:pt x="662504" y="781310"/>
                        <a:pt x="703241" y="787023"/>
                        <a:pt x="743263" y="784167"/>
                      </a:cubicBezTo>
                      <a:cubicBezTo>
                        <a:pt x="753983" y="783453"/>
                        <a:pt x="764703" y="782024"/>
                        <a:pt x="775423" y="779882"/>
                      </a:cubicBezTo>
                      <a:cubicBezTo>
                        <a:pt x="778996" y="779168"/>
                        <a:pt x="781855" y="778453"/>
                        <a:pt x="785428" y="777739"/>
                      </a:cubicBezTo>
                      <a:cubicBezTo>
                        <a:pt x="786143" y="777739"/>
                        <a:pt x="786143" y="777739"/>
                        <a:pt x="786858" y="777025"/>
                      </a:cubicBezTo>
                      <a:cubicBezTo>
                        <a:pt x="790431" y="776311"/>
                        <a:pt x="793290" y="775597"/>
                        <a:pt x="796863" y="774883"/>
                      </a:cubicBezTo>
                      <a:cubicBezTo>
                        <a:pt x="806869" y="772026"/>
                        <a:pt x="816874" y="768455"/>
                        <a:pt x="826880" y="764170"/>
                      </a:cubicBezTo>
                      <a:cubicBezTo>
                        <a:pt x="857611" y="752029"/>
                        <a:pt x="885483" y="734175"/>
                        <a:pt x="909782" y="711322"/>
                      </a:cubicBezTo>
                      <a:cubicBezTo>
                        <a:pt x="916214" y="705608"/>
                        <a:pt x="921931" y="699181"/>
                        <a:pt x="928363" y="692753"/>
                      </a:cubicBezTo>
                      <a:cubicBezTo>
                        <a:pt x="928363" y="692753"/>
                        <a:pt x="928363" y="692753"/>
                        <a:pt x="975532" y="639191"/>
                      </a:cubicBezTo>
                      <a:cubicBezTo>
                        <a:pt x="976961" y="637763"/>
                        <a:pt x="977676" y="637048"/>
                        <a:pt x="978391" y="635620"/>
                      </a:cubicBezTo>
                      <a:cubicBezTo>
                        <a:pt x="979105" y="635620"/>
                        <a:pt x="979105" y="635620"/>
                        <a:pt x="979105" y="635620"/>
                      </a:cubicBezTo>
                      <a:cubicBezTo>
                        <a:pt x="994114" y="620623"/>
                        <a:pt x="1013410" y="612053"/>
                        <a:pt x="1034135" y="610624"/>
                      </a:cubicBezTo>
                      <a:cubicBezTo>
                        <a:pt x="1034850" y="610624"/>
                        <a:pt x="1034850" y="610624"/>
                        <a:pt x="1034850" y="610624"/>
                      </a:cubicBezTo>
                      <a:cubicBezTo>
                        <a:pt x="1036279" y="610624"/>
                        <a:pt x="1037709" y="610624"/>
                        <a:pt x="1039138" y="610624"/>
                      </a:cubicBezTo>
                      <a:cubicBezTo>
                        <a:pt x="1039138" y="610624"/>
                        <a:pt x="1039853" y="610624"/>
                        <a:pt x="1040567" y="610624"/>
                      </a:cubicBezTo>
                      <a:cubicBezTo>
                        <a:pt x="1054146" y="610624"/>
                        <a:pt x="1067725" y="614909"/>
                        <a:pt x="1079875" y="621337"/>
                      </a:cubicBezTo>
                      <a:cubicBezTo>
                        <a:pt x="1081304" y="622051"/>
                        <a:pt x="1082019" y="622765"/>
                        <a:pt x="1083448" y="623479"/>
                      </a:cubicBezTo>
                      <a:cubicBezTo>
                        <a:pt x="1084877" y="624193"/>
                        <a:pt x="1085592" y="624908"/>
                        <a:pt x="1086307" y="624908"/>
                      </a:cubicBezTo>
                      <a:cubicBezTo>
                        <a:pt x="1087021" y="625622"/>
                        <a:pt x="1087021" y="625622"/>
                        <a:pt x="1087021" y="625622"/>
                      </a:cubicBezTo>
                      <a:cubicBezTo>
                        <a:pt x="1087736" y="626336"/>
                        <a:pt x="1089165" y="627050"/>
                        <a:pt x="1089880" y="627764"/>
                      </a:cubicBezTo>
                      <a:cubicBezTo>
                        <a:pt x="1089880" y="627764"/>
                        <a:pt x="1090595" y="628478"/>
                        <a:pt x="1090595" y="628478"/>
                      </a:cubicBezTo>
                      <a:cubicBezTo>
                        <a:pt x="1091309" y="629193"/>
                        <a:pt x="1092024" y="629193"/>
                        <a:pt x="1092739" y="629907"/>
                      </a:cubicBezTo>
                      <a:cubicBezTo>
                        <a:pt x="1093453" y="630621"/>
                        <a:pt x="1094168" y="631335"/>
                        <a:pt x="1095597" y="632049"/>
                      </a:cubicBezTo>
                      <a:cubicBezTo>
                        <a:pt x="1095597" y="632049"/>
                        <a:pt x="1095597" y="632763"/>
                        <a:pt x="1095597" y="632763"/>
                      </a:cubicBezTo>
                      <a:cubicBezTo>
                        <a:pt x="1129902" y="663473"/>
                        <a:pt x="1133475" y="714893"/>
                        <a:pt x="1103459" y="749887"/>
                      </a:cubicBezTo>
                      <a:cubicBezTo>
                        <a:pt x="1103459" y="749887"/>
                        <a:pt x="1103459" y="749887"/>
                        <a:pt x="1072013" y="787738"/>
                      </a:cubicBezTo>
                      <a:cubicBezTo>
                        <a:pt x="1040567" y="824160"/>
                        <a:pt x="1004834" y="857012"/>
                        <a:pt x="966241" y="884150"/>
                      </a:cubicBezTo>
                      <a:cubicBezTo>
                        <a:pt x="963383" y="886292"/>
                        <a:pt x="959809" y="888435"/>
                        <a:pt x="956950" y="890577"/>
                      </a:cubicBezTo>
                      <a:cubicBezTo>
                        <a:pt x="954092" y="892720"/>
                        <a:pt x="951233" y="894862"/>
                        <a:pt x="948374" y="896291"/>
                      </a:cubicBezTo>
                      <a:cubicBezTo>
                        <a:pt x="904779" y="924857"/>
                        <a:pt x="856896" y="947711"/>
                        <a:pt x="806154" y="963422"/>
                      </a:cubicBezTo>
                      <a:cubicBezTo>
                        <a:pt x="801866" y="964851"/>
                        <a:pt x="797578" y="966279"/>
                        <a:pt x="792575" y="967707"/>
                      </a:cubicBezTo>
                      <a:cubicBezTo>
                        <a:pt x="791146" y="967707"/>
                        <a:pt x="789716" y="968422"/>
                        <a:pt x="788287" y="968422"/>
                      </a:cubicBezTo>
                      <a:cubicBezTo>
                        <a:pt x="785428" y="969136"/>
                        <a:pt x="782570" y="970564"/>
                        <a:pt x="779711" y="971278"/>
                      </a:cubicBezTo>
                      <a:cubicBezTo>
                        <a:pt x="777567" y="971278"/>
                        <a:pt x="775423" y="971992"/>
                        <a:pt x="773994" y="972707"/>
                      </a:cubicBezTo>
                      <a:cubicBezTo>
                        <a:pt x="771135" y="973421"/>
                        <a:pt x="768991" y="973421"/>
                        <a:pt x="766132" y="974135"/>
                      </a:cubicBezTo>
                      <a:cubicBezTo>
                        <a:pt x="763988" y="974849"/>
                        <a:pt x="761844" y="975563"/>
                        <a:pt x="759700" y="976277"/>
                      </a:cubicBezTo>
                      <a:cubicBezTo>
                        <a:pt x="757556" y="976277"/>
                        <a:pt x="756127" y="976992"/>
                        <a:pt x="753983" y="976992"/>
                      </a:cubicBezTo>
                      <a:cubicBezTo>
                        <a:pt x="743977" y="979134"/>
                        <a:pt x="733972" y="981277"/>
                        <a:pt x="724681" y="983419"/>
                      </a:cubicBezTo>
                      <a:cubicBezTo>
                        <a:pt x="723252" y="983419"/>
                        <a:pt x="722537" y="983419"/>
                        <a:pt x="721822" y="983419"/>
                      </a:cubicBezTo>
                      <a:cubicBezTo>
                        <a:pt x="718249" y="984133"/>
                        <a:pt x="714676" y="984847"/>
                        <a:pt x="711102" y="985562"/>
                      </a:cubicBezTo>
                      <a:cubicBezTo>
                        <a:pt x="710387" y="985562"/>
                        <a:pt x="710387" y="985562"/>
                        <a:pt x="709673" y="985562"/>
                      </a:cubicBezTo>
                      <a:cubicBezTo>
                        <a:pt x="689662" y="988418"/>
                        <a:pt x="670366" y="990561"/>
                        <a:pt x="650355" y="991989"/>
                      </a:cubicBezTo>
                      <a:cubicBezTo>
                        <a:pt x="649640" y="991989"/>
                        <a:pt x="648925" y="991989"/>
                        <a:pt x="648211" y="991989"/>
                      </a:cubicBezTo>
                      <a:cubicBezTo>
                        <a:pt x="644637" y="991989"/>
                        <a:pt x="641064" y="991989"/>
                        <a:pt x="637491" y="992703"/>
                      </a:cubicBezTo>
                      <a:cubicBezTo>
                        <a:pt x="636776" y="992703"/>
                        <a:pt x="636061" y="992703"/>
                        <a:pt x="635347" y="992703"/>
                      </a:cubicBezTo>
                      <a:cubicBezTo>
                        <a:pt x="630344" y="992703"/>
                        <a:pt x="626056" y="992703"/>
                        <a:pt x="621053" y="992703"/>
                      </a:cubicBezTo>
                      <a:cubicBezTo>
                        <a:pt x="621053" y="992703"/>
                        <a:pt x="620338" y="992703"/>
                        <a:pt x="620338" y="992703"/>
                      </a:cubicBezTo>
                      <a:cubicBezTo>
                        <a:pt x="617480" y="992703"/>
                        <a:pt x="614621" y="992703"/>
                        <a:pt x="612477" y="992703"/>
                      </a:cubicBezTo>
                      <a:cubicBezTo>
                        <a:pt x="610333" y="992703"/>
                        <a:pt x="608189" y="992703"/>
                        <a:pt x="606045" y="992703"/>
                      </a:cubicBezTo>
                      <a:cubicBezTo>
                        <a:pt x="603901" y="992703"/>
                        <a:pt x="601042" y="992703"/>
                        <a:pt x="598898" y="992703"/>
                      </a:cubicBezTo>
                      <a:cubicBezTo>
                        <a:pt x="596754" y="992703"/>
                        <a:pt x="594610" y="992703"/>
                        <a:pt x="592466" y="992703"/>
                      </a:cubicBezTo>
                      <a:cubicBezTo>
                        <a:pt x="589607" y="992703"/>
                        <a:pt x="587463" y="992703"/>
                        <a:pt x="584605" y="991989"/>
                      </a:cubicBezTo>
                      <a:cubicBezTo>
                        <a:pt x="582461" y="991989"/>
                        <a:pt x="581031" y="991989"/>
                        <a:pt x="578887" y="991989"/>
                      </a:cubicBezTo>
                      <a:cubicBezTo>
                        <a:pt x="575314" y="991989"/>
                        <a:pt x="571026" y="991275"/>
                        <a:pt x="566738" y="991275"/>
                      </a:cubicBezTo>
                      <a:cubicBezTo>
                        <a:pt x="566738" y="991275"/>
                        <a:pt x="566023" y="991275"/>
                        <a:pt x="566023" y="991275"/>
                      </a:cubicBezTo>
                      <a:cubicBezTo>
                        <a:pt x="566023" y="991275"/>
                        <a:pt x="566023" y="991275"/>
                        <a:pt x="485265" y="985562"/>
                      </a:cubicBezTo>
                      <a:cubicBezTo>
                        <a:pt x="485265" y="985562"/>
                        <a:pt x="485265" y="985562"/>
                        <a:pt x="416656" y="980562"/>
                      </a:cubicBezTo>
                      <a:cubicBezTo>
                        <a:pt x="415227" y="980562"/>
                        <a:pt x="413083" y="980562"/>
                        <a:pt x="410939" y="980562"/>
                      </a:cubicBezTo>
                      <a:cubicBezTo>
                        <a:pt x="410224" y="980562"/>
                        <a:pt x="408794" y="980562"/>
                        <a:pt x="407365" y="980562"/>
                      </a:cubicBezTo>
                      <a:cubicBezTo>
                        <a:pt x="402362" y="980562"/>
                        <a:pt x="398074" y="981277"/>
                        <a:pt x="393072" y="981991"/>
                      </a:cubicBezTo>
                      <a:cubicBezTo>
                        <a:pt x="391642" y="982705"/>
                        <a:pt x="390213" y="982705"/>
                        <a:pt x="388784" y="982705"/>
                      </a:cubicBezTo>
                      <a:cubicBezTo>
                        <a:pt x="388784" y="983419"/>
                        <a:pt x="388784" y="983419"/>
                        <a:pt x="388784" y="983419"/>
                      </a:cubicBezTo>
                      <a:cubicBezTo>
                        <a:pt x="387354" y="983419"/>
                        <a:pt x="385925" y="984133"/>
                        <a:pt x="384496" y="984133"/>
                      </a:cubicBezTo>
                      <a:cubicBezTo>
                        <a:pt x="384496" y="984133"/>
                        <a:pt x="384496" y="984133"/>
                        <a:pt x="383781" y="984847"/>
                      </a:cubicBezTo>
                      <a:cubicBezTo>
                        <a:pt x="382352" y="984847"/>
                        <a:pt x="380922" y="985562"/>
                        <a:pt x="379493" y="986276"/>
                      </a:cubicBezTo>
                      <a:cubicBezTo>
                        <a:pt x="379493" y="986276"/>
                        <a:pt x="379493" y="986276"/>
                        <a:pt x="21441" y="1124824"/>
                      </a:cubicBezTo>
                      <a:cubicBezTo>
                        <a:pt x="20011" y="1125538"/>
                        <a:pt x="17867" y="1125538"/>
                        <a:pt x="15723" y="1125538"/>
                      </a:cubicBezTo>
                      <a:cubicBezTo>
                        <a:pt x="12864" y="1125538"/>
                        <a:pt x="10006" y="1124824"/>
                        <a:pt x="7147" y="1122681"/>
                      </a:cubicBezTo>
                      <a:cubicBezTo>
                        <a:pt x="2859" y="1119825"/>
                        <a:pt x="0" y="1114826"/>
                        <a:pt x="0" y="1109826"/>
                      </a:cubicBezTo>
                      <a:cubicBezTo>
                        <a:pt x="0" y="1109826"/>
                        <a:pt x="0" y="1109826"/>
                        <a:pt x="0" y="793451"/>
                      </a:cubicBezTo>
                      <a:cubicBezTo>
                        <a:pt x="0" y="787738"/>
                        <a:pt x="3574" y="782738"/>
                        <a:pt x="7862" y="779882"/>
                      </a:cubicBezTo>
                      <a:cubicBezTo>
                        <a:pt x="7862" y="779882"/>
                        <a:pt x="7862" y="779882"/>
                        <a:pt x="310169" y="608482"/>
                      </a:cubicBezTo>
                      <a:cubicBezTo>
                        <a:pt x="311599" y="607053"/>
                        <a:pt x="313743" y="606339"/>
                        <a:pt x="315887" y="605625"/>
                      </a:cubicBezTo>
                      <a:cubicBezTo>
                        <a:pt x="316601" y="604911"/>
                        <a:pt x="317316" y="604911"/>
                        <a:pt x="318031" y="604197"/>
                      </a:cubicBezTo>
                      <a:cubicBezTo>
                        <a:pt x="318745" y="603483"/>
                        <a:pt x="320175" y="602768"/>
                        <a:pt x="320889" y="602768"/>
                      </a:cubicBezTo>
                      <a:cubicBezTo>
                        <a:pt x="322319" y="602054"/>
                        <a:pt x="323033" y="601340"/>
                        <a:pt x="324463" y="601340"/>
                      </a:cubicBezTo>
                      <a:cubicBezTo>
                        <a:pt x="325177" y="600626"/>
                        <a:pt x="325892" y="600626"/>
                        <a:pt x="326607" y="599912"/>
                      </a:cubicBezTo>
                      <a:cubicBezTo>
                        <a:pt x="328036" y="599198"/>
                        <a:pt x="329466" y="599198"/>
                        <a:pt x="330180" y="598483"/>
                      </a:cubicBezTo>
                      <a:cubicBezTo>
                        <a:pt x="330895" y="598483"/>
                        <a:pt x="331610" y="597769"/>
                        <a:pt x="332324" y="597769"/>
                      </a:cubicBezTo>
                      <a:cubicBezTo>
                        <a:pt x="333754" y="597055"/>
                        <a:pt x="335183" y="596341"/>
                        <a:pt x="336612" y="596341"/>
                      </a:cubicBezTo>
                      <a:cubicBezTo>
                        <a:pt x="336612" y="595627"/>
                        <a:pt x="337327" y="595627"/>
                        <a:pt x="338042" y="595627"/>
                      </a:cubicBezTo>
                      <a:cubicBezTo>
                        <a:pt x="339471" y="594913"/>
                        <a:pt x="340900" y="594198"/>
                        <a:pt x="342330" y="594198"/>
                      </a:cubicBezTo>
                      <a:cubicBezTo>
                        <a:pt x="343044" y="593484"/>
                        <a:pt x="343044" y="593484"/>
                        <a:pt x="343044" y="593484"/>
                      </a:cubicBezTo>
                      <a:cubicBezTo>
                        <a:pt x="345188" y="592770"/>
                        <a:pt x="346618" y="592770"/>
                        <a:pt x="348047" y="592056"/>
                      </a:cubicBezTo>
                      <a:cubicBezTo>
                        <a:pt x="348762" y="592056"/>
                        <a:pt x="348762" y="592056"/>
                        <a:pt x="348762" y="592056"/>
                      </a:cubicBezTo>
                      <a:cubicBezTo>
                        <a:pt x="360197" y="588485"/>
                        <a:pt x="370917" y="586343"/>
                        <a:pt x="382352" y="584914"/>
                      </a:cubicBezTo>
                      <a:cubicBezTo>
                        <a:pt x="383066" y="584914"/>
                        <a:pt x="383781" y="584914"/>
                        <a:pt x="383781" y="584914"/>
                      </a:cubicBezTo>
                      <a:cubicBezTo>
                        <a:pt x="385210" y="584914"/>
                        <a:pt x="386640" y="584914"/>
                        <a:pt x="387354" y="584914"/>
                      </a:cubicBezTo>
                      <a:cubicBezTo>
                        <a:pt x="388784" y="584914"/>
                        <a:pt x="389498" y="584914"/>
                        <a:pt x="390213" y="584200"/>
                      </a:cubicBezTo>
                      <a:close/>
                      <a:moveTo>
                        <a:pt x="654433" y="103187"/>
                      </a:moveTo>
                      <a:cubicBezTo>
                        <a:pt x="686457" y="103187"/>
                        <a:pt x="686457" y="103187"/>
                        <a:pt x="686457" y="103187"/>
                      </a:cubicBezTo>
                      <a:cubicBezTo>
                        <a:pt x="686457" y="126776"/>
                        <a:pt x="686457" y="126776"/>
                        <a:pt x="686457" y="126776"/>
                      </a:cubicBezTo>
                      <a:cubicBezTo>
                        <a:pt x="702825" y="128920"/>
                        <a:pt x="716346" y="132495"/>
                        <a:pt x="724174" y="139643"/>
                      </a:cubicBezTo>
                      <a:cubicBezTo>
                        <a:pt x="714211" y="169665"/>
                        <a:pt x="714211" y="169665"/>
                        <a:pt x="714211" y="169665"/>
                      </a:cubicBezTo>
                      <a:cubicBezTo>
                        <a:pt x="700690" y="161087"/>
                        <a:pt x="687169" y="156083"/>
                        <a:pt x="672936" y="156083"/>
                      </a:cubicBezTo>
                      <a:cubicBezTo>
                        <a:pt x="665108" y="156083"/>
                        <a:pt x="658703" y="158228"/>
                        <a:pt x="653722" y="162517"/>
                      </a:cubicBezTo>
                      <a:cubicBezTo>
                        <a:pt x="648740" y="167520"/>
                        <a:pt x="646605" y="172524"/>
                        <a:pt x="646605" y="179672"/>
                      </a:cubicBezTo>
                      <a:cubicBezTo>
                        <a:pt x="646605" y="191109"/>
                        <a:pt x="659415" y="203261"/>
                        <a:pt x="685034" y="215413"/>
                      </a:cubicBezTo>
                      <a:cubicBezTo>
                        <a:pt x="698555" y="222561"/>
                        <a:pt x="709230" y="228280"/>
                        <a:pt x="715634" y="233998"/>
                      </a:cubicBezTo>
                      <a:cubicBezTo>
                        <a:pt x="722039" y="239717"/>
                        <a:pt x="725597" y="246150"/>
                        <a:pt x="729155" y="253298"/>
                      </a:cubicBezTo>
                      <a:cubicBezTo>
                        <a:pt x="732002" y="261161"/>
                        <a:pt x="733425" y="269024"/>
                        <a:pt x="733425" y="278317"/>
                      </a:cubicBezTo>
                      <a:cubicBezTo>
                        <a:pt x="733425" y="290469"/>
                        <a:pt x="729867" y="301906"/>
                        <a:pt x="721327" y="311198"/>
                      </a:cubicBezTo>
                      <a:cubicBezTo>
                        <a:pt x="712788" y="320491"/>
                        <a:pt x="700690" y="327639"/>
                        <a:pt x="686457" y="331213"/>
                      </a:cubicBezTo>
                      <a:cubicBezTo>
                        <a:pt x="686457" y="361950"/>
                        <a:pt x="686457" y="361950"/>
                        <a:pt x="686457" y="361950"/>
                      </a:cubicBezTo>
                      <a:cubicBezTo>
                        <a:pt x="654433" y="361950"/>
                        <a:pt x="654433" y="361950"/>
                        <a:pt x="654433" y="361950"/>
                      </a:cubicBezTo>
                      <a:cubicBezTo>
                        <a:pt x="654433" y="332643"/>
                        <a:pt x="654433" y="332643"/>
                        <a:pt x="654433" y="332643"/>
                      </a:cubicBezTo>
                      <a:cubicBezTo>
                        <a:pt x="638777" y="332643"/>
                        <a:pt x="623833" y="327639"/>
                        <a:pt x="609600" y="319061"/>
                      </a:cubicBezTo>
                      <a:cubicBezTo>
                        <a:pt x="623833" y="287609"/>
                        <a:pt x="623833" y="287609"/>
                        <a:pt x="623833" y="287609"/>
                      </a:cubicBezTo>
                      <a:cubicBezTo>
                        <a:pt x="638066" y="296902"/>
                        <a:pt x="652299" y="301906"/>
                        <a:pt x="665820" y="301906"/>
                      </a:cubicBezTo>
                      <a:cubicBezTo>
                        <a:pt x="687169" y="301906"/>
                        <a:pt x="697132" y="294758"/>
                        <a:pt x="697132" y="280461"/>
                      </a:cubicBezTo>
                      <a:cubicBezTo>
                        <a:pt x="697132" y="273313"/>
                        <a:pt x="694997" y="266165"/>
                        <a:pt x="689304" y="259732"/>
                      </a:cubicBezTo>
                      <a:cubicBezTo>
                        <a:pt x="683611" y="254013"/>
                        <a:pt x="673648" y="246865"/>
                        <a:pt x="658703" y="239002"/>
                      </a:cubicBezTo>
                      <a:cubicBezTo>
                        <a:pt x="643047" y="231854"/>
                        <a:pt x="633084" y="225420"/>
                        <a:pt x="627391" y="220417"/>
                      </a:cubicBezTo>
                      <a:cubicBezTo>
                        <a:pt x="621698" y="215413"/>
                        <a:pt x="618140" y="209695"/>
                        <a:pt x="613870" y="202546"/>
                      </a:cubicBezTo>
                      <a:cubicBezTo>
                        <a:pt x="611735" y="195398"/>
                        <a:pt x="610312" y="188250"/>
                        <a:pt x="610312" y="179672"/>
                      </a:cubicBezTo>
                      <a:cubicBezTo>
                        <a:pt x="610312" y="167520"/>
                        <a:pt x="613870" y="156083"/>
                        <a:pt x="623121" y="147506"/>
                      </a:cubicBezTo>
                      <a:cubicBezTo>
                        <a:pt x="630949" y="138213"/>
                        <a:pt x="640912" y="131780"/>
                        <a:pt x="654433" y="128920"/>
                      </a:cubicBezTo>
                      <a:cubicBezTo>
                        <a:pt x="654433" y="103187"/>
                        <a:pt x="654433" y="103187"/>
                        <a:pt x="654433" y="103187"/>
                      </a:cubicBezTo>
                      <a:close/>
                      <a:moveTo>
                        <a:pt x="228600" y="31750"/>
                      </a:moveTo>
                      <a:lnTo>
                        <a:pt x="228600" y="431800"/>
                      </a:lnTo>
                      <a:lnTo>
                        <a:pt x="1114425" y="431800"/>
                      </a:lnTo>
                      <a:lnTo>
                        <a:pt x="1114425" y="31750"/>
                      </a:lnTo>
                      <a:close/>
                      <a:moveTo>
                        <a:pt x="209003" y="0"/>
                      </a:moveTo>
                      <a:cubicBezTo>
                        <a:pt x="1134023" y="0"/>
                        <a:pt x="1134023" y="0"/>
                        <a:pt x="1134023" y="0"/>
                      </a:cubicBezTo>
                      <a:cubicBezTo>
                        <a:pt x="1141171" y="0"/>
                        <a:pt x="1146175" y="5000"/>
                        <a:pt x="1146175" y="11428"/>
                      </a:cubicBezTo>
                      <a:cubicBezTo>
                        <a:pt x="1146175" y="451408"/>
                        <a:pt x="1146175" y="451408"/>
                        <a:pt x="1146175" y="451408"/>
                      </a:cubicBezTo>
                      <a:cubicBezTo>
                        <a:pt x="1146175" y="457836"/>
                        <a:pt x="1141171" y="463550"/>
                        <a:pt x="1134023" y="463550"/>
                      </a:cubicBezTo>
                      <a:cubicBezTo>
                        <a:pt x="209003" y="463550"/>
                        <a:pt x="209003" y="463550"/>
                        <a:pt x="209003" y="463550"/>
                      </a:cubicBezTo>
                      <a:cubicBezTo>
                        <a:pt x="202569" y="463550"/>
                        <a:pt x="196850" y="457836"/>
                        <a:pt x="196850" y="451408"/>
                      </a:cubicBezTo>
                      <a:cubicBezTo>
                        <a:pt x="196850" y="11428"/>
                        <a:pt x="196850" y="11428"/>
                        <a:pt x="196850" y="11428"/>
                      </a:cubicBezTo>
                      <a:cubicBezTo>
                        <a:pt x="196850" y="5000"/>
                        <a:pt x="202569" y="0"/>
                        <a:pt x="20900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F223F3A-3528-4CBE-A24C-5BA78084476A}"/>
              </a:ext>
            </a:extLst>
          </p:cNvPr>
          <p:cNvGrpSpPr/>
          <p:nvPr/>
        </p:nvGrpSpPr>
        <p:grpSpPr>
          <a:xfrm>
            <a:off x="3567851" y="2795501"/>
            <a:ext cx="908258" cy="1008757"/>
            <a:chOff x="3472484" y="2689581"/>
            <a:chExt cx="1098992" cy="1220597"/>
          </a:xfrm>
        </p:grpSpPr>
        <p:sp>
          <p:nvSpPr>
            <p:cNvPr id="59" name="Right Triangle 58">
              <a:extLst>
                <a:ext uri="{FF2B5EF4-FFF2-40B4-BE49-F238E27FC236}">
                  <a16:creationId xmlns:a16="http://schemas.microsoft.com/office/drawing/2014/main" id="{494FF195-6042-46FB-8749-65E7EBC2DC1F}"/>
                </a:ext>
              </a:extLst>
            </p:cNvPr>
            <p:cNvSpPr/>
            <p:nvPr/>
          </p:nvSpPr>
          <p:spPr>
            <a:xfrm flipH="1" flipV="1">
              <a:off x="3472484" y="3788571"/>
              <a:ext cx="604216" cy="121607"/>
            </a:xfrm>
            <a:prstGeom prst="rtTriangle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 cap="rnd" cmpd="sng" algn="ctr">
              <a:solidFill>
                <a:schemeClr val="accent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B7902933-F15D-4AFF-B750-D195C9AE6C6C}"/>
                </a:ext>
              </a:extLst>
            </p:cNvPr>
            <p:cNvSpPr/>
            <p:nvPr/>
          </p:nvSpPr>
          <p:spPr>
            <a:xfrm>
              <a:off x="3472485" y="2689581"/>
              <a:ext cx="1098991" cy="1098991"/>
            </a:xfrm>
            <a:prstGeom prst="rect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+mn-lt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DF72F209-7663-448E-98EA-E1555A11208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02372" y="2819468"/>
              <a:ext cx="839217" cy="839218"/>
              <a:chOff x="5272882" y="2605881"/>
              <a:chExt cx="1646237" cy="1646238"/>
            </a:xfrm>
          </p:grpSpPr>
          <p:sp>
            <p:nvSpPr>
              <p:cNvPr id="101" name="AutoShape 80">
                <a:extLst>
                  <a:ext uri="{FF2B5EF4-FFF2-40B4-BE49-F238E27FC236}">
                    <a16:creationId xmlns:a16="http://schemas.microsoft.com/office/drawing/2014/main" id="{882F6085-9E62-41F8-9E06-20402CD33BD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882" y="2605881"/>
                <a:ext cx="1646237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55F6C8B1-A9B2-4510-8D0B-F7AAC2B2876D}"/>
                  </a:ext>
                </a:extLst>
              </p:cNvPr>
              <p:cNvGrpSpPr/>
              <p:nvPr/>
            </p:nvGrpSpPr>
            <p:grpSpPr>
              <a:xfrm>
                <a:off x="5550694" y="3164681"/>
                <a:ext cx="1090612" cy="528638"/>
                <a:chOff x="5550694" y="3156744"/>
                <a:chExt cx="1090612" cy="528638"/>
              </a:xfrm>
            </p:grpSpPr>
            <p:sp>
              <p:nvSpPr>
                <p:cNvPr id="103" name="Freeform 82">
                  <a:extLst>
                    <a:ext uri="{FF2B5EF4-FFF2-40B4-BE49-F238E27FC236}">
                      <a16:creationId xmlns:a16="http://schemas.microsoft.com/office/drawing/2014/main" id="{A4A3BC03-BA9B-4B6E-8757-BB62FCC95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9757" y="3156744"/>
                  <a:ext cx="852487" cy="469900"/>
                </a:xfrm>
                <a:custGeom>
                  <a:avLst/>
                  <a:gdLst>
                    <a:gd name="T0" fmla="*/ 824 w 1194"/>
                    <a:gd name="T1" fmla="*/ 356 h 657"/>
                    <a:gd name="T2" fmla="*/ 824 w 1194"/>
                    <a:gd name="T3" fmla="*/ 214 h 657"/>
                    <a:gd name="T4" fmla="*/ 802 w 1194"/>
                    <a:gd name="T5" fmla="*/ 192 h 657"/>
                    <a:gd name="T6" fmla="*/ 618 w 1194"/>
                    <a:gd name="T7" fmla="*/ 192 h 657"/>
                    <a:gd name="T8" fmla="*/ 618 w 1194"/>
                    <a:gd name="T9" fmla="*/ 191 h 657"/>
                    <a:gd name="T10" fmla="*/ 618 w 1194"/>
                    <a:gd name="T11" fmla="*/ 104 h 657"/>
                    <a:gd name="T12" fmla="*/ 724 w 1194"/>
                    <a:gd name="T13" fmla="*/ 104 h 657"/>
                    <a:gd name="T14" fmla="*/ 746 w 1194"/>
                    <a:gd name="T15" fmla="*/ 82 h 657"/>
                    <a:gd name="T16" fmla="*/ 746 w 1194"/>
                    <a:gd name="T17" fmla="*/ 67 h 657"/>
                    <a:gd name="T18" fmla="*/ 724 w 1194"/>
                    <a:gd name="T19" fmla="*/ 45 h 657"/>
                    <a:gd name="T20" fmla="*/ 618 w 1194"/>
                    <a:gd name="T21" fmla="*/ 45 h 657"/>
                    <a:gd name="T22" fmla="*/ 618 w 1194"/>
                    <a:gd name="T23" fmla="*/ 22 h 657"/>
                    <a:gd name="T24" fmla="*/ 596 w 1194"/>
                    <a:gd name="T25" fmla="*/ 0 h 657"/>
                    <a:gd name="T26" fmla="*/ 576 w 1194"/>
                    <a:gd name="T27" fmla="*/ 0 h 657"/>
                    <a:gd name="T28" fmla="*/ 554 w 1194"/>
                    <a:gd name="T29" fmla="*/ 22 h 657"/>
                    <a:gd name="T30" fmla="*/ 554 w 1194"/>
                    <a:gd name="T31" fmla="*/ 45 h 657"/>
                    <a:gd name="T32" fmla="*/ 448 w 1194"/>
                    <a:gd name="T33" fmla="*/ 45 h 657"/>
                    <a:gd name="T34" fmla="*/ 426 w 1194"/>
                    <a:gd name="T35" fmla="*/ 67 h 657"/>
                    <a:gd name="T36" fmla="*/ 426 w 1194"/>
                    <a:gd name="T37" fmla="*/ 82 h 657"/>
                    <a:gd name="T38" fmla="*/ 448 w 1194"/>
                    <a:gd name="T39" fmla="*/ 104 h 657"/>
                    <a:gd name="T40" fmla="*/ 554 w 1194"/>
                    <a:gd name="T41" fmla="*/ 104 h 657"/>
                    <a:gd name="T42" fmla="*/ 554 w 1194"/>
                    <a:gd name="T43" fmla="*/ 191 h 657"/>
                    <a:gd name="T44" fmla="*/ 554 w 1194"/>
                    <a:gd name="T45" fmla="*/ 192 h 657"/>
                    <a:gd name="T46" fmla="*/ 371 w 1194"/>
                    <a:gd name="T47" fmla="*/ 192 h 657"/>
                    <a:gd name="T48" fmla="*/ 349 w 1194"/>
                    <a:gd name="T49" fmla="*/ 214 h 657"/>
                    <a:gd name="T50" fmla="*/ 349 w 1194"/>
                    <a:gd name="T51" fmla="*/ 356 h 657"/>
                    <a:gd name="T52" fmla="*/ 0 w 1194"/>
                    <a:gd name="T53" fmla="*/ 356 h 657"/>
                    <a:gd name="T54" fmla="*/ 0 w 1194"/>
                    <a:gd name="T55" fmla="*/ 657 h 657"/>
                    <a:gd name="T56" fmla="*/ 1194 w 1194"/>
                    <a:gd name="T57" fmla="*/ 657 h 657"/>
                    <a:gd name="T58" fmla="*/ 1194 w 1194"/>
                    <a:gd name="T59" fmla="*/ 356 h 657"/>
                    <a:gd name="T60" fmla="*/ 824 w 1194"/>
                    <a:gd name="T61" fmla="*/ 356 h 6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4" h="657">
                      <a:moveTo>
                        <a:pt x="824" y="356"/>
                      </a:moveTo>
                      <a:cubicBezTo>
                        <a:pt x="824" y="214"/>
                        <a:pt x="824" y="214"/>
                        <a:pt x="824" y="214"/>
                      </a:cubicBezTo>
                      <a:cubicBezTo>
                        <a:pt x="824" y="202"/>
                        <a:pt x="814" y="192"/>
                        <a:pt x="802" y="192"/>
                      </a:cubicBezTo>
                      <a:cubicBezTo>
                        <a:pt x="618" y="192"/>
                        <a:pt x="618" y="192"/>
                        <a:pt x="618" y="192"/>
                      </a:cubicBezTo>
                      <a:cubicBezTo>
                        <a:pt x="618" y="192"/>
                        <a:pt x="618" y="192"/>
                        <a:pt x="618" y="191"/>
                      </a:cubicBezTo>
                      <a:cubicBezTo>
                        <a:pt x="618" y="104"/>
                        <a:pt x="618" y="104"/>
                        <a:pt x="618" y="104"/>
                      </a:cubicBezTo>
                      <a:cubicBezTo>
                        <a:pt x="724" y="104"/>
                        <a:pt x="724" y="104"/>
                        <a:pt x="724" y="104"/>
                      </a:cubicBezTo>
                      <a:cubicBezTo>
                        <a:pt x="736" y="104"/>
                        <a:pt x="746" y="94"/>
                        <a:pt x="746" y="82"/>
                      </a:cubicBezTo>
                      <a:cubicBezTo>
                        <a:pt x="746" y="67"/>
                        <a:pt x="746" y="67"/>
                        <a:pt x="746" y="67"/>
                      </a:cubicBezTo>
                      <a:cubicBezTo>
                        <a:pt x="746" y="55"/>
                        <a:pt x="736" y="45"/>
                        <a:pt x="724" y="45"/>
                      </a:cubicBezTo>
                      <a:cubicBezTo>
                        <a:pt x="618" y="45"/>
                        <a:pt x="618" y="45"/>
                        <a:pt x="618" y="45"/>
                      </a:cubicBezTo>
                      <a:cubicBezTo>
                        <a:pt x="618" y="22"/>
                        <a:pt x="618" y="22"/>
                        <a:pt x="618" y="22"/>
                      </a:cubicBezTo>
                      <a:cubicBezTo>
                        <a:pt x="618" y="10"/>
                        <a:pt x="608" y="0"/>
                        <a:pt x="596" y="0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cubicBezTo>
                        <a:pt x="564" y="0"/>
                        <a:pt x="554" y="10"/>
                        <a:pt x="554" y="22"/>
                      </a:cubicBezTo>
                      <a:cubicBezTo>
                        <a:pt x="554" y="45"/>
                        <a:pt x="554" y="45"/>
                        <a:pt x="554" y="45"/>
                      </a:cubicBezTo>
                      <a:cubicBezTo>
                        <a:pt x="448" y="45"/>
                        <a:pt x="448" y="45"/>
                        <a:pt x="448" y="45"/>
                      </a:cubicBezTo>
                      <a:cubicBezTo>
                        <a:pt x="436" y="45"/>
                        <a:pt x="426" y="55"/>
                        <a:pt x="426" y="67"/>
                      </a:cubicBezTo>
                      <a:cubicBezTo>
                        <a:pt x="426" y="82"/>
                        <a:pt x="426" y="82"/>
                        <a:pt x="426" y="82"/>
                      </a:cubicBezTo>
                      <a:cubicBezTo>
                        <a:pt x="426" y="94"/>
                        <a:pt x="436" y="104"/>
                        <a:pt x="448" y="104"/>
                      </a:cubicBezTo>
                      <a:cubicBezTo>
                        <a:pt x="554" y="104"/>
                        <a:pt x="554" y="104"/>
                        <a:pt x="554" y="104"/>
                      </a:cubicBezTo>
                      <a:cubicBezTo>
                        <a:pt x="554" y="191"/>
                        <a:pt x="554" y="191"/>
                        <a:pt x="554" y="191"/>
                      </a:cubicBezTo>
                      <a:cubicBezTo>
                        <a:pt x="554" y="192"/>
                        <a:pt x="554" y="192"/>
                        <a:pt x="554" y="192"/>
                      </a:cubicBezTo>
                      <a:cubicBezTo>
                        <a:pt x="371" y="192"/>
                        <a:pt x="371" y="192"/>
                        <a:pt x="371" y="192"/>
                      </a:cubicBezTo>
                      <a:cubicBezTo>
                        <a:pt x="359" y="192"/>
                        <a:pt x="349" y="202"/>
                        <a:pt x="349" y="214"/>
                      </a:cubicBezTo>
                      <a:cubicBezTo>
                        <a:pt x="349" y="356"/>
                        <a:pt x="349" y="356"/>
                        <a:pt x="349" y="356"/>
                      </a:cubicBezTo>
                      <a:cubicBezTo>
                        <a:pt x="0" y="356"/>
                        <a:pt x="0" y="356"/>
                        <a:pt x="0" y="356"/>
                      </a:cubicBezTo>
                      <a:cubicBezTo>
                        <a:pt x="0" y="657"/>
                        <a:pt x="0" y="657"/>
                        <a:pt x="0" y="657"/>
                      </a:cubicBezTo>
                      <a:cubicBezTo>
                        <a:pt x="1194" y="657"/>
                        <a:pt x="1194" y="657"/>
                        <a:pt x="1194" y="657"/>
                      </a:cubicBezTo>
                      <a:cubicBezTo>
                        <a:pt x="1194" y="356"/>
                        <a:pt x="1194" y="356"/>
                        <a:pt x="1194" y="356"/>
                      </a:cubicBezTo>
                      <a:lnTo>
                        <a:pt x="824" y="356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69816" tIns="34908" rIns="69816" bIns="3490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374" kern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104" name="Freeform 6">
                  <a:extLst>
                    <a:ext uri="{FF2B5EF4-FFF2-40B4-BE49-F238E27FC236}">
                      <a16:creationId xmlns:a16="http://schemas.microsoft.com/office/drawing/2014/main" id="{128707E0-7B2F-4073-95BD-71303D4DD6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0694" y="3353594"/>
                  <a:ext cx="1090612" cy="331788"/>
                </a:xfrm>
                <a:custGeom>
                  <a:avLst/>
                  <a:gdLst>
                    <a:gd name="connsiteX0" fmla="*/ 1018917 w 1090612"/>
                    <a:gd name="connsiteY0" fmla="*/ 0 h 331788"/>
                    <a:gd name="connsiteX1" fmla="*/ 1074995 w 1090612"/>
                    <a:gd name="connsiteY1" fmla="*/ 0 h 331788"/>
                    <a:gd name="connsiteX2" fmla="*/ 1090612 w 1090612"/>
                    <a:gd name="connsiteY2" fmla="*/ 15731 h 331788"/>
                    <a:gd name="connsiteX3" fmla="*/ 1090612 w 1090612"/>
                    <a:gd name="connsiteY3" fmla="*/ 316057 h 331788"/>
                    <a:gd name="connsiteX4" fmla="*/ 1074995 w 1090612"/>
                    <a:gd name="connsiteY4" fmla="*/ 331788 h 331788"/>
                    <a:gd name="connsiteX5" fmla="*/ 1018917 w 1090612"/>
                    <a:gd name="connsiteY5" fmla="*/ 331788 h 331788"/>
                    <a:gd name="connsiteX6" fmla="*/ 1003300 w 1090612"/>
                    <a:gd name="connsiteY6" fmla="*/ 316057 h 331788"/>
                    <a:gd name="connsiteX7" fmla="*/ 1003300 w 1090612"/>
                    <a:gd name="connsiteY7" fmla="*/ 273153 h 331788"/>
                    <a:gd name="connsiteX8" fmla="*/ 1003300 w 1090612"/>
                    <a:gd name="connsiteY8" fmla="*/ 57920 h 331788"/>
                    <a:gd name="connsiteX9" fmla="*/ 1003300 w 1090612"/>
                    <a:gd name="connsiteY9" fmla="*/ 15731 h 331788"/>
                    <a:gd name="connsiteX10" fmla="*/ 1018917 w 1090612"/>
                    <a:gd name="connsiteY10" fmla="*/ 0 h 331788"/>
                    <a:gd name="connsiteX11" fmla="*/ 15617 w 1090612"/>
                    <a:gd name="connsiteY11" fmla="*/ 0 h 331788"/>
                    <a:gd name="connsiteX12" fmla="*/ 71695 w 1090612"/>
                    <a:gd name="connsiteY12" fmla="*/ 0 h 331788"/>
                    <a:gd name="connsiteX13" fmla="*/ 87312 w 1090612"/>
                    <a:gd name="connsiteY13" fmla="*/ 15731 h 331788"/>
                    <a:gd name="connsiteX14" fmla="*/ 87312 w 1090612"/>
                    <a:gd name="connsiteY14" fmla="*/ 57920 h 331788"/>
                    <a:gd name="connsiteX15" fmla="*/ 87312 w 1090612"/>
                    <a:gd name="connsiteY15" fmla="*/ 273153 h 331788"/>
                    <a:gd name="connsiteX16" fmla="*/ 87312 w 1090612"/>
                    <a:gd name="connsiteY16" fmla="*/ 316057 h 331788"/>
                    <a:gd name="connsiteX17" fmla="*/ 71695 w 1090612"/>
                    <a:gd name="connsiteY17" fmla="*/ 331788 h 331788"/>
                    <a:gd name="connsiteX18" fmla="*/ 15617 w 1090612"/>
                    <a:gd name="connsiteY18" fmla="*/ 331788 h 331788"/>
                    <a:gd name="connsiteX19" fmla="*/ 0 w 1090612"/>
                    <a:gd name="connsiteY19" fmla="*/ 316057 h 331788"/>
                    <a:gd name="connsiteX20" fmla="*/ 0 w 1090612"/>
                    <a:gd name="connsiteY20" fmla="*/ 15731 h 331788"/>
                    <a:gd name="connsiteX21" fmla="*/ 15617 w 1090612"/>
                    <a:gd name="connsiteY21" fmla="*/ 0 h 3317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090612" h="331788">
                      <a:moveTo>
                        <a:pt x="1018917" y="0"/>
                      </a:moveTo>
                      <a:cubicBezTo>
                        <a:pt x="1018917" y="0"/>
                        <a:pt x="1018917" y="0"/>
                        <a:pt x="1074995" y="0"/>
                      </a:cubicBezTo>
                      <a:cubicBezTo>
                        <a:pt x="1083514" y="0"/>
                        <a:pt x="1090612" y="7151"/>
                        <a:pt x="1090612" y="15731"/>
                      </a:cubicBezTo>
                      <a:cubicBezTo>
                        <a:pt x="1090612" y="15731"/>
                        <a:pt x="1090612" y="15731"/>
                        <a:pt x="1090612" y="316057"/>
                      </a:cubicBezTo>
                      <a:cubicBezTo>
                        <a:pt x="1090612" y="324638"/>
                        <a:pt x="1083514" y="331788"/>
                        <a:pt x="1074995" y="331788"/>
                      </a:cubicBezTo>
                      <a:cubicBezTo>
                        <a:pt x="1074995" y="331788"/>
                        <a:pt x="1074995" y="331788"/>
                        <a:pt x="1018917" y="331788"/>
                      </a:cubicBezTo>
                      <a:cubicBezTo>
                        <a:pt x="1010399" y="331788"/>
                        <a:pt x="1003300" y="324638"/>
                        <a:pt x="1003300" y="316057"/>
                      </a:cubicBezTo>
                      <a:cubicBezTo>
                        <a:pt x="1003300" y="316057"/>
                        <a:pt x="1003300" y="316057"/>
                        <a:pt x="1003300" y="273153"/>
                      </a:cubicBezTo>
                      <a:cubicBezTo>
                        <a:pt x="1003300" y="273153"/>
                        <a:pt x="1003300" y="273153"/>
                        <a:pt x="1003300" y="57920"/>
                      </a:cubicBezTo>
                      <a:cubicBezTo>
                        <a:pt x="1003300" y="57920"/>
                        <a:pt x="1003300" y="57920"/>
                        <a:pt x="1003300" y="15731"/>
                      </a:cubicBezTo>
                      <a:cubicBezTo>
                        <a:pt x="1003300" y="7151"/>
                        <a:pt x="1010399" y="0"/>
                        <a:pt x="1018917" y="0"/>
                      </a:cubicBezTo>
                      <a:close/>
                      <a:moveTo>
                        <a:pt x="15617" y="0"/>
                      </a:moveTo>
                      <a:cubicBezTo>
                        <a:pt x="15617" y="0"/>
                        <a:pt x="15617" y="0"/>
                        <a:pt x="71695" y="0"/>
                      </a:cubicBezTo>
                      <a:cubicBezTo>
                        <a:pt x="80213" y="0"/>
                        <a:pt x="87312" y="7151"/>
                        <a:pt x="87312" y="15731"/>
                      </a:cubicBezTo>
                      <a:cubicBezTo>
                        <a:pt x="87312" y="15731"/>
                        <a:pt x="87312" y="15731"/>
                        <a:pt x="87312" y="57920"/>
                      </a:cubicBezTo>
                      <a:cubicBezTo>
                        <a:pt x="87312" y="57920"/>
                        <a:pt x="87312" y="57920"/>
                        <a:pt x="87312" y="273153"/>
                      </a:cubicBezTo>
                      <a:cubicBezTo>
                        <a:pt x="87312" y="273153"/>
                        <a:pt x="87312" y="273153"/>
                        <a:pt x="87312" y="316057"/>
                      </a:cubicBezTo>
                      <a:cubicBezTo>
                        <a:pt x="87312" y="324638"/>
                        <a:pt x="80213" y="331788"/>
                        <a:pt x="71695" y="331788"/>
                      </a:cubicBezTo>
                      <a:cubicBezTo>
                        <a:pt x="71695" y="331788"/>
                        <a:pt x="71695" y="331788"/>
                        <a:pt x="15617" y="331788"/>
                      </a:cubicBezTo>
                      <a:cubicBezTo>
                        <a:pt x="7098" y="331788"/>
                        <a:pt x="0" y="324638"/>
                        <a:pt x="0" y="316057"/>
                      </a:cubicBezTo>
                      <a:cubicBezTo>
                        <a:pt x="0" y="316057"/>
                        <a:pt x="0" y="316057"/>
                        <a:pt x="0" y="15731"/>
                      </a:cubicBezTo>
                      <a:cubicBezTo>
                        <a:pt x="0" y="7151"/>
                        <a:pt x="7098" y="0"/>
                        <a:pt x="1561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69816" tIns="34908" rIns="69816" bIns="34908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374" kern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A99C970-DDEE-4110-8F7F-2AAA2F05DDD0}"/>
              </a:ext>
            </a:extLst>
          </p:cNvPr>
          <p:cNvGrpSpPr/>
          <p:nvPr/>
        </p:nvGrpSpPr>
        <p:grpSpPr>
          <a:xfrm>
            <a:off x="3567851" y="4277023"/>
            <a:ext cx="908258" cy="1008757"/>
            <a:chOff x="3472484" y="4171103"/>
            <a:chExt cx="1098992" cy="1220597"/>
          </a:xfrm>
        </p:grpSpPr>
        <p:sp>
          <p:nvSpPr>
            <p:cNvPr id="62" name="Right Triangle 61">
              <a:extLst>
                <a:ext uri="{FF2B5EF4-FFF2-40B4-BE49-F238E27FC236}">
                  <a16:creationId xmlns:a16="http://schemas.microsoft.com/office/drawing/2014/main" id="{66EE62B7-5635-4883-9389-92B31732BCEF}"/>
                </a:ext>
              </a:extLst>
            </p:cNvPr>
            <p:cNvSpPr/>
            <p:nvPr/>
          </p:nvSpPr>
          <p:spPr>
            <a:xfrm flipH="1" flipV="1">
              <a:off x="3472484" y="5270093"/>
              <a:ext cx="604216" cy="121607"/>
            </a:xfrm>
            <a:prstGeom prst="rtTriangle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 cap="rnd" cmpd="sng" algn="ctr">
              <a:solidFill>
                <a:schemeClr val="accent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ED1F2832-76AF-4EF6-A1C2-C42A60E8ED7E}"/>
                </a:ext>
              </a:extLst>
            </p:cNvPr>
            <p:cNvSpPr/>
            <p:nvPr/>
          </p:nvSpPr>
          <p:spPr>
            <a:xfrm>
              <a:off x="3472485" y="4171103"/>
              <a:ext cx="1098991" cy="1098991"/>
            </a:xfrm>
            <a:prstGeom prst="rect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+mn-lt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DA5AD306-99F9-48AD-8514-9775537066E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02760" y="4300990"/>
              <a:ext cx="838441" cy="839218"/>
              <a:chOff x="5273803" y="2606040"/>
              <a:chExt cx="1644396" cy="1645920"/>
            </a:xfrm>
          </p:grpSpPr>
          <p:sp>
            <p:nvSpPr>
              <p:cNvPr id="106" name="AutoShape 28">
                <a:extLst>
                  <a:ext uri="{FF2B5EF4-FFF2-40B4-BE49-F238E27FC236}">
                    <a16:creationId xmlns:a16="http://schemas.microsoft.com/office/drawing/2014/main" id="{36B6FBF0-156A-4BD8-8491-C5B4D8B8A76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3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D9375A0F-BC5E-453D-88BC-2F7BACDD70E0}"/>
                  </a:ext>
                </a:extLst>
              </p:cNvPr>
              <p:cNvGrpSpPr/>
              <p:nvPr/>
            </p:nvGrpSpPr>
            <p:grpSpPr>
              <a:xfrm>
                <a:off x="5444491" y="2777490"/>
                <a:ext cx="1303020" cy="1301496"/>
                <a:chOff x="5444491" y="2777490"/>
                <a:chExt cx="1303020" cy="1301496"/>
              </a:xfrm>
            </p:grpSpPr>
            <p:sp>
              <p:nvSpPr>
                <p:cNvPr id="108" name="Freeform 30">
                  <a:extLst>
                    <a:ext uri="{FF2B5EF4-FFF2-40B4-BE49-F238E27FC236}">
                      <a16:creationId xmlns:a16="http://schemas.microsoft.com/office/drawing/2014/main" id="{B2743921-3BF3-4F23-86C5-6A57B1FE4E9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44491" y="2777490"/>
                  <a:ext cx="1303020" cy="1301496"/>
                </a:xfrm>
                <a:custGeom>
                  <a:avLst/>
                  <a:gdLst>
                    <a:gd name="T0" fmla="*/ 144 w 1826"/>
                    <a:gd name="T1" fmla="*/ 288 h 1822"/>
                    <a:gd name="T2" fmla="*/ 144 w 1826"/>
                    <a:gd name="T3" fmla="*/ 0 h 1822"/>
                    <a:gd name="T4" fmla="*/ 1682 w 1826"/>
                    <a:gd name="T5" fmla="*/ 0 h 1822"/>
                    <a:gd name="T6" fmla="*/ 1682 w 1826"/>
                    <a:gd name="T7" fmla="*/ 288 h 1822"/>
                    <a:gd name="T8" fmla="*/ 1682 w 1826"/>
                    <a:gd name="T9" fmla="*/ 0 h 1822"/>
                    <a:gd name="T10" fmla="*/ 0 w 1826"/>
                    <a:gd name="T11" fmla="*/ 1678 h 1822"/>
                    <a:gd name="T12" fmla="*/ 288 w 1826"/>
                    <a:gd name="T13" fmla="*/ 1678 h 1822"/>
                    <a:gd name="T14" fmla="*/ 1682 w 1826"/>
                    <a:gd name="T15" fmla="*/ 1534 h 1822"/>
                    <a:gd name="T16" fmla="*/ 1682 w 1826"/>
                    <a:gd name="T17" fmla="*/ 1822 h 1822"/>
                    <a:gd name="T18" fmla="*/ 1682 w 1826"/>
                    <a:gd name="T19" fmla="*/ 1534 h 1822"/>
                    <a:gd name="T20" fmla="*/ 913 w 1826"/>
                    <a:gd name="T21" fmla="*/ 1577 h 1822"/>
                    <a:gd name="T22" fmla="*/ 913 w 1826"/>
                    <a:gd name="T23" fmla="*/ 245 h 1822"/>
                    <a:gd name="T24" fmla="*/ 1076 w 1826"/>
                    <a:gd name="T25" fmla="*/ 532 h 1822"/>
                    <a:gd name="T26" fmla="*/ 1183 w 1826"/>
                    <a:gd name="T27" fmla="*/ 532 h 1822"/>
                    <a:gd name="T28" fmla="*/ 1076 w 1826"/>
                    <a:gd name="T29" fmla="*/ 532 h 1822"/>
                    <a:gd name="T30" fmla="*/ 1023 w 1826"/>
                    <a:gd name="T31" fmla="*/ 950 h 1822"/>
                    <a:gd name="T32" fmla="*/ 1023 w 1826"/>
                    <a:gd name="T33" fmla="*/ 844 h 1822"/>
                    <a:gd name="T34" fmla="*/ 549 w 1826"/>
                    <a:gd name="T35" fmla="*/ 1134 h 1822"/>
                    <a:gd name="T36" fmla="*/ 443 w 1826"/>
                    <a:gd name="T37" fmla="*/ 1134 h 1822"/>
                    <a:gd name="T38" fmla="*/ 549 w 1826"/>
                    <a:gd name="T39" fmla="*/ 1134 h 1822"/>
                    <a:gd name="T40" fmla="*/ 876 w 1826"/>
                    <a:gd name="T41" fmla="*/ 576 h 1822"/>
                    <a:gd name="T42" fmla="*/ 876 w 1826"/>
                    <a:gd name="T43" fmla="*/ 544 h 1822"/>
                    <a:gd name="T44" fmla="*/ 681 w 1826"/>
                    <a:gd name="T45" fmla="*/ 380 h 1822"/>
                    <a:gd name="T46" fmla="*/ 380 w 1826"/>
                    <a:gd name="T47" fmla="*/ 690 h 1822"/>
                    <a:gd name="T48" fmla="*/ 551 w 1826"/>
                    <a:gd name="T49" fmla="*/ 870 h 1822"/>
                    <a:gd name="T50" fmla="*/ 582 w 1826"/>
                    <a:gd name="T51" fmla="*/ 870 h 1822"/>
                    <a:gd name="T52" fmla="*/ 1195 w 1826"/>
                    <a:gd name="T53" fmla="*/ 1127 h 1822"/>
                    <a:gd name="T54" fmla="*/ 757 w 1826"/>
                    <a:gd name="T55" fmla="*/ 1149 h 1822"/>
                    <a:gd name="T56" fmla="*/ 779 w 1826"/>
                    <a:gd name="T57" fmla="*/ 1403 h 1822"/>
                    <a:gd name="T58" fmla="*/ 1217 w 1826"/>
                    <a:gd name="T59" fmla="*/ 1381 h 1822"/>
                    <a:gd name="T60" fmla="*/ 1412 w 1826"/>
                    <a:gd name="T61" fmla="*/ 960 h 1822"/>
                    <a:gd name="T62" fmla="*/ 1390 w 1826"/>
                    <a:gd name="T63" fmla="*/ 706 h 1822"/>
                    <a:gd name="T64" fmla="*/ 1200 w 1826"/>
                    <a:gd name="T65" fmla="*/ 728 h 1822"/>
                    <a:gd name="T66" fmla="*/ 1222 w 1826"/>
                    <a:gd name="T67" fmla="*/ 982 h 1822"/>
                    <a:gd name="T68" fmla="*/ 1412 w 1826"/>
                    <a:gd name="T69" fmla="*/ 960 h 18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826" h="1822">
                      <a:moveTo>
                        <a:pt x="288" y="144"/>
                      </a:moveTo>
                      <a:cubicBezTo>
                        <a:pt x="288" y="224"/>
                        <a:pt x="223" y="288"/>
                        <a:pt x="144" y="288"/>
                      </a:cubicBezTo>
                      <a:cubicBezTo>
                        <a:pt x="64" y="288"/>
                        <a:pt x="0" y="224"/>
                        <a:pt x="0" y="144"/>
                      </a:cubicBezTo>
                      <a:cubicBezTo>
                        <a:pt x="0" y="65"/>
                        <a:pt x="64" y="0"/>
                        <a:pt x="144" y="0"/>
                      </a:cubicBezTo>
                      <a:cubicBezTo>
                        <a:pt x="223" y="0"/>
                        <a:pt x="288" y="65"/>
                        <a:pt x="288" y="144"/>
                      </a:cubicBezTo>
                      <a:close/>
                      <a:moveTo>
                        <a:pt x="1682" y="0"/>
                      </a:moveTo>
                      <a:cubicBezTo>
                        <a:pt x="1603" y="0"/>
                        <a:pt x="1538" y="65"/>
                        <a:pt x="1538" y="144"/>
                      </a:cubicBezTo>
                      <a:cubicBezTo>
                        <a:pt x="1538" y="224"/>
                        <a:pt x="1603" y="288"/>
                        <a:pt x="1682" y="288"/>
                      </a:cubicBezTo>
                      <a:cubicBezTo>
                        <a:pt x="1762" y="288"/>
                        <a:pt x="1826" y="224"/>
                        <a:pt x="1826" y="144"/>
                      </a:cubicBezTo>
                      <a:cubicBezTo>
                        <a:pt x="1826" y="65"/>
                        <a:pt x="1762" y="0"/>
                        <a:pt x="1682" y="0"/>
                      </a:cubicBezTo>
                      <a:close/>
                      <a:moveTo>
                        <a:pt x="144" y="1534"/>
                      </a:moveTo>
                      <a:cubicBezTo>
                        <a:pt x="64" y="1534"/>
                        <a:pt x="0" y="1598"/>
                        <a:pt x="0" y="1678"/>
                      </a:cubicBezTo>
                      <a:cubicBezTo>
                        <a:pt x="0" y="1757"/>
                        <a:pt x="64" y="1822"/>
                        <a:pt x="144" y="1822"/>
                      </a:cubicBezTo>
                      <a:cubicBezTo>
                        <a:pt x="223" y="1822"/>
                        <a:pt x="288" y="1757"/>
                        <a:pt x="288" y="1678"/>
                      </a:cubicBezTo>
                      <a:cubicBezTo>
                        <a:pt x="288" y="1598"/>
                        <a:pt x="223" y="1534"/>
                        <a:pt x="144" y="1534"/>
                      </a:cubicBezTo>
                      <a:close/>
                      <a:moveTo>
                        <a:pt x="1682" y="1534"/>
                      </a:moveTo>
                      <a:cubicBezTo>
                        <a:pt x="1603" y="1534"/>
                        <a:pt x="1538" y="1598"/>
                        <a:pt x="1538" y="1678"/>
                      </a:cubicBezTo>
                      <a:cubicBezTo>
                        <a:pt x="1538" y="1757"/>
                        <a:pt x="1603" y="1822"/>
                        <a:pt x="1682" y="1822"/>
                      </a:cubicBezTo>
                      <a:cubicBezTo>
                        <a:pt x="1762" y="1822"/>
                        <a:pt x="1826" y="1757"/>
                        <a:pt x="1826" y="1678"/>
                      </a:cubicBezTo>
                      <a:cubicBezTo>
                        <a:pt x="1826" y="1598"/>
                        <a:pt x="1762" y="1534"/>
                        <a:pt x="1682" y="1534"/>
                      </a:cubicBezTo>
                      <a:close/>
                      <a:moveTo>
                        <a:pt x="1579" y="911"/>
                      </a:moveTo>
                      <a:cubicBezTo>
                        <a:pt x="1579" y="1279"/>
                        <a:pt x="1281" y="1577"/>
                        <a:pt x="913" y="1577"/>
                      </a:cubicBezTo>
                      <a:cubicBezTo>
                        <a:pt x="545" y="1577"/>
                        <a:pt x="247" y="1279"/>
                        <a:pt x="247" y="911"/>
                      </a:cubicBezTo>
                      <a:cubicBezTo>
                        <a:pt x="247" y="543"/>
                        <a:pt x="545" y="245"/>
                        <a:pt x="913" y="245"/>
                      </a:cubicBezTo>
                      <a:cubicBezTo>
                        <a:pt x="1281" y="245"/>
                        <a:pt x="1579" y="543"/>
                        <a:pt x="1579" y="911"/>
                      </a:cubicBezTo>
                      <a:close/>
                      <a:moveTo>
                        <a:pt x="1076" y="532"/>
                      </a:moveTo>
                      <a:cubicBezTo>
                        <a:pt x="1076" y="562"/>
                        <a:pt x="1100" y="585"/>
                        <a:pt x="1129" y="585"/>
                      </a:cubicBezTo>
                      <a:cubicBezTo>
                        <a:pt x="1159" y="585"/>
                        <a:pt x="1183" y="562"/>
                        <a:pt x="1183" y="532"/>
                      </a:cubicBezTo>
                      <a:cubicBezTo>
                        <a:pt x="1183" y="503"/>
                        <a:pt x="1159" y="479"/>
                        <a:pt x="1129" y="479"/>
                      </a:cubicBezTo>
                      <a:cubicBezTo>
                        <a:pt x="1100" y="479"/>
                        <a:pt x="1076" y="503"/>
                        <a:pt x="1076" y="532"/>
                      </a:cubicBezTo>
                      <a:close/>
                      <a:moveTo>
                        <a:pt x="970" y="897"/>
                      </a:moveTo>
                      <a:cubicBezTo>
                        <a:pt x="970" y="926"/>
                        <a:pt x="994" y="950"/>
                        <a:pt x="1023" y="950"/>
                      </a:cubicBezTo>
                      <a:cubicBezTo>
                        <a:pt x="1052" y="950"/>
                        <a:pt x="1076" y="926"/>
                        <a:pt x="1076" y="897"/>
                      </a:cubicBezTo>
                      <a:cubicBezTo>
                        <a:pt x="1076" y="868"/>
                        <a:pt x="1052" y="844"/>
                        <a:pt x="1023" y="844"/>
                      </a:cubicBezTo>
                      <a:cubicBezTo>
                        <a:pt x="994" y="844"/>
                        <a:pt x="970" y="868"/>
                        <a:pt x="970" y="897"/>
                      </a:cubicBezTo>
                      <a:close/>
                      <a:moveTo>
                        <a:pt x="549" y="1134"/>
                      </a:moveTo>
                      <a:cubicBezTo>
                        <a:pt x="549" y="1105"/>
                        <a:pt x="526" y="1081"/>
                        <a:pt x="496" y="1081"/>
                      </a:cubicBezTo>
                      <a:cubicBezTo>
                        <a:pt x="467" y="1081"/>
                        <a:pt x="443" y="1105"/>
                        <a:pt x="443" y="1134"/>
                      </a:cubicBezTo>
                      <a:cubicBezTo>
                        <a:pt x="443" y="1164"/>
                        <a:pt x="467" y="1187"/>
                        <a:pt x="496" y="1187"/>
                      </a:cubicBezTo>
                      <a:cubicBezTo>
                        <a:pt x="526" y="1187"/>
                        <a:pt x="549" y="1164"/>
                        <a:pt x="549" y="1134"/>
                      </a:cubicBezTo>
                      <a:close/>
                      <a:moveTo>
                        <a:pt x="582" y="870"/>
                      </a:moveTo>
                      <a:cubicBezTo>
                        <a:pt x="876" y="576"/>
                        <a:pt x="876" y="576"/>
                        <a:pt x="876" y="576"/>
                      </a:cubicBezTo>
                      <a:cubicBezTo>
                        <a:pt x="880" y="571"/>
                        <a:pt x="883" y="566"/>
                        <a:pt x="883" y="560"/>
                      </a:cubicBezTo>
                      <a:cubicBezTo>
                        <a:pt x="883" y="554"/>
                        <a:pt x="880" y="549"/>
                        <a:pt x="876" y="544"/>
                      </a:cubicBezTo>
                      <a:cubicBezTo>
                        <a:pt x="712" y="380"/>
                        <a:pt x="712" y="380"/>
                        <a:pt x="712" y="380"/>
                      </a:cubicBezTo>
                      <a:cubicBezTo>
                        <a:pt x="704" y="372"/>
                        <a:pt x="690" y="372"/>
                        <a:pt x="681" y="380"/>
                      </a:cubicBezTo>
                      <a:cubicBezTo>
                        <a:pt x="387" y="675"/>
                        <a:pt x="387" y="675"/>
                        <a:pt x="387" y="675"/>
                      </a:cubicBezTo>
                      <a:cubicBezTo>
                        <a:pt x="383" y="679"/>
                        <a:pt x="380" y="684"/>
                        <a:pt x="380" y="690"/>
                      </a:cubicBezTo>
                      <a:cubicBezTo>
                        <a:pt x="380" y="696"/>
                        <a:pt x="383" y="701"/>
                        <a:pt x="387" y="706"/>
                      </a:cubicBezTo>
                      <a:cubicBezTo>
                        <a:pt x="551" y="870"/>
                        <a:pt x="551" y="870"/>
                        <a:pt x="551" y="870"/>
                      </a:cubicBezTo>
                      <a:cubicBezTo>
                        <a:pt x="555" y="874"/>
                        <a:pt x="561" y="876"/>
                        <a:pt x="566" y="876"/>
                      </a:cubicBezTo>
                      <a:cubicBezTo>
                        <a:pt x="572" y="876"/>
                        <a:pt x="578" y="874"/>
                        <a:pt x="582" y="870"/>
                      </a:cubicBezTo>
                      <a:close/>
                      <a:moveTo>
                        <a:pt x="1217" y="1149"/>
                      </a:moveTo>
                      <a:cubicBezTo>
                        <a:pt x="1217" y="1137"/>
                        <a:pt x="1207" y="1127"/>
                        <a:pt x="1195" y="1127"/>
                      </a:cubicBezTo>
                      <a:cubicBezTo>
                        <a:pt x="779" y="1127"/>
                        <a:pt x="779" y="1127"/>
                        <a:pt x="779" y="1127"/>
                      </a:cubicBezTo>
                      <a:cubicBezTo>
                        <a:pt x="767" y="1127"/>
                        <a:pt x="757" y="1137"/>
                        <a:pt x="757" y="1149"/>
                      </a:cubicBezTo>
                      <a:cubicBezTo>
                        <a:pt x="757" y="1381"/>
                        <a:pt x="757" y="1381"/>
                        <a:pt x="757" y="1381"/>
                      </a:cubicBezTo>
                      <a:cubicBezTo>
                        <a:pt x="757" y="1393"/>
                        <a:pt x="767" y="1403"/>
                        <a:pt x="779" y="1403"/>
                      </a:cubicBezTo>
                      <a:cubicBezTo>
                        <a:pt x="1195" y="1403"/>
                        <a:pt x="1195" y="1403"/>
                        <a:pt x="1195" y="1403"/>
                      </a:cubicBezTo>
                      <a:cubicBezTo>
                        <a:pt x="1207" y="1403"/>
                        <a:pt x="1217" y="1393"/>
                        <a:pt x="1217" y="1381"/>
                      </a:cubicBezTo>
                      <a:lnTo>
                        <a:pt x="1217" y="1149"/>
                      </a:lnTo>
                      <a:close/>
                      <a:moveTo>
                        <a:pt x="1412" y="960"/>
                      </a:moveTo>
                      <a:cubicBezTo>
                        <a:pt x="1412" y="728"/>
                        <a:pt x="1412" y="728"/>
                        <a:pt x="1412" y="728"/>
                      </a:cubicBezTo>
                      <a:cubicBezTo>
                        <a:pt x="1412" y="716"/>
                        <a:pt x="1402" y="706"/>
                        <a:pt x="1390" y="706"/>
                      </a:cubicBezTo>
                      <a:cubicBezTo>
                        <a:pt x="1222" y="706"/>
                        <a:pt x="1222" y="706"/>
                        <a:pt x="1222" y="706"/>
                      </a:cubicBezTo>
                      <a:cubicBezTo>
                        <a:pt x="1209" y="706"/>
                        <a:pt x="1200" y="716"/>
                        <a:pt x="1200" y="728"/>
                      </a:cubicBezTo>
                      <a:cubicBezTo>
                        <a:pt x="1200" y="960"/>
                        <a:pt x="1200" y="960"/>
                        <a:pt x="1200" y="960"/>
                      </a:cubicBezTo>
                      <a:cubicBezTo>
                        <a:pt x="1200" y="972"/>
                        <a:pt x="1209" y="982"/>
                        <a:pt x="1222" y="982"/>
                      </a:cubicBezTo>
                      <a:cubicBezTo>
                        <a:pt x="1390" y="982"/>
                        <a:pt x="1390" y="982"/>
                        <a:pt x="1390" y="982"/>
                      </a:cubicBezTo>
                      <a:cubicBezTo>
                        <a:pt x="1402" y="982"/>
                        <a:pt x="1412" y="972"/>
                        <a:pt x="1412" y="96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9" name="Freeform 31">
                  <a:extLst>
                    <a:ext uri="{FF2B5EF4-FFF2-40B4-BE49-F238E27FC236}">
                      <a16:creationId xmlns:a16="http://schemas.microsoft.com/office/drawing/2014/main" id="{8623849C-1A49-4FB3-8BB8-BFA5641B68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6495" y="2807589"/>
                  <a:ext cx="1239012" cy="1238631"/>
                </a:xfrm>
                <a:custGeom>
                  <a:avLst/>
                  <a:gdLst>
                    <a:gd name="T0" fmla="*/ 784 w 1736"/>
                    <a:gd name="T1" fmla="*/ 518 h 1734"/>
                    <a:gd name="T2" fmla="*/ 389 w 1736"/>
                    <a:gd name="T3" fmla="*/ 648 h 1734"/>
                    <a:gd name="T4" fmla="*/ 756 w 1736"/>
                    <a:gd name="T5" fmla="*/ 1317 h 1734"/>
                    <a:gd name="T6" fmla="*/ 1128 w 1736"/>
                    <a:gd name="T7" fmla="*/ 1129 h 1734"/>
                    <a:gd name="T8" fmla="*/ 756 w 1736"/>
                    <a:gd name="T9" fmla="*/ 1317 h 1734"/>
                    <a:gd name="T10" fmla="*/ 1323 w 1736"/>
                    <a:gd name="T11" fmla="*/ 896 h 1734"/>
                    <a:gd name="T12" fmla="*/ 1199 w 1736"/>
                    <a:gd name="T13" fmla="*/ 708 h 1734"/>
                    <a:gd name="T14" fmla="*/ 521 w 1736"/>
                    <a:gd name="T15" fmla="*/ 0 h 1734"/>
                    <a:gd name="T16" fmla="*/ 277 w 1736"/>
                    <a:gd name="T17" fmla="*/ 44 h 1734"/>
                    <a:gd name="T18" fmla="*/ 537 w 1736"/>
                    <a:gd name="T19" fmla="*/ 60 h 1734"/>
                    <a:gd name="T20" fmla="*/ 438 w 1736"/>
                    <a:gd name="T21" fmla="*/ 76 h 1734"/>
                    <a:gd name="T22" fmla="*/ 107 w 1736"/>
                    <a:gd name="T23" fmla="*/ 366 h 1734"/>
                    <a:gd name="T24" fmla="*/ 77 w 1736"/>
                    <a:gd name="T25" fmla="*/ 521 h 1734"/>
                    <a:gd name="T26" fmla="*/ 44 w 1736"/>
                    <a:gd name="T27" fmla="*/ 521 h 1734"/>
                    <a:gd name="T28" fmla="*/ 0 w 1736"/>
                    <a:gd name="T29" fmla="*/ 262 h 1734"/>
                    <a:gd name="T30" fmla="*/ 60 w 1736"/>
                    <a:gd name="T31" fmla="*/ 581 h 1734"/>
                    <a:gd name="T32" fmla="*/ 121 w 1736"/>
                    <a:gd name="T33" fmla="*/ 438 h 1734"/>
                    <a:gd name="T34" fmla="*/ 397 w 1736"/>
                    <a:gd name="T35" fmla="*/ 137 h 1734"/>
                    <a:gd name="T36" fmla="*/ 521 w 1736"/>
                    <a:gd name="T37" fmla="*/ 120 h 1734"/>
                    <a:gd name="T38" fmla="*/ 521 w 1736"/>
                    <a:gd name="T39" fmla="*/ 0 h 1734"/>
                    <a:gd name="T40" fmla="*/ 1692 w 1736"/>
                    <a:gd name="T41" fmla="*/ 521 h 1734"/>
                    <a:gd name="T42" fmla="*/ 1659 w 1736"/>
                    <a:gd name="T43" fmla="*/ 521 h 1734"/>
                    <a:gd name="T44" fmla="*/ 1635 w 1736"/>
                    <a:gd name="T45" fmla="*/ 372 h 1734"/>
                    <a:gd name="T46" fmla="*/ 1306 w 1736"/>
                    <a:gd name="T47" fmla="*/ 76 h 1734"/>
                    <a:gd name="T48" fmla="*/ 1199 w 1736"/>
                    <a:gd name="T49" fmla="*/ 60 h 1734"/>
                    <a:gd name="T50" fmla="*/ 1459 w 1736"/>
                    <a:gd name="T51" fmla="*/ 44 h 1734"/>
                    <a:gd name="T52" fmla="*/ 1215 w 1736"/>
                    <a:gd name="T53" fmla="*/ 0 h 1734"/>
                    <a:gd name="T54" fmla="*/ 1215 w 1736"/>
                    <a:gd name="T55" fmla="*/ 120 h 1734"/>
                    <a:gd name="T56" fmla="*/ 1333 w 1736"/>
                    <a:gd name="T57" fmla="*/ 131 h 1734"/>
                    <a:gd name="T58" fmla="*/ 1615 w 1736"/>
                    <a:gd name="T59" fmla="*/ 430 h 1734"/>
                    <a:gd name="T60" fmla="*/ 1676 w 1736"/>
                    <a:gd name="T61" fmla="*/ 581 h 1734"/>
                    <a:gd name="T62" fmla="*/ 1736 w 1736"/>
                    <a:gd name="T63" fmla="*/ 262 h 1734"/>
                    <a:gd name="T64" fmla="*/ 521 w 1736"/>
                    <a:gd name="T65" fmla="*/ 1614 h 1734"/>
                    <a:gd name="T66" fmla="*/ 397 w 1736"/>
                    <a:gd name="T67" fmla="*/ 1597 h 1734"/>
                    <a:gd name="T68" fmla="*/ 121 w 1736"/>
                    <a:gd name="T69" fmla="*/ 1296 h 1734"/>
                    <a:gd name="T70" fmla="*/ 60 w 1736"/>
                    <a:gd name="T71" fmla="*/ 1153 h 1734"/>
                    <a:gd name="T72" fmla="*/ 0 w 1736"/>
                    <a:gd name="T73" fmla="*/ 1476 h 1734"/>
                    <a:gd name="T74" fmla="*/ 44 w 1736"/>
                    <a:gd name="T75" fmla="*/ 1213 h 1734"/>
                    <a:gd name="T76" fmla="*/ 77 w 1736"/>
                    <a:gd name="T77" fmla="*/ 1213 h 1734"/>
                    <a:gd name="T78" fmla="*/ 107 w 1736"/>
                    <a:gd name="T79" fmla="*/ 1368 h 1734"/>
                    <a:gd name="T80" fmla="*/ 438 w 1736"/>
                    <a:gd name="T81" fmla="*/ 1658 h 1734"/>
                    <a:gd name="T82" fmla="*/ 537 w 1736"/>
                    <a:gd name="T83" fmla="*/ 1674 h 1734"/>
                    <a:gd name="T84" fmla="*/ 279 w 1736"/>
                    <a:gd name="T85" fmla="*/ 1690 h 1734"/>
                    <a:gd name="T86" fmla="*/ 521 w 1736"/>
                    <a:gd name="T87" fmla="*/ 1734 h 1734"/>
                    <a:gd name="T88" fmla="*/ 521 w 1736"/>
                    <a:gd name="T89" fmla="*/ 1614 h 1734"/>
                    <a:gd name="T90" fmla="*/ 1215 w 1736"/>
                    <a:gd name="T91" fmla="*/ 1690 h 1734"/>
                    <a:gd name="T92" fmla="*/ 1215 w 1736"/>
                    <a:gd name="T93" fmla="*/ 1658 h 1734"/>
                    <a:gd name="T94" fmla="*/ 1370 w 1736"/>
                    <a:gd name="T95" fmla="*/ 1628 h 1734"/>
                    <a:gd name="T96" fmla="*/ 1659 w 1736"/>
                    <a:gd name="T97" fmla="*/ 1296 h 1734"/>
                    <a:gd name="T98" fmla="*/ 1676 w 1736"/>
                    <a:gd name="T99" fmla="*/ 1197 h 1734"/>
                    <a:gd name="T100" fmla="*/ 1692 w 1736"/>
                    <a:gd name="T101" fmla="*/ 1456 h 1734"/>
                    <a:gd name="T102" fmla="*/ 1736 w 1736"/>
                    <a:gd name="T103" fmla="*/ 1213 h 1734"/>
                    <a:gd name="T104" fmla="*/ 1615 w 1736"/>
                    <a:gd name="T105" fmla="*/ 1213 h 1734"/>
                    <a:gd name="T106" fmla="*/ 1598 w 1736"/>
                    <a:gd name="T107" fmla="*/ 1337 h 1734"/>
                    <a:gd name="T108" fmla="*/ 1298 w 1736"/>
                    <a:gd name="T109" fmla="*/ 1614 h 1734"/>
                    <a:gd name="T110" fmla="*/ 1155 w 1736"/>
                    <a:gd name="T111" fmla="*/ 1674 h 1734"/>
                    <a:gd name="T112" fmla="*/ 1477 w 1736"/>
                    <a:gd name="T113" fmla="*/ 1734 h 17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736" h="1734">
                      <a:moveTo>
                        <a:pt x="652" y="385"/>
                      </a:moveTo>
                      <a:cubicBezTo>
                        <a:pt x="784" y="518"/>
                        <a:pt x="784" y="518"/>
                        <a:pt x="784" y="518"/>
                      </a:cubicBezTo>
                      <a:cubicBezTo>
                        <a:pt x="521" y="781"/>
                        <a:pt x="521" y="781"/>
                        <a:pt x="521" y="781"/>
                      </a:cubicBezTo>
                      <a:cubicBezTo>
                        <a:pt x="389" y="648"/>
                        <a:pt x="389" y="648"/>
                        <a:pt x="389" y="648"/>
                      </a:cubicBezTo>
                      <a:lnTo>
                        <a:pt x="652" y="385"/>
                      </a:lnTo>
                      <a:close/>
                      <a:moveTo>
                        <a:pt x="756" y="1317"/>
                      </a:moveTo>
                      <a:cubicBezTo>
                        <a:pt x="1128" y="1317"/>
                        <a:pt x="1128" y="1317"/>
                        <a:pt x="1128" y="1317"/>
                      </a:cubicBezTo>
                      <a:cubicBezTo>
                        <a:pt x="1128" y="1129"/>
                        <a:pt x="1128" y="1129"/>
                        <a:pt x="1128" y="1129"/>
                      </a:cubicBezTo>
                      <a:cubicBezTo>
                        <a:pt x="756" y="1129"/>
                        <a:pt x="756" y="1129"/>
                        <a:pt x="756" y="1129"/>
                      </a:cubicBezTo>
                      <a:lnTo>
                        <a:pt x="756" y="1317"/>
                      </a:lnTo>
                      <a:close/>
                      <a:moveTo>
                        <a:pt x="1199" y="896"/>
                      </a:moveTo>
                      <a:cubicBezTo>
                        <a:pt x="1323" y="896"/>
                        <a:pt x="1323" y="896"/>
                        <a:pt x="1323" y="896"/>
                      </a:cubicBezTo>
                      <a:cubicBezTo>
                        <a:pt x="1323" y="708"/>
                        <a:pt x="1323" y="708"/>
                        <a:pt x="1323" y="708"/>
                      </a:cubicBezTo>
                      <a:cubicBezTo>
                        <a:pt x="1199" y="708"/>
                        <a:pt x="1199" y="708"/>
                        <a:pt x="1199" y="708"/>
                      </a:cubicBezTo>
                      <a:lnTo>
                        <a:pt x="1199" y="896"/>
                      </a:lnTo>
                      <a:close/>
                      <a:moveTo>
                        <a:pt x="521" y="0"/>
                      </a:moveTo>
                      <a:cubicBezTo>
                        <a:pt x="256" y="0"/>
                        <a:pt x="256" y="0"/>
                        <a:pt x="256" y="0"/>
                      </a:cubicBezTo>
                      <a:cubicBezTo>
                        <a:pt x="265" y="13"/>
                        <a:pt x="272" y="28"/>
                        <a:pt x="277" y="44"/>
                      </a:cubicBezTo>
                      <a:cubicBezTo>
                        <a:pt x="521" y="44"/>
                        <a:pt x="521" y="44"/>
                        <a:pt x="521" y="44"/>
                      </a:cubicBezTo>
                      <a:cubicBezTo>
                        <a:pt x="530" y="44"/>
                        <a:pt x="537" y="51"/>
                        <a:pt x="537" y="60"/>
                      </a:cubicBezTo>
                      <a:cubicBezTo>
                        <a:pt x="537" y="69"/>
                        <a:pt x="530" y="76"/>
                        <a:pt x="521" y="76"/>
                      </a:cubicBezTo>
                      <a:cubicBezTo>
                        <a:pt x="438" y="76"/>
                        <a:pt x="438" y="76"/>
                        <a:pt x="438" y="76"/>
                      </a:cubicBezTo>
                      <a:cubicBezTo>
                        <a:pt x="411" y="76"/>
                        <a:pt x="386" y="87"/>
                        <a:pt x="366" y="106"/>
                      </a:cubicBezTo>
                      <a:cubicBezTo>
                        <a:pt x="107" y="366"/>
                        <a:pt x="107" y="366"/>
                        <a:pt x="107" y="366"/>
                      </a:cubicBezTo>
                      <a:cubicBezTo>
                        <a:pt x="87" y="385"/>
                        <a:pt x="77" y="411"/>
                        <a:pt x="77" y="438"/>
                      </a:cubicBezTo>
                      <a:cubicBezTo>
                        <a:pt x="77" y="521"/>
                        <a:pt x="77" y="521"/>
                        <a:pt x="77" y="521"/>
                      </a:cubicBezTo>
                      <a:cubicBezTo>
                        <a:pt x="77" y="530"/>
                        <a:pt x="69" y="537"/>
                        <a:pt x="60" y="537"/>
                      </a:cubicBezTo>
                      <a:cubicBezTo>
                        <a:pt x="51" y="537"/>
                        <a:pt x="44" y="530"/>
                        <a:pt x="44" y="521"/>
                      </a:cubicBezTo>
                      <a:cubicBezTo>
                        <a:pt x="44" y="282"/>
                        <a:pt x="44" y="282"/>
                        <a:pt x="44" y="282"/>
                      </a:cubicBezTo>
                      <a:cubicBezTo>
                        <a:pt x="28" y="277"/>
                        <a:pt x="14" y="271"/>
                        <a:pt x="0" y="262"/>
                      </a:cubicBezTo>
                      <a:cubicBezTo>
                        <a:pt x="0" y="521"/>
                        <a:pt x="0" y="521"/>
                        <a:pt x="0" y="521"/>
                      </a:cubicBezTo>
                      <a:cubicBezTo>
                        <a:pt x="0" y="554"/>
                        <a:pt x="27" y="581"/>
                        <a:pt x="60" y="581"/>
                      </a:cubicBezTo>
                      <a:cubicBezTo>
                        <a:pt x="94" y="581"/>
                        <a:pt x="121" y="554"/>
                        <a:pt x="121" y="521"/>
                      </a:cubicBezTo>
                      <a:cubicBezTo>
                        <a:pt x="121" y="438"/>
                        <a:pt x="121" y="438"/>
                        <a:pt x="121" y="438"/>
                      </a:cubicBezTo>
                      <a:cubicBezTo>
                        <a:pt x="121" y="423"/>
                        <a:pt x="127" y="408"/>
                        <a:pt x="138" y="397"/>
                      </a:cubicBezTo>
                      <a:cubicBezTo>
                        <a:pt x="397" y="137"/>
                        <a:pt x="397" y="137"/>
                        <a:pt x="397" y="137"/>
                      </a:cubicBezTo>
                      <a:cubicBezTo>
                        <a:pt x="408" y="126"/>
                        <a:pt x="423" y="120"/>
                        <a:pt x="438" y="120"/>
                      </a:cubicBezTo>
                      <a:cubicBezTo>
                        <a:pt x="521" y="120"/>
                        <a:pt x="521" y="120"/>
                        <a:pt x="521" y="120"/>
                      </a:cubicBezTo>
                      <a:cubicBezTo>
                        <a:pt x="554" y="120"/>
                        <a:pt x="581" y="93"/>
                        <a:pt x="581" y="60"/>
                      </a:cubicBezTo>
                      <a:cubicBezTo>
                        <a:pt x="581" y="27"/>
                        <a:pt x="554" y="0"/>
                        <a:pt x="521" y="0"/>
                      </a:cubicBezTo>
                      <a:close/>
                      <a:moveTo>
                        <a:pt x="1692" y="282"/>
                      </a:moveTo>
                      <a:cubicBezTo>
                        <a:pt x="1692" y="521"/>
                        <a:pt x="1692" y="521"/>
                        <a:pt x="1692" y="521"/>
                      </a:cubicBezTo>
                      <a:cubicBezTo>
                        <a:pt x="1692" y="530"/>
                        <a:pt x="1685" y="537"/>
                        <a:pt x="1676" y="537"/>
                      </a:cubicBezTo>
                      <a:cubicBezTo>
                        <a:pt x="1667" y="537"/>
                        <a:pt x="1659" y="530"/>
                        <a:pt x="1659" y="521"/>
                      </a:cubicBezTo>
                      <a:cubicBezTo>
                        <a:pt x="1659" y="430"/>
                        <a:pt x="1659" y="430"/>
                        <a:pt x="1659" y="430"/>
                      </a:cubicBezTo>
                      <a:cubicBezTo>
                        <a:pt x="1659" y="408"/>
                        <a:pt x="1651" y="387"/>
                        <a:pt x="1635" y="372"/>
                      </a:cubicBezTo>
                      <a:cubicBezTo>
                        <a:pt x="1581" y="318"/>
                        <a:pt x="1418" y="154"/>
                        <a:pt x="1364" y="100"/>
                      </a:cubicBezTo>
                      <a:cubicBezTo>
                        <a:pt x="1348" y="85"/>
                        <a:pt x="1328" y="76"/>
                        <a:pt x="1306" y="76"/>
                      </a:cubicBezTo>
                      <a:cubicBezTo>
                        <a:pt x="1215" y="76"/>
                        <a:pt x="1215" y="76"/>
                        <a:pt x="1215" y="76"/>
                      </a:cubicBezTo>
                      <a:cubicBezTo>
                        <a:pt x="1206" y="76"/>
                        <a:pt x="1199" y="69"/>
                        <a:pt x="1199" y="60"/>
                      </a:cubicBezTo>
                      <a:cubicBezTo>
                        <a:pt x="1199" y="51"/>
                        <a:pt x="1206" y="44"/>
                        <a:pt x="1215" y="44"/>
                      </a:cubicBezTo>
                      <a:cubicBezTo>
                        <a:pt x="1459" y="44"/>
                        <a:pt x="1459" y="44"/>
                        <a:pt x="1459" y="44"/>
                      </a:cubicBezTo>
                      <a:cubicBezTo>
                        <a:pt x="1464" y="28"/>
                        <a:pt x="1471" y="13"/>
                        <a:pt x="1480" y="0"/>
                      </a:cubicBezTo>
                      <a:cubicBezTo>
                        <a:pt x="1215" y="0"/>
                        <a:pt x="1215" y="0"/>
                        <a:pt x="1215" y="0"/>
                      </a:cubicBezTo>
                      <a:cubicBezTo>
                        <a:pt x="1182" y="0"/>
                        <a:pt x="1155" y="27"/>
                        <a:pt x="1155" y="60"/>
                      </a:cubicBezTo>
                      <a:cubicBezTo>
                        <a:pt x="1155" y="93"/>
                        <a:pt x="1182" y="120"/>
                        <a:pt x="1215" y="120"/>
                      </a:cubicBezTo>
                      <a:cubicBezTo>
                        <a:pt x="1306" y="120"/>
                        <a:pt x="1306" y="120"/>
                        <a:pt x="1306" y="120"/>
                      </a:cubicBezTo>
                      <a:cubicBezTo>
                        <a:pt x="1316" y="120"/>
                        <a:pt x="1326" y="124"/>
                        <a:pt x="1333" y="131"/>
                      </a:cubicBezTo>
                      <a:cubicBezTo>
                        <a:pt x="1387" y="185"/>
                        <a:pt x="1550" y="349"/>
                        <a:pt x="1604" y="403"/>
                      </a:cubicBezTo>
                      <a:cubicBezTo>
                        <a:pt x="1611" y="410"/>
                        <a:pt x="1615" y="420"/>
                        <a:pt x="1615" y="430"/>
                      </a:cubicBezTo>
                      <a:cubicBezTo>
                        <a:pt x="1615" y="521"/>
                        <a:pt x="1615" y="521"/>
                        <a:pt x="1615" y="521"/>
                      </a:cubicBezTo>
                      <a:cubicBezTo>
                        <a:pt x="1615" y="554"/>
                        <a:pt x="1642" y="581"/>
                        <a:pt x="1676" y="581"/>
                      </a:cubicBezTo>
                      <a:cubicBezTo>
                        <a:pt x="1709" y="581"/>
                        <a:pt x="1736" y="554"/>
                        <a:pt x="1736" y="521"/>
                      </a:cubicBezTo>
                      <a:cubicBezTo>
                        <a:pt x="1736" y="262"/>
                        <a:pt x="1736" y="262"/>
                        <a:pt x="1736" y="262"/>
                      </a:cubicBezTo>
                      <a:cubicBezTo>
                        <a:pt x="1722" y="271"/>
                        <a:pt x="1708" y="277"/>
                        <a:pt x="1692" y="282"/>
                      </a:cubicBezTo>
                      <a:close/>
                      <a:moveTo>
                        <a:pt x="521" y="1614"/>
                      </a:moveTo>
                      <a:cubicBezTo>
                        <a:pt x="438" y="1614"/>
                        <a:pt x="438" y="1614"/>
                        <a:pt x="438" y="1614"/>
                      </a:cubicBezTo>
                      <a:cubicBezTo>
                        <a:pt x="423" y="1614"/>
                        <a:pt x="408" y="1608"/>
                        <a:pt x="397" y="1597"/>
                      </a:cubicBezTo>
                      <a:cubicBezTo>
                        <a:pt x="138" y="1337"/>
                        <a:pt x="138" y="1337"/>
                        <a:pt x="138" y="1337"/>
                      </a:cubicBezTo>
                      <a:cubicBezTo>
                        <a:pt x="127" y="1326"/>
                        <a:pt x="121" y="1311"/>
                        <a:pt x="121" y="1296"/>
                      </a:cubicBezTo>
                      <a:cubicBezTo>
                        <a:pt x="121" y="1213"/>
                        <a:pt x="121" y="1213"/>
                        <a:pt x="121" y="1213"/>
                      </a:cubicBezTo>
                      <a:cubicBezTo>
                        <a:pt x="121" y="1180"/>
                        <a:pt x="94" y="1153"/>
                        <a:pt x="60" y="1153"/>
                      </a:cubicBezTo>
                      <a:cubicBezTo>
                        <a:pt x="27" y="1153"/>
                        <a:pt x="0" y="1180"/>
                        <a:pt x="0" y="1213"/>
                      </a:cubicBezTo>
                      <a:cubicBezTo>
                        <a:pt x="0" y="1476"/>
                        <a:pt x="0" y="1476"/>
                        <a:pt x="0" y="1476"/>
                      </a:cubicBezTo>
                      <a:cubicBezTo>
                        <a:pt x="14" y="1467"/>
                        <a:pt x="28" y="1461"/>
                        <a:pt x="44" y="1456"/>
                      </a:cubicBezTo>
                      <a:cubicBezTo>
                        <a:pt x="44" y="1213"/>
                        <a:pt x="44" y="1213"/>
                        <a:pt x="44" y="1213"/>
                      </a:cubicBezTo>
                      <a:cubicBezTo>
                        <a:pt x="44" y="1204"/>
                        <a:pt x="51" y="1197"/>
                        <a:pt x="60" y="1197"/>
                      </a:cubicBezTo>
                      <a:cubicBezTo>
                        <a:pt x="69" y="1197"/>
                        <a:pt x="77" y="1204"/>
                        <a:pt x="77" y="1213"/>
                      </a:cubicBezTo>
                      <a:cubicBezTo>
                        <a:pt x="77" y="1296"/>
                        <a:pt x="77" y="1296"/>
                        <a:pt x="77" y="1296"/>
                      </a:cubicBezTo>
                      <a:cubicBezTo>
                        <a:pt x="77" y="1323"/>
                        <a:pt x="87" y="1349"/>
                        <a:pt x="107" y="1368"/>
                      </a:cubicBezTo>
                      <a:cubicBezTo>
                        <a:pt x="366" y="1628"/>
                        <a:pt x="366" y="1628"/>
                        <a:pt x="366" y="1628"/>
                      </a:cubicBezTo>
                      <a:cubicBezTo>
                        <a:pt x="386" y="1647"/>
                        <a:pt x="411" y="1658"/>
                        <a:pt x="438" y="1658"/>
                      </a:cubicBezTo>
                      <a:cubicBezTo>
                        <a:pt x="521" y="1658"/>
                        <a:pt x="521" y="1658"/>
                        <a:pt x="521" y="1658"/>
                      </a:cubicBezTo>
                      <a:cubicBezTo>
                        <a:pt x="530" y="1658"/>
                        <a:pt x="537" y="1665"/>
                        <a:pt x="537" y="1674"/>
                      </a:cubicBezTo>
                      <a:cubicBezTo>
                        <a:pt x="537" y="1683"/>
                        <a:pt x="530" y="1690"/>
                        <a:pt x="521" y="1690"/>
                      </a:cubicBezTo>
                      <a:cubicBezTo>
                        <a:pt x="279" y="1690"/>
                        <a:pt x="279" y="1690"/>
                        <a:pt x="279" y="1690"/>
                      </a:cubicBezTo>
                      <a:cubicBezTo>
                        <a:pt x="274" y="1706"/>
                        <a:pt x="267" y="1721"/>
                        <a:pt x="259" y="1734"/>
                      </a:cubicBezTo>
                      <a:cubicBezTo>
                        <a:pt x="521" y="1734"/>
                        <a:pt x="521" y="1734"/>
                        <a:pt x="521" y="1734"/>
                      </a:cubicBezTo>
                      <a:cubicBezTo>
                        <a:pt x="554" y="1734"/>
                        <a:pt x="581" y="1707"/>
                        <a:pt x="581" y="1674"/>
                      </a:cubicBezTo>
                      <a:cubicBezTo>
                        <a:pt x="581" y="1641"/>
                        <a:pt x="554" y="1614"/>
                        <a:pt x="521" y="1614"/>
                      </a:cubicBezTo>
                      <a:close/>
                      <a:moveTo>
                        <a:pt x="1457" y="1690"/>
                      </a:moveTo>
                      <a:cubicBezTo>
                        <a:pt x="1215" y="1690"/>
                        <a:pt x="1215" y="1690"/>
                        <a:pt x="1215" y="1690"/>
                      </a:cubicBezTo>
                      <a:cubicBezTo>
                        <a:pt x="1206" y="1690"/>
                        <a:pt x="1199" y="1683"/>
                        <a:pt x="1199" y="1674"/>
                      </a:cubicBezTo>
                      <a:cubicBezTo>
                        <a:pt x="1199" y="1665"/>
                        <a:pt x="1206" y="1658"/>
                        <a:pt x="1215" y="1658"/>
                      </a:cubicBezTo>
                      <a:cubicBezTo>
                        <a:pt x="1298" y="1658"/>
                        <a:pt x="1298" y="1658"/>
                        <a:pt x="1298" y="1658"/>
                      </a:cubicBezTo>
                      <a:cubicBezTo>
                        <a:pt x="1325" y="1658"/>
                        <a:pt x="1350" y="1647"/>
                        <a:pt x="1370" y="1628"/>
                      </a:cubicBezTo>
                      <a:cubicBezTo>
                        <a:pt x="1629" y="1368"/>
                        <a:pt x="1629" y="1368"/>
                        <a:pt x="1629" y="1368"/>
                      </a:cubicBezTo>
                      <a:cubicBezTo>
                        <a:pt x="1649" y="1349"/>
                        <a:pt x="1659" y="1323"/>
                        <a:pt x="1659" y="1296"/>
                      </a:cubicBezTo>
                      <a:cubicBezTo>
                        <a:pt x="1659" y="1213"/>
                        <a:pt x="1659" y="1213"/>
                        <a:pt x="1659" y="1213"/>
                      </a:cubicBezTo>
                      <a:cubicBezTo>
                        <a:pt x="1659" y="1204"/>
                        <a:pt x="1667" y="1197"/>
                        <a:pt x="1676" y="1197"/>
                      </a:cubicBezTo>
                      <a:cubicBezTo>
                        <a:pt x="1685" y="1197"/>
                        <a:pt x="1692" y="1204"/>
                        <a:pt x="1692" y="1213"/>
                      </a:cubicBezTo>
                      <a:cubicBezTo>
                        <a:pt x="1692" y="1456"/>
                        <a:pt x="1692" y="1456"/>
                        <a:pt x="1692" y="1456"/>
                      </a:cubicBezTo>
                      <a:cubicBezTo>
                        <a:pt x="1708" y="1461"/>
                        <a:pt x="1722" y="1467"/>
                        <a:pt x="1736" y="1476"/>
                      </a:cubicBezTo>
                      <a:cubicBezTo>
                        <a:pt x="1736" y="1213"/>
                        <a:pt x="1736" y="1213"/>
                        <a:pt x="1736" y="1213"/>
                      </a:cubicBezTo>
                      <a:cubicBezTo>
                        <a:pt x="1736" y="1180"/>
                        <a:pt x="1709" y="1153"/>
                        <a:pt x="1676" y="1153"/>
                      </a:cubicBezTo>
                      <a:cubicBezTo>
                        <a:pt x="1642" y="1153"/>
                        <a:pt x="1615" y="1180"/>
                        <a:pt x="1615" y="1213"/>
                      </a:cubicBezTo>
                      <a:cubicBezTo>
                        <a:pt x="1615" y="1296"/>
                        <a:pt x="1615" y="1296"/>
                        <a:pt x="1615" y="1296"/>
                      </a:cubicBezTo>
                      <a:cubicBezTo>
                        <a:pt x="1615" y="1311"/>
                        <a:pt x="1609" y="1326"/>
                        <a:pt x="1598" y="1337"/>
                      </a:cubicBezTo>
                      <a:cubicBezTo>
                        <a:pt x="1339" y="1597"/>
                        <a:pt x="1339" y="1597"/>
                        <a:pt x="1339" y="1597"/>
                      </a:cubicBezTo>
                      <a:cubicBezTo>
                        <a:pt x="1328" y="1608"/>
                        <a:pt x="1313" y="1614"/>
                        <a:pt x="1298" y="1614"/>
                      </a:cubicBezTo>
                      <a:cubicBezTo>
                        <a:pt x="1215" y="1614"/>
                        <a:pt x="1215" y="1614"/>
                        <a:pt x="1215" y="1614"/>
                      </a:cubicBezTo>
                      <a:cubicBezTo>
                        <a:pt x="1182" y="1614"/>
                        <a:pt x="1155" y="1641"/>
                        <a:pt x="1155" y="1674"/>
                      </a:cubicBezTo>
                      <a:cubicBezTo>
                        <a:pt x="1155" y="1707"/>
                        <a:pt x="1182" y="1734"/>
                        <a:pt x="1215" y="1734"/>
                      </a:cubicBezTo>
                      <a:cubicBezTo>
                        <a:pt x="1477" y="1734"/>
                        <a:pt x="1477" y="1734"/>
                        <a:pt x="1477" y="1734"/>
                      </a:cubicBezTo>
                      <a:cubicBezTo>
                        <a:pt x="1469" y="1721"/>
                        <a:pt x="1462" y="1706"/>
                        <a:pt x="1457" y="169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7201FEA-ED07-47BF-BFC1-E4BDBB62FBFA}"/>
              </a:ext>
            </a:extLst>
          </p:cNvPr>
          <p:cNvGrpSpPr/>
          <p:nvPr/>
        </p:nvGrpSpPr>
        <p:grpSpPr>
          <a:xfrm>
            <a:off x="3567851" y="5543102"/>
            <a:ext cx="908258" cy="1008757"/>
            <a:chOff x="3472484" y="5437182"/>
            <a:chExt cx="1098992" cy="1220597"/>
          </a:xfrm>
        </p:grpSpPr>
        <p:sp>
          <p:nvSpPr>
            <p:cNvPr id="61" name="Right Triangle 60">
              <a:extLst>
                <a:ext uri="{FF2B5EF4-FFF2-40B4-BE49-F238E27FC236}">
                  <a16:creationId xmlns:a16="http://schemas.microsoft.com/office/drawing/2014/main" id="{E4CB8BDA-2740-4B42-B68E-D585E320E627}"/>
                </a:ext>
              </a:extLst>
            </p:cNvPr>
            <p:cNvSpPr/>
            <p:nvPr/>
          </p:nvSpPr>
          <p:spPr>
            <a:xfrm flipH="1" flipV="1">
              <a:off x="3472484" y="6536172"/>
              <a:ext cx="604216" cy="121607"/>
            </a:xfrm>
            <a:prstGeom prst="rtTriangle">
              <a:avLst/>
            </a:prstGeom>
            <a:solidFill>
              <a:schemeClr val="accent1">
                <a:lumMod val="50000"/>
                <a:lumOff val="50000"/>
              </a:schemeClr>
            </a:solidFill>
            <a:ln w="9525" cap="rnd" cmpd="sng" algn="ctr">
              <a:solidFill>
                <a:schemeClr val="accent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6C870863-2632-43DC-B6F9-033B3FD11E4D}"/>
                </a:ext>
              </a:extLst>
            </p:cNvPr>
            <p:cNvSpPr/>
            <p:nvPr/>
          </p:nvSpPr>
          <p:spPr>
            <a:xfrm>
              <a:off x="3472485" y="5437182"/>
              <a:ext cx="1098991" cy="1098991"/>
            </a:xfrm>
            <a:prstGeom prst="rect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+mn-lt"/>
              </a:endParaRPr>
            </a:p>
          </p:txBody>
        </p:sp>
        <p:grpSp>
          <p:nvGrpSpPr>
            <p:cNvPr id="110" name="bcgIcons_Handshake">
              <a:extLst>
                <a:ext uri="{FF2B5EF4-FFF2-40B4-BE49-F238E27FC236}">
                  <a16:creationId xmlns:a16="http://schemas.microsoft.com/office/drawing/2014/main" id="{3F528154-B966-46C6-8623-6C11CB8DEC2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602760" y="5567069"/>
              <a:ext cx="838441" cy="839218"/>
              <a:chOff x="1682" y="0"/>
              <a:chExt cx="4316" cy="4320"/>
            </a:xfrm>
          </p:grpSpPr>
          <p:sp>
            <p:nvSpPr>
              <p:cNvPr id="111" name="AutoShape 3">
                <a:extLst>
                  <a:ext uri="{FF2B5EF4-FFF2-40B4-BE49-F238E27FC236}">
                    <a16:creationId xmlns:a16="http://schemas.microsoft.com/office/drawing/2014/main" id="{D31E1395-53FE-4168-AC4B-1E25F116DDE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5">
                <a:extLst>
                  <a:ext uri="{FF2B5EF4-FFF2-40B4-BE49-F238E27FC236}">
                    <a16:creationId xmlns:a16="http://schemas.microsoft.com/office/drawing/2014/main" id="{BCE7BB61-225B-43D6-BA88-023B361C65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99" y="763"/>
                <a:ext cx="2730" cy="2428"/>
              </a:xfrm>
              <a:custGeom>
                <a:avLst/>
                <a:gdLst>
                  <a:gd name="T0" fmla="*/ 182 w 1457"/>
                  <a:gd name="T1" fmla="*/ 441 h 1295"/>
                  <a:gd name="T2" fmla="*/ 163 w 1457"/>
                  <a:gd name="T3" fmla="*/ 326 h 1295"/>
                  <a:gd name="T4" fmla="*/ 724 w 1457"/>
                  <a:gd name="T5" fmla="*/ 120 h 1295"/>
                  <a:gd name="T6" fmla="*/ 1145 w 1457"/>
                  <a:gd name="T7" fmla="*/ 295 h 1295"/>
                  <a:gd name="T8" fmla="*/ 1419 w 1457"/>
                  <a:gd name="T9" fmla="*/ 153 h 1295"/>
                  <a:gd name="T10" fmla="*/ 1457 w 1457"/>
                  <a:gd name="T11" fmla="*/ 172 h 1295"/>
                  <a:gd name="T12" fmla="*/ 1457 w 1457"/>
                  <a:gd name="T13" fmla="*/ 660 h 1295"/>
                  <a:gd name="T14" fmla="*/ 1449 w 1457"/>
                  <a:gd name="T15" fmla="*/ 672 h 1295"/>
                  <a:gd name="T16" fmla="*/ 1275 w 1457"/>
                  <a:gd name="T17" fmla="*/ 716 h 1295"/>
                  <a:gd name="T18" fmla="*/ 1263 w 1457"/>
                  <a:gd name="T19" fmla="*/ 715 h 1295"/>
                  <a:gd name="T20" fmla="*/ 668 w 1457"/>
                  <a:gd name="T21" fmla="*/ 358 h 1295"/>
                  <a:gd name="T22" fmla="*/ 462 w 1457"/>
                  <a:gd name="T23" fmla="*/ 341 h 1295"/>
                  <a:gd name="T24" fmla="*/ 421 w 1457"/>
                  <a:gd name="T25" fmla="*/ 361 h 1295"/>
                  <a:gd name="T26" fmla="*/ 182 w 1457"/>
                  <a:gd name="T27" fmla="*/ 441 h 1295"/>
                  <a:gd name="T28" fmla="*/ 592 w 1457"/>
                  <a:gd name="T29" fmla="*/ 1039 h 1295"/>
                  <a:gd name="T30" fmla="*/ 528 w 1457"/>
                  <a:gd name="T31" fmla="*/ 1079 h 1295"/>
                  <a:gd name="T32" fmla="*/ 472 w 1457"/>
                  <a:gd name="T33" fmla="*/ 1191 h 1295"/>
                  <a:gd name="T34" fmla="*/ 505 w 1457"/>
                  <a:gd name="T35" fmla="*/ 1287 h 1295"/>
                  <a:gd name="T36" fmla="*/ 505 w 1457"/>
                  <a:gd name="T37" fmla="*/ 1287 h 1295"/>
                  <a:gd name="T38" fmla="*/ 536 w 1457"/>
                  <a:gd name="T39" fmla="*/ 1295 h 1295"/>
                  <a:gd name="T40" fmla="*/ 601 w 1457"/>
                  <a:gd name="T41" fmla="*/ 1255 h 1295"/>
                  <a:gd name="T42" fmla="*/ 657 w 1457"/>
                  <a:gd name="T43" fmla="*/ 1143 h 1295"/>
                  <a:gd name="T44" fmla="*/ 624 w 1457"/>
                  <a:gd name="T45" fmla="*/ 1046 h 1295"/>
                  <a:gd name="T46" fmla="*/ 592 w 1457"/>
                  <a:gd name="T47" fmla="*/ 1039 h 1295"/>
                  <a:gd name="T48" fmla="*/ 462 w 1457"/>
                  <a:gd name="T49" fmla="*/ 901 h 1295"/>
                  <a:gd name="T50" fmla="*/ 397 w 1457"/>
                  <a:gd name="T51" fmla="*/ 941 h 1295"/>
                  <a:gd name="T52" fmla="*/ 307 w 1457"/>
                  <a:gd name="T53" fmla="*/ 1123 h 1295"/>
                  <a:gd name="T54" fmla="*/ 339 w 1457"/>
                  <a:gd name="T55" fmla="*/ 1219 h 1295"/>
                  <a:gd name="T56" fmla="*/ 339 w 1457"/>
                  <a:gd name="T57" fmla="*/ 1219 h 1295"/>
                  <a:gd name="T58" fmla="*/ 371 w 1457"/>
                  <a:gd name="T59" fmla="*/ 1227 h 1295"/>
                  <a:gd name="T60" fmla="*/ 435 w 1457"/>
                  <a:gd name="T61" fmla="*/ 1187 h 1295"/>
                  <a:gd name="T62" fmla="*/ 526 w 1457"/>
                  <a:gd name="T63" fmla="*/ 1005 h 1295"/>
                  <a:gd name="T64" fmla="*/ 493 w 1457"/>
                  <a:gd name="T65" fmla="*/ 909 h 1295"/>
                  <a:gd name="T66" fmla="*/ 493 w 1457"/>
                  <a:gd name="T67" fmla="*/ 909 h 1295"/>
                  <a:gd name="T68" fmla="*/ 462 w 1457"/>
                  <a:gd name="T69" fmla="*/ 901 h 1295"/>
                  <a:gd name="T70" fmla="*/ 298 w 1457"/>
                  <a:gd name="T71" fmla="*/ 829 h 1295"/>
                  <a:gd name="T72" fmla="*/ 233 w 1457"/>
                  <a:gd name="T73" fmla="*/ 869 h 1295"/>
                  <a:gd name="T74" fmla="*/ 150 w 1457"/>
                  <a:gd name="T75" fmla="*/ 1036 h 1295"/>
                  <a:gd name="T76" fmla="*/ 183 w 1457"/>
                  <a:gd name="T77" fmla="*/ 1132 h 1295"/>
                  <a:gd name="T78" fmla="*/ 215 w 1457"/>
                  <a:gd name="T79" fmla="*/ 1140 h 1295"/>
                  <a:gd name="T80" fmla="*/ 279 w 1457"/>
                  <a:gd name="T81" fmla="*/ 1100 h 1295"/>
                  <a:gd name="T82" fmla="*/ 362 w 1457"/>
                  <a:gd name="T83" fmla="*/ 933 h 1295"/>
                  <a:gd name="T84" fmla="*/ 330 w 1457"/>
                  <a:gd name="T85" fmla="*/ 837 h 1295"/>
                  <a:gd name="T86" fmla="*/ 330 w 1457"/>
                  <a:gd name="T87" fmla="*/ 837 h 1295"/>
                  <a:gd name="T88" fmla="*/ 298 w 1457"/>
                  <a:gd name="T89" fmla="*/ 829 h 1295"/>
                  <a:gd name="T90" fmla="*/ 131 w 1457"/>
                  <a:gd name="T91" fmla="*/ 762 h 1295"/>
                  <a:gd name="T92" fmla="*/ 66 w 1457"/>
                  <a:gd name="T93" fmla="*/ 802 h 1295"/>
                  <a:gd name="T94" fmla="*/ 18 w 1457"/>
                  <a:gd name="T95" fmla="*/ 900 h 1295"/>
                  <a:gd name="T96" fmla="*/ 50 w 1457"/>
                  <a:gd name="T97" fmla="*/ 996 h 1295"/>
                  <a:gd name="T98" fmla="*/ 82 w 1457"/>
                  <a:gd name="T99" fmla="*/ 1004 h 1295"/>
                  <a:gd name="T100" fmla="*/ 146 w 1457"/>
                  <a:gd name="T101" fmla="*/ 964 h 1295"/>
                  <a:gd name="T102" fmla="*/ 195 w 1457"/>
                  <a:gd name="T103" fmla="*/ 866 h 1295"/>
                  <a:gd name="T104" fmla="*/ 162 w 1457"/>
                  <a:gd name="T105" fmla="*/ 770 h 1295"/>
                  <a:gd name="T106" fmla="*/ 131 w 1457"/>
                  <a:gd name="T107" fmla="*/ 762 h 1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457" h="1295">
                    <a:moveTo>
                      <a:pt x="182" y="441"/>
                    </a:moveTo>
                    <a:cubicBezTo>
                      <a:pt x="138" y="419"/>
                      <a:pt x="128" y="361"/>
                      <a:pt x="163" y="326"/>
                    </a:cubicBezTo>
                    <a:cubicBezTo>
                      <a:pt x="484" y="0"/>
                      <a:pt x="654" y="98"/>
                      <a:pt x="724" y="120"/>
                    </a:cubicBezTo>
                    <a:cubicBezTo>
                      <a:pt x="823" y="149"/>
                      <a:pt x="1071" y="278"/>
                      <a:pt x="1145" y="295"/>
                    </a:cubicBezTo>
                    <a:cubicBezTo>
                      <a:pt x="1199" y="308"/>
                      <a:pt x="1348" y="206"/>
                      <a:pt x="1419" y="153"/>
                    </a:cubicBezTo>
                    <a:cubicBezTo>
                      <a:pt x="1435" y="142"/>
                      <a:pt x="1457" y="153"/>
                      <a:pt x="1457" y="172"/>
                    </a:cubicBezTo>
                    <a:cubicBezTo>
                      <a:pt x="1457" y="172"/>
                      <a:pt x="1457" y="172"/>
                      <a:pt x="1457" y="660"/>
                    </a:cubicBezTo>
                    <a:cubicBezTo>
                      <a:pt x="1457" y="666"/>
                      <a:pt x="1454" y="670"/>
                      <a:pt x="1449" y="672"/>
                    </a:cubicBezTo>
                    <a:cubicBezTo>
                      <a:pt x="1449" y="672"/>
                      <a:pt x="1449" y="672"/>
                      <a:pt x="1275" y="716"/>
                    </a:cubicBezTo>
                    <a:cubicBezTo>
                      <a:pt x="1271" y="718"/>
                      <a:pt x="1266" y="717"/>
                      <a:pt x="1263" y="715"/>
                    </a:cubicBezTo>
                    <a:cubicBezTo>
                      <a:pt x="1207" y="679"/>
                      <a:pt x="737" y="382"/>
                      <a:pt x="668" y="358"/>
                    </a:cubicBezTo>
                    <a:cubicBezTo>
                      <a:pt x="614" y="338"/>
                      <a:pt x="510" y="340"/>
                      <a:pt x="462" y="341"/>
                    </a:cubicBezTo>
                    <a:cubicBezTo>
                      <a:pt x="446" y="342"/>
                      <a:pt x="431" y="349"/>
                      <a:pt x="421" y="361"/>
                    </a:cubicBezTo>
                    <a:cubicBezTo>
                      <a:pt x="320" y="472"/>
                      <a:pt x="237" y="468"/>
                      <a:pt x="182" y="441"/>
                    </a:cubicBezTo>
                    <a:close/>
                    <a:moveTo>
                      <a:pt x="592" y="1039"/>
                    </a:moveTo>
                    <a:cubicBezTo>
                      <a:pt x="566" y="1039"/>
                      <a:pt x="541" y="1054"/>
                      <a:pt x="528" y="1079"/>
                    </a:cubicBezTo>
                    <a:cubicBezTo>
                      <a:pt x="472" y="1191"/>
                      <a:pt x="472" y="1191"/>
                      <a:pt x="472" y="1191"/>
                    </a:cubicBezTo>
                    <a:cubicBezTo>
                      <a:pt x="455" y="1227"/>
                      <a:pt x="469" y="1270"/>
                      <a:pt x="505" y="1287"/>
                    </a:cubicBezTo>
                    <a:cubicBezTo>
                      <a:pt x="505" y="1287"/>
                      <a:pt x="505" y="1287"/>
                      <a:pt x="505" y="1287"/>
                    </a:cubicBezTo>
                    <a:cubicBezTo>
                      <a:pt x="515" y="1292"/>
                      <a:pt x="526" y="1295"/>
                      <a:pt x="536" y="1295"/>
                    </a:cubicBezTo>
                    <a:cubicBezTo>
                      <a:pt x="563" y="1295"/>
                      <a:pt x="588" y="1280"/>
                      <a:pt x="601" y="1255"/>
                    </a:cubicBezTo>
                    <a:cubicBezTo>
                      <a:pt x="657" y="1143"/>
                      <a:pt x="657" y="1143"/>
                      <a:pt x="657" y="1143"/>
                    </a:cubicBezTo>
                    <a:cubicBezTo>
                      <a:pt x="674" y="1107"/>
                      <a:pt x="660" y="1064"/>
                      <a:pt x="624" y="1046"/>
                    </a:cubicBezTo>
                    <a:cubicBezTo>
                      <a:pt x="614" y="1041"/>
                      <a:pt x="603" y="1039"/>
                      <a:pt x="592" y="1039"/>
                    </a:cubicBezTo>
                    <a:moveTo>
                      <a:pt x="462" y="901"/>
                    </a:moveTo>
                    <a:cubicBezTo>
                      <a:pt x="435" y="901"/>
                      <a:pt x="410" y="916"/>
                      <a:pt x="397" y="941"/>
                    </a:cubicBezTo>
                    <a:cubicBezTo>
                      <a:pt x="307" y="1123"/>
                      <a:pt x="307" y="1123"/>
                      <a:pt x="307" y="1123"/>
                    </a:cubicBezTo>
                    <a:cubicBezTo>
                      <a:pt x="289" y="1159"/>
                      <a:pt x="304" y="1202"/>
                      <a:pt x="339" y="1219"/>
                    </a:cubicBezTo>
                    <a:cubicBezTo>
                      <a:pt x="339" y="1219"/>
                      <a:pt x="339" y="1219"/>
                      <a:pt x="339" y="1219"/>
                    </a:cubicBezTo>
                    <a:cubicBezTo>
                      <a:pt x="350" y="1224"/>
                      <a:pt x="360" y="1227"/>
                      <a:pt x="371" y="1227"/>
                    </a:cubicBezTo>
                    <a:cubicBezTo>
                      <a:pt x="397" y="1227"/>
                      <a:pt x="423" y="1212"/>
                      <a:pt x="435" y="1187"/>
                    </a:cubicBezTo>
                    <a:cubicBezTo>
                      <a:pt x="526" y="1005"/>
                      <a:pt x="526" y="1005"/>
                      <a:pt x="526" y="1005"/>
                    </a:cubicBezTo>
                    <a:cubicBezTo>
                      <a:pt x="543" y="970"/>
                      <a:pt x="529" y="927"/>
                      <a:pt x="493" y="909"/>
                    </a:cubicBezTo>
                    <a:cubicBezTo>
                      <a:pt x="493" y="909"/>
                      <a:pt x="493" y="909"/>
                      <a:pt x="493" y="909"/>
                    </a:cubicBezTo>
                    <a:cubicBezTo>
                      <a:pt x="483" y="904"/>
                      <a:pt x="472" y="901"/>
                      <a:pt x="462" y="901"/>
                    </a:cubicBezTo>
                    <a:moveTo>
                      <a:pt x="298" y="829"/>
                    </a:moveTo>
                    <a:cubicBezTo>
                      <a:pt x="271" y="829"/>
                      <a:pt x="246" y="844"/>
                      <a:pt x="233" y="869"/>
                    </a:cubicBezTo>
                    <a:cubicBezTo>
                      <a:pt x="150" y="1036"/>
                      <a:pt x="150" y="1036"/>
                      <a:pt x="150" y="1036"/>
                    </a:cubicBezTo>
                    <a:cubicBezTo>
                      <a:pt x="133" y="1072"/>
                      <a:pt x="147" y="1115"/>
                      <a:pt x="183" y="1132"/>
                    </a:cubicBezTo>
                    <a:cubicBezTo>
                      <a:pt x="193" y="1138"/>
                      <a:pt x="204" y="1140"/>
                      <a:pt x="215" y="1140"/>
                    </a:cubicBezTo>
                    <a:cubicBezTo>
                      <a:pt x="241" y="1140"/>
                      <a:pt x="266" y="1125"/>
                      <a:pt x="279" y="1100"/>
                    </a:cubicBezTo>
                    <a:cubicBezTo>
                      <a:pt x="362" y="933"/>
                      <a:pt x="362" y="933"/>
                      <a:pt x="362" y="933"/>
                    </a:cubicBezTo>
                    <a:cubicBezTo>
                      <a:pt x="379" y="898"/>
                      <a:pt x="365" y="855"/>
                      <a:pt x="330" y="837"/>
                    </a:cubicBezTo>
                    <a:cubicBezTo>
                      <a:pt x="330" y="837"/>
                      <a:pt x="330" y="837"/>
                      <a:pt x="330" y="837"/>
                    </a:cubicBezTo>
                    <a:cubicBezTo>
                      <a:pt x="319" y="832"/>
                      <a:pt x="308" y="829"/>
                      <a:pt x="298" y="829"/>
                    </a:cubicBezTo>
                    <a:moveTo>
                      <a:pt x="131" y="762"/>
                    </a:moveTo>
                    <a:cubicBezTo>
                      <a:pt x="104" y="762"/>
                      <a:pt x="79" y="777"/>
                      <a:pt x="66" y="802"/>
                    </a:cubicBezTo>
                    <a:cubicBezTo>
                      <a:pt x="18" y="900"/>
                      <a:pt x="18" y="900"/>
                      <a:pt x="18" y="900"/>
                    </a:cubicBezTo>
                    <a:cubicBezTo>
                      <a:pt x="0" y="936"/>
                      <a:pt x="14" y="979"/>
                      <a:pt x="50" y="996"/>
                    </a:cubicBezTo>
                    <a:cubicBezTo>
                      <a:pt x="60" y="1002"/>
                      <a:pt x="71" y="1004"/>
                      <a:pt x="82" y="1004"/>
                    </a:cubicBezTo>
                    <a:cubicBezTo>
                      <a:pt x="108" y="1004"/>
                      <a:pt x="133" y="989"/>
                      <a:pt x="146" y="964"/>
                    </a:cubicBezTo>
                    <a:cubicBezTo>
                      <a:pt x="195" y="866"/>
                      <a:pt x="195" y="866"/>
                      <a:pt x="195" y="866"/>
                    </a:cubicBezTo>
                    <a:cubicBezTo>
                      <a:pt x="212" y="830"/>
                      <a:pt x="198" y="787"/>
                      <a:pt x="162" y="770"/>
                    </a:cubicBezTo>
                    <a:cubicBezTo>
                      <a:pt x="152" y="765"/>
                      <a:pt x="141" y="762"/>
                      <a:pt x="131" y="762"/>
                    </a:cubicBezTo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6">
                <a:extLst>
                  <a:ext uri="{FF2B5EF4-FFF2-40B4-BE49-F238E27FC236}">
                    <a16:creationId xmlns:a16="http://schemas.microsoft.com/office/drawing/2014/main" id="{D94FB52B-DF44-4EA7-AD1E-9C0D371097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51" y="921"/>
                <a:ext cx="3007" cy="2422"/>
              </a:xfrm>
              <a:custGeom>
                <a:avLst/>
                <a:gdLst>
                  <a:gd name="T0" fmla="*/ 262 w 1605"/>
                  <a:gd name="T1" fmla="*/ 725 h 1292"/>
                  <a:gd name="T2" fmla="*/ 15 w 1605"/>
                  <a:gd name="T3" fmla="*/ 587 h 1292"/>
                  <a:gd name="T4" fmla="*/ 0 w 1605"/>
                  <a:gd name="T5" fmla="*/ 37 h 1292"/>
                  <a:gd name="T6" fmla="*/ 36 w 1605"/>
                  <a:gd name="T7" fmla="*/ 0 h 1292"/>
                  <a:gd name="T8" fmla="*/ 155 w 1605"/>
                  <a:gd name="T9" fmla="*/ 96 h 1292"/>
                  <a:gd name="T10" fmla="*/ 324 w 1605"/>
                  <a:gd name="T11" fmla="*/ 190 h 1292"/>
                  <a:gd name="T12" fmla="*/ 364 w 1605"/>
                  <a:gd name="T13" fmla="*/ 178 h 1292"/>
                  <a:gd name="T14" fmla="*/ 366 w 1605"/>
                  <a:gd name="T15" fmla="*/ 207 h 1292"/>
                  <a:gd name="T16" fmla="*/ 324 w 1605"/>
                  <a:gd name="T17" fmla="*/ 226 h 1292"/>
                  <a:gd name="T18" fmla="*/ 36 w 1605"/>
                  <a:gd name="T19" fmla="*/ 36 h 1292"/>
                  <a:gd name="T20" fmla="*/ 1538 w 1605"/>
                  <a:gd name="T21" fmla="*/ 719 h 1292"/>
                  <a:gd name="T22" fmla="*/ 785 w 1605"/>
                  <a:gd name="T23" fmla="*/ 307 h 1292"/>
                  <a:gd name="T24" fmla="*/ 1544 w 1605"/>
                  <a:gd name="T25" fmla="*/ 848 h 1292"/>
                  <a:gd name="T26" fmla="*/ 1482 w 1605"/>
                  <a:gd name="T27" fmla="*/ 883 h 1292"/>
                  <a:gd name="T28" fmla="*/ 1236 w 1605"/>
                  <a:gd name="T29" fmla="*/ 747 h 1292"/>
                  <a:gd name="T30" fmla="*/ 1210 w 1605"/>
                  <a:gd name="T31" fmla="*/ 752 h 1292"/>
                  <a:gd name="T32" fmla="*/ 1380 w 1605"/>
                  <a:gd name="T33" fmla="*/ 881 h 1292"/>
                  <a:gd name="T34" fmla="*/ 1345 w 1605"/>
                  <a:gd name="T35" fmla="*/ 1015 h 1292"/>
                  <a:gd name="T36" fmla="*/ 1123 w 1605"/>
                  <a:gd name="T37" fmla="*/ 893 h 1292"/>
                  <a:gd name="T38" fmla="*/ 1098 w 1605"/>
                  <a:gd name="T39" fmla="*/ 898 h 1292"/>
                  <a:gd name="T40" fmla="*/ 1229 w 1605"/>
                  <a:gd name="T41" fmla="*/ 1002 h 1292"/>
                  <a:gd name="T42" fmla="*/ 1253 w 1605"/>
                  <a:gd name="T43" fmla="*/ 1100 h 1292"/>
                  <a:gd name="T44" fmla="*/ 1155 w 1605"/>
                  <a:gd name="T45" fmla="*/ 1124 h 1292"/>
                  <a:gd name="T46" fmla="*/ 986 w 1605"/>
                  <a:gd name="T47" fmla="*/ 1044 h 1292"/>
                  <a:gd name="T48" fmla="*/ 992 w 1605"/>
                  <a:gd name="T49" fmla="*/ 1075 h 1292"/>
                  <a:gd name="T50" fmla="*/ 1097 w 1605"/>
                  <a:gd name="T51" fmla="*/ 1222 h 1292"/>
                  <a:gd name="T52" fmla="*/ 998 w 1605"/>
                  <a:gd name="T53" fmla="*/ 1246 h 1292"/>
                  <a:gd name="T54" fmla="*/ 862 w 1605"/>
                  <a:gd name="T55" fmla="*/ 1206 h 1292"/>
                  <a:gd name="T56" fmla="*/ 1035 w 1605"/>
                  <a:gd name="T57" fmla="*/ 1292 h 1292"/>
                  <a:gd name="T58" fmla="*/ 1139 w 1605"/>
                  <a:gd name="T59" fmla="*/ 1157 h 1292"/>
                  <a:gd name="T60" fmla="*/ 1284 w 1605"/>
                  <a:gd name="T61" fmla="*/ 1119 h 1292"/>
                  <a:gd name="T62" fmla="*/ 1345 w 1605"/>
                  <a:gd name="T63" fmla="*/ 1051 h 1292"/>
                  <a:gd name="T64" fmla="*/ 1450 w 1605"/>
                  <a:gd name="T65" fmla="*/ 917 h 1292"/>
                  <a:gd name="T66" fmla="*/ 1482 w 1605"/>
                  <a:gd name="T67" fmla="*/ 919 h 1292"/>
                  <a:gd name="T68" fmla="*/ 1538 w 1605"/>
                  <a:gd name="T69" fmla="*/ 719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05" h="1292">
                    <a:moveTo>
                      <a:pt x="36" y="558"/>
                    </a:moveTo>
                    <a:cubicBezTo>
                      <a:pt x="262" y="725"/>
                      <a:pt x="262" y="725"/>
                      <a:pt x="262" y="725"/>
                    </a:cubicBezTo>
                    <a:cubicBezTo>
                      <a:pt x="246" y="757"/>
                      <a:pt x="246" y="757"/>
                      <a:pt x="246" y="757"/>
                    </a:cubicBezTo>
                    <a:cubicBezTo>
                      <a:pt x="15" y="587"/>
                      <a:pt x="15" y="587"/>
                      <a:pt x="15" y="587"/>
                    </a:cubicBezTo>
                    <a:cubicBezTo>
                      <a:pt x="6" y="580"/>
                      <a:pt x="0" y="569"/>
                      <a:pt x="0" y="558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24"/>
                      <a:pt x="7" y="11"/>
                      <a:pt x="18" y="5"/>
                    </a:cubicBezTo>
                    <a:cubicBezTo>
                      <a:pt x="24" y="1"/>
                      <a:pt x="30" y="0"/>
                      <a:pt x="36" y="0"/>
                    </a:cubicBezTo>
                    <a:cubicBezTo>
                      <a:pt x="45" y="0"/>
                      <a:pt x="54" y="3"/>
                      <a:pt x="61" y="9"/>
                    </a:cubicBezTo>
                    <a:cubicBezTo>
                      <a:pt x="155" y="96"/>
                      <a:pt x="155" y="96"/>
                      <a:pt x="155" y="96"/>
                    </a:cubicBezTo>
                    <a:cubicBezTo>
                      <a:pt x="156" y="97"/>
                      <a:pt x="156" y="97"/>
                      <a:pt x="156" y="97"/>
                    </a:cubicBezTo>
                    <a:cubicBezTo>
                      <a:pt x="182" y="123"/>
                      <a:pt x="263" y="190"/>
                      <a:pt x="324" y="190"/>
                    </a:cubicBezTo>
                    <a:cubicBezTo>
                      <a:pt x="336" y="190"/>
                      <a:pt x="346" y="187"/>
                      <a:pt x="355" y="182"/>
                    </a:cubicBezTo>
                    <a:cubicBezTo>
                      <a:pt x="358" y="180"/>
                      <a:pt x="361" y="179"/>
                      <a:pt x="364" y="178"/>
                    </a:cubicBezTo>
                    <a:cubicBezTo>
                      <a:pt x="413" y="161"/>
                      <a:pt x="413" y="161"/>
                      <a:pt x="413" y="161"/>
                    </a:cubicBezTo>
                    <a:cubicBezTo>
                      <a:pt x="397" y="176"/>
                      <a:pt x="382" y="191"/>
                      <a:pt x="366" y="207"/>
                    </a:cubicBezTo>
                    <a:cubicBezTo>
                      <a:pt x="361" y="212"/>
                      <a:pt x="357" y="217"/>
                      <a:pt x="353" y="222"/>
                    </a:cubicBezTo>
                    <a:cubicBezTo>
                      <a:pt x="344" y="225"/>
                      <a:pt x="334" y="226"/>
                      <a:pt x="324" y="226"/>
                    </a:cubicBezTo>
                    <a:cubicBezTo>
                      <a:pt x="234" y="226"/>
                      <a:pt x="131" y="123"/>
                      <a:pt x="131" y="123"/>
                    </a:cubicBezTo>
                    <a:cubicBezTo>
                      <a:pt x="36" y="36"/>
                      <a:pt x="36" y="36"/>
                      <a:pt x="36" y="36"/>
                    </a:cubicBezTo>
                    <a:lnTo>
                      <a:pt x="36" y="558"/>
                    </a:lnTo>
                    <a:close/>
                    <a:moveTo>
                      <a:pt x="1538" y="719"/>
                    </a:moveTo>
                    <a:cubicBezTo>
                      <a:pt x="868" y="315"/>
                      <a:pt x="868" y="315"/>
                      <a:pt x="868" y="315"/>
                    </a:cubicBezTo>
                    <a:cubicBezTo>
                      <a:pt x="850" y="312"/>
                      <a:pt x="824" y="309"/>
                      <a:pt x="785" y="307"/>
                    </a:cubicBezTo>
                    <a:cubicBezTo>
                      <a:pt x="1520" y="750"/>
                      <a:pt x="1520" y="750"/>
                      <a:pt x="1520" y="750"/>
                    </a:cubicBezTo>
                    <a:cubicBezTo>
                      <a:pt x="1553" y="770"/>
                      <a:pt x="1564" y="814"/>
                      <a:pt x="1544" y="848"/>
                    </a:cubicBezTo>
                    <a:cubicBezTo>
                      <a:pt x="1544" y="848"/>
                      <a:pt x="1544" y="848"/>
                      <a:pt x="1544" y="848"/>
                    </a:cubicBezTo>
                    <a:cubicBezTo>
                      <a:pt x="1531" y="871"/>
                      <a:pt x="1507" y="883"/>
                      <a:pt x="1482" y="883"/>
                    </a:cubicBezTo>
                    <a:cubicBezTo>
                      <a:pt x="1470" y="883"/>
                      <a:pt x="1457" y="880"/>
                      <a:pt x="1446" y="873"/>
                    </a:cubicBezTo>
                    <a:cubicBezTo>
                      <a:pt x="1236" y="747"/>
                      <a:pt x="1236" y="747"/>
                      <a:pt x="1236" y="747"/>
                    </a:cubicBezTo>
                    <a:cubicBezTo>
                      <a:pt x="1227" y="741"/>
                      <a:pt x="1216" y="743"/>
                      <a:pt x="1210" y="752"/>
                    </a:cubicBezTo>
                    <a:cubicBezTo>
                      <a:pt x="1210" y="752"/>
                      <a:pt x="1210" y="752"/>
                      <a:pt x="1210" y="752"/>
                    </a:cubicBezTo>
                    <a:cubicBezTo>
                      <a:pt x="1202" y="761"/>
                      <a:pt x="1205" y="775"/>
                      <a:pt x="1215" y="781"/>
                    </a:cubicBezTo>
                    <a:cubicBezTo>
                      <a:pt x="1380" y="881"/>
                      <a:pt x="1380" y="881"/>
                      <a:pt x="1380" y="881"/>
                    </a:cubicBezTo>
                    <a:cubicBezTo>
                      <a:pt x="1414" y="901"/>
                      <a:pt x="1427" y="947"/>
                      <a:pt x="1406" y="981"/>
                    </a:cubicBezTo>
                    <a:cubicBezTo>
                      <a:pt x="1393" y="1003"/>
                      <a:pt x="1369" y="1015"/>
                      <a:pt x="1345" y="1015"/>
                    </a:cubicBezTo>
                    <a:cubicBezTo>
                      <a:pt x="1332" y="1015"/>
                      <a:pt x="1320" y="1012"/>
                      <a:pt x="1308" y="1005"/>
                    </a:cubicBezTo>
                    <a:cubicBezTo>
                      <a:pt x="1123" y="893"/>
                      <a:pt x="1123" y="893"/>
                      <a:pt x="1123" y="893"/>
                    </a:cubicBezTo>
                    <a:cubicBezTo>
                      <a:pt x="1115" y="888"/>
                      <a:pt x="1104" y="890"/>
                      <a:pt x="1098" y="898"/>
                    </a:cubicBezTo>
                    <a:cubicBezTo>
                      <a:pt x="1098" y="898"/>
                      <a:pt x="1098" y="898"/>
                      <a:pt x="1098" y="898"/>
                    </a:cubicBezTo>
                    <a:cubicBezTo>
                      <a:pt x="1091" y="907"/>
                      <a:pt x="1093" y="920"/>
                      <a:pt x="1103" y="926"/>
                    </a:cubicBezTo>
                    <a:cubicBezTo>
                      <a:pt x="1229" y="1002"/>
                      <a:pt x="1229" y="1002"/>
                      <a:pt x="1229" y="1002"/>
                    </a:cubicBezTo>
                    <a:cubicBezTo>
                      <a:pt x="1263" y="1022"/>
                      <a:pt x="1274" y="1066"/>
                      <a:pt x="1253" y="1100"/>
                    </a:cubicBezTo>
                    <a:cubicBezTo>
                      <a:pt x="1253" y="1100"/>
                      <a:pt x="1253" y="1100"/>
                      <a:pt x="1253" y="1100"/>
                    </a:cubicBezTo>
                    <a:cubicBezTo>
                      <a:pt x="1240" y="1122"/>
                      <a:pt x="1216" y="1135"/>
                      <a:pt x="1192" y="1135"/>
                    </a:cubicBezTo>
                    <a:cubicBezTo>
                      <a:pt x="1179" y="1135"/>
                      <a:pt x="1167" y="1131"/>
                      <a:pt x="1155" y="1124"/>
                    </a:cubicBezTo>
                    <a:cubicBezTo>
                      <a:pt x="1013" y="1039"/>
                      <a:pt x="1013" y="1039"/>
                      <a:pt x="1013" y="1039"/>
                    </a:cubicBezTo>
                    <a:cubicBezTo>
                      <a:pt x="1004" y="1033"/>
                      <a:pt x="992" y="1036"/>
                      <a:pt x="986" y="1044"/>
                    </a:cubicBezTo>
                    <a:cubicBezTo>
                      <a:pt x="986" y="1044"/>
                      <a:pt x="986" y="1044"/>
                      <a:pt x="986" y="1044"/>
                    </a:cubicBezTo>
                    <a:cubicBezTo>
                      <a:pt x="978" y="1054"/>
                      <a:pt x="981" y="1068"/>
                      <a:pt x="992" y="1075"/>
                    </a:cubicBezTo>
                    <a:cubicBezTo>
                      <a:pt x="1071" y="1122"/>
                      <a:pt x="1071" y="1122"/>
                      <a:pt x="1071" y="1122"/>
                    </a:cubicBezTo>
                    <a:cubicBezTo>
                      <a:pt x="1105" y="1143"/>
                      <a:pt x="1117" y="1188"/>
                      <a:pt x="1097" y="1222"/>
                    </a:cubicBezTo>
                    <a:cubicBezTo>
                      <a:pt x="1083" y="1244"/>
                      <a:pt x="1059" y="1256"/>
                      <a:pt x="1035" y="1256"/>
                    </a:cubicBezTo>
                    <a:cubicBezTo>
                      <a:pt x="1023" y="1256"/>
                      <a:pt x="1010" y="1253"/>
                      <a:pt x="998" y="1246"/>
                    </a:cubicBezTo>
                    <a:cubicBezTo>
                      <a:pt x="884" y="1177"/>
                      <a:pt x="884" y="1177"/>
                      <a:pt x="884" y="1177"/>
                    </a:cubicBezTo>
                    <a:cubicBezTo>
                      <a:pt x="862" y="1206"/>
                      <a:pt x="862" y="1206"/>
                      <a:pt x="862" y="1206"/>
                    </a:cubicBezTo>
                    <a:cubicBezTo>
                      <a:pt x="980" y="1277"/>
                      <a:pt x="980" y="1277"/>
                      <a:pt x="980" y="1277"/>
                    </a:cubicBezTo>
                    <a:cubicBezTo>
                      <a:pt x="997" y="1287"/>
                      <a:pt x="1016" y="1292"/>
                      <a:pt x="1035" y="1292"/>
                    </a:cubicBezTo>
                    <a:cubicBezTo>
                      <a:pt x="1073" y="1292"/>
                      <a:pt x="1108" y="1272"/>
                      <a:pt x="1128" y="1240"/>
                    </a:cubicBezTo>
                    <a:cubicBezTo>
                      <a:pt x="1143" y="1214"/>
                      <a:pt x="1147" y="1184"/>
                      <a:pt x="1139" y="1157"/>
                    </a:cubicBezTo>
                    <a:cubicBezTo>
                      <a:pt x="1155" y="1166"/>
                      <a:pt x="1174" y="1171"/>
                      <a:pt x="1192" y="1171"/>
                    </a:cubicBezTo>
                    <a:cubicBezTo>
                      <a:pt x="1230" y="1171"/>
                      <a:pt x="1265" y="1151"/>
                      <a:pt x="1284" y="1119"/>
                    </a:cubicBezTo>
                    <a:cubicBezTo>
                      <a:pt x="1299" y="1094"/>
                      <a:pt x="1303" y="1066"/>
                      <a:pt x="1297" y="1040"/>
                    </a:cubicBezTo>
                    <a:cubicBezTo>
                      <a:pt x="1312" y="1047"/>
                      <a:pt x="1328" y="1051"/>
                      <a:pt x="1345" y="1051"/>
                    </a:cubicBezTo>
                    <a:cubicBezTo>
                      <a:pt x="1383" y="1051"/>
                      <a:pt x="1418" y="1031"/>
                      <a:pt x="1437" y="999"/>
                    </a:cubicBezTo>
                    <a:cubicBezTo>
                      <a:pt x="1452" y="974"/>
                      <a:pt x="1457" y="945"/>
                      <a:pt x="1450" y="917"/>
                    </a:cubicBezTo>
                    <a:cubicBezTo>
                      <a:pt x="1449" y="916"/>
                      <a:pt x="1449" y="915"/>
                      <a:pt x="1449" y="913"/>
                    </a:cubicBezTo>
                    <a:cubicBezTo>
                      <a:pt x="1459" y="917"/>
                      <a:pt x="1471" y="919"/>
                      <a:pt x="1482" y="919"/>
                    </a:cubicBezTo>
                    <a:cubicBezTo>
                      <a:pt x="1520" y="919"/>
                      <a:pt x="1555" y="899"/>
                      <a:pt x="1575" y="867"/>
                    </a:cubicBezTo>
                    <a:cubicBezTo>
                      <a:pt x="1605" y="816"/>
                      <a:pt x="1589" y="750"/>
                      <a:pt x="1538" y="71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4A82907-EE97-4E8A-AFC3-159AEA4DE64F}"/>
              </a:ext>
            </a:extLst>
          </p:cNvPr>
          <p:cNvCxnSpPr>
            <a:cxnSpLocks/>
          </p:cNvCxnSpPr>
          <p:nvPr/>
        </p:nvCxnSpPr>
        <p:spPr>
          <a:xfrm>
            <a:off x="4672382" y="2378995"/>
            <a:ext cx="708724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4730C2A-8C5D-4B36-ABA5-0587E55AD1AE}"/>
              </a:ext>
            </a:extLst>
          </p:cNvPr>
          <p:cNvCxnSpPr>
            <a:cxnSpLocks/>
          </p:cNvCxnSpPr>
          <p:nvPr/>
        </p:nvCxnSpPr>
        <p:spPr>
          <a:xfrm>
            <a:off x="4476109" y="3925977"/>
            <a:ext cx="708724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D04A7AD-23E7-4FCD-82F2-6A790DD85EDE}"/>
              </a:ext>
            </a:extLst>
          </p:cNvPr>
          <p:cNvCxnSpPr>
            <a:cxnSpLocks/>
          </p:cNvCxnSpPr>
          <p:nvPr/>
        </p:nvCxnSpPr>
        <p:spPr>
          <a:xfrm>
            <a:off x="4476109" y="5515221"/>
            <a:ext cx="708724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2E6D9FB-30A3-435D-8AD6-F68775CB9451}"/>
              </a:ext>
            </a:extLst>
          </p:cNvPr>
          <p:cNvCxnSpPr>
            <a:cxnSpLocks/>
          </p:cNvCxnSpPr>
          <p:nvPr/>
        </p:nvCxnSpPr>
        <p:spPr>
          <a:xfrm rot="16200000">
            <a:off x="5876725" y="1757556"/>
            <a:ext cx="1478389" cy="0"/>
          </a:xfrm>
          <a:prstGeom prst="line">
            <a:avLst/>
          </a:prstGeom>
          <a:ln w="19050" cap="rnd">
            <a:solidFill>
              <a:schemeClr val="accent5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CFCC4F78-58AC-49D5-8C85-418CFCF46B13}"/>
              </a:ext>
            </a:extLst>
          </p:cNvPr>
          <p:cNvCxnSpPr>
            <a:cxnSpLocks/>
          </p:cNvCxnSpPr>
          <p:nvPr/>
        </p:nvCxnSpPr>
        <p:spPr>
          <a:xfrm rot="16200000">
            <a:off x="5982324" y="3239077"/>
            <a:ext cx="1267191" cy="0"/>
          </a:xfrm>
          <a:prstGeom prst="line">
            <a:avLst/>
          </a:prstGeom>
          <a:ln w="19050" cap="rnd">
            <a:solidFill>
              <a:schemeClr val="accent5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F3C7413-1CE1-4AFB-8D27-48C627A5C6C7}"/>
              </a:ext>
            </a:extLst>
          </p:cNvPr>
          <p:cNvCxnSpPr>
            <a:cxnSpLocks/>
          </p:cNvCxnSpPr>
          <p:nvPr/>
        </p:nvCxnSpPr>
        <p:spPr>
          <a:xfrm rot="16200000">
            <a:off x="5876725" y="4720599"/>
            <a:ext cx="1478389" cy="0"/>
          </a:xfrm>
          <a:prstGeom prst="line">
            <a:avLst/>
          </a:prstGeom>
          <a:ln w="19050" cap="rnd">
            <a:solidFill>
              <a:schemeClr val="accent5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3C3ADBBF-340B-4AFC-A6F3-B4740CD53A26}"/>
              </a:ext>
            </a:extLst>
          </p:cNvPr>
          <p:cNvSpPr txBox="1"/>
          <p:nvPr/>
        </p:nvSpPr>
        <p:spPr>
          <a:xfrm>
            <a:off x="6751674" y="5555789"/>
            <a:ext cx="4811675" cy="110794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noAutofit/>
          </a:bodyPr>
          <a:lstStyle/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Regional blueprint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arget occupations for Market Maker outreach by region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Additional collateral for Market Maker outreach to employer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Market Maker onboarding checklist</a:t>
            </a:r>
          </a:p>
        </p:txBody>
      </p:sp>
      <p:sp>
        <p:nvSpPr>
          <p:cNvPr id="68" name="Oval 20">
            <a:extLst>
              <a:ext uri="{FF2B5EF4-FFF2-40B4-BE49-F238E27FC236}">
                <a16:creationId xmlns:a16="http://schemas.microsoft.com/office/drawing/2014/main" id="{B0055628-1CC9-4387-A949-9B358930CF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5576083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9</a:t>
            </a:r>
          </a:p>
        </p:txBody>
      </p:sp>
      <p:sp>
        <p:nvSpPr>
          <p:cNvPr id="69" name="Oval 20">
            <a:extLst>
              <a:ext uri="{FF2B5EF4-FFF2-40B4-BE49-F238E27FC236}">
                <a16:creationId xmlns:a16="http://schemas.microsoft.com/office/drawing/2014/main" id="{E208E780-A185-4358-8934-5CE4B684120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5775999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10</a:t>
            </a:r>
          </a:p>
        </p:txBody>
      </p:sp>
      <p:sp>
        <p:nvSpPr>
          <p:cNvPr id="70" name="Oval 20">
            <a:extLst>
              <a:ext uri="{FF2B5EF4-FFF2-40B4-BE49-F238E27FC236}">
                <a16:creationId xmlns:a16="http://schemas.microsoft.com/office/drawing/2014/main" id="{965B6DCD-6E3D-4ABC-940A-BD0D226E2FF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5975915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11</a:t>
            </a: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0F63784-E7E4-4537-B5D9-8FE5EDE6CEF6}"/>
              </a:ext>
            </a:extLst>
          </p:cNvPr>
          <p:cNvCxnSpPr>
            <a:cxnSpLocks/>
          </p:cNvCxnSpPr>
          <p:nvPr/>
        </p:nvCxnSpPr>
        <p:spPr>
          <a:xfrm flipV="1">
            <a:off x="6615920" y="5564281"/>
            <a:ext cx="0" cy="1040629"/>
          </a:xfrm>
          <a:prstGeom prst="line">
            <a:avLst/>
          </a:prstGeom>
          <a:ln w="19050" cap="rnd">
            <a:solidFill>
              <a:schemeClr val="accent5"/>
            </a:solidFill>
            <a:prstDash val="sysDot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20">
            <a:extLst>
              <a:ext uri="{FF2B5EF4-FFF2-40B4-BE49-F238E27FC236}">
                <a16:creationId xmlns:a16="http://schemas.microsoft.com/office/drawing/2014/main" id="{26C5B020-18A7-4189-A726-BA25F7A9F9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13011" y="6418220"/>
            <a:ext cx="186690" cy="18669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>
                <a:solidFill>
                  <a:srgbClr val="FFFFFF">
                    <a:lumMod val="100000"/>
                  </a:srgbClr>
                </a:solidFill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1257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8"/>
            <a:ext cx="321015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Greater Boston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/>
        </p:nvGraphicFramePr>
        <p:xfrm>
          <a:off x="4325960" y="830223"/>
          <a:ext cx="7165378" cy="545724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898781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471907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7047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erkshire Career Ctr-Cambridge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aig Desmarais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cdesmarais@mhmncc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661-7867 x 224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MetroNorth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y Beth Beatrice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mbeatrice@mhmncc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781-932-5508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MetroNorth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sa Chakalos-Ryan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lchakalos-ryan@mhmncc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781-932-5547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42974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oston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tonio Thomas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9"/>
                        </a:rPr>
                        <a:t>antoniothomas@MassHireBostonCareerCtr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-541-1477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8668591"/>
                  </a:ext>
                </a:extLst>
              </a:tr>
              <a:tr h="687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oston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die Malloy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10"/>
                        </a:rPr>
                        <a:t>eddiemalloy@MassHireBostonCareerCtr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541-1485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786857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oston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phanie Remy-Marquez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sremymarquez@MassHireBostonCareerCtr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541-1480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203822"/>
                  </a:ext>
                </a:extLst>
              </a:tr>
              <a:tr h="61432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Downtown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ston 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san Buckey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sbuckey@masshiredowntownboston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399-3354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877323"/>
                  </a:ext>
                </a:extLst>
              </a:tr>
              <a:tr h="6143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Downtown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ston 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cob Landis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pc="-1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jlandis@masshiredowntownboston.org</a:t>
                      </a:r>
                      <a:endParaRPr lang="en-US" sz="1400" b="0" i="0" u="none" spc="-1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399-3354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4046850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3BC03B7C-74C1-4CC7-AA06-A5DE21E53DF9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48DCF4B7-5D4C-4330-842E-38A73C2CAE6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61A60D3-F859-4B80-A3F5-5792E33D53B1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154089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8"/>
            <a:ext cx="327111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Central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/>
        </p:nvGraphicFramePr>
        <p:xfrm>
          <a:off x="4325960" y="830223"/>
          <a:ext cx="7165378" cy="542184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898781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471907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7047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 Framingham &amp; Norwood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an Marshall</a:t>
                      </a:r>
                    </a:p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smarshall@masshiremsw.com</a:t>
                      </a:r>
                      <a:endParaRPr lang="en-US" sz="14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6-317-3069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4425789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FraminghamCareer Ctr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ristine Moreira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Cmoreira@masshiremsw.com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861-7993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Framingham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ennifer McKenna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jmckenna@masshiremsw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508-861-7993 x722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Framingham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ic Fernandez 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efernandez@masshiremsw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508-861-7993 x738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42974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Norwood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la Torrez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9"/>
                        </a:rPr>
                        <a:t>ktorrez@masshiremsw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81-269-5494 x114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8668591"/>
                  </a:ext>
                </a:extLst>
              </a:tr>
              <a:tr h="687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NorthCentral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tt Percifull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spc="-20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10"/>
                        </a:rPr>
                        <a:t>spercifull@masshirenorthcentralcc.com</a:t>
                      </a:r>
                      <a:endParaRPr lang="en-US" sz="1400" b="0" i="0" u="sng" strike="noStrike" spc="-20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534-1481 x209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786857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</a:t>
                      </a:r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outhbridge &amp; Worceste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ibrael Younis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younisj@masshirecentral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765-7618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4457493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Southbridge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na Joyce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joyced@masshirecentral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765-6430 x55313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203822"/>
                  </a:ext>
                </a:extLst>
              </a:tr>
              <a:tr h="61432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 Worcester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enia Aponte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apontey@masshirecentral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-297-6118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877323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FCC4B098-EAB6-4A7F-BEB2-5F1E169BDAD2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621EDEFC-0353-4443-BA8C-94BB228D7EF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23EAD406-5B5F-4C31-8483-76301496A449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1493385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8"/>
            <a:ext cx="332445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Northeast 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474781"/>
              </p:ext>
            </p:extLst>
          </p:nvPr>
        </p:nvGraphicFramePr>
        <p:xfrm>
          <a:off x="4325960" y="830223"/>
          <a:ext cx="7165378" cy="578459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720330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650358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48549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>
                      <a:solidFill>
                        <a:srgbClr val="9A9A9A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57316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LowellCareer</a:t>
                      </a:r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tr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un McCarthy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805-4751</a:t>
                      </a:r>
                      <a:endParaRPr lang="en-US" sz="14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hlinkClick r:id="" action="ppaction://noaction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" action="ppaction://noaction"/>
                        </a:rPr>
                        <a:t>shaun.mccarthy@masshirelowellcc.com</a:t>
                      </a:r>
                      <a:endParaRPr lang="en-US" sz="14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2156460"/>
                  </a:ext>
                </a:extLst>
              </a:tr>
              <a:tr h="4569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Merrimack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ley Career Ctr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ric Nelson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eric.nelson@detma.org</a:t>
                      </a:r>
                      <a:endParaRPr lang="en-US" sz="1400" b="0" i="0" u="sng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722-7039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569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Merrimack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ley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ta McDonald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leta.mcdonald@detma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978-722-7005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4569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Merrimack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lley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irley Lusty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slusty@masshiremvcc.com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978-722-7008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42974"/>
                  </a:ext>
                </a:extLst>
              </a:tr>
              <a:tr h="4569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Lowell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ianne (Rena) Segool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spc="-40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9"/>
                        </a:rPr>
                        <a:t>marianne.segool@masshirelowellcc.com</a:t>
                      </a:r>
                      <a:endParaRPr lang="en-US" sz="1400" b="0" i="0" u="sng" strike="noStrike" spc="-40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805-4702</a:t>
                      </a:r>
                    </a:p>
                  </a:txBody>
                  <a:tcPr marL="70581" marR="0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8668591"/>
                  </a:ext>
                </a:extLst>
              </a:tr>
              <a:tr h="61114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Lowell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othy Hovey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spc="-2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Timothy.Hovey@masshirelowellcc.com</a:t>
                      </a:r>
                      <a:endParaRPr lang="en-US" sz="1400" b="0" i="0" u="none" spc="-2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805-4784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786857"/>
                  </a:ext>
                </a:extLst>
              </a:tr>
              <a:tr h="4569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Lowell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vrith Thao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Thavrith.Thao@masshirelowell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805-4875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203822"/>
                  </a:ext>
                </a:extLst>
              </a:tr>
              <a:tr h="5462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NorthShoreCareer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n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ealcala@masshire-nscareers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81-691-7414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79877323"/>
                  </a:ext>
                </a:extLst>
              </a:tr>
              <a:tr h="5462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NorthShoreCareer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rlene Snow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csnow@masshire-nscareers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825-7242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4808464"/>
                  </a:ext>
                </a:extLst>
              </a:tr>
              <a:tr h="54621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NorthShoreCareer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ley Smythe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4"/>
                        </a:rPr>
                        <a:t>lsmythe@masshire-nscareers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78-825-7272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7010175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E1317C3F-15F8-4562-B6E4-205F052A7A65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54001303-AEA2-4332-AE9D-9D87766C80D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761C801-53F3-4431-B1FA-20B7D4D2E37C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406889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8"/>
            <a:ext cx="325587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Cape &amp; Islands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/>
        </p:nvGraphicFramePr>
        <p:xfrm>
          <a:off x="4325960" y="830223"/>
          <a:ext cx="7165378" cy="184657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898781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471907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7047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Cape</a:t>
                      </a:r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Islands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ila Neary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862-6134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6"/>
                        </a:rPr>
                        <a:t>nneary@masshire-capeandislands.com</a:t>
                      </a:r>
                      <a:endParaRPr lang="en-US" sz="14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9201239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Cape and Islands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thie LeBlanc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cleblanc@masshire-capeandislands.com</a:t>
                      </a:r>
                      <a:endParaRPr lang="en-US" sz="1400" b="0" i="0" u="sng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862-6128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BDA064E1-D9F8-492B-A542-027A349B59E5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85717573-6CC3-41C9-9D7C-B6BBBF9803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81DD670-C15D-4B6A-BA88-8375FA8F311B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420263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7"/>
            <a:ext cx="327873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Southeast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/>
        </p:nvGraphicFramePr>
        <p:xfrm>
          <a:off x="4325960" y="830223"/>
          <a:ext cx="7165378" cy="519075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898781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471907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7047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Attleboro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milcar Ferreira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aferreira@masshirebristol.org</a:t>
                      </a:r>
                      <a:endParaRPr lang="en-US" sz="1400" b="0" i="0" u="sng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222-1950 x102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Taunton</a:t>
                      </a:r>
                    </a:p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im Frank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kfrank@masshirebristol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508-977-1484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rockton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rea Kingman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akingman@masshiregbcc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508-513-3442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42974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Brockton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eff Cahill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9"/>
                        </a:rPr>
                        <a:t>jcahill@masshiregbcc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513-3482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8668591"/>
                  </a:ext>
                </a:extLst>
              </a:tr>
              <a:tr h="687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SouthShoreCC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eryl Alexis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calexis@masshiresouthshore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745-4019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786857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SouthShoreCC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hley Terrill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aterrill@masshiresouthshore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7-745-4016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203822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GreaterNewBeford CC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aron Martin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2"/>
                        </a:rPr>
                        <a:t>sharon.martin@detma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990-4115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5730865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GreaterNewBeford CC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en Lazaro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3"/>
                        </a:rPr>
                        <a:t>klazaro@masshiregnb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990-4140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0993734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GreaterNewBeford CC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ul Levesque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4"/>
                        </a:rPr>
                        <a:t>plevesque@masshiregnbcc.com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8-990-4131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7114345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449B784C-A074-45F1-AD40-95D81329D00F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FF5A92DA-D81A-4F05-9903-954CBEAE033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227BC9C-9A77-4EE8-A764-EBD968F6DE70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223712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C75D5198-624F-46ED-B9EC-8730265460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C75D5198-624F-46ED-B9EC-8730265460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9773DB-6D50-4DF6-AFCC-46E32ED7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1434608"/>
            <a:ext cx="3194915" cy="3988784"/>
          </a:xfrm>
        </p:spPr>
        <p:txBody>
          <a:bodyPr vert="horz" wrap="square">
            <a:spAutoFit/>
          </a:bodyPr>
          <a:lstStyle/>
          <a:p>
            <a:r>
              <a:rPr lang="en-US"/>
              <a:t>Pioneer Valley</a:t>
            </a:r>
            <a:br>
              <a:rPr lang="en-US"/>
            </a:br>
            <a:br>
              <a:rPr lang="en-US"/>
            </a:br>
            <a:r>
              <a:rPr lang="en-US"/>
              <a:t>MassHire Business Service Representatives and Managers contact inform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A08EE9-8EA2-4379-BF4C-B674CA2BC4AB}"/>
              </a:ext>
            </a:extLst>
          </p:cNvPr>
          <p:cNvGrpSpPr>
            <a:grpSpLocks noChangeAspect="1"/>
          </p:cNvGrpSpPr>
          <p:nvPr/>
        </p:nvGrpSpPr>
        <p:grpSpPr>
          <a:xfrm>
            <a:off x="4628373" y="121383"/>
            <a:ext cx="844780" cy="845596"/>
            <a:chOff x="5273675" y="2570163"/>
            <a:chExt cx="1644650" cy="1646237"/>
          </a:xfrm>
        </p:grpSpPr>
        <p:sp>
          <p:nvSpPr>
            <p:cNvPr id="4" name="AutoShape 35">
              <a:extLst>
                <a:ext uri="{FF2B5EF4-FFF2-40B4-BE49-F238E27FC236}">
                  <a16:creationId xmlns:a16="http://schemas.microsoft.com/office/drawing/2014/main" id="{EE4247DA-E33D-4595-ABC4-66CFFFCE3BE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656663E-CE57-40A1-83F7-A2D01A5E9810}"/>
                </a:ext>
              </a:extLst>
            </p:cNvPr>
            <p:cNvGrpSpPr/>
            <p:nvPr/>
          </p:nvGrpSpPr>
          <p:grpSpPr>
            <a:xfrm>
              <a:off x="5443538" y="2844800"/>
              <a:ext cx="1304925" cy="1100137"/>
              <a:chOff x="5443538" y="2844800"/>
              <a:chExt cx="1304925" cy="1100137"/>
            </a:xfrm>
          </p:grpSpPr>
          <p:sp>
            <p:nvSpPr>
              <p:cNvPr id="6" name="Freeform 9">
                <a:extLst>
                  <a:ext uri="{FF2B5EF4-FFF2-40B4-BE49-F238E27FC236}">
                    <a16:creationId xmlns:a16="http://schemas.microsoft.com/office/drawing/2014/main" id="{C1FE74BE-EFF3-4D3B-9110-A15E492DB8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5450" y="2916238"/>
                <a:ext cx="1179513" cy="954087"/>
              </a:xfrm>
              <a:custGeom>
                <a:avLst/>
                <a:gdLst>
                  <a:gd name="connsiteX0" fmla="*/ 1179513 w 1179513"/>
                  <a:gd name="connsiteY0" fmla="*/ 566737 h 954087"/>
                  <a:gd name="connsiteX1" fmla="*/ 1179513 w 1179513"/>
                  <a:gd name="connsiteY1" fmla="*/ 777875 h 954087"/>
                  <a:gd name="connsiteX2" fmla="*/ 841375 w 1179513"/>
                  <a:gd name="connsiteY2" fmla="*/ 950912 h 954087"/>
                  <a:gd name="connsiteX3" fmla="*/ 841375 w 1179513"/>
                  <a:gd name="connsiteY3" fmla="*/ 719137 h 954087"/>
                  <a:gd name="connsiteX4" fmla="*/ 417513 w 1179513"/>
                  <a:gd name="connsiteY4" fmla="*/ 550862 h 954087"/>
                  <a:gd name="connsiteX5" fmla="*/ 811213 w 1179513"/>
                  <a:gd name="connsiteY5" fmla="*/ 718873 h 954087"/>
                  <a:gd name="connsiteX6" fmla="*/ 811213 w 1179513"/>
                  <a:gd name="connsiteY6" fmla="*/ 954087 h 954087"/>
                  <a:gd name="connsiteX7" fmla="*/ 434692 w 1179513"/>
                  <a:gd name="connsiteY7" fmla="*/ 781787 h 954087"/>
                  <a:gd name="connsiteX8" fmla="*/ 417513 w 1179513"/>
                  <a:gd name="connsiteY8" fmla="*/ 776783 h 954087"/>
                  <a:gd name="connsiteX9" fmla="*/ 385763 w 1179513"/>
                  <a:gd name="connsiteY9" fmla="*/ 549275 h 954087"/>
                  <a:gd name="connsiteX10" fmla="*/ 385763 w 1179513"/>
                  <a:gd name="connsiteY10" fmla="*/ 775732 h 954087"/>
                  <a:gd name="connsiteX11" fmla="*/ 371502 w 1179513"/>
                  <a:gd name="connsiteY11" fmla="*/ 780018 h 954087"/>
                  <a:gd name="connsiteX12" fmla="*/ 0 w 1179513"/>
                  <a:gd name="connsiteY12" fmla="*/ 935037 h 954087"/>
                  <a:gd name="connsiteX13" fmla="*/ 0 w 1179513"/>
                  <a:gd name="connsiteY13" fmla="*/ 697151 h 954087"/>
                  <a:gd name="connsiteX14" fmla="*/ 385763 w 1179513"/>
                  <a:gd name="connsiteY14" fmla="*/ 549275 h 954087"/>
                  <a:gd name="connsiteX15" fmla="*/ 1179513 w 1179513"/>
                  <a:gd name="connsiteY15" fmla="*/ 279400 h 954087"/>
                  <a:gd name="connsiteX16" fmla="*/ 1179513 w 1179513"/>
                  <a:gd name="connsiteY16" fmla="*/ 531812 h 954087"/>
                  <a:gd name="connsiteX17" fmla="*/ 841375 w 1179513"/>
                  <a:gd name="connsiteY17" fmla="*/ 684212 h 954087"/>
                  <a:gd name="connsiteX18" fmla="*/ 841375 w 1179513"/>
                  <a:gd name="connsiteY18" fmla="*/ 407987 h 954087"/>
                  <a:gd name="connsiteX19" fmla="*/ 417513 w 1179513"/>
                  <a:gd name="connsiteY19" fmla="*/ 266700 h 954087"/>
                  <a:gd name="connsiteX20" fmla="*/ 550655 w 1179513"/>
                  <a:gd name="connsiteY20" fmla="*/ 314518 h 954087"/>
                  <a:gd name="connsiteX21" fmla="*/ 541349 w 1179513"/>
                  <a:gd name="connsiteY21" fmla="*/ 356626 h 954087"/>
                  <a:gd name="connsiteX22" fmla="*/ 574993 w 1179513"/>
                  <a:gd name="connsiteY22" fmla="*/ 454402 h 954087"/>
                  <a:gd name="connsiteX23" fmla="*/ 605057 w 1179513"/>
                  <a:gd name="connsiteY23" fmla="*/ 510784 h 954087"/>
                  <a:gd name="connsiteX24" fmla="*/ 612215 w 1179513"/>
                  <a:gd name="connsiteY24" fmla="*/ 522917 h 954087"/>
                  <a:gd name="connsiteX25" fmla="*/ 642280 w 1179513"/>
                  <a:gd name="connsiteY25" fmla="*/ 540046 h 954087"/>
                  <a:gd name="connsiteX26" fmla="*/ 672344 w 1179513"/>
                  <a:gd name="connsiteY26" fmla="*/ 522917 h 954087"/>
                  <a:gd name="connsiteX27" fmla="*/ 679502 w 1179513"/>
                  <a:gd name="connsiteY27" fmla="*/ 510070 h 954087"/>
                  <a:gd name="connsiteX28" fmla="*/ 709567 w 1179513"/>
                  <a:gd name="connsiteY28" fmla="*/ 454402 h 954087"/>
                  <a:gd name="connsiteX29" fmla="*/ 738915 w 1179513"/>
                  <a:gd name="connsiteY29" fmla="*/ 381605 h 954087"/>
                  <a:gd name="connsiteX30" fmla="*/ 811213 w 1179513"/>
                  <a:gd name="connsiteY30" fmla="*/ 408012 h 954087"/>
                  <a:gd name="connsiteX31" fmla="*/ 811213 w 1179513"/>
                  <a:gd name="connsiteY31" fmla="*/ 684212 h 954087"/>
                  <a:gd name="connsiteX32" fmla="*/ 417513 w 1179513"/>
                  <a:gd name="connsiteY32" fmla="*/ 516494 h 954087"/>
                  <a:gd name="connsiteX33" fmla="*/ 417513 w 1179513"/>
                  <a:gd name="connsiteY33" fmla="*/ 266700 h 954087"/>
                  <a:gd name="connsiteX34" fmla="*/ 385763 w 1179513"/>
                  <a:gd name="connsiteY34" fmla="*/ 266700 h 954087"/>
                  <a:gd name="connsiteX35" fmla="*/ 385763 w 1179513"/>
                  <a:gd name="connsiteY35" fmla="*/ 515938 h 954087"/>
                  <a:gd name="connsiteX36" fmla="*/ 0 w 1179513"/>
                  <a:gd name="connsiteY36" fmla="*/ 663575 h 954087"/>
                  <a:gd name="connsiteX37" fmla="*/ 0 w 1179513"/>
                  <a:gd name="connsiteY37" fmla="*/ 414338 h 954087"/>
                  <a:gd name="connsiteX38" fmla="*/ 1179513 w 1179513"/>
                  <a:gd name="connsiteY38" fmla="*/ 14287 h 954087"/>
                  <a:gd name="connsiteX39" fmla="*/ 1179513 w 1179513"/>
                  <a:gd name="connsiteY39" fmla="*/ 246409 h 954087"/>
                  <a:gd name="connsiteX40" fmla="*/ 841375 w 1179513"/>
                  <a:gd name="connsiteY40" fmla="*/ 374649 h 954087"/>
                  <a:gd name="connsiteX41" fmla="*/ 841375 w 1179513"/>
                  <a:gd name="connsiteY41" fmla="*/ 141811 h 954087"/>
                  <a:gd name="connsiteX42" fmla="*/ 854243 w 1179513"/>
                  <a:gd name="connsiteY42" fmla="*/ 138228 h 954087"/>
                  <a:gd name="connsiteX43" fmla="*/ 385763 w 1179513"/>
                  <a:gd name="connsiteY43" fmla="*/ 1587 h 954087"/>
                  <a:gd name="connsiteX44" fmla="*/ 385763 w 1179513"/>
                  <a:gd name="connsiteY44" fmla="*/ 233362 h 954087"/>
                  <a:gd name="connsiteX45" fmla="*/ 0 w 1179513"/>
                  <a:gd name="connsiteY45" fmla="*/ 380999 h 954087"/>
                  <a:gd name="connsiteX46" fmla="*/ 0 w 1179513"/>
                  <a:gd name="connsiteY46" fmla="*/ 149224 h 954087"/>
                  <a:gd name="connsiteX47" fmla="*/ 417513 w 1179513"/>
                  <a:gd name="connsiteY47" fmla="*/ 0 h 954087"/>
                  <a:gd name="connsiteX48" fmla="*/ 801191 w 1179513"/>
                  <a:gd name="connsiteY48" fmla="*/ 138255 h 954087"/>
                  <a:gd name="connsiteX49" fmla="*/ 811213 w 1179513"/>
                  <a:gd name="connsiteY49" fmla="*/ 141120 h 954087"/>
                  <a:gd name="connsiteX50" fmla="*/ 811213 w 1179513"/>
                  <a:gd name="connsiteY50" fmla="*/ 374650 h 954087"/>
                  <a:gd name="connsiteX51" fmla="*/ 742494 w 1179513"/>
                  <a:gd name="connsiteY51" fmla="*/ 349578 h 954087"/>
                  <a:gd name="connsiteX52" fmla="*/ 642280 w 1179513"/>
                  <a:gd name="connsiteY52" fmla="*/ 255020 h 954087"/>
                  <a:gd name="connsiteX53" fmla="*/ 568550 w 1179513"/>
                  <a:gd name="connsiteY53" fmla="*/ 287256 h 954087"/>
                  <a:gd name="connsiteX54" fmla="*/ 417513 w 1179513"/>
                  <a:gd name="connsiteY54" fmla="*/ 232813 h 954087"/>
                  <a:gd name="connsiteX55" fmla="*/ 417513 w 1179513"/>
                  <a:gd name="connsiteY55" fmla="*/ 0 h 9540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179513" h="954087">
                    <a:moveTo>
                      <a:pt x="1179513" y="566737"/>
                    </a:moveTo>
                    <a:lnTo>
                      <a:pt x="1179513" y="777875"/>
                    </a:lnTo>
                    <a:lnTo>
                      <a:pt x="841375" y="950912"/>
                    </a:lnTo>
                    <a:lnTo>
                      <a:pt x="841375" y="719137"/>
                    </a:lnTo>
                    <a:close/>
                    <a:moveTo>
                      <a:pt x="417513" y="550862"/>
                    </a:moveTo>
                    <a:cubicBezTo>
                      <a:pt x="417513" y="550862"/>
                      <a:pt x="417513" y="550862"/>
                      <a:pt x="811213" y="718873"/>
                    </a:cubicBezTo>
                    <a:cubicBezTo>
                      <a:pt x="811213" y="718873"/>
                      <a:pt x="811213" y="718873"/>
                      <a:pt x="811213" y="954087"/>
                    </a:cubicBezTo>
                    <a:cubicBezTo>
                      <a:pt x="811213" y="954087"/>
                      <a:pt x="811213" y="954087"/>
                      <a:pt x="434692" y="781787"/>
                    </a:cubicBezTo>
                    <a:cubicBezTo>
                      <a:pt x="428966" y="779642"/>
                      <a:pt x="423239" y="777497"/>
                      <a:pt x="417513" y="776783"/>
                    </a:cubicBezTo>
                    <a:close/>
                    <a:moveTo>
                      <a:pt x="385763" y="549275"/>
                    </a:moveTo>
                    <a:cubicBezTo>
                      <a:pt x="385763" y="549275"/>
                      <a:pt x="385763" y="549275"/>
                      <a:pt x="385763" y="775732"/>
                    </a:cubicBezTo>
                    <a:cubicBezTo>
                      <a:pt x="380771" y="776446"/>
                      <a:pt x="375780" y="777875"/>
                      <a:pt x="371502" y="780018"/>
                    </a:cubicBezTo>
                    <a:cubicBezTo>
                      <a:pt x="371502" y="780018"/>
                      <a:pt x="371502" y="780018"/>
                      <a:pt x="0" y="935037"/>
                    </a:cubicBezTo>
                    <a:lnTo>
                      <a:pt x="0" y="697151"/>
                    </a:lnTo>
                    <a:cubicBezTo>
                      <a:pt x="0" y="697151"/>
                      <a:pt x="0" y="697151"/>
                      <a:pt x="385763" y="549275"/>
                    </a:cubicBezTo>
                    <a:close/>
                    <a:moveTo>
                      <a:pt x="1179513" y="279400"/>
                    </a:moveTo>
                    <a:lnTo>
                      <a:pt x="1179513" y="531812"/>
                    </a:lnTo>
                    <a:lnTo>
                      <a:pt x="841375" y="684212"/>
                    </a:lnTo>
                    <a:lnTo>
                      <a:pt x="841375" y="407987"/>
                    </a:lnTo>
                    <a:close/>
                    <a:moveTo>
                      <a:pt x="417513" y="266700"/>
                    </a:moveTo>
                    <a:cubicBezTo>
                      <a:pt x="417513" y="266700"/>
                      <a:pt x="417513" y="266700"/>
                      <a:pt x="550655" y="314518"/>
                    </a:cubicBezTo>
                    <a:cubicBezTo>
                      <a:pt x="544928" y="327364"/>
                      <a:pt x="541349" y="341638"/>
                      <a:pt x="541349" y="356626"/>
                    </a:cubicBezTo>
                    <a:cubicBezTo>
                      <a:pt x="541349" y="378037"/>
                      <a:pt x="551371" y="408012"/>
                      <a:pt x="574993" y="454402"/>
                    </a:cubicBezTo>
                    <a:cubicBezTo>
                      <a:pt x="590025" y="484377"/>
                      <a:pt x="605057" y="510070"/>
                      <a:pt x="605057" y="510784"/>
                    </a:cubicBezTo>
                    <a:cubicBezTo>
                      <a:pt x="605057" y="510784"/>
                      <a:pt x="605057" y="510784"/>
                      <a:pt x="612215" y="522917"/>
                    </a:cubicBezTo>
                    <a:cubicBezTo>
                      <a:pt x="618658" y="533622"/>
                      <a:pt x="630111" y="540046"/>
                      <a:pt x="642280" y="540046"/>
                    </a:cubicBezTo>
                    <a:cubicBezTo>
                      <a:pt x="654449" y="540046"/>
                      <a:pt x="665902" y="533622"/>
                      <a:pt x="672344" y="522917"/>
                    </a:cubicBezTo>
                    <a:cubicBezTo>
                      <a:pt x="672344" y="522917"/>
                      <a:pt x="672344" y="522917"/>
                      <a:pt x="679502" y="510070"/>
                    </a:cubicBezTo>
                    <a:cubicBezTo>
                      <a:pt x="679502" y="510070"/>
                      <a:pt x="694534" y="484377"/>
                      <a:pt x="709567" y="454402"/>
                    </a:cubicBezTo>
                    <a:cubicBezTo>
                      <a:pt x="724599" y="423713"/>
                      <a:pt x="733904" y="400161"/>
                      <a:pt x="738915" y="381605"/>
                    </a:cubicBezTo>
                    <a:cubicBezTo>
                      <a:pt x="738915" y="381605"/>
                      <a:pt x="738915" y="381605"/>
                      <a:pt x="811213" y="408012"/>
                    </a:cubicBezTo>
                    <a:cubicBezTo>
                      <a:pt x="811213" y="408012"/>
                      <a:pt x="811213" y="408012"/>
                      <a:pt x="811213" y="684212"/>
                    </a:cubicBezTo>
                    <a:cubicBezTo>
                      <a:pt x="811213" y="684212"/>
                      <a:pt x="811213" y="684212"/>
                      <a:pt x="417513" y="516494"/>
                    </a:cubicBezTo>
                    <a:cubicBezTo>
                      <a:pt x="417513" y="516494"/>
                      <a:pt x="417513" y="516494"/>
                      <a:pt x="417513" y="266700"/>
                    </a:cubicBezTo>
                    <a:close/>
                    <a:moveTo>
                      <a:pt x="385763" y="266700"/>
                    </a:moveTo>
                    <a:lnTo>
                      <a:pt x="385763" y="515938"/>
                    </a:lnTo>
                    <a:lnTo>
                      <a:pt x="0" y="663575"/>
                    </a:lnTo>
                    <a:lnTo>
                      <a:pt x="0" y="414338"/>
                    </a:lnTo>
                    <a:close/>
                    <a:moveTo>
                      <a:pt x="1179513" y="14287"/>
                    </a:moveTo>
                    <a:cubicBezTo>
                      <a:pt x="1179513" y="14287"/>
                      <a:pt x="1179513" y="14287"/>
                      <a:pt x="1179513" y="246409"/>
                    </a:cubicBezTo>
                    <a:cubicBezTo>
                      <a:pt x="1179513" y="246409"/>
                      <a:pt x="1179513" y="246409"/>
                      <a:pt x="841375" y="374649"/>
                    </a:cubicBezTo>
                    <a:cubicBezTo>
                      <a:pt x="841375" y="374649"/>
                      <a:pt x="841375" y="374649"/>
                      <a:pt x="841375" y="141811"/>
                    </a:cubicBezTo>
                    <a:cubicBezTo>
                      <a:pt x="846379" y="141094"/>
                      <a:pt x="850669" y="139661"/>
                      <a:pt x="854243" y="138228"/>
                    </a:cubicBezTo>
                    <a:close/>
                    <a:moveTo>
                      <a:pt x="385763" y="1587"/>
                    </a:moveTo>
                    <a:lnTo>
                      <a:pt x="385763" y="233362"/>
                    </a:lnTo>
                    <a:lnTo>
                      <a:pt x="0" y="380999"/>
                    </a:lnTo>
                    <a:lnTo>
                      <a:pt x="0" y="149224"/>
                    </a:lnTo>
                    <a:close/>
                    <a:moveTo>
                      <a:pt x="417513" y="0"/>
                    </a:moveTo>
                    <a:lnTo>
                      <a:pt x="801191" y="138255"/>
                    </a:lnTo>
                    <a:cubicBezTo>
                      <a:pt x="804770" y="139688"/>
                      <a:pt x="808349" y="140404"/>
                      <a:pt x="811213" y="141120"/>
                    </a:cubicBezTo>
                    <a:cubicBezTo>
                      <a:pt x="811213" y="141120"/>
                      <a:pt x="811213" y="141120"/>
                      <a:pt x="811213" y="374650"/>
                    </a:cubicBezTo>
                    <a:cubicBezTo>
                      <a:pt x="811213" y="374650"/>
                      <a:pt x="811213" y="374650"/>
                      <a:pt x="742494" y="349578"/>
                    </a:cubicBezTo>
                    <a:cubicBezTo>
                      <a:pt x="738915" y="296568"/>
                      <a:pt x="695250" y="255020"/>
                      <a:pt x="642280" y="255020"/>
                    </a:cubicBezTo>
                    <a:cubicBezTo>
                      <a:pt x="612931" y="255020"/>
                      <a:pt x="587162" y="267198"/>
                      <a:pt x="568550" y="287256"/>
                    </a:cubicBezTo>
                    <a:cubicBezTo>
                      <a:pt x="568550" y="287256"/>
                      <a:pt x="568550" y="287256"/>
                      <a:pt x="417513" y="232813"/>
                    </a:cubicBezTo>
                    <a:cubicBezTo>
                      <a:pt x="417513" y="232813"/>
                      <a:pt x="417513" y="232813"/>
                      <a:pt x="41751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" name="Freeform 10">
                <a:extLst>
                  <a:ext uri="{FF2B5EF4-FFF2-40B4-BE49-F238E27FC236}">
                    <a16:creationId xmlns:a16="http://schemas.microsoft.com/office/drawing/2014/main" id="{78FFE070-5842-4984-AF25-F4279772C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538" y="2844800"/>
                <a:ext cx="1304925" cy="1100137"/>
              </a:xfrm>
              <a:custGeom>
                <a:avLst/>
                <a:gdLst>
                  <a:gd name="connsiteX0" fmla="*/ 704410 w 1304925"/>
                  <a:gd name="connsiteY0" fmla="*/ 398463 h 1100137"/>
                  <a:gd name="connsiteX1" fmla="*/ 683870 w 1304925"/>
                  <a:gd name="connsiteY1" fmla="*/ 411212 h 1100137"/>
                  <a:gd name="connsiteX2" fmla="*/ 681037 w 1304925"/>
                  <a:gd name="connsiteY2" fmla="*/ 421836 h 1100137"/>
                  <a:gd name="connsiteX3" fmla="*/ 704410 w 1304925"/>
                  <a:gd name="connsiteY3" fmla="*/ 444500 h 1100137"/>
                  <a:gd name="connsiteX4" fmla="*/ 726367 w 1304925"/>
                  <a:gd name="connsiteY4" fmla="*/ 426794 h 1100137"/>
                  <a:gd name="connsiteX5" fmla="*/ 727075 w 1304925"/>
                  <a:gd name="connsiteY5" fmla="*/ 421836 h 1100137"/>
                  <a:gd name="connsiteX6" fmla="*/ 704410 w 1304925"/>
                  <a:gd name="connsiteY6" fmla="*/ 398463 h 1100137"/>
                  <a:gd name="connsiteX7" fmla="*/ 704415 w 1304925"/>
                  <a:gd name="connsiteY7" fmla="*/ 357188 h 1100137"/>
                  <a:gd name="connsiteX8" fmla="*/ 770251 w 1304925"/>
                  <a:gd name="connsiteY8" fmla="*/ 407927 h 1100137"/>
                  <a:gd name="connsiteX9" fmla="*/ 773113 w 1304925"/>
                  <a:gd name="connsiteY9" fmla="*/ 427222 h 1100137"/>
                  <a:gd name="connsiteX10" fmla="*/ 771682 w 1304925"/>
                  <a:gd name="connsiteY10" fmla="*/ 441514 h 1100137"/>
                  <a:gd name="connsiteX11" fmla="*/ 743058 w 1304925"/>
                  <a:gd name="connsiteY11" fmla="*/ 510834 h 1100137"/>
                  <a:gd name="connsiteX12" fmla="*/ 714433 w 1304925"/>
                  <a:gd name="connsiteY12" fmla="*/ 565146 h 1100137"/>
                  <a:gd name="connsiteX13" fmla="*/ 706561 w 1304925"/>
                  <a:gd name="connsiteY13" fmla="*/ 578009 h 1100137"/>
                  <a:gd name="connsiteX14" fmla="*/ 704415 w 1304925"/>
                  <a:gd name="connsiteY14" fmla="*/ 579438 h 1100137"/>
                  <a:gd name="connsiteX15" fmla="*/ 701552 w 1304925"/>
                  <a:gd name="connsiteY15" fmla="*/ 578009 h 1100137"/>
                  <a:gd name="connsiteX16" fmla="*/ 694396 w 1304925"/>
                  <a:gd name="connsiteY16" fmla="*/ 565146 h 1100137"/>
                  <a:gd name="connsiteX17" fmla="*/ 665056 w 1304925"/>
                  <a:gd name="connsiteY17" fmla="*/ 510834 h 1100137"/>
                  <a:gd name="connsiteX18" fmla="*/ 635000 w 1304925"/>
                  <a:gd name="connsiteY18" fmla="*/ 427222 h 1100137"/>
                  <a:gd name="connsiteX19" fmla="*/ 642872 w 1304925"/>
                  <a:gd name="connsiteY19" fmla="*/ 395778 h 1100137"/>
                  <a:gd name="connsiteX20" fmla="*/ 664340 w 1304925"/>
                  <a:gd name="connsiteY20" fmla="*/ 370051 h 1100137"/>
                  <a:gd name="connsiteX21" fmla="*/ 704415 w 1304925"/>
                  <a:gd name="connsiteY21" fmla="*/ 357188 h 1100137"/>
                  <a:gd name="connsiteX22" fmla="*/ 464502 w 1304925"/>
                  <a:gd name="connsiteY22" fmla="*/ 33338 h 1100137"/>
                  <a:gd name="connsiteX23" fmla="*/ 448072 w 1304925"/>
                  <a:gd name="connsiteY23" fmla="*/ 39770 h 1100137"/>
                  <a:gd name="connsiteX24" fmla="*/ 30162 w 1304925"/>
                  <a:gd name="connsiteY24" fmla="*/ 199149 h 1100137"/>
                  <a:gd name="connsiteX25" fmla="*/ 30162 w 1304925"/>
                  <a:gd name="connsiteY25" fmla="*/ 464305 h 1100137"/>
                  <a:gd name="connsiteX26" fmla="*/ 30162 w 1304925"/>
                  <a:gd name="connsiteY26" fmla="*/ 481458 h 1100137"/>
                  <a:gd name="connsiteX27" fmla="*/ 30162 w 1304925"/>
                  <a:gd name="connsiteY27" fmla="*/ 748042 h 1100137"/>
                  <a:gd name="connsiteX28" fmla="*/ 30162 w 1304925"/>
                  <a:gd name="connsiteY28" fmla="*/ 764480 h 1100137"/>
                  <a:gd name="connsiteX29" fmla="*/ 30162 w 1304925"/>
                  <a:gd name="connsiteY29" fmla="*/ 1054650 h 1100137"/>
                  <a:gd name="connsiteX30" fmla="*/ 445929 w 1304925"/>
                  <a:gd name="connsiteY30" fmla="*/ 880977 h 1100137"/>
                  <a:gd name="connsiteX31" fmla="*/ 459502 w 1304925"/>
                  <a:gd name="connsiteY31" fmla="*/ 878118 h 1100137"/>
                  <a:gd name="connsiteX32" fmla="*/ 460216 w 1304925"/>
                  <a:gd name="connsiteY32" fmla="*/ 878118 h 1100137"/>
                  <a:gd name="connsiteX33" fmla="*/ 463788 w 1304925"/>
                  <a:gd name="connsiteY33" fmla="*/ 877404 h 1100137"/>
                  <a:gd name="connsiteX34" fmla="*/ 478790 w 1304925"/>
                  <a:gd name="connsiteY34" fmla="*/ 880262 h 1100137"/>
                  <a:gd name="connsiteX35" fmla="*/ 483076 w 1304925"/>
                  <a:gd name="connsiteY35" fmla="*/ 881692 h 1100137"/>
                  <a:gd name="connsiteX36" fmla="*/ 872411 w 1304925"/>
                  <a:gd name="connsiteY36" fmla="*/ 1059653 h 1100137"/>
                  <a:gd name="connsiteX37" fmla="*/ 888127 w 1304925"/>
                  <a:gd name="connsiteY37" fmla="*/ 1066800 h 1100137"/>
                  <a:gd name="connsiteX38" fmla="*/ 903843 w 1304925"/>
                  <a:gd name="connsiteY38" fmla="*/ 1058938 h 1100137"/>
                  <a:gd name="connsiteX39" fmla="*/ 1273175 w 1304925"/>
                  <a:gd name="connsiteY39" fmla="*/ 868827 h 1100137"/>
                  <a:gd name="connsiteX40" fmla="*/ 1273175 w 1304925"/>
                  <a:gd name="connsiteY40" fmla="*/ 623684 h 1100137"/>
                  <a:gd name="connsiteX41" fmla="*/ 1273175 w 1304925"/>
                  <a:gd name="connsiteY41" fmla="*/ 606531 h 1100137"/>
                  <a:gd name="connsiteX42" fmla="*/ 1273175 w 1304925"/>
                  <a:gd name="connsiteY42" fmla="*/ 339946 h 1100137"/>
                  <a:gd name="connsiteX43" fmla="*/ 1273175 w 1304925"/>
                  <a:gd name="connsiteY43" fmla="*/ 322793 h 1100137"/>
                  <a:gd name="connsiteX44" fmla="*/ 1273175 w 1304925"/>
                  <a:gd name="connsiteY44" fmla="*/ 41200 h 1100137"/>
                  <a:gd name="connsiteX45" fmla="*/ 905986 w 1304925"/>
                  <a:gd name="connsiteY45" fmla="*/ 180567 h 1100137"/>
                  <a:gd name="connsiteX46" fmla="*/ 897414 w 1304925"/>
                  <a:gd name="connsiteY46" fmla="*/ 182711 h 1100137"/>
                  <a:gd name="connsiteX47" fmla="*/ 893128 w 1304925"/>
                  <a:gd name="connsiteY47" fmla="*/ 183426 h 1100137"/>
                  <a:gd name="connsiteX48" fmla="*/ 891699 w 1304925"/>
                  <a:gd name="connsiteY48" fmla="*/ 183426 h 1100137"/>
                  <a:gd name="connsiteX49" fmla="*/ 888841 w 1304925"/>
                  <a:gd name="connsiteY49" fmla="*/ 183426 h 1100137"/>
                  <a:gd name="connsiteX50" fmla="*/ 887413 w 1304925"/>
                  <a:gd name="connsiteY50" fmla="*/ 183426 h 1100137"/>
                  <a:gd name="connsiteX51" fmla="*/ 885984 w 1304925"/>
                  <a:gd name="connsiteY51" fmla="*/ 183426 h 1100137"/>
                  <a:gd name="connsiteX52" fmla="*/ 883841 w 1304925"/>
                  <a:gd name="connsiteY52" fmla="*/ 182711 h 1100137"/>
                  <a:gd name="connsiteX53" fmla="*/ 883126 w 1304925"/>
                  <a:gd name="connsiteY53" fmla="*/ 182711 h 1100137"/>
                  <a:gd name="connsiteX54" fmla="*/ 877411 w 1304925"/>
                  <a:gd name="connsiteY54" fmla="*/ 181997 h 1100137"/>
                  <a:gd name="connsiteX55" fmla="*/ 875983 w 1304925"/>
                  <a:gd name="connsiteY55" fmla="*/ 181282 h 1100137"/>
                  <a:gd name="connsiteX56" fmla="*/ 873125 w 1304925"/>
                  <a:gd name="connsiteY56" fmla="*/ 180567 h 1100137"/>
                  <a:gd name="connsiteX57" fmla="*/ 534511 w 1304925"/>
                  <a:gd name="connsiteY57" fmla="*/ 58353 h 1100137"/>
                  <a:gd name="connsiteX58" fmla="*/ 479504 w 1304925"/>
                  <a:gd name="connsiteY58" fmla="*/ 38341 h 1100137"/>
                  <a:gd name="connsiteX59" fmla="*/ 464502 w 1304925"/>
                  <a:gd name="connsiteY59" fmla="*/ 33338 h 1100137"/>
                  <a:gd name="connsiteX60" fmla="*/ 465433 w 1304925"/>
                  <a:gd name="connsiteY60" fmla="*/ 0 h 1100137"/>
                  <a:gd name="connsiteX61" fmla="*/ 470430 w 1304925"/>
                  <a:gd name="connsiteY61" fmla="*/ 1430 h 1100137"/>
                  <a:gd name="connsiteX62" fmla="*/ 884465 w 1304925"/>
                  <a:gd name="connsiteY62" fmla="*/ 150831 h 1100137"/>
                  <a:gd name="connsiteX63" fmla="*/ 889462 w 1304925"/>
                  <a:gd name="connsiteY63" fmla="*/ 151546 h 1100137"/>
                  <a:gd name="connsiteX64" fmla="*/ 895173 w 1304925"/>
                  <a:gd name="connsiteY64" fmla="*/ 150116 h 1100137"/>
                  <a:gd name="connsiteX65" fmla="*/ 1283510 w 1304925"/>
                  <a:gd name="connsiteY65" fmla="*/ 2859 h 1100137"/>
                  <a:gd name="connsiteX66" fmla="*/ 1289220 w 1304925"/>
                  <a:gd name="connsiteY66" fmla="*/ 2145 h 1100137"/>
                  <a:gd name="connsiteX67" fmla="*/ 1304925 w 1304925"/>
                  <a:gd name="connsiteY67" fmla="*/ 17871 h 1100137"/>
                  <a:gd name="connsiteX68" fmla="*/ 1304925 w 1304925"/>
                  <a:gd name="connsiteY68" fmla="*/ 877822 h 1100137"/>
                  <a:gd name="connsiteX69" fmla="*/ 1296359 w 1304925"/>
                  <a:gd name="connsiteY69" fmla="*/ 892119 h 1100137"/>
                  <a:gd name="connsiteX70" fmla="*/ 896601 w 1304925"/>
                  <a:gd name="connsiteY70" fmla="*/ 1097993 h 1100137"/>
                  <a:gd name="connsiteX71" fmla="*/ 889462 w 1304925"/>
                  <a:gd name="connsiteY71" fmla="*/ 1100137 h 1100137"/>
                  <a:gd name="connsiteX72" fmla="*/ 883038 w 1304925"/>
                  <a:gd name="connsiteY72" fmla="*/ 1098708 h 1100137"/>
                  <a:gd name="connsiteX73" fmla="*/ 471144 w 1304925"/>
                  <a:gd name="connsiteY73" fmla="*/ 909990 h 1100137"/>
                  <a:gd name="connsiteX74" fmla="*/ 464719 w 1304925"/>
                  <a:gd name="connsiteY74" fmla="*/ 908560 h 1100137"/>
                  <a:gd name="connsiteX75" fmla="*/ 459008 w 1304925"/>
                  <a:gd name="connsiteY75" fmla="*/ 909990 h 1100137"/>
                  <a:gd name="connsiteX76" fmla="*/ 21416 w 1304925"/>
                  <a:gd name="connsiteY76" fmla="*/ 1092274 h 1100137"/>
                  <a:gd name="connsiteX77" fmla="*/ 15705 w 1304925"/>
                  <a:gd name="connsiteY77" fmla="*/ 1093704 h 1100137"/>
                  <a:gd name="connsiteX78" fmla="*/ 0 w 1304925"/>
                  <a:gd name="connsiteY78" fmla="*/ 1077977 h 1100137"/>
                  <a:gd name="connsiteX79" fmla="*/ 0 w 1304925"/>
                  <a:gd name="connsiteY79" fmla="*/ 188003 h 1100137"/>
                  <a:gd name="connsiteX80" fmla="*/ 9994 w 1304925"/>
                  <a:gd name="connsiteY80" fmla="*/ 172991 h 1100137"/>
                  <a:gd name="connsiteX81" fmla="*/ 459722 w 1304925"/>
                  <a:gd name="connsiteY81" fmla="*/ 1430 h 1100137"/>
                  <a:gd name="connsiteX82" fmla="*/ 465433 w 1304925"/>
                  <a:gd name="connsiteY82" fmla="*/ 0 h 1100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1304925" h="1100137">
                    <a:moveTo>
                      <a:pt x="704410" y="398463"/>
                    </a:moveTo>
                    <a:cubicBezTo>
                      <a:pt x="695203" y="398463"/>
                      <a:pt x="687412" y="403421"/>
                      <a:pt x="683870" y="411212"/>
                    </a:cubicBezTo>
                    <a:cubicBezTo>
                      <a:pt x="681746" y="414045"/>
                      <a:pt x="681037" y="417586"/>
                      <a:pt x="681037" y="421836"/>
                    </a:cubicBezTo>
                    <a:cubicBezTo>
                      <a:pt x="681037" y="434584"/>
                      <a:pt x="691661" y="444500"/>
                      <a:pt x="704410" y="444500"/>
                    </a:cubicBezTo>
                    <a:cubicBezTo>
                      <a:pt x="715035" y="444500"/>
                      <a:pt x="724242" y="437418"/>
                      <a:pt x="726367" y="426794"/>
                    </a:cubicBezTo>
                    <a:cubicBezTo>
                      <a:pt x="727075" y="425377"/>
                      <a:pt x="727075" y="423252"/>
                      <a:pt x="727075" y="421836"/>
                    </a:cubicBezTo>
                    <a:cubicBezTo>
                      <a:pt x="727075" y="409087"/>
                      <a:pt x="717159" y="398463"/>
                      <a:pt x="704410" y="398463"/>
                    </a:cubicBezTo>
                    <a:close/>
                    <a:moveTo>
                      <a:pt x="704415" y="357188"/>
                    </a:moveTo>
                    <a:cubicBezTo>
                      <a:pt x="735901" y="357188"/>
                      <a:pt x="762379" y="378627"/>
                      <a:pt x="770251" y="407927"/>
                    </a:cubicBezTo>
                    <a:cubicBezTo>
                      <a:pt x="772398" y="414359"/>
                      <a:pt x="773113" y="420790"/>
                      <a:pt x="773113" y="427222"/>
                    </a:cubicBezTo>
                    <a:cubicBezTo>
                      <a:pt x="773113" y="431510"/>
                      <a:pt x="772398" y="436512"/>
                      <a:pt x="771682" y="441514"/>
                    </a:cubicBezTo>
                    <a:cubicBezTo>
                      <a:pt x="767388" y="457951"/>
                      <a:pt x="758085" y="480819"/>
                      <a:pt x="743058" y="510834"/>
                    </a:cubicBezTo>
                    <a:cubicBezTo>
                      <a:pt x="728745" y="540133"/>
                      <a:pt x="714433" y="565146"/>
                      <a:pt x="714433" y="565146"/>
                    </a:cubicBezTo>
                    <a:cubicBezTo>
                      <a:pt x="714433" y="565146"/>
                      <a:pt x="714433" y="565146"/>
                      <a:pt x="706561" y="578009"/>
                    </a:cubicBezTo>
                    <a:cubicBezTo>
                      <a:pt x="706561" y="578724"/>
                      <a:pt x="705130" y="579438"/>
                      <a:pt x="704415" y="579438"/>
                    </a:cubicBezTo>
                    <a:cubicBezTo>
                      <a:pt x="703699" y="579438"/>
                      <a:pt x="702268" y="578724"/>
                      <a:pt x="701552" y="578009"/>
                    </a:cubicBezTo>
                    <a:cubicBezTo>
                      <a:pt x="701552" y="578009"/>
                      <a:pt x="701552" y="578009"/>
                      <a:pt x="694396" y="565146"/>
                    </a:cubicBezTo>
                    <a:cubicBezTo>
                      <a:pt x="694396" y="565146"/>
                      <a:pt x="679368" y="540133"/>
                      <a:pt x="665056" y="510834"/>
                    </a:cubicBezTo>
                    <a:cubicBezTo>
                      <a:pt x="645019" y="470100"/>
                      <a:pt x="635000" y="442944"/>
                      <a:pt x="635000" y="427222"/>
                    </a:cubicBezTo>
                    <a:cubicBezTo>
                      <a:pt x="635000" y="415788"/>
                      <a:pt x="637863" y="405068"/>
                      <a:pt x="642872" y="395778"/>
                    </a:cubicBezTo>
                    <a:cubicBezTo>
                      <a:pt x="647881" y="385059"/>
                      <a:pt x="655037" y="376483"/>
                      <a:pt x="664340" y="370051"/>
                    </a:cubicBezTo>
                    <a:cubicBezTo>
                      <a:pt x="675790" y="361476"/>
                      <a:pt x="689387" y="357188"/>
                      <a:pt x="704415" y="357188"/>
                    </a:cubicBezTo>
                    <a:close/>
                    <a:moveTo>
                      <a:pt x="464502" y="33338"/>
                    </a:moveTo>
                    <a:cubicBezTo>
                      <a:pt x="464502" y="33338"/>
                      <a:pt x="464502" y="33338"/>
                      <a:pt x="448072" y="39770"/>
                    </a:cubicBezTo>
                    <a:cubicBezTo>
                      <a:pt x="448072" y="39770"/>
                      <a:pt x="448072" y="39770"/>
                      <a:pt x="30162" y="199149"/>
                    </a:cubicBezTo>
                    <a:cubicBezTo>
                      <a:pt x="30162" y="199149"/>
                      <a:pt x="30162" y="199149"/>
                      <a:pt x="30162" y="464305"/>
                    </a:cubicBezTo>
                    <a:cubicBezTo>
                      <a:pt x="30162" y="464305"/>
                      <a:pt x="30162" y="464305"/>
                      <a:pt x="30162" y="481458"/>
                    </a:cubicBezTo>
                    <a:cubicBezTo>
                      <a:pt x="30162" y="481458"/>
                      <a:pt x="30162" y="481458"/>
                      <a:pt x="30162" y="748042"/>
                    </a:cubicBezTo>
                    <a:cubicBezTo>
                      <a:pt x="30162" y="748042"/>
                      <a:pt x="30162" y="748042"/>
                      <a:pt x="30162" y="764480"/>
                    </a:cubicBezTo>
                    <a:cubicBezTo>
                      <a:pt x="30162" y="764480"/>
                      <a:pt x="30162" y="764480"/>
                      <a:pt x="30162" y="1054650"/>
                    </a:cubicBezTo>
                    <a:cubicBezTo>
                      <a:pt x="30162" y="1054650"/>
                      <a:pt x="30162" y="1054650"/>
                      <a:pt x="445929" y="880977"/>
                    </a:cubicBezTo>
                    <a:cubicBezTo>
                      <a:pt x="450215" y="879548"/>
                      <a:pt x="454501" y="878118"/>
                      <a:pt x="459502" y="878118"/>
                    </a:cubicBezTo>
                    <a:cubicBezTo>
                      <a:pt x="459502" y="878118"/>
                      <a:pt x="460216" y="878118"/>
                      <a:pt x="460216" y="878118"/>
                    </a:cubicBezTo>
                    <a:cubicBezTo>
                      <a:pt x="461645" y="877404"/>
                      <a:pt x="463074" y="877404"/>
                      <a:pt x="463788" y="877404"/>
                    </a:cubicBezTo>
                    <a:cubicBezTo>
                      <a:pt x="468789" y="877404"/>
                      <a:pt x="473789" y="878118"/>
                      <a:pt x="478790" y="880262"/>
                    </a:cubicBezTo>
                    <a:cubicBezTo>
                      <a:pt x="480219" y="880262"/>
                      <a:pt x="481647" y="880977"/>
                      <a:pt x="483076" y="881692"/>
                    </a:cubicBezTo>
                    <a:cubicBezTo>
                      <a:pt x="483076" y="881692"/>
                      <a:pt x="483076" y="881692"/>
                      <a:pt x="872411" y="1059653"/>
                    </a:cubicBezTo>
                    <a:cubicBezTo>
                      <a:pt x="872411" y="1059653"/>
                      <a:pt x="872411" y="1059653"/>
                      <a:pt x="888127" y="1066800"/>
                    </a:cubicBezTo>
                    <a:cubicBezTo>
                      <a:pt x="888127" y="1066800"/>
                      <a:pt x="888127" y="1066800"/>
                      <a:pt x="903843" y="1058938"/>
                    </a:cubicBezTo>
                    <a:cubicBezTo>
                      <a:pt x="903843" y="1058938"/>
                      <a:pt x="903843" y="1058938"/>
                      <a:pt x="1273175" y="868827"/>
                    </a:cubicBezTo>
                    <a:lnTo>
                      <a:pt x="1273175" y="623684"/>
                    </a:lnTo>
                    <a:cubicBezTo>
                      <a:pt x="1273175" y="623684"/>
                      <a:pt x="1273175" y="623684"/>
                      <a:pt x="1273175" y="606531"/>
                    </a:cubicBezTo>
                    <a:cubicBezTo>
                      <a:pt x="1273175" y="606531"/>
                      <a:pt x="1273175" y="606531"/>
                      <a:pt x="1273175" y="339946"/>
                    </a:cubicBezTo>
                    <a:cubicBezTo>
                      <a:pt x="1273175" y="339946"/>
                      <a:pt x="1273175" y="339946"/>
                      <a:pt x="1273175" y="322793"/>
                    </a:cubicBezTo>
                    <a:cubicBezTo>
                      <a:pt x="1273175" y="322793"/>
                      <a:pt x="1273175" y="322793"/>
                      <a:pt x="1273175" y="41200"/>
                    </a:cubicBezTo>
                    <a:cubicBezTo>
                      <a:pt x="1273175" y="41200"/>
                      <a:pt x="1273175" y="41200"/>
                      <a:pt x="905986" y="180567"/>
                    </a:cubicBezTo>
                    <a:cubicBezTo>
                      <a:pt x="903129" y="181282"/>
                      <a:pt x="900271" y="181997"/>
                      <a:pt x="897414" y="182711"/>
                    </a:cubicBezTo>
                    <a:cubicBezTo>
                      <a:pt x="895985" y="182711"/>
                      <a:pt x="894556" y="182711"/>
                      <a:pt x="893128" y="183426"/>
                    </a:cubicBezTo>
                    <a:cubicBezTo>
                      <a:pt x="893128" y="183426"/>
                      <a:pt x="892413" y="183426"/>
                      <a:pt x="891699" y="183426"/>
                    </a:cubicBezTo>
                    <a:cubicBezTo>
                      <a:pt x="890984" y="183426"/>
                      <a:pt x="890270" y="183426"/>
                      <a:pt x="888841" y="183426"/>
                    </a:cubicBezTo>
                    <a:cubicBezTo>
                      <a:pt x="888841" y="183426"/>
                      <a:pt x="888127" y="183426"/>
                      <a:pt x="887413" y="183426"/>
                    </a:cubicBezTo>
                    <a:cubicBezTo>
                      <a:pt x="886698" y="183426"/>
                      <a:pt x="886698" y="183426"/>
                      <a:pt x="885984" y="183426"/>
                    </a:cubicBezTo>
                    <a:cubicBezTo>
                      <a:pt x="885269" y="183426"/>
                      <a:pt x="884555" y="182711"/>
                      <a:pt x="883841" y="182711"/>
                    </a:cubicBezTo>
                    <a:cubicBezTo>
                      <a:pt x="883841" y="182711"/>
                      <a:pt x="883126" y="182711"/>
                      <a:pt x="883126" y="182711"/>
                    </a:cubicBezTo>
                    <a:cubicBezTo>
                      <a:pt x="880983" y="182711"/>
                      <a:pt x="878840" y="181997"/>
                      <a:pt x="877411" y="181997"/>
                    </a:cubicBezTo>
                    <a:cubicBezTo>
                      <a:pt x="876697" y="181282"/>
                      <a:pt x="875983" y="181282"/>
                      <a:pt x="875983" y="181282"/>
                    </a:cubicBezTo>
                    <a:cubicBezTo>
                      <a:pt x="875268" y="181282"/>
                      <a:pt x="873839" y="180567"/>
                      <a:pt x="873125" y="180567"/>
                    </a:cubicBezTo>
                    <a:cubicBezTo>
                      <a:pt x="873125" y="180567"/>
                      <a:pt x="873125" y="180567"/>
                      <a:pt x="534511" y="58353"/>
                    </a:cubicBezTo>
                    <a:cubicBezTo>
                      <a:pt x="534511" y="58353"/>
                      <a:pt x="534511" y="58353"/>
                      <a:pt x="479504" y="38341"/>
                    </a:cubicBezTo>
                    <a:cubicBezTo>
                      <a:pt x="479504" y="38341"/>
                      <a:pt x="479504" y="38341"/>
                      <a:pt x="464502" y="33338"/>
                    </a:cubicBezTo>
                    <a:close/>
                    <a:moveTo>
                      <a:pt x="465433" y="0"/>
                    </a:moveTo>
                    <a:cubicBezTo>
                      <a:pt x="466861" y="0"/>
                      <a:pt x="469002" y="715"/>
                      <a:pt x="470430" y="1430"/>
                    </a:cubicBezTo>
                    <a:cubicBezTo>
                      <a:pt x="470430" y="1430"/>
                      <a:pt x="470430" y="1430"/>
                      <a:pt x="884465" y="150831"/>
                    </a:cubicBezTo>
                    <a:cubicBezTo>
                      <a:pt x="885893" y="150831"/>
                      <a:pt x="888035" y="151546"/>
                      <a:pt x="889462" y="151546"/>
                    </a:cubicBezTo>
                    <a:cubicBezTo>
                      <a:pt x="891604" y="151546"/>
                      <a:pt x="893745" y="150831"/>
                      <a:pt x="895173" y="150116"/>
                    </a:cubicBezTo>
                    <a:cubicBezTo>
                      <a:pt x="895173" y="150116"/>
                      <a:pt x="895173" y="150116"/>
                      <a:pt x="1283510" y="2859"/>
                    </a:cubicBezTo>
                    <a:cubicBezTo>
                      <a:pt x="1285651" y="2145"/>
                      <a:pt x="1287079" y="2145"/>
                      <a:pt x="1289220" y="2145"/>
                    </a:cubicBezTo>
                    <a:cubicBezTo>
                      <a:pt x="1297787" y="2145"/>
                      <a:pt x="1304925" y="8578"/>
                      <a:pt x="1304925" y="17871"/>
                    </a:cubicBezTo>
                    <a:cubicBezTo>
                      <a:pt x="1304925" y="17871"/>
                      <a:pt x="1304925" y="17871"/>
                      <a:pt x="1304925" y="877822"/>
                    </a:cubicBezTo>
                    <a:cubicBezTo>
                      <a:pt x="1304925" y="883541"/>
                      <a:pt x="1301356" y="889260"/>
                      <a:pt x="1296359" y="892119"/>
                    </a:cubicBezTo>
                    <a:cubicBezTo>
                      <a:pt x="1296359" y="892119"/>
                      <a:pt x="1296359" y="892119"/>
                      <a:pt x="896601" y="1097993"/>
                    </a:cubicBezTo>
                    <a:cubicBezTo>
                      <a:pt x="894459" y="1099422"/>
                      <a:pt x="892318" y="1100137"/>
                      <a:pt x="889462" y="1100137"/>
                    </a:cubicBezTo>
                    <a:cubicBezTo>
                      <a:pt x="887321" y="1100137"/>
                      <a:pt x="885179" y="1099422"/>
                      <a:pt x="883038" y="1098708"/>
                    </a:cubicBezTo>
                    <a:cubicBezTo>
                      <a:pt x="883038" y="1098708"/>
                      <a:pt x="883038" y="1098708"/>
                      <a:pt x="471144" y="909990"/>
                    </a:cubicBezTo>
                    <a:cubicBezTo>
                      <a:pt x="469002" y="909275"/>
                      <a:pt x="466861" y="908560"/>
                      <a:pt x="464719" y="908560"/>
                    </a:cubicBezTo>
                    <a:cubicBezTo>
                      <a:pt x="462578" y="908560"/>
                      <a:pt x="460436" y="909275"/>
                      <a:pt x="459008" y="909990"/>
                    </a:cubicBezTo>
                    <a:cubicBezTo>
                      <a:pt x="459008" y="909990"/>
                      <a:pt x="459008" y="909990"/>
                      <a:pt x="21416" y="1092274"/>
                    </a:cubicBezTo>
                    <a:cubicBezTo>
                      <a:pt x="19988" y="1093704"/>
                      <a:pt x="17847" y="1093704"/>
                      <a:pt x="15705" y="1093704"/>
                    </a:cubicBezTo>
                    <a:cubicBezTo>
                      <a:pt x="7139" y="1093704"/>
                      <a:pt x="0" y="1087270"/>
                      <a:pt x="0" y="1077977"/>
                    </a:cubicBezTo>
                    <a:cubicBezTo>
                      <a:pt x="0" y="1077977"/>
                      <a:pt x="0" y="1077977"/>
                      <a:pt x="0" y="188003"/>
                    </a:cubicBezTo>
                    <a:cubicBezTo>
                      <a:pt x="0" y="181569"/>
                      <a:pt x="4283" y="175850"/>
                      <a:pt x="9994" y="172991"/>
                    </a:cubicBezTo>
                    <a:cubicBezTo>
                      <a:pt x="9994" y="172991"/>
                      <a:pt x="9994" y="172991"/>
                      <a:pt x="459722" y="1430"/>
                    </a:cubicBezTo>
                    <a:cubicBezTo>
                      <a:pt x="461150" y="715"/>
                      <a:pt x="463291" y="0"/>
                      <a:pt x="465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9DC98E5-FC1D-4DDF-8651-05A335D3C4B2}"/>
              </a:ext>
            </a:extLst>
          </p:cNvPr>
          <p:cNvGrpSpPr>
            <a:grpSpLocks noChangeAspect="1"/>
          </p:cNvGrpSpPr>
          <p:nvPr/>
        </p:nvGrpSpPr>
        <p:grpSpPr>
          <a:xfrm>
            <a:off x="6243493" y="121383"/>
            <a:ext cx="844780" cy="844780"/>
            <a:chOff x="5273675" y="2606675"/>
            <a:chExt cx="1644650" cy="1644650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C9C7F5F-204D-41BF-ABF0-8D8020679FA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AB196B2-7D0C-4635-8A6F-E8DF969A171F}"/>
                </a:ext>
              </a:extLst>
            </p:cNvPr>
            <p:cNvGrpSpPr/>
            <p:nvPr/>
          </p:nvGrpSpPr>
          <p:grpSpPr>
            <a:xfrm>
              <a:off x="5646738" y="2778124"/>
              <a:ext cx="898525" cy="1304927"/>
              <a:chOff x="5646738" y="2778124"/>
              <a:chExt cx="898525" cy="1304927"/>
            </a:xfrm>
          </p:grpSpPr>
          <p:sp>
            <p:nvSpPr>
              <p:cNvPr id="11" name="Freeform 14">
                <a:extLst>
                  <a:ext uri="{FF2B5EF4-FFF2-40B4-BE49-F238E27FC236}">
                    <a16:creationId xmlns:a16="http://schemas.microsoft.com/office/drawing/2014/main" id="{8F4583C0-BE59-45FA-8A4B-C2EF1929F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46738" y="2890838"/>
                <a:ext cx="898525" cy="1192213"/>
              </a:xfrm>
              <a:custGeom>
                <a:avLst/>
                <a:gdLst>
                  <a:gd name="connsiteX0" fmla="*/ 319134 w 898525"/>
                  <a:gd name="connsiteY0" fmla="*/ 817629 h 1192213"/>
                  <a:gd name="connsiteX1" fmla="*/ 341244 w 898525"/>
                  <a:gd name="connsiteY1" fmla="*/ 817629 h 1192213"/>
                  <a:gd name="connsiteX2" fmla="*/ 341244 w 898525"/>
                  <a:gd name="connsiteY2" fmla="*/ 839730 h 1192213"/>
                  <a:gd name="connsiteX3" fmla="*/ 310575 w 898525"/>
                  <a:gd name="connsiteY3" fmla="*/ 870387 h 1192213"/>
                  <a:gd name="connsiteX4" fmla="*/ 279193 w 898525"/>
                  <a:gd name="connsiteY4" fmla="*/ 901757 h 1192213"/>
                  <a:gd name="connsiteX5" fmla="*/ 255656 w 898525"/>
                  <a:gd name="connsiteY5" fmla="*/ 925997 h 1192213"/>
                  <a:gd name="connsiteX6" fmla="*/ 244245 w 898525"/>
                  <a:gd name="connsiteY6" fmla="*/ 930275 h 1192213"/>
                  <a:gd name="connsiteX7" fmla="*/ 232833 w 898525"/>
                  <a:gd name="connsiteY7" fmla="*/ 925997 h 1192213"/>
                  <a:gd name="connsiteX8" fmla="*/ 205731 w 898525"/>
                  <a:gd name="connsiteY8" fmla="*/ 898192 h 1192213"/>
                  <a:gd name="connsiteX9" fmla="*/ 205731 w 898525"/>
                  <a:gd name="connsiteY9" fmla="*/ 876091 h 1192213"/>
                  <a:gd name="connsiteX10" fmla="*/ 227841 w 898525"/>
                  <a:gd name="connsiteY10" fmla="*/ 876091 h 1192213"/>
                  <a:gd name="connsiteX11" fmla="*/ 244245 w 898525"/>
                  <a:gd name="connsiteY11" fmla="*/ 892489 h 1192213"/>
                  <a:gd name="connsiteX12" fmla="*/ 277767 w 898525"/>
                  <a:gd name="connsiteY12" fmla="*/ 858980 h 1192213"/>
                  <a:gd name="connsiteX13" fmla="*/ 305582 w 898525"/>
                  <a:gd name="connsiteY13" fmla="*/ 831175 h 1192213"/>
                  <a:gd name="connsiteX14" fmla="*/ 319134 w 898525"/>
                  <a:gd name="connsiteY14" fmla="*/ 817629 h 1192213"/>
                  <a:gd name="connsiteX15" fmla="*/ 542424 w 898525"/>
                  <a:gd name="connsiteY15" fmla="*/ 566737 h 1192213"/>
                  <a:gd name="connsiteX16" fmla="*/ 658896 w 898525"/>
                  <a:gd name="connsiteY16" fmla="*/ 586603 h 1192213"/>
                  <a:gd name="connsiteX17" fmla="*/ 725655 w 898525"/>
                  <a:gd name="connsiteY17" fmla="*/ 684514 h 1192213"/>
                  <a:gd name="connsiteX18" fmla="*/ 719263 w 898525"/>
                  <a:gd name="connsiteY18" fmla="*/ 693737 h 1192213"/>
                  <a:gd name="connsiteX19" fmla="*/ 514726 w 898525"/>
                  <a:gd name="connsiteY19" fmla="*/ 693737 h 1192213"/>
                  <a:gd name="connsiteX20" fmla="*/ 511175 w 898525"/>
                  <a:gd name="connsiteY20" fmla="*/ 689480 h 1192213"/>
                  <a:gd name="connsiteX21" fmla="*/ 539583 w 898525"/>
                  <a:gd name="connsiteY21" fmla="*/ 568866 h 1192213"/>
                  <a:gd name="connsiteX22" fmla="*/ 542424 w 898525"/>
                  <a:gd name="connsiteY22" fmla="*/ 566737 h 1192213"/>
                  <a:gd name="connsiteX23" fmla="*/ 356101 w 898525"/>
                  <a:gd name="connsiteY23" fmla="*/ 566737 h 1192213"/>
                  <a:gd name="connsiteX24" fmla="*/ 358942 w 898525"/>
                  <a:gd name="connsiteY24" fmla="*/ 568866 h 1192213"/>
                  <a:gd name="connsiteX25" fmla="*/ 387350 w 898525"/>
                  <a:gd name="connsiteY25" fmla="*/ 689480 h 1192213"/>
                  <a:gd name="connsiteX26" fmla="*/ 383799 w 898525"/>
                  <a:gd name="connsiteY26" fmla="*/ 693737 h 1192213"/>
                  <a:gd name="connsiteX27" fmla="*/ 179262 w 898525"/>
                  <a:gd name="connsiteY27" fmla="*/ 693737 h 1192213"/>
                  <a:gd name="connsiteX28" fmla="*/ 172870 w 898525"/>
                  <a:gd name="connsiteY28" fmla="*/ 684514 h 1192213"/>
                  <a:gd name="connsiteX29" fmla="*/ 239629 w 898525"/>
                  <a:gd name="connsiteY29" fmla="*/ 586603 h 1192213"/>
                  <a:gd name="connsiteX30" fmla="*/ 356101 w 898525"/>
                  <a:gd name="connsiteY30" fmla="*/ 566737 h 1192213"/>
                  <a:gd name="connsiteX31" fmla="*/ 301625 w 898525"/>
                  <a:gd name="connsiteY31" fmla="*/ 396875 h 1192213"/>
                  <a:gd name="connsiteX32" fmla="*/ 317392 w 898525"/>
                  <a:gd name="connsiteY32" fmla="*/ 403996 h 1192213"/>
                  <a:gd name="connsiteX33" fmla="*/ 331726 w 898525"/>
                  <a:gd name="connsiteY33" fmla="*/ 420374 h 1192213"/>
                  <a:gd name="connsiteX34" fmla="*/ 334592 w 898525"/>
                  <a:gd name="connsiteY34" fmla="*/ 424646 h 1192213"/>
                  <a:gd name="connsiteX35" fmla="*/ 379027 w 898525"/>
                  <a:gd name="connsiteY35" fmla="*/ 517218 h 1192213"/>
                  <a:gd name="connsiteX36" fmla="*/ 449262 w 898525"/>
                  <a:gd name="connsiteY36" fmla="*/ 552111 h 1192213"/>
                  <a:gd name="connsiteX37" fmla="*/ 519498 w 898525"/>
                  <a:gd name="connsiteY37" fmla="*/ 517218 h 1192213"/>
                  <a:gd name="connsiteX38" fmla="*/ 563933 w 898525"/>
                  <a:gd name="connsiteY38" fmla="*/ 424646 h 1192213"/>
                  <a:gd name="connsiteX39" fmla="*/ 566799 w 898525"/>
                  <a:gd name="connsiteY39" fmla="*/ 420374 h 1192213"/>
                  <a:gd name="connsiteX40" fmla="*/ 581133 w 898525"/>
                  <a:gd name="connsiteY40" fmla="*/ 403996 h 1192213"/>
                  <a:gd name="connsiteX41" fmla="*/ 596900 w 898525"/>
                  <a:gd name="connsiteY41" fmla="*/ 396875 h 1192213"/>
                  <a:gd name="connsiteX42" fmla="*/ 596900 w 898525"/>
                  <a:gd name="connsiteY42" fmla="*/ 397587 h 1192213"/>
                  <a:gd name="connsiteX43" fmla="*/ 575400 w 898525"/>
                  <a:gd name="connsiteY43" fmla="*/ 431055 h 1192213"/>
                  <a:gd name="connsiteX44" fmla="*/ 530965 w 898525"/>
                  <a:gd name="connsiteY44" fmla="*/ 524339 h 1192213"/>
                  <a:gd name="connsiteX45" fmla="*/ 530965 w 898525"/>
                  <a:gd name="connsiteY45" fmla="*/ 554959 h 1192213"/>
                  <a:gd name="connsiteX46" fmla="*/ 528815 w 898525"/>
                  <a:gd name="connsiteY46" fmla="*/ 557807 h 1192213"/>
                  <a:gd name="connsiteX47" fmla="*/ 517348 w 898525"/>
                  <a:gd name="connsiteY47" fmla="*/ 569913 h 1192213"/>
                  <a:gd name="connsiteX48" fmla="*/ 517348 w 898525"/>
                  <a:gd name="connsiteY48" fmla="*/ 535733 h 1192213"/>
                  <a:gd name="connsiteX49" fmla="*/ 449262 w 898525"/>
                  <a:gd name="connsiteY49" fmla="*/ 566352 h 1192213"/>
                  <a:gd name="connsiteX50" fmla="*/ 381177 w 898525"/>
                  <a:gd name="connsiteY50" fmla="*/ 535733 h 1192213"/>
                  <a:gd name="connsiteX51" fmla="*/ 381177 w 898525"/>
                  <a:gd name="connsiteY51" fmla="*/ 569913 h 1192213"/>
                  <a:gd name="connsiteX52" fmla="*/ 369710 w 898525"/>
                  <a:gd name="connsiteY52" fmla="*/ 557807 h 1192213"/>
                  <a:gd name="connsiteX53" fmla="*/ 367560 w 898525"/>
                  <a:gd name="connsiteY53" fmla="*/ 554959 h 1192213"/>
                  <a:gd name="connsiteX54" fmla="*/ 367560 w 898525"/>
                  <a:gd name="connsiteY54" fmla="*/ 524339 h 1192213"/>
                  <a:gd name="connsiteX55" fmla="*/ 323125 w 898525"/>
                  <a:gd name="connsiteY55" fmla="*/ 431055 h 1192213"/>
                  <a:gd name="connsiteX56" fmla="*/ 301625 w 898525"/>
                  <a:gd name="connsiteY56" fmla="*/ 398299 h 1192213"/>
                  <a:gd name="connsiteX57" fmla="*/ 301625 w 898525"/>
                  <a:gd name="connsiteY57" fmla="*/ 396875 h 1192213"/>
                  <a:gd name="connsiteX58" fmla="*/ 15713 w 898525"/>
                  <a:gd name="connsiteY58" fmla="*/ 0 h 1192213"/>
                  <a:gd name="connsiteX59" fmla="*/ 272843 w 898525"/>
                  <a:gd name="connsiteY59" fmla="*/ 0 h 1192213"/>
                  <a:gd name="connsiteX60" fmla="*/ 272843 w 898525"/>
                  <a:gd name="connsiteY60" fmla="*/ 31411 h 1192213"/>
                  <a:gd name="connsiteX61" fmla="*/ 31427 w 898525"/>
                  <a:gd name="connsiteY61" fmla="*/ 31411 h 1192213"/>
                  <a:gd name="connsiteX62" fmla="*/ 31427 w 898525"/>
                  <a:gd name="connsiteY62" fmla="*/ 1160802 h 1192213"/>
                  <a:gd name="connsiteX63" fmla="*/ 867098 w 898525"/>
                  <a:gd name="connsiteY63" fmla="*/ 1160802 h 1192213"/>
                  <a:gd name="connsiteX64" fmla="*/ 867098 w 898525"/>
                  <a:gd name="connsiteY64" fmla="*/ 31411 h 1192213"/>
                  <a:gd name="connsiteX65" fmla="*/ 625682 w 898525"/>
                  <a:gd name="connsiteY65" fmla="*/ 31411 h 1192213"/>
                  <a:gd name="connsiteX66" fmla="*/ 625682 w 898525"/>
                  <a:gd name="connsiteY66" fmla="*/ 0 h 1192213"/>
                  <a:gd name="connsiteX67" fmla="*/ 882812 w 898525"/>
                  <a:gd name="connsiteY67" fmla="*/ 0 h 1192213"/>
                  <a:gd name="connsiteX68" fmla="*/ 898525 w 898525"/>
                  <a:gd name="connsiteY68" fmla="*/ 15706 h 1192213"/>
                  <a:gd name="connsiteX69" fmla="*/ 898525 w 898525"/>
                  <a:gd name="connsiteY69" fmla="*/ 1176507 h 1192213"/>
                  <a:gd name="connsiteX70" fmla="*/ 882812 w 898525"/>
                  <a:gd name="connsiteY70" fmla="*/ 1192213 h 1192213"/>
                  <a:gd name="connsiteX71" fmla="*/ 15713 w 898525"/>
                  <a:gd name="connsiteY71" fmla="*/ 1192213 h 1192213"/>
                  <a:gd name="connsiteX72" fmla="*/ 0 w 898525"/>
                  <a:gd name="connsiteY72" fmla="*/ 1176507 h 1192213"/>
                  <a:gd name="connsiteX73" fmla="*/ 0 w 898525"/>
                  <a:gd name="connsiteY73" fmla="*/ 15706 h 1192213"/>
                  <a:gd name="connsiteX74" fmla="*/ 15713 w 898525"/>
                  <a:gd name="connsiteY74" fmla="*/ 0 h 1192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</a:cxnLst>
                <a:rect l="l" t="t" r="r" b="b"/>
                <a:pathLst>
                  <a:path w="898525" h="1192213">
                    <a:moveTo>
                      <a:pt x="319134" y="817629"/>
                    </a:moveTo>
                    <a:cubicBezTo>
                      <a:pt x="325553" y="811212"/>
                      <a:pt x="335538" y="811212"/>
                      <a:pt x="341244" y="817629"/>
                    </a:cubicBezTo>
                    <a:cubicBezTo>
                      <a:pt x="347663" y="823332"/>
                      <a:pt x="347663" y="833314"/>
                      <a:pt x="341244" y="839730"/>
                    </a:cubicBezTo>
                    <a:cubicBezTo>
                      <a:pt x="341244" y="839730"/>
                      <a:pt x="341244" y="839730"/>
                      <a:pt x="310575" y="870387"/>
                    </a:cubicBezTo>
                    <a:cubicBezTo>
                      <a:pt x="310575" y="870387"/>
                      <a:pt x="310575" y="870387"/>
                      <a:pt x="279193" y="901757"/>
                    </a:cubicBezTo>
                    <a:cubicBezTo>
                      <a:pt x="279193" y="901757"/>
                      <a:pt x="279193" y="901757"/>
                      <a:pt x="255656" y="925997"/>
                    </a:cubicBezTo>
                    <a:cubicBezTo>
                      <a:pt x="252090" y="928849"/>
                      <a:pt x="248524" y="930275"/>
                      <a:pt x="244245" y="930275"/>
                    </a:cubicBezTo>
                    <a:cubicBezTo>
                      <a:pt x="239965" y="930275"/>
                      <a:pt x="236399" y="928849"/>
                      <a:pt x="232833" y="925997"/>
                    </a:cubicBezTo>
                    <a:cubicBezTo>
                      <a:pt x="232833" y="925997"/>
                      <a:pt x="232833" y="925997"/>
                      <a:pt x="205731" y="898192"/>
                    </a:cubicBezTo>
                    <a:cubicBezTo>
                      <a:pt x="200025" y="892489"/>
                      <a:pt x="200025" y="882507"/>
                      <a:pt x="205731" y="876091"/>
                    </a:cubicBezTo>
                    <a:cubicBezTo>
                      <a:pt x="212150" y="870387"/>
                      <a:pt x="222135" y="870387"/>
                      <a:pt x="227841" y="876091"/>
                    </a:cubicBezTo>
                    <a:cubicBezTo>
                      <a:pt x="227841" y="876091"/>
                      <a:pt x="227841" y="876091"/>
                      <a:pt x="244245" y="892489"/>
                    </a:cubicBezTo>
                    <a:cubicBezTo>
                      <a:pt x="244245" y="892489"/>
                      <a:pt x="244245" y="892489"/>
                      <a:pt x="277767" y="858980"/>
                    </a:cubicBezTo>
                    <a:cubicBezTo>
                      <a:pt x="277767" y="858980"/>
                      <a:pt x="277767" y="858980"/>
                      <a:pt x="305582" y="831175"/>
                    </a:cubicBezTo>
                    <a:cubicBezTo>
                      <a:pt x="305582" y="831175"/>
                      <a:pt x="305582" y="831175"/>
                      <a:pt x="319134" y="817629"/>
                    </a:cubicBezTo>
                    <a:close/>
                    <a:moveTo>
                      <a:pt x="542424" y="566737"/>
                    </a:moveTo>
                    <a:cubicBezTo>
                      <a:pt x="555918" y="566737"/>
                      <a:pt x="621966" y="568866"/>
                      <a:pt x="658896" y="586603"/>
                    </a:cubicBezTo>
                    <a:cubicBezTo>
                      <a:pt x="692276" y="602212"/>
                      <a:pt x="717132" y="661100"/>
                      <a:pt x="725655" y="684514"/>
                    </a:cubicBezTo>
                    <a:cubicBezTo>
                      <a:pt x="727075" y="688771"/>
                      <a:pt x="724234" y="693737"/>
                      <a:pt x="719263" y="693737"/>
                    </a:cubicBezTo>
                    <a:cubicBezTo>
                      <a:pt x="719263" y="693737"/>
                      <a:pt x="719263" y="693737"/>
                      <a:pt x="514726" y="693737"/>
                    </a:cubicBezTo>
                    <a:cubicBezTo>
                      <a:pt x="512596" y="693737"/>
                      <a:pt x="511175" y="691609"/>
                      <a:pt x="511175" y="689480"/>
                    </a:cubicBezTo>
                    <a:cubicBezTo>
                      <a:pt x="511175" y="689480"/>
                      <a:pt x="511175" y="689480"/>
                      <a:pt x="539583" y="568866"/>
                    </a:cubicBezTo>
                    <a:cubicBezTo>
                      <a:pt x="539583" y="567447"/>
                      <a:pt x="541004" y="566737"/>
                      <a:pt x="542424" y="566737"/>
                    </a:cubicBezTo>
                    <a:close/>
                    <a:moveTo>
                      <a:pt x="356101" y="566737"/>
                    </a:moveTo>
                    <a:cubicBezTo>
                      <a:pt x="357521" y="566737"/>
                      <a:pt x="358942" y="567447"/>
                      <a:pt x="358942" y="568866"/>
                    </a:cubicBezTo>
                    <a:cubicBezTo>
                      <a:pt x="387350" y="689480"/>
                      <a:pt x="387350" y="689480"/>
                      <a:pt x="387350" y="689480"/>
                    </a:cubicBezTo>
                    <a:cubicBezTo>
                      <a:pt x="387350" y="691609"/>
                      <a:pt x="385929" y="693737"/>
                      <a:pt x="383799" y="693737"/>
                    </a:cubicBezTo>
                    <a:cubicBezTo>
                      <a:pt x="383799" y="693737"/>
                      <a:pt x="383799" y="693737"/>
                      <a:pt x="179262" y="693737"/>
                    </a:cubicBezTo>
                    <a:cubicBezTo>
                      <a:pt x="174291" y="693737"/>
                      <a:pt x="171450" y="688771"/>
                      <a:pt x="172870" y="684514"/>
                    </a:cubicBezTo>
                    <a:cubicBezTo>
                      <a:pt x="181393" y="661100"/>
                      <a:pt x="206249" y="602212"/>
                      <a:pt x="239629" y="586603"/>
                    </a:cubicBezTo>
                    <a:cubicBezTo>
                      <a:pt x="276559" y="568866"/>
                      <a:pt x="342607" y="566737"/>
                      <a:pt x="356101" y="566737"/>
                    </a:cubicBezTo>
                    <a:close/>
                    <a:moveTo>
                      <a:pt x="301625" y="396875"/>
                    </a:moveTo>
                    <a:cubicBezTo>
                      <a:pt x="301625" y="396875"/>
                      <a:pt x="301625" y="396875"/>
                      <a:pt x="317392" y="403996"/>
                    </a:cubicBezTo>
                    <a:cubicBezTo>
                      <a:pt x="319542" y="410405"/>
                      <a:pt x="323842" y="416813"/>
                      <a:pt x="331726" y="420374"/>
                    </a:cubicBezTo>
                    <a:cubicBezTo>
                      <a:pt x="333159" y="421798"/>
                      <a:pt x="334592" y="422510"/>
                      <a:pt x="334592" y="424646"/>
                    </a:cubicBezTo>
                    <a:cubicBezTo>
                      <a:pt x="347493" y="455978"/>
                      <a:pt x="370427" y="509385"/>
                      <a:pt x="379027" y="517218"/>
                    </a:cubicBezTo>
                    <a:cubicBezTo>
                      <a:pt x="393361" y="529324"/>
                      <a:pt x="429195" y="552111"/>
                      <a:pt x="449262" y="552111"/>
                    </a:cubicBezTo>
                    <a:cubicBezTo>
                      <a:pt x="469329" y="552111"/>
                      <a:pt x="505164" y="529324"/>
                      <a:pt x="519498" y="517218"/>
                    </a:cubicBezTo>
                    <a:cubicBezTo>
                      <a:pt x="528098" y="509385"/>
                      <a:pt x="551032" y="455978"/>
                      <a:pt x="563933" y="424646"/>
                    </a:cubicBezTo>
                    <a:cubicBezTo>
                      <a:pt x="563933" y="422510"/>
                      <a:pt x="565366" y="421798"/>
                      <a:pt x="566799" y="420374"/>
                    </a:cubicBezTo>
                    <a:cubicBezTo>
                      <a:pt x="574683" y="416813"/>
                      <a:pt x="578983" y="410405"/>
                      <a:pt x="581133" y="403996"/>
                    </a:cubicBezTo>
                    <a:cubicBezTo>
                      <a:pt x="581133" y="403996"/>
                      <a:pt x="581133" y="403996"/>
                      <a:pt x="596900" y="396875"/>
                    </a:cubicBezTo>
                    <a:cubicBezTo>
                      <a:pt x="596900" y="396875"/>
                      <a:pt x="596900" y="397587"/>
                      <a:pt x="596900" y="397587"/>
                    </a:cubicBezTo>
                    <a:cubicBezTo>
                      <a:pt x="596184" y="404708"/>
                      <a:pt x="591883" y="421798"/>
                      <a:pt x="575400" y="431055"/>
                    </a:cubicBezTo>
                    <a:cubicBezTo>
                      <a:pt x="568949" y="448857"/>
                      <a:pt x="545299" y="507249"/>
                      <a:pt x="530965" y="524339"/>
                    </a:cubicBezTo>
                    <a:cubicBezTo>
                      <a:pt x="530965" y="524339"/>
                      <a:pt x="530965" y="524339"/>
                      <a:pt x="530965" y="554959"/>
                    </a:cubicBezTo>
                    <a:cubicBezTo>
                      <a:pt x="530965" y="554959"/>
                      <a:pt x="530965" y="554959"/>
                      <a:pt x="528815" y="557807"/>
                    </a:cubicBezTo>
                    <a:cubicBezTo>
                      <a:pt x="528098" y="558519"/>
                      <a:pt x="524515" y="563504"/>
                      <a:pt x="517348" y="569913"/>
                    </a:cubicBezTo>
                    <a:cubicBezTo>
                      <a:pt x="517348" y="569913"/>
                      <a:pt x="517348" y="569913"/>
                      <a:pt x="517348" y="535733"/>
                    </a:cubicBezTo>
                    <a:cubicBezTo>
                      <a:pt x="499430" y="549262"/>
                      <a:pt x="469329" y="566352"/>
                      <a:pt x="449262" y="566352"/>
                    </a:cubicBezTo>
                    <a:cubicBezTo>
                      <a:pt x="429195" y="566352"/>
                      <a:pt x="399094" y="549262"/>
                      <a:pt x="381177" y="535733"/>
                    </a:cubicBezTo>
                    <a:cubicBezTo>
                      <a:pt x="381177" y="535733"/>
                      <a:pt x="381177" y="535733"/>
                      <a:pt x="381177" y="569913"/>
                    </a:cubicBezTo>
                    <a:cubicBezTo>
                      <a:pt x="374010" y="563504"/>
                      <a:pt x="370427" y="558519"/>
                      <a:pt x="369710" y="557807"/>
                    </a:cubicBezTo>
                    <a:cubicBezTo>
                      <a:pt x="369710" y="557807"/>
                      <a:pt x="369710" y="557807"/>
                      <a:pt x="367560" y="554959"/>
                    </a:cubicBezTo>
                    <a:cubicBezTo>
                      <a:pt x="367560" y="554959"/>
                      <a:pt x="367560" y="554959"/>
                      <a:pt x="367560" y="524339"/>
                    </a:cubicBezTo>
                    <a:cubicBezTo>
                      <a:pt x="353226" y="507961"/>
                      <a:pt x="329576" y="448857"/>
                      <a:pt x="323125" y="431055"/>
                    </a:cubicBezTo>
                    <a:cubicBezTo>
                      <a:pt x="307358" y="422510"/>
                      <a:pt x="303058" y="406844"/>
                      <a:pt x="301625" y="398299"/>
                    </a:cubicBezTo>
                    <a:cubicBezTo>
                      <a:pt x="301625" y="398299"/>
                      <a:pt x="301625" y="397587"/>
                      <a:pt x="301625" y="396875"/>
                    </a:cubicBezTo>
                    <a:close/>
                    <a:moveTo>
                      <a:pt x="15713" y="0"/>
                    </a:moveTo>
                    <a:cubicBezTo>
                      <a:pt x="15713" y="0"/>
                      <a:pt x="15713" y="0"/>
                      <a:pt x="272843" y="0"/>
                    </a:cubicBezTo>
                    <a:cubicBezTo>
                      <a:pt x="272843" y="0"/>
                      <a:pt x="272843" y="0"/>
                      <a:pt x="272843" y="31411"/>
                    </a:cubicBezTo>
                    <a:cubicBezTo>
                      <a:pt x="272843" y="31411"/>
                      <a:pt x="272843" y="31411"/>
                      <a:pt x="31427" y="31411"/>
                    </a:cubicBezTo>
                    <a:cubicBezTo>
                      <a:pt x="31427" y="31411"/>
                      <a:pt x="31427" y="31411"/>
                      <a:pt x="31427" y="1160802"/>
                    </a:cubicBezTo>
                    <a:cubicBezTo>
                      <a:pt x="31427" y="1160802"/>
                      <a:pt x="31427" y="1160802"/>
                      <a:pt x="867098" y="1160802"/>
                    </a:cubicBezTo>
                    <a:cubicBezTo>
                      <a:pt x="867098" y="1160802"/>
                      <a:pt x="867098" y="1160802"/>
                      <a:pt x="867098" y="31411"/>
                    </a:cubicBezTo>
                    <a:cubicBezTo>
                      <a:pt x="867098" y="31411"/>
                      <a:pt x="867098" y="31411"/>
                      <a:pt x="625682" y="31411"/>
                    </a:cubicBezTo>
                    <a:cubicBezTo>
                      <a:pt x="625682" y="31411"/>
                      <a:pt x="625682" y="31411"/>
                      <a:pt x="625682" y="0"/>
                    </a:cubicBezTo>
                    <a:cubicBezTo>
                      <a:pt x="625682" y="0"/>
                      <a:pt x="625682" y="0"/>
                      <a:pt x="882812" y="0"/>
                    </a:cubicBezTo>
                    <a:cubicBezTo>
                      <a:pt x="892097" y="0"/>
                      <a:pt x="898525" y="7139"/>
                      <a:pt x="898525" y="15706"/>
                    </a:cubicBezTo>
                    <a:cubicBezTo>
                      <a:pt x="898525" y="15706"/>
                      <a:pt x="898525" y="15706"/>
                      <a:pt x="898525" y="1176507"/>
                    </a:cubicBezTo>
                    <a:cubicBezTo>
                      <a:pt x="898525" y="1185788"/>
                      <a:pt x="892097" y="1192213"/>
                      <a:pt x="882812" y="1192213"/>
                    </a:cubicBezTo>
                    <a:cubicBezTo>
                      <a:pt x="882812" y="1192213"/>
                      <a:pt x="882812" y="1192213"/>
                      <a:pt x="15713" y="1192213"/>
                    </a:cubicBezTo>
                    <a:cubicBezTo>
                      <a:pt x="6428" y="1192213"/>
                      <a:pt x="0" y="1185788"/>
                      <a:pt x="0" y="1176507"/>
                    </a:cubicBezTo>
                    <a:cubicBezTo>
                      <a:pt x="0" y="1176507"/>
                      <a:pt x="0" y="1176507"/>
                      <a:pt x="0" y="15706"/>
                    </a:cubicBezTo>
                    <a:cubicBezTo>
                      <a:pt x="0" y="7139"/>
                      <a:pt x="6428" y="0"/>
                      <a:pt x="1571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2" name="Freeform 15">
                <a:extLst>
                  <a:ext uri="{FF2B5EF4-FFF2-40B4-BE49-F238E27FC236}">
                    <a16:creationId xmlns:a16="http://schemas.microsoft.com/office/drawing/2014/main" id="{43A82375-FCF3-4BE3-948C-64A6B8BB1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5488" y="2778124"/>
                <a:ext cx="581025" cy="1092200"/>
              </a:xfrm>
              <a:custGeom>
                <a:avLst/>
                <a:gdLst>
                  <a:gd name="connsiteX0" fmla="*/ 280801 w 581025"/>
                  <a:gd name="connsiteY0" fmla="*/ 1050925 h 1092200"/>
                  <a:gd name="connsiteX1" fmla="*/ 565337 w 581025"/>
                  <a:gd name="connsiteY1" fmla="*/ 1050925 h 1092200"/>
                  <a:gd name="connsiteX2" fmla="*/ 581025 w 581025"/>
                  <a:gd name="connsiteY2" fmla="*/ 1066800 h 1092200"/>
                  <a:gd name="connsiteX3" fmla="*/ 565337 w 581025"/>
                  <a:gd name="connsiteY3" fmla="*/ 1082675 h 1092200"/>
                  <a:gd name="connsiteX4" fmla="*/ 280801 w 581025"/>
                  <a:gd name="connsiteY4" fmla="*/ 1082675 h 1092200"/>
                  <a:gd name="connsiteX5" fmla="*/ 265112 w 581025"/>
                  <a:gd name="connsiteY5" fmla="*/ 1066800 h 1092200"/>
                  <a:gd name="connsiteX6" fmla="*/ 280801 w 581025"/>
                  <a:gd name="connsiteY6" fmla="*/ 1050925 h 1092200"/>
                  <a:gd name="connsiteX7" fmla="*/ 280801 w 581025"/>
                  <a:gd name="connsiteY7" fmla="*/ 950913 h 1092200"/>
                  <a:gd name="connsiteX8" fmla="*/ 565337 w 581025"/>
                  <a:gd name="connsiteY8" fmla="*/ 950913 h 1092200"/>
                  <a:gd name="connsiteX9" fmla="*/ 581025 w 581025"/>
                  <a:gd name="connsiteY9" fmla="*/ 966788 h 1092200"/>
                  <a:gd name="connsiteX10" fmla="*/ 565337 w 581025"/>
                  <a:gd name="connsiteY10" fmla="*/ 982663 h 1092200"/>
                  <a:gd name="connsiteX11" fmla="*/ 280801 w 581025"/>
                  <a:gd name="connsiteY11" fmla="*/ 982663 h 1092200"/>
                  <a:gd name="connsiteX12" fmla="*/ 265112 w 581025"/>
                  <a:gd name="connsiteY12" fmla="*/ 966788 h 1092200"/>
                  <a:gd name="connsiteX13" fmla="*/ 280801 w 581025"/>
                  <a:gd name="connsiteY13" fmla="*/ 950913 h 1092200"/>
                  <a:gd name="connsiteX14" fmla="*/ 15667 w 581025"/>
                  <a:gd name="connsiteY14" fmla="*/ 939800 h 1092200"/>
                  <a:gd name="connsiteX15" fmla="*/ 107534 w 581025"/>
                  <a:gd name="connsiteY15" fmla="*/ 939800 h 1092200"/>
                  <a:gd name="connsiteX16" fmla="*/ 76200 w 581025"/>
                  <a:gd name="connsiteY16" fmla="*/ 971135 h 1092200"/>
                  <a:gd name="connsiteX17" fmla="*/ 31334 w 581025"/>
                  <a:gd name="connsiteY17" fmla="*/ 971135 h 1092200"/>
                  <a:gd name="connsiteX18" fmla="*/ 31334 w 581025"/>
                  <a:gd name="connsiteY18" fmla="*/ 1060866 h 1092200"/>
                  <a:gd name="connsiteX19" fmla="*/ 121065 w 581025"/>
                  <a:gd name="connsiteY19" fmla="*/ 1060866 h 1092200"/>
                  <a:gd name="connsiteX20" fmla="*/ 121065 w 581025"/>
                  <a:gd name="connsiteY20" fmla="*/ 1057305 h 1092200"/>
                  <a:gd name="connsiteX21" fmla="*/ 152400 w 581025"/>
                  <a:gd name="connsiteY21" fmla="*/ 1025970 h 1092200"/>
                  <a:gd name="connsiteX22" fmla="*/ 152400 w 581025"/>
                  <a:gd name="connsiteY22" fmla="*/ 1076533 h 1092200"/>
                  <a:gd name="connsiteX23" fmla="*/ 136732 w 581025"/>
                  <a:gd name="connsiteY23" fmla="*/ 1092200 h 1092200"/>
                  <a:gd name="connsiteX24" fmla="*/ 15667 w 581025"/>
                  <a:gd name="connsiteY24" fmla="*/ 1092200 h 1092200"/>
                  <a:gd name="connsiteX25" fmla="*/ 0 w 581025"/>
                  <a:gd name="connsiteY25" fmla="*/ 1076533 h 1092200"/>
                  <a:gd name="connsiteX26" fmla="*/ 0 w 581025"/>
                  <a:gd name="connsiteY26" fmla="*/ 955467 h 1092200"/>
                  <a:gd name="connsiteX27" fmla="*/ 15667 w 581025"/>
                  <a:gd name="connsiteY27" fmla="*/ 939800 h 1092200"/>
                  <a:gd name="connsiteX28" fmla="*/ 291523 w 581025"/>
                  <a:gd name="connsiteY28" fmla="*/ 696913 h 1092200"/>
                  <a:gd name="connsiteX29" fmla="*/ 321830 w 581025"/>
                  <a:gd name="connsiteY29" fmla="*/ 701209 h 1092200"/>
                  <a:gd name="connsiteX30" fmla="*/ 323995 w 581025"/>
                  <a:gd name="connsiteY30" fmla="*/ 705504 h 1092200"/>
                  <a:gd name="connsiteX31" fmla="*/ 303790 w 581025"/>
                  <a:gd name="connsiteY31" fmla="*/ 737005 h 1092200"/>
                  <a:gd name="connsiteX32" fmla="*/ 303790 w 581025"/>
                  <a:gd name="connsiteY32" fmla="*/ 739153 h 1092200"/>
                  <a:gd name="connsiteX33" fmla="*/ 325438 w 581025"/>
                  <a:gd name="connsiteY33" fmla="*/ 802156 h 1092200"/>
                  <a:gd name="connsiteX34" fmla="*/ 322552 w 581025"/>
                  <a:gd name="connsiteY34" fmla="*/ 806451 h 1092200"/>
                  <a:gd name="connsiteX35" fmla="*/ 258330 w 581025"/>
                  <a:gd name="connsiteY35" fmla="*/ 806451 h 1092200"/>
                  <a:gd name="connsiteX36" fmla="*/ 254722 w 581025"/>
                  <a:gd name="connsiteY36" fmla="*/ 802156 h 1092200"/>
                  <a:gd name="connsiteX37" fmla="*/ 278535 w 581025"/>
                  <a:gd name="connsiteY37" fmla="*/ 739153 h 1092200"/>
                  <a:gd name="connsiteX38" fmla="*/ 277813 w 581025"/>
                  <a:gd name="connsiteY38" fmla="*/ 737005 h 1092200"/>
                  <a:gd name="connsiteX39" fmla="*/ 258330 w 581025"/>
                  <a:gd name="connsiteY39" fmla="*/ 705504 h 1092200"/>
                  <a:gd name="connsiteX40" fmla="*/ 259773 w 581025"/>
                  <a:gd name="connsiteY40" fmla="*/ 701209 h 1092200"/>
                  <a:gd name="connsiteX41" fmla="*/ 291523 w 581025"/>
                  <a:gd name="connsiteY41" fmla="*/ 696913 h 1092200"/>
                  <a:gd name="connsiteX42" fmla="*/ 290512 w 581025"/>
                  <a:gd name="connsiteY42" fmla="*/ 287338 h 1092200"/>
                  <a:gd name="connsiteX43" fmla="*/ 435850 w 581025"/>
                  <a:gd name="connsiteY43" fmla="*/ 436217 h 1092200"/>
                  <a:gd name="connsiteX44" fmla="*/ 430863 w 581025"/>
                  <a:gd name="connsiteY44" fmla="*/ 486793 h 1092200"/>
                  <a:gd name="connsiteX45" fmla="*/ 430863 w 581025"/>
                  <a:gd name="connsiteY45" fmla="*/ 486081 h 1092200"/>
                  <a:gd name="connsiteX46" fmla="*/ 413764 w 581025"/>
                  <a:gd name="connsiteY46" fmla="*/ 509588 h 1092200"/>
                  <a:gd name="connsiteX47" fmla="*/ 403790 w 581025"/>
                  <a:gd name="connsiteY47" fmla="*/ 509588 h 1092200"/>
                  <a:gd name="connsiteX48" fmla="*/ 402365 w 581025"/>
                  <a:gd name="connsiteY48" fmla="*/ 399888 h 1092200"/>
                  <a:gd name="connsiteX49" fmla="*/ 210719 w 581025"/>
                  <a:gd name="connsiteY49" fmla="*/ 407011 h 1092200"/>
                  <a:gd name="connsiteX50" fmla="*/ 175097 w 581025"/>
                  <a:gd name="connsiteY50" fmla="*/ 508163 h 1092200"/>
                  <a:gd name="connsiteX51" fmla="*/ 165123 w 581025"/>
                  <a:gd name="connsiteY51" fmla="*/ 506739 h 1092200"/>
                  <a:gd name="connsiteX52" fmla="*/ 150874 w 581025"/>
                  <a:gd name="connsiteY52" fmla="*/ 488218 h 1092200"/>
                  <a:gd name="connsiteX53" fmla="*/ 145174 w 581025"/>
                  <a:gd name="connsiteY53" fmla="*/ 436217 h 1092200"/>
                  <a:gd name="connsiteX54" fmla="*/ 290512 w 581025"/>
                  <a:gd name="connsiteY54" fmla="*/ 287338 h 1092200"/>
                  <a:gd name="connsiteX55" fmla="*/ 291741 w 581025"/>
                  <a:gd name="connsiteY55" fmla="*/ 30163 h 1092200"/>
                  <a:gd name="connsiteX56" fmla="*/ 270233 w 581025"/>
                  <a:gd name="connsiteY56" fmla="*/ 34440 h 1092200"/>
                  <a:gd name="connsiteX57" fmla="*/ 236537 w 581025"/>
                  <a:gd name="connsiteY57" fmla="*/ 65088 h 1092200"/>
                  <a:gd name="connsiteX58" fmla="*/ 347662 w 581025"/>
                  <a:gd name="connsiteY58" fmla="*/ 65088 h 1092200"/>
                  <a:gd name="connsiteX59" fmla="*/ 313966 w 581025"/>
                  <a:gd name="connsiteY59" fmla="*/ 34440 h 1092200"/>
                  <a:gd name="connsiteX60" fmla="*/ 291741 w 581025"/>
                  <a:gd name="connsiteY60" fmla="*/ 30163 h 1092200"/>
                  <a:gd name="connsiteX61" fmla="*/ 291307 w 581025"/>
                  <a:gd name="connsiteY61" fmla="*/ 0 h 1092200"/>
                  <a:gd name="connsiteX62" fmla="*/ 364293 w 581025"/>
                  <a:gd name="connsiteY62" fmla="*/ 35602 h 1092200"/>
                  <a:gd name="connsiteX63" fmla="*/ 380750 w 581025"/>
                  <a:gd name="connsiteY63" fmla="*/ 66220 h 1092200"/>
                  <a:gd name="connsiteX64" fmla="*/ 430123 w 581025"/>
                  <a:gd name="connsiteY64" fmla="*/ 66220 h 1092200"/>
                  <a:gd name="connsiteX65" fmla="*/ 436563 w 581025"/>
                  <a:gd name="connsiteY65" fmla="*/ 73340 h 1092200"/>
                  <a:gd name="connsiteX66" fmla="*/ 436563 w 581025"/>
                  <a:gd name="connsiteY66" fmla="*/ 113927 h 1092200"/>
                  <a:gd name="connsiteX67" fmla="*/ 436563 w 581025"/>
                  <a:gd name="connsiteY67" fmla="*/ 145256 h 1092200"/>
                  <a:gd name="connsiteX68" fmla="*/ 436563 w 581025"/>
                  <a:gd name="connsiteY68" fmla="*/ 178010 h 1092200"/>
                  <a:gd name="connsiteX69" fmla="*/ 421537 w 581025"/>
                  <a:gd name="connsiteY69" fmla="*/ 193675 h 1092200"/>
                  <a:gd name="connsiteX70" fmla="*/ 161792 w 581025"/>
                  <a:gd name="connsiteY70" fmla="*/ 193675 h 1092200"/>
                  <a:gd name="connsiteX71" fmla="*/ 146050 w 581025"/>
                  <a:gd name="connsiteY71" fmla="*/ 178010 h 1092200"/>
                  <a:gd name="connsiteX72" fmla="*/ 146050 w 581025"/>
                  <a:gd name="connsiteY72" fmla="*/ 145256 h 1092200"/>
                  <a:gd name="connsiteX73" fmla="*/ 146050 w 581025"/>
                  <a:gd name="connsiteY73" fmla="*/ 113927 h 1092200"/>
                  <a:gd name="connsiteX74" fmla="*/ 146050 w 581025"/>
                  <a:gd name="connsiteY74" fmla="*/ 73340 h 1092200"/>
                  <a:gd name="connsiteX75" fmla="*/ 153206 w 581025"/>
                  <a:gd name="connsiteY75" fmla="*/ 66220 h 1092200"/>
                  <a:gd name="connsiteX76" fmla="*/ 202579 w 581025"/>
                  <a:gd name="connsiteY76" fmla="*/ 66220 h 1092200"/>
                  <a:gd name="connsiteX77" fmla="*/ 218321 w 581025"/>
                  <a:gd name="connsiteY77" fmla="*/ 35602 h 1092200"/>
                  <a:gd name="connsiteX78" fmla="*/ 291307 w 581025"/>
                  <a:gd name="connsiteY78" fmla="*/ 0 h 109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581025" h="1092200">
                    <a:moveTo>
                      <a:pt x="280801" y="1050925"/>
                    </a:moveTo>
                    <a:cubicBezTo>
                      <a:pt x="280801" y="1050925"/>
                      <a:pt x="280801" y="1050925"/>
                      <a:pt x="565337" y="1050925"/>
                    </a:cubicBezTo>
                    <a:cubicBezTo>
                      <a:pt x="573894" y="1050925"/>
                      <a:pt x="581025" y="1057419"/>
                      <a:pt x="581025" y="1066800"/>
                    </a:cubicBezTo>
                    <a:cubicBezTo>
                      <a:pt x="581025" y="1075459"/>
                      <a:pt x="573894" y="1082675"/>
                      <a:pt x="565337" y="1082675"/>
                    </a:cubicBezTo>
                    <a:cubicBezTo>
                      <a:pt x="565337" y="1082675"/>
                      <a:pt x="565337" y="1082675"/>
                      <a:pt x="280801" y="1082675"/>
                    </a:cubicBezTo>
                    <a:cubicBezTo>
                      <a:pt x="272243" y="1082675"/>
                      <a:pt x="265112" y="1075459"/>
                      <a:pt x="265112" y="1066800"/>
                    </a:cubicBezTo>
                    <a:cubicBezTo>
                      <a:pt x="265112" y="1057419"/>
                      <a:pt x="272243" y="1050925"/>
                      <a:pt x="280801" y="1050925"/>
                    </a:cubicBezTo>
                    <a:close/>
                    <a:moveTo>
                      <a:pt x="280801" y="950913"/>
                    </a:moveTo>
                    <a:cubicBezTo>
                      <a:pt x="280801" y="950913"/>
                      <a:pt x="280801" y="950913"/>
                      <a:pt x="565337" y="950913"/>
                    </a:cubicBezTo>
                    <a:cubicBezTo>
                      <a:pt x="573894" y="950913"/>
                      <a:pt x="581025" y="958129"/>
                      <a:pt x="581025" y="966788"/>
                    </a:cubicBezTo>
                    <a:cubicBezTo>
                      <a:pt x="581025" y="975447"/>
                      <a:pt x="573894" y="982663"/>
                      <a:pt x="565337" y="982663"/>
                    </a:cubicBezTo>
                    <a:cubicBezTo>
                      <a:pt x="565337" y="982663"/>
                      <a:pt x="565337" y="982663"/>
                      <a:pt x="280801" y="982663"/>
                    </a:cubicBezTo>
                    <a:cubicBezTo>
                      <a:pt x="272243" y="982663"/>
                      <a:pt x="265112" y="975447"/>
                      <a:pt x="265112" y="966788"/>
                    </a:cubicBezTo>
                    <a:cubicBezTo>
                      <a:pt x="265112" y="958129"/>
                      <a:pt x="272243" y="950913"/>
                      <a:pt x="280801" y="950913"/>
                    </a:cubicBezTo>
                    <a:close/>
                    <a:moveTo>
                      <a:pt x="15667" y="939800"/>
                    </a:moveTo>
                    <a:cubicBezTo>
                      <a:pt x="15667" y="939800"/>
                      <a:pt x="15667" y="939800"/>
                      <a:pt x="107534" y="939800"/>
                    </a:cubicBezTo>
                    <a:cubicBezTo>
                      <a:pt x="107534" y="939800"/>
                      <a:pt x="107534" y="939800"/>
                      <a:pt x="76200" y="971135"/>
                    </a:cubicBezTo>
                    <a:lnTo>
                      <a:pt x="31334" y="971135"/>
                    </a:lnTo>
                    <a:cubicBezTo>
                      <a:pt x="31334" y="971135"/>
                      <a:pt x="31334" y="971135"/>
                      <a:pt x="31334" y="1060866"/>
                    </a:cubicBezTo>
                    <a:cubicBezTo>
                      <a:pt x="31334" y="1060866"/>
                      <a:pt x="31334" y="1060866"/>
                      <a:pt x="121065" y="1060866"/>
                    </a:cubicBezTo>
                    <a:cubicBezTo>
                      <a:pt x="121065" y="1060866"/>
                      <a:pt x="121065" y="1060866"/>
                      <a:pt x="121065" y="1057305"/>
                    </a:cubicBezTo>
                    <a:cubicBezTo>
                      <a:pt x="121065" y="1057305"/>
                      <a:pt x="121065" y="1057305"/>
                      <a:pt x="152400" y="1025970"/>
                    </a:cubicBezTo>
                    <a:cubicBezTo>
                      <a:pt x="152400" y="1025970"/>
                      <a:pt x="152400" y="1025970"/>
                      <a:pt x="152400" y="1076533"/>
                    </a:cubicBezTo>
                    <a:cubicBezTo>
                      <a:pt x="152400" y="1085079"/>
                      <a:pt x="145990" y="1092200"/>
                      <a:pt x="136732" y="1092200"/>
                    </a:cubicBezTo>
                    <a:cubicBezTo>
                      <a:pt x="136732" y="1092200"/>
                      <a:pt x="136732" y="1092200"/>
                      <a:pt x="15667" y="1092200"/>
                    </a:cubicBezTo>
                    <a:cubicBezTo>
                      <a:pt x="7121" y="1092200"/>
                      <a:pt x="0" y="1085079"/>
                      <a:pt x="0" y="1076533"/>
                    </a:cubicBezTo>
                    <a:cubicBezTo>
                      <a:pt x="0" y="1076533"/>
                      <a:pt x="0" y="1076533"/>
                      <a:pt x="0" y="955467"/>
                    </a:cubicBezTo>
                    <a:cubicBezTo>
                      <a:pt x="0" y="946922"/>
                      <a:pt x="7121" y="939800"/>
                      <a:pt x="15667" y="939800"/>
                    </a:cubicBezTo>
                    <a:close/>
                    <a:moveTo>
                      <a:pt x="291523" y="696913"/>
                    </a:moveTo>
                    <a:cubicBezTo>
                      <a:pt x="302347" y="696913"/>
                      <a:pt x="315336" y="699777"/>
                      <a:pt x="321830" y="701209"/>
                    </a:cubicBezTo>
                    <a:cubicBezTo>
                      <a:pt x="323995" y="701925"/>
                      <a:pt x="324717" y="704072"/>
                      <a:pt x="323995" y="705504"/>
                    </a:cubicBezTo>
                    <a:cubicBezTo>
                      <a:pt x="323995" y="705504"/>
                      <a:pt x="323995" y="705504"/>
                      <a:pt x="303790" y="737005"/>
                    </a:cubicBezTo>
                    <a:cubicBezTo>
                      <a:pt x="303790" y="737005"/>
                      <a:pt x="303069" y="738437"/>
                      <a:pt x="303790" y="739153"/>
                    </a:cubicBezTo>
                    <a:cubicBezTo>
                      <a:pt x="303790" y="739153"/>
                      <a:pt x="303790" y="739153"/>
                      <a:pt x="325438" y="802156"/>
                    </a:cubicBezTo>
                    <a:cubicBezTo>
                      <a:pt x="325438" y="804303"/>
                      <a:pt x="324717" y="806451"/>
                      <a:pt x="322552" y="806451"/>
                    </a:cubicBezTo>
                    <a:cubicBezTo>
                      <a:pt x="322552" y="806451"/>
                      <a:pt x="322552" y="806451"/>
                      <a:pt x="258330" y="806451"/>
                    </a:cubicBezTo>
                    <a:cubicBezTo>
                      <a:pt x="256165" y="806451"/>
                      <a:pt x="254000" y="804303"/>
                      <a:pt x="254722" y="802156"/>
                    </a:cubicBezTo>
                    <a:cubicBezTo>
                      <a:pt x="254722" y="802156"/>
                      <a:pt x="254722" y="802156"/>
                      <a:pt x="278535" y="739153"/>
                    </a:cubicBezTo>
                    <a:cubicBezTo>
                      <a:pt x="278535" y="738437"/>
                      <a:pt x="278535" y="737721"/>
                      <a:pt x="277813" y="737005"/>
                    </a:cubicBezTo>
                    <a:cubicBezTo>
                      <a:pt x="277813" y="737005"/>
                      <a:pt x="277813" y="737005"/>
                      <a:pt x="258330" y="705504"/>
                    </a:cubicBezTo>
                    <a:cubicBezTo>
                      <a:pt x="256887" y="704072"/>
                      <a:pt x="258330" y="701925"/>
                      <a:pt x="259773" y="701209"/>
                    </a:cubicBezTo>
                    <a:cubicBezTo>
                      <a:pt x="266989" y="699777"/>
                      <a:pt x="281421" y="696913"/>
                      <a:pt x="291523" y="696913"/>
                    </a:cubicBezTo>
                    <a:close/>
                    <a:moveTo>
                      <a:pt x="290512" y="287338"/>
                    </a:moveTo>
                    <a:cubicBezTo>
                      <a:pt x="373155" y="287338"/>
                      <a:pt x="435850" y="353586"/>
                      <a:pt x="435850" y="436217"/>
                    </a:cubicBezTo>
                    <a:cubicBezTo>
                      <a:pt x="435850" y="454026"/>
                      <a:pt x="436562" y="471122"/>
                      <a:pt x="430863" y="486793"/>
                    </a:cubicBezTo>
                    <a:cubicBezTo>
                      <a:pt x="430863" y="486793"/>
                      <a:pt x="430863" y="486793"/>
                      <a:pt x="430863" y="486081"/>
                    </a:cubicBezTo>
                    <a:cubicBezTo>
                      <a:pt x="430150" y="486793"/>
                      <a:pt x="428013" y="494629"/>
                      <a:pt x="413764" y="509588"/>
                    </a:cubicBezTo>
                    <a:cubicBezTo>
                      <a:pt x="413764" y="509588"/>
                      <a:pt x="413764" y="509588"/>
                      <a:pt x="403790" y="509588"/>
                    </a:cubicBezTo>
                    <a:cubicBezTo>
                      <a:pt x="403790" y="509588"/>
                      <a:pt x="403790" y="503889"/>
                      <a:pt x="402365" y="399888"/>
                    </a:cubicBezTo>
                    <a:cubicBezTo>
                      <a:pt x="385979" y="483232"/>
                      <a:pt x="210719" y="407011"/>
                      <a:pt x="210719" y="407011"/>
                    </a:cubicBezTo>
                    <a:cubicBezTo>
                      <a:pt x="167260" y="419833"/>
                      <a:pt x="175097" y="508163"/>
                      <a:pt x="175097" y="508163"/>
                    </a:cubicBezTo>
                    <a:cubicBezTo>
                      <a:pt x="175097" y="508163"/>
                      <a:pt x="175097" y="508163"/>
                      <a:pt x="165123" y="506739"/>
                    </a:cubicBezTo>
                    <a:cubicBezTo>
                      <a:pt x="165123" y="506739"/>
                      <a:pt x="165123" y="501752"/>
                      <a:pt x="150874" y="488218"/>
                    </a:cubicBezTo>
                    <a:cubicBezTo>
                      <a:pt x="144462" y="471834"/>
                      <a:pt x="145174" y="454738"/>
                      <a:pt x="145174" y="436217"/>
                    </a:cubicBezTo>
                    <a:cubicBezTo>
                      <a:pt x="145174" y="353586"/>
                      <a:pt x="207869" y="287338"/>
                      <a:pt x="290512" y="287338"/>
                    </a:cubicBezTo>
                    <a:close/>
                    <a:moveTo>
                      <a:pt x="291741" y="30163"/>
                    </a:moveTo>
                    <a:cubicBezTo>
                      <a:pt x="284572" y="30163"/>
                      <a:pt x="276686" y="31589"/>
                      <a:pt x="270233" y="34440"/>
                    </a:cubicBezTo>
                    <a:cubicBezTo>
                      <a:pt x="255178" y="39429"/>
                      <a:pt x="242990" y="50833"/>
                      <a:pt x="236537" y="65088"/>
                    </a:cubicBezTo>
                    <a:cubicBezTo>
                      <a:pt x="236537" y="65088"/>
                      <a:pt x="236537" y="65088"/>
                      <a:pt x="347662" y="65088"/>
                    </a:cubicBezTo>
                    <a:cubicBezTo>
                      <a:pt x="340493" y="50833"/>
                      <a:pt x="328305" y="39429"/>
                      <a:pt x="313966" y="34440"/>
                    </a:cubicBezTo>
                    <a:cubicBezTo>
                      <a:pt x="306797" y="31589"/>
                      <a:pt x="299628" y="30163"/>
                      <a:pt x="291741" y="30163"/>
                    </a:cubicBezTo>
                    <a:close/>
                    <a:moveTo>
                      <a:pt x="291307" y="0"/>
                    </a:moveTo>
                    <a:cubicBezTo>
                      <a:pt x="321360" y="0"/>
                      <a:pt x="347120" y="13529"/>
                      <a:pt x="364293" y="35602"/>
                    </a:cubicBezTo>
                    <a:cubicBezTo>
                      <a:pt x="371448" y="44147"/>
                      <a:pt x="377173" y="54827"/>
                      <a:pt x="380750" y="66220"/>
                    </a:cubicBezTo>
                    <a:cubicBezTo>
                      <a:pt x="380750" y="66220"/>
                      <a:pt x="380750" y="66220"/>
                      <a:pt x="430123" y="66220"/>
                    </a:cubicBezTo>
                    <a:cubicBezTo>
                      <a:pt x="433701" y="66220"/>
                      <a:pt x="436563" y="69068"/>
                      <a:pt x="436563" y="73340"/>
                    </a:cubicBezTo>
                    <a:cubicBezTo>
                      <a:pt x="436563" y="73340"/>
                      <a:pt x="436563" y="73340"/>
                      <a:pt x="436563" y="113927"/>
                    </a:cubicBezTo>
                    <a:cubicBezTo>
                      <a:pt x="436563" y="113927"/>
                      <a:pt x="436563" y="113927"/>
                      <a:pt x="436563" y="145256"/>
                    </a:cubicBezTo>
                    <a:cubicBezTo>
                      <a:pt x="436563" y="145256"/>
                      <a:pt x="436563" y="145256"/>
                      <a:pt x="436563" y="178010"/>
                    </a:cubicBezTo>
                    <a:cubicBezTo>
                      <a:pt x="436563" y="186555"/>
                      <a:pt x="430123" y="193675"/>
                      <a:pt x="421537" y="193675"/>
                    </a:cubicBezTo>
                    <a:lnTo>
                      <a:pt x="161792" y="193675"/>
                    </a:lnTo>
                    <a:cubicBezTo>
                      <a:pt x="153206" y="193675"/>
                      <a:pt x="146050" y="186555"/>
                      <a:pt x="146050" y="178010"/>
                    </a:cubicBezTo>
                    <a:cubicBezTo>
                      <a:pt x="146050" y="178010"/>
                      <a:pt x="146050" y="178010"/>
                      <a:pt x="146050" y="145256"/>
                    </a:cubicBezTo>
                    <a:cubicBezTo>
                      <a:pt x="146050" y="145256"/>
                      <a:pt x="146050" y="145256"/>
                      <a:pt x="146050" y="113927"/>
                    </a:cubicBezTo>
                    <a:cubicBezTo>
                      <a:pt x="146050" y="113927"/>
                      <a:pt x="146050" y="113927"/>
                      <a:pt x="146050" y="73340"/>
                    </a:cubicBezTo>
                    <a:cubicBezTo>
                      <a:pt x="146050" y="69068"/>
                      <a:pt x="149628" y="66220"/>
                      <a:pt x="153206" y="66220"/>
                    </a:cubicBezTo>
                    <a:cubicBezTo>
                      <a:pt x="153206" y="66220"/>
                      <a:pt x="153206" y="66220"/>
                      <a:pt x="202579" y="66220"/>
                    </a:cubicBezTo>
                    <a:cubicBezTo>
                      <a:pt x="206156" y="54827"/>
                      <a:pt x="211165" y="44147"/>
                      <a:pt x="218321" y="35602"/>
                    </a:cubicBezTo>
                    <a:cubicBezTo>
                      <a:pt x="235494" y="13529"/>
                      <a:pt x="261969" y="0"/>
                      <a:pt x="29130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10868BE-2FCA-4493-90F5-CE4A889F6AB1}"/>
              </a:ext>
            </a:extLst>
          </p:cNvPr>
          <p:cNvGrpSpPr>
            <a:grpSpLocks noChangeAspect="1"/>
          </p:cNvGrpSpPr>
          <p:nvPr/>
        </p:nvGrpSpPr>
        <p:grpSpPr>
          <a:xfrm>
            <a:off x="8158793" y="121383"/>
            <a:ext cx="844780" cy="844780"/>
            <a:chOff x="5273675" y="2576513"/>
            <a:chExt cx="1644650" cy="1644650"/>
          </a:xfrm>
        </p:grpSpPr>
        <p:sp>
          <p:nvSpPr>
            <p:cNvPr id="14" name="AutoShape 35">
              <a:extLst>
                <a:ext uri="{FF2B5EF4-FFF2-40B4-BE49-F238E27FC236}">
                  <a16:creationId xmlns:a16="http://schemas.microsoft.com/office/drawing/2014/main" id="{7AB3656D-B66B-45AB-B86E-FCA18E16482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76513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54D0DD7-60F8-4F9B-BAED-9132B47FBEB7}"/>
                </a:ext>
              </a:extLst>
            </p:cNvPr>
            <p:cNvGrpSpPr/>
            <p:nvPr/>
          </p:nvGrpSpPr>
          <p:grpSpPr>
            <a:xfrm>
              <a:off x="5445125" y="3021013"/>
              <a:ext cx="1303338" cy="757238"/>
              <a:chOff x="5445125" y="3021013"/>
              <a:chExt cx="1303338" cy="757238"/>
            </a:xfrm>
          </p:grpSpPr>
          <p:sp>
            <p:nvSpPr>
              <p:cNvPr id="16" name="Freeform 26">
                <a:extLst>
                  <a:ext uri="{FF2B5EF4-FFF2-40B4-BE49-F238E27FC236}">
                    <a16:creationId xmlns:a16="http://schemas.microsoft.com/office/drawing/2014/main" id="{6B66856E-5054-47CA-86F4-C14587A00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8174" y="3111501"/>
                <a:ext cx="632687" cy="576263"/>
              </a:xfrm>
              <a:custGeom>
                <a:avLst/>
                <a:gdLst>
                  <a:gd name="connsiteX0" fmla="*/ 217844 w 632687"/>
                  <a:gd name="connsiteY0" fmla="*/ 434975 h 576263"/>
                  <a:gd name="connsiteX1" fmla="*/ 225710 w 632687"/>
                  <a:gd name="connsiteY1" fmla="*/ 434975 h 576263"/>
                  <a:gd name="connsiteX2" fmla="*/ 230000 w 632687"/>
                  <a:gd name="connsiteY2" fmla="*/ 440713 h 576263"/>
                  <a:gd name="connsiteX3" fmla="*/ 316526 w 632687"/>
                  <a:gd name="connsiteY3" fmla="*/ 474421 h 576263"/>
                  <a:gd name="connsiteX4" fmla="*/ 402337 w 632687"/>
                  <a:gd name="connsiteY4" fmla="*/ 440713 h 576263"/>
                  <a:gd name="connsiteX5" fmla="*/ 406628 w 632687"/>
                  <a:gd name="connsiteY5" fmla="*/ 434975 h 576263"/>
                  <a:gd name="connsiteX6" fmla="*/ 414494 w 632687"/>
                  <a:gd name="connsiteY6" fmla="*/ 434975 h 576263"/>
                  <a:gd name="connsiteX7" fmla="*/ 550361 w 632687"/>
                  <a:gd name="connsiteY7" fmla="*/ 455057 h 576263"/>
                  <a:gd name="connsiteX8" fmla="*/ 631166 w 632687"/>
                  <a:gd name="connsiteY8" fmla="*/ 551161 h 576263"/>
                  <a:gd name="connsiteX9" fmla="*/ 629021 w 632687"/>
                  <a:gd name="connsiteY9" fmla="*/ 568374 h 576263"/>
                  <a:gd name="connsiteX10" fmla="*/ 610428 w 632687"/>
                  <a:gd name="connsiteY10" fmla="*/ 576263 h 576263"/>
                  <a:gd name="connsiteX11" fmla="*/ 21909 w 632687"/>
                  <a:gd name="connsiteY11" fmla="*/ 576263 h 576263"/>
                  <a:gd name="connsiteX12" fmla="*/ 4031 w 632687"/>
                  <a:gd name="connsiteY12" fmla="*/ 568374 h 576263"/>
                  <a:gd name="connsiteX13" fmla="*/ 1171 w 632687"/>
                  <a:gd name="connsiteY13" fmla="*/ 551161 h 576263"/>
                  <a:gd name="connsiteX14" fmla="*/ 81976 w 632687"/>
                  <a:gd name="connsiteY14" fmla="*/ 455057 h 576263"/>
                  <a:gd name="connsiteX15" fmla="*/ 217844 w 632687"/>
                  <a:gd name="connsiteY15" fmla="*/ 434975 h 576263"/>
                  <a:gd name="connsiteX16" fmla="*/ 175930 w 632687"/>
                  <a:gd name="connsiteY16" fmla="*/ 246062 h 576263"/>
                  <a:gd name="connsiteX17" fmla="*/ 191622 w 632687"/>
                  <a:gd name="connsiteY17" fmla="*/ 271128 h 576263"/>
                  <a:gd name="connsiteX18" fmla="*/ 195902 w 632687"/>
                  <a:gd name="connsiteY18" fmla="*/ 275425 h 576263"/>
                  <a:gd name="connsiteX19" fmla="*/ 242978 w 632687"/>
                  <a:gd name="connsiteY19" fmla="*/ 374256 h 576263"/>
                  <a:gd name="connsiteX20" fmla="*/ 316446 w 632687"/>
                  <a:gd name="connsiteY20" fmla="*/ 411496 h 576263"/>
                  <a:gd name="connsiteX21" fmla="*/ 389914 w 632687"/>
                  <a:gd name="connsiteY21" fmla="*/ 374256 h 576263"/>
                  <a:gd name="connsiteX22" fmla="*/ 436990 w 632687"/>
                  <a:gd name="connsiteY22" fmla="*/ 275425 h 576263"/>
                  <a:gd name="connsiteX23" fmla="*/ 440557 w 632687"/>
                  <a:gd name="connsiteY23" fmla="*/ 271844 h 576263"/>
                  <a:gd name="connsiteX24" fmla="*/ 451256 w 632687"/>
                  <a:gd name="connsiteY24" fmla="*/ 261818 h 576263"/>
                  <a:gd name="connsiteX25" fmla="*/ 470514 w 632687"/>
                  <a:gd name="connsiteY25" fmla="*/ 256805 h 576263"/>
                  <a:gd name="connsiteX26" fmla="*/ 449829 w 632687"/>
                  <a:gd name="connsiteY26" fmla="*/ 284019 h 576263"/>
                  <a:gd name="connsiteX27" fmla="*/ 399900 w 632687"/>
                  <a:gd name="connsiteY27" fmla="*/ 385714 h 576263"/>
                  <a:gd name="connsiteX28" fmla="*/ 397760 w 632687"/>
                  <a:gd name="connsiteY28" fmla="*/ 387147 h 576263"/>
                  <a:gd name="connsiteX29" fmla="*/ 397760 w 632687"/>
                  <a:gd name="connsiteY29" fmla="*/ 420090 h 576263"/>
                  <a:gd name="connsiteX30" fmla="*/ 389914 w 632687"/>
                  <a:gd name="connsiteY30" fmla="*/ 430117 h 576263"/>
                  <a:gd name="connsiteX31" fmla="*/ 382781 w 632687"/>
                  <a:gd name="connsiteY31" fmla="*/ 436562 h 576263"/>
                  <a:gd name="connsiteX32" fmla="*/ 382781 w 632687"/>
                  <a:gd name="connsiteY32" fmla="*/ 398605 h 576263"/>
                  <a:gd name="connsiteX33" fmla="*/ 316446 w 632687"/>
                  <a:gd name="connsiteY33" fmla="*/ 426536 h 576263"/>
                  <a:gd name="connsiteX34" fmla="*/ 249398 w 632687"/>
                  <a:gd name="connsiteY34" fmla="*/ 398605 h 576263"/>
                  <a:gd name="connsiteX35" fmla="*/ 249398 w 632687"/>
                  <a:gd name="connsiteY35" fmla="*/ 436562 h 576263"/>
                  <a:gd name="connsiteX36" fmla="*/ 242978 w 632687"/>
                  <a:gd name="connsiteY36" fmla="*/ 430833 h 576263"/>
                  <a:gd name="connsiteX37" fmla="*/ 234419 w 632687"/>
                  <a:gd name="connsiteY37" fmla="*/ 420090 h 576263"/>
                  <a:gd name="connsiteX38" fmla="*/ 234419 w 632687"/>
                  <a:gd name="connsiteY38" fmla="*/ 387147 h 576263"/>
                  <a:gd name="connsiteX39" fmla="*/ 232992 w 632687"/>
                  <a:gd name="connsiteY39" fmla="*/ 385714 h 576263"/>
                  <a:gd name="connsiteX40" fmla="*/ 183063 w 632687"/>
                  <a:gd name="connsiteY40" fmla="*/ 284019 h 576263"/>
                  <a:gd name="connsiteX41" fmla="*/ 160951 w 632687"/>
                  <a:gd name="connsiteY41" fmla="*/ 247494 h 576263"/>
                  <a:gd name="connsiteX42" fmla="*/ 166657 w 632687"/>
                  <a:gd name="connsiteY42" fmla="*/ 248211 h 576263"/>
                  <a:gd name="connsiteX43" fmla="*/ 175930 w 632687"/>
                  <a:gd name="connsiteY43" fmla="*/ 246062 h 576263"/>
                  <a:gd name="connsiteX44" fmla="*/ 315935 w 632687"/>
                  <a:gd name="connsiteY44" fmla="*/ 0 h 576263"/>
                  <a:gd name="connsiteX45" fmla="*/ 477268 w 632687"/>
                  <a:gd name="connsiteY45" fmla="*/ 163848 h 576263"/>
                  <a:gd name="connsiteX46" fmla="*/ 476554 w 632687"/>
                  <a:gd name="connsiteY46" fmla="*/ 194614 h 576263"/>
                  <a:gd name="connsiteX47" fmla="*/ 487976 w 632687"/>
                  <a:gd name="connsiteY47" fmla="*/ 230389 h 576263"/>
                  <a:gd name="connsiteX48" fmla="*/ 438720 w 632687"/>
                  <a:gd name="connsiteY48" fmla="*/ 244699 h 576263"/>
                  <a:gd name="connsiteX49" fmla="*/ 242407 w 632687"/>
                  <a:gd name="connsiteY49" fmla="*/ 128789 h 576263"/>
                  <a:gd name="connsiteX50" fmla="*/ 226702 w 632687"/>
                  <a:gd name="connsiteY50" fmla="*/ 138090 h 576263"/>
                  <a:gd name="connsiteX51" fmla="*/ 163168 w 632687"/>
                  <a:gd name="connsiteY51" fmla="*/ 231820 h 576263"/>
                  <a:gd name="connsiteX52" fmla="*/ 154601 w 632687"/>
                  <a:gd name="connsiteY52" fmla="*/ 163848 h 576263"/>
                  <a:gd name="connsiteX53" fmla="*/ 315935 w 632687"/>
                  <a:gd name="connsiteY53" fmla="*/ 0 h 57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632687" h="576263">
                    <a:moveTo>
                      <a:pt x="217844" y="434975"/>
                    </a:moveTo>
                    <a:cubicBezTo>
                      <a:pt x="217844" y="434975"/>
                      <a:pt x="217844" y="434975"/>
                      <a:pt x="225710" y="434975"/>
                    </a:cubicBezTo>
                    <a:cubicBezTo>
                      <a:pt x="225710" y="434975"/>
                      <a:pt x="225710" y="434975"/>
                      <a:pt x="230000" y="440713"/>
                    </a:cubicBezTo>
                    <a:cubicBezTo>
                      <a:pt x="231431" y="441430"/>
                      <a:pt x="260034" y="473704"/>
                      <a:pt x="316526" y="474421"/>
                    </a:cubicBezTo>
                    <a:cubicBezTo>
                      <a:pt x="372303" y="473704"/>
                      <a:pt x="400907" y="441430"/>
                      <a:pt x="402337" y="440713"/>
                    </a:cubicBezTo>
                    <a:cubicBezTo>
                      <a:pt x="402337" y="440713"/>
                      <a:pt x="402337" y="440713"/>
                      <a:pt x="406628" y="434975"/>
                    </a:cubicBezTo>
                    <a:cubicBezTo>
                      <a:pt x="406628" y="434975"/>
                      <a:pt x="406628" y="434975"/>
                      <a:pt x="414494" y="434975"/>
                    </a:cubicBezTo>
                    <a:cubicBezTo>
                      <a:pt x="418069" y="434975"/>
                      <a:pt x="502450" y="436410"/>
                      <a:pt x="550361" y="455057"/>
                    </a:cubicBezTo>
                    <a:cubicBezTo>
                      <a:pt x="590406" y="470118"/>
                      <a:pt x="618294" y="521756"/>
                      <a:pt x="631166" y="551161"/>
                    </a:cubicBezTo>
                    <a:cubicBezTo>
                      <a:pt x="634026" y="556899"/>
                      <a:pt x="632596" y="563354"/>
                      <a:pt x="629021" y="568374"/>
                    </a:cubicBezTo>
                    <a:cubicBezTo>
                      <a:pt x="624730" y="573394"/>
                      <a:pt x="617579" y="576263"/>
                      <a:pt x="610428" y="576263"/>
                    </a:cubicBezTo>
                    <a:cubicBezTo>
                      <a:pt x="610428" y="576263"/>
                      <a:pt x="610428" y="576263"/>
                      <a:pt x="21909" y="576263"/>
                    </a:cubicBezTo>
                    <a:cubicBezTo>
                      <a:pt x="14758" y="576263"/>
                      <a:pt x="7607" y="573394"/>
                      <a:pt x="4031" y="568374"/>
                    </a:cubicBezTo>
                    <a:cubicBezTo>
                      <a:pt x="-259" y="563354"/>
                      <a:pt x="-974" y="556899"/>
                      <a:pt x="1171" y="551161"/>
                    </a:cubicBezTo>
                    <a:cubicBezTo>
                      <a:pt x="14043" y="521756"/>
                      <a:pt x="41931" y="470118"/>
                      <a:pt x="81976" y="455057"/>
                    </a:cubicBezTo>
                    <a:cubicBezTo>
                      <a:pt x="129887" y="436410"/>
                      <a:pt x="214268" y="434975"/>
                      <a:pt x="217844" y="434975"/>
                    </a:cubicBezTo>
                    <a:close/>
                    <a:moveTo>
                      <a:pt x="175930" y="246062"/>
                    </a:moveTo>
                    <a:cubicBezTo>
                      <a:pt x="178070" y="256088"/>
                      <a:pt x="182350" y="267547"/>
                      <a:pt x="191622" y="271128"/>
                    </a:cubicBezTo>
                    <a:cubicBezTo>
                      <a:pt x="193762" y="271844"/>
                      <a:pt x="195189" y="273276"/>
                      <a:pt x="195902" y="275425"/>
                    </a:cubicBezTo>
                    <a:cubicBezTo>
                      <a:pt x="209454" y="309085"/>
                      <a:pt x="233706" y="366378"/>
                      <a:pt x="242978" y="374256"/>
                    </a:cubicBezTo>
                    <a:cubicBezTo>
                      <a:pt x="257244" y="387147"/>
                      <a:pt x="295761" y="411496"/>
                      <a:pt x="316446" y="411496"/>
                    </a:cubicBezTo>
                    <a:cubicBezTo>
                      <a:pt x="337131" y="411496"/>
                      <a:pt x="375648" y="387147"/>
                      <a:pt x="389914" y="374256"/>
                    </a:cubicBezTo>
                    <a:cubicBezTo>
                      <a:pt x="399186" y="366378"/>
                      <a:pt x="423438" y="309085"/>
                      <a:pt x="436990" y="275425"/>
                    </a:cubicBezTo>
                    <a:cubicBezTo>
                      <a:pt x="437703" y="273993"/>
                      <a:pt x="439130" y="272560"/>
                      <a:pt x="440557" y="271844"/>
                    </a:cubicBezTo>
                    <a:cubicBezTo>
                      <a:pt x="445549" y="268979"/>
                      <a:pt x="448403" y="265399"/>
                      <a:pt x="451256" y="261818"/>
                    </a:cubicBezTo>
                    <a:cubicBezTo>
                      <a:pt x="457675" y="261102"/>
                      <a:pt x="464095" y="259669"/>
                      <a:pt x="470514" y="256805"/>
                    </a:cubicBezTo>
                    <a:cubicBezTo>
                      <a:pt x="467661" y="265399"/>
                      <a:pt x="461955" y="276857"/>
                      <a:pt x="449829" y="284019"/>
                    </a:cubicBezTo>
                    <a:cubicBezTo>
                      <a:pt x="441983" y="303355"/>
                      <a:pt x="414165" y="373540"/>
                      <a:pt x="399900" y="385714"/>
                    </a:cubicBezTo>
                    <a:cubicBezTo>
                      <a:pt x="399186" y="386431"/>
                      <a:pt x="398473" y="387147"/>
                      <a:pt x="397760" y="387147"/>
                    </a:cubicBezTo>
                    <a:cubicBezTo>
                      <a:pt x="397760" y="387147"/>
                      <a:pt x="397760" y="387147"/>
                      <a:pt x="397760" y="420090"/>
                    </a:cubicBezTo>
                    <a:cubicBezTo>
                      <a:pt x="397760" y="420090"/>
                      <a:pt x="397760" y="420090"/>
                      <a:pt x="389914" y="430117"/>
                    </a:cubicBezTo>
                    <a:cubicBezTo>
                      <a:pt x="389200" y="430833"/>
                      <a:pt x="387061" y="432981"/>
                      <a:pt x="382781" y="436562"/>
                    </a:cubicBezTo>
                    <a:cubicBezTo>
                      <a:pt x="382781" y="429400"/>
                      <a:pt x="382781" y="417942"/>
                      <a:pt x="382781" y="398605"/>
                    </a:cubicBezTo>
                    <a:cubicBezTo>
                      <a:pt x="363522" y="412213"/>
                      <a:pt x="335705" y="426536"/>
                      <a:pt x="316446" y="426536"/>
                    </a:cubicBezTo>
                    <a:cubicBezTo>
                      <a:pt x="296474" y="426536"/>
                      <a:pt x="268656" y="412213"/>
                      <a:pt x="249398" y="398605"/>
                    </a:cubicBezTo>
                    <a:cubicBezTo>
                      <a:pt x="249398" y="398605"/>
                      <a:pt x="249398" y="398605"/>
                      <a:pt x="249398" y="436562"/>
                    </a:cubicBezTo>
                    <a:cubicBezTo>
                      <a:pt x="245118" y="432981"/>
                      <a:pt x="242978" y="430833"/>
                      <a:pt x="242978" y="430833"/>
                    </a:cubicBezTo>
                    <a:cubicBezTo>
                      <a:pt x="242978" y="430833"/>
                      <a:pt x="242978" y="430833"/>
                      <a:pt x="234419" y="420090"/>
                    </a:cubicBezTo>
                    <a:cubicBezTo>
                      <a:pt x="234419" y="412929"/>
                      <a:pt x="234419" y="402902"/>
                      <a:pt x="234419" y="387147"/>
                    </a:cubicBezTo>
                    <a:cubicBezTo>
                      <a:pt x="233706" y="386431"/>
                      <a:pt x="232992" y="386431"/>
                      <a:pt x="232992" y="385714"/>
                    </a:cubicBezTo>
                    <a:cubicBezTo>
                      <a:pt x="218727" y="373540"/>
                      <a:pt x="190909" y="304788"/>
                      <a:pt x="183063" y="284019"/>
                    </a:cubicBezTo>
                    <a:cubicBezTo>
                      <a:pt x="168797" y="276857"/>
                      <a:pt x="163091" y="259669"/>
                      <a:pt x="160951" y="247494"/>
                    </a:cubicBezTo>
                    <a:cubicBezTo>
                      <a:pt x="163091" y="248211"/>
                      <a:pt x="165231" y="248211"/>
                      <a:pt x="166657" y="248211"/>
                    </a:cubicBezTo>
                    <a:cubicBezTo>
                      <a:pt x="170224" y="248211"/>
                      <a:pt x="173077" y="247494"/>
                      <a:pt x="175930" y="246062"/>
                    </a:cubicBezTo>
                    <a:close/>
                    <a:moveTo>
                      <a:pt x="315935" y="0"/>
                    </a:moveTo>
                    <a:cubicBezTo>
                      <a:pt x="407309" y="0"/>
                      <a:pt x="477268" y="73696"/>
                      <a:pt x="477268" y="163848"/>
                    </a:cubicBezTo>
                    <a:cubicBezTo>
                      <a:pt x="477268" y="174580"/>
                      <a:pt x="477268" y="184597"/>
                      <a:pt x="476554" y="194614"/>
                    </a:cubicBezTo>
                    <a:cubicBezTo>
                      <a:pt x="475841" y="203916"/>
                      <a:pt x="478696" y="216794"/>
                      <a:pt x="487976" y="230389"/>
                    </a:cubicBezTo>
                    <a:cubicBezTo>
                      <a:pt x="487976" y="230389"/>
                      <a:pt x="454425" y="254000"/>
                      <a:pt x="438720" y="244699"/>
                    </a:cubicBezTo>
                    <a:cubicBezTo>
                      <a:pt x="420159" y="234682"/>
                      <a:pt x="343062" y="128789"/>
                      <a:pt x="242407" y="128789"/>
                    </a:cubicBezTo>
                    <a:cubicBezTo>
                      <a:pt x="242407" y="128789"/>
                      <a:pt x="231699" y="134513"/>
                      <a:pt x="226702" y="138090"/>
                    </a:cubicBezTo>
                    <a:cubicBezTo>
                      <a:pt x="181014" y="168856"/>
                      <a:pt x="178873" y="246130"/>
                      <a:pt x="163168" y="231820"/>
                    </a:cubicBezTo>
                    <a:cubicBezTo>
                      <a:pt x="157457" y="223949"/>
                      <a:pt x="154601" y="183882"/>
                      <a:pt x="154601" y="163848"/>
                    </a:cubicBezTo>
                    <a:cubicBezTo>
                      <a:pt x="154601" y="73696"/>
                      <a:pt x="224560" y="0"/>
                      <a:pt x="31593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" name="Freeform 27">
                <a:extLst>
                  <a:ext uri="{FF2B5EF4-FFF2-40B4-BE49-F238E27FC236}">
                    <a16:creationId xmlns:a16="http://schemas.microsoft.com/office/drawing/2014/main" id="{A404F525-381B-4563-AF90-58AA0406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5125" y="3021013"/>
                <a:ext cx="1303338" cy="757238"/>
              </a:xfrm>
              <a:custGeom>
                <a:avLst/>
                <a:gdLst>
                  <a:gd name="connsiteX0" fmla="*/ 803110 w 1303338"/>
                  <a:gd name="connsiteY0" fmla="*/ 596900 h 757238"/>
                  <a:gd name="connsiteX1" fmla="*/ 1184440 w 1303338"/>
                  <a:gd name="connsiteY1" fmla="*/ 596900 h 757238"/>
                  <a:gd name="connsiteX2" fmla="*/ 1200150 w 1303338"/>
                  <a:gd name="connsiteY2" fmla="*/ 612775 h 757238"/>
                  <a:gd name="connsiteX3" fmla="*/ 1184440 w 1303338"/>
                  <a:gd name="connsiteY3" fmla="*/ 628650 h 757238"/>
                  <a:gd name="connsiteX4" fmla="*/ 803110 w 1303338"/>
                  <a:gd name="connsiteY4" fmla="*/ 628650 h 757238"/>
                  <a:gd name="connsiteX5" fmla="*/ 787400 w 1303338"/>
                  <a:gd name="connsiteY5" fmla="*/ 612775 h 757238"/>
                  <a:gd name="connsiteX6" fmla="*/ 803110 w 1303338"/>
                  <a:gd name="connsiteY6" fmla="*/ 596900 h 757238"/>
                  <a:gd name="connsiteX7" fmla="*/ 803110 w 1303338"/>
                  <a:gd name="connsiteY7" fmla="*/ 503238 h 757238"/>
                  <a:gd name="connsiteX8" fmla="*/ 1184440 w 1303338"/>
                  <a:gd name="connsiteY8" fmla="*/ 503238 h 757238"/>
                  <a:gd name="connsiteX9" fmla="*/ 1200150 w 1303338"/>
                  <a:gd name="connsiteY9" fmla="*/ 519113 h 757238"/>
                  <a:gd name="connsiteX10" fmla="*/ 1184440 w 1303338"/>
                  <a:gd name="connsiteY10" fmla="*/ 534988 h 757238"/>
                  <a:gd name="connsiteX11" fmla="*/ 803110 w 1303338"/>
                  <a:gd name="connsiteY11" fmla="*/ 534988 h 757238"/>
                  <a:gd name="connsiteX12" fmla="*/ 787400 w 1303338"/>
                  <a:gd name="connsiteY12" fmla="*/ 519113 h 757238"/>
                  <a:gd name="connsiteX13" fmla="*/ 803110 w 1303338"/>
                  <a:gd name="connsiteY13" fmla="*/ 503238 h 757238"/>
                  <a:gd name="connsiteX14" fmla="*/ 803110 w 1303338"/>
                  <a:gd name="connsiteY14" fmla="*/ 409575 h 757238"/>
                  <a:gd name="connsiteX15" fmla="*/ 1184440 w 1303338"/>
                  <a:gd name="connsiteY15" fmla="*/ 409575 h 757238"/>
                  <a:gd name="connsiteX16" fmla="*/ 1200150 w 1303338"/>
                  <a:gd name="connsiteY16" fmla="*/ 425450 h 757238"/>
                  <a:gd name="connsiteX17" fmla="*/ 1184440 w 1303338"/>
                  <a:gd name="connsiteY17" fmla="*/ 441325 h 757238"/>
                  <a:gd name="connsiteX18" fmla="*/ 803110 w 1303338"/>
                  <a:gd name="connsiteY18" fmla="*/ 441325 h 757238"/>
                  <a:gd name="connsiteX19" fmla="*/ 787400 w 1303338"/>
                  <a:gd name="connsiteY19" fmla="*/ 425450 h 757238"/>
                  <a:gd name="connsiteX20" fmla="*/ 803110 w 1303338"/>
                  <a:gd name="connsiteY20" fmla="*/ 409575 h 757238"/>
                  <a:gd name="connsiteX21" fmla="*/ 803110 w 1303338"/>
                  <a:gd name="connsiteY21" fmla="*/ 315913 h 757238"/>
                  <a:gd name="connsiteX22" fmla="*/ 1184440 w 1303338"/>
                  <a:gd name="connsiteY22" fmla="*/ 315913 h 757238"/>
                  <a:gd name="connsiteX23" fmla="*/ 1200150 w 1303338"/>
                  <a:gd name="connsiteY23" fmla="*/ 331788 h 757238"/>
                  <a:gd name="connsiteX24" fmla="*/ 1184440 w 1303338"/>
                  <a:gd name="connsiteY24" fmla="*/ 347663 h 757238"/>
                  <a:gd name="connsiteX25" fmla="*/ 803110 w 1303338"/>
                  <a:gd name="connsiteY25" fmla="*/ 347663 h 757238"/>
                  <a:gd name="connsiteX26" fmla="*/ 787400 w 1303338"/>
                  <a:gd name="connsiteY26" fmla="*/ 331788 h 757238"/>
                  <a:gd name="connsiteX27" fmla="*/ 803110 w 1303338"/>
                  <a:gd name="connsiteY27" fmla="*/ 315913 h 757238"/>
                  <a:gd name="connsiteX28" fmla="*/ 803110 w 1303338"/>
                  <a:gd name="connsiteY28" fmla="*/ 222250 h 757238"/>
                  <a:gd name="connsiteX29" fmla="*/ 1184440 w 1303338"/>
                  <a:gd name="connsiteY29" fmla="*/ 222250 h 757238"/>
                  <a:gd name="connsiteX30" fmla="*/ 1200150 w 1303338"/>
                  <a:gd name="connsiteY30" fmla="*/ 238125 h 757238"/>
                  <a:gd name="connsiteX31" fmla="*/ 1184440 w 1303338"/>
                  <a:gd name="connsiteY31" fmla="*/ 254000 h 757238"/>
                  <a:gd name="connsiteX32" fmla="*/ 803110 w 1303338"/>
                  <a:gd name="connsiteY32" fmla="*/ 254000 h 757238"/>
                  <a:gd name="connsiteX33" fmla="*/ 787400 w 1303338"/>
                  <a:gd name="connsiteY33" fmla="*/ 238125 h 757238"/>
                  <a:gd name="connsiteX34" fmla="*/ 803110 w 1303338"/>
                  <a:gd name="connsiteY34" fmla="*/ 222250 h 757238"/>
                  <a:gd name="connsiteX35" fmla="*/ 803110 w 1303338"/>
                  <a:gd name="connsiteY35" fmla="*/ 128588 h 757238"/>
                  <a:gd name="connsiteX36" fmla="*/ 1184440 w 1303338"/>
                  <a:gd name="connsiteY36" fmla="*/ 128588 h 757238"/>
                  <a:gd name="connsiteX37" fmla="*/ 1200150 w 1303338"/>
                  <a:gd name="connsiteY37" fmla="*/ 144463 h 757238"/>
                  <a:gd name="connsiteX38" fmla="*/ 1184440 w 1303338"/>
                  <a:gd name="connsiteY38" fmla="*/ 160338 h 757238"/>
                  <a:gd name="connsiteX39" fmla="*/ 803110 w 1303338"/>
                  <a:gd name="connsiteY39" fmla="*/ 160338 h 757238"/>
                  <a:gd name="connsiteX40" fmla="*/ 787400 w 1303338"/>
                  <a:gd name="connsiteY40" fmla="*/ 144463 h 757238"/>
                  <a:gd name="connsiteX41" fmla="*/ 803110 w 1303338"/>
                  <a:gd name="connsiteY41" fmla="*/ 128588 h 757238"/>
                  <a:gd name="connsiteX42" fmla="*/ 100313 w 1303338"/>
                  <a:gd name="connsiteY42" fmla="*/ 31750 h 757238"/>
                  <a:gd name="connsiteX43" fmla="*/ 31750 w 1303338"/>
                  <a:gd name="connsiteY43" fmla="*/ 100267 h 757238"/>
                  <a:gd name="connsiteX44" fmla="*/ 31750 w 1303338"/>
                  <a:gd name="connsiteY44" fmla="*/ 656971 h 757238"/>
                  <a:gd name="connsiteX45" fmla="*/ 100313 w 1303338"/>
                  <a:gd name="connsiteY45" fmla="*/ 725488 h 757238"/>
                  <a:gd name="connsiteX46" fmla="*/ 1203026 w 1303338"/>
                  <a:gd name="connsiteY46" fmla="*/ 725488 h 757238"/>
                  <a:gd name="connsiteX47" fmla="*/ 1271588 w 1303338"/>
                  <a:gd name="connsiteY47" fmla="*/ 656971 h 757238"/>
                  <a:gd name="connsiteX48" fmla="*/ 1271588 w 1303338"/>
                  <a:gd name="connsiteY48" fmla="*/ 100267 h 757238"/>
                  <a:gd name="connsiteX49" fmla="*/ 1203026 w 1303338"/>
                  <a:gd name="connsiteY49" fmla="*/ 31750 h 757238"/>
                  <a:gd name="connsiteX50" fmla="*/ 100313 w 1303338"/>
                  <a:gd name="connsiteY50" fmla="*/ 31750 h 757238"/>
                  <a:gd name="connsiteX51" fmla="*/ 100037 w 1303338"/>
                  <a:gd name="connsiteY51" fmla="*/ 0 h 757238"/>
                  <a:gd name="connsiteX52" fmla="*/ 1203301 w 1303338"/>
                  <a:gd name="connsiteY52" fmla="*/ 0 h 757238"/>
                  <a:gd name="connsiteX53" fmla="*/ 1303338 w 1303338"/>
                  <a:gd name="connsiteY53" fmla="*/ 100013 h 757238"/>
                  <a:gd name="connsiteX54" fmla="*/ 1303338 w 1303338"/>
                  <a:gd name="connsiteY54" fmla="*/ 657226 h 757238"/>
                  <a:gd name="connsiteX55" fmla="*/ 1203301 w 1303338"/>
                  <a:gd name="connsiteY55" fmla="*/ 757238 h 757238"/>
                  <a:gd name="connsiteX56" fmla="*/ 100037 w 1303338"/>
                  <a:gd name="connsiteY56" fmla="*/ 757238 h 757238"/>
                  <a:gd name="connsiteX57" fmla="*/ 0 w 1303338"/>
                  <a:gd name="connsiteY57" fmla="*/ 657226 h 757238"/>
                  <a:gd name="connsiteX58" fmla="*/ 0 w 1303338"/>
                  <a:gd name="connsiteY58" fmla="*/ 100013 h 757238"/>
                  <a:gd name="connsiteX59" fmla="*/ 100037 w 1303338"/>
                  <a:gd name="connsiteY59" fmla="*/ 0 h 7572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1303338" h="757238">
                    <a:moveTo>
                      <a:pt x="803110" y="596900"/>
                    </a:moveTo>
                    <a:cubicBezTo>
                      <a:pt x="803110" y="596900"/>
                      <a:pt x="803110" y="596900"/>
                      <a:pt x="1184440" y="596900"/>
                    </a:cubicBezTo>
                    <a:cubicBezTo>
                      <a:pt x="1193009" y="596900"/>
                      <a:pt x="1200150" y="603394"/>
                      <a:pt x="1200150" y="612775"/>
                    </a:cubicBezTo>
                    <a:cubicBezTo>
                      <a:pt x="1200150" y="621434"/>
                      <a:pt x="1193009" y="628650"/>
                      <a:pt x="1184440" y="628650"/>
                    </a:cubicBezTo>
                    <a:cubicBezTo>
                      <a:pt x="1184440" y="628650"/>
                      <a:pt x="1184440" y="628650"/>
                      <a:pt x="803110" y="628650"/>
                    </a:cubicBezTo>
                    <a:cubicBezTo>
                      <a:pt x="794541" y="628650"/>
                      <a:pt x="787400" y="621434"/>
                      <a:pt x="787400" y="612775"/>
                    </a:cubicBezTo>
                    <a:cubicBezTo>
                      <a:pt x="787400" y="603394"/>
                      <a:pt x="794541" y="596900"/>
                      <a:pt x="803110" y="596900"/>
                    </a:cubicBezTo>
                    <a:close/>
                    <a:moveTo>
                      <a:pt x="803110" y="503238"/>
                    </a:moveTo>
                    <a:cubicBezTo>
                      <a:pt x="803110" y="503238"/>
                      <a:pt x="803110" y="503238"/>
                      <a:pt x="1184440" y="503238"/>
                    </a:cubicBezTo>
                    <a:cubicBezTo>
                      <a:pt x="1193009" y="503238"/>
                      <a:pt x="1200150" y="509732"/>
                      <a:pt x="1200150" y="519113"/>
                    </a:cubicBezTo>
                    <a:cubicBezTo>
                      <a:pt x="1200150" y="527772"/>
                      <a:pt x="1193009" y="534988"/>
                      <a:pt x="1184440" y="534988"/>
                    </a:cubicBezTo>
                    <a:cubicBezTo>
                      <a:pt x="1184440" y="534988"/>
                      <a:pt x="1184440" y="534988"/>
                      <a:pt x="803110" y="534988"/>
                    </a:cubicBezTo>
                    <a:cubicBezTo>
                      <a:pt x="794541" y="534988"/>
                      <a:pt x="787400" y="527772"/>
                      <a:pt x="787400" y="519113"/>
                    </a:cubicBezTo>
                    <a:cubicBezTo>
                      <a:pt x="787400" y="509732"/>
                      <a:pt x="794541" y="503238"/>
                      <a:pt x="803110" y="503238"/>
                    </a:cubicBezTo>
                    <a:close/>
                    <a:moveTo>
                      <a:pt x="803110" y="409575"/>
                    </a:moveTo>
                    <a:cubicBezTo>
                      <a:pt x="803110" y="409575"/>
                      <a:pt x="803110" y="409575"/>
                      <a:pt x="1184440" y="409575"/>
                    </a:cubicBezTo>
                    <a:cubicBezTo>
                      <a:pt x="1193009" y="409575"/>
                      <a:pt x="1200150" y="416069"/>
                      <a:pt x="1200150" y="425450"/>
                    </a:cubicBezTo>
                    <a:cubicBezTo>
                      <a:pt x="1200150" y="434109"/>
                      <a:pt x="1193009" y="441325"/>
                      <a:pt x="1184440" y="441325"/>
                    </a:cubicBezTo>
                    <a:cubicBezTo>
                      <a:pt x="1184440" y="441325"/>
                      <a:pt x="1184440" y="441325"/>
                      <a:pt x="803110" y="441325"/>
                    </a:cubicBezTo>
                    <a:cubicBezTo>
                      <a:pt x="794541" y="441325"/>
                      <a:pt x="787400" y="434109"/>
                      <a:pt x="787400" y="425450"/>
                    </a:cubicBezTo>
                    <a:cubicBezTo>
                      <a:pt x="787400" y="416069"/>
                      <a:pt x="794541" y="409575"/>
                      <a:pt x="803110" y="409575"/>
                    </a:cubicBezTo>
                    <a:close/>
                    <a:moveTo>
                      <a:pt x="803110" y="315913"/>
                    </a:moveTo>
                    <a:cubicBezTo>
                      <a:pt x="803110" y="315913"/>
                      <a:pt x="803110" y="315913"/>
                      <a:pt x="1184440" y="315913"/>
                    </a:cubicBezTo>
                    <a:cubicBezTo>
                      <a:pt x="1193009" y="315913"/>
                      <a:pt x="1200150" y="323129"/>
                      <a:pt x="1200150" y="331788"/>
                    </a:cubicBezTo>
                    <a:cubicBezTo>
                      <a:pt x="1200150" y="341169"/>
                      <a:pt x="1193009" y="347663"/>
                      <a:pt x="1184440" y="347663"/>
                    </a:cubicBezTo>
                    <a:cubicBezTo>
                      <a:pt x="1184440" y="347663"/>
                      <a:pt x="1184440" y="347663"/>
                      <a:pt x="803110" y="347663"/>
                    </a:cubicBezTo>
                    <a:cubicBezTo>
                      <a:pt x="794541" y="347663"/>
                      <a:pt x="787400" y="341169"/>
                      <a:pt x="787400" y="331788"/>
                    </a:cubicBezTo>
                    <a:cubicBezTo>
                      <a:pt x="787400" y="323129"/>
                      <a:pt x="794541" y="315913"/>
                      <a:pt x="803110" y="315913"/>
                    </a:cubicBezTo>
                    <a:close/>
                    <a:moveTo>
                      <a:pt x="803110" y="222250"/>
                    </a:moveTo>
                    <a:cubicBezTo>
                      <a:pt x="803110" y="222250"/>
                      <a:pt x="803110" y="222250"/>
                      <a:pt x="1184440" y="222250"/>
                    </a:cubicBezTo>
                    <a:cubicBezTo>
                      <a:pt x="1193009" y="222250"/>
                      <a:pt x="1200150" y="229466"/>
                      <a:pt x="1200150" y="238125"/>
                    </a:cubicBezTo>
                    <a:cubicBezTo>
                      <a:pt x="1200150" y="247506"/>
                      <a:pt x="1193009" y="254000"/>
                      <a:pt x="1184440" y="254000"/>
                    </a:cubicBezTo>
                    <a:cubicBezTo>
                      <a:pt x="1184440" y="254000"/>
                      <a:pt x="1184440" y="254000"/>
                      <a:pt x="803110" y="254000"/>
                    </a:cubicBezTo>
                    <a:cubicBezTo>
                      <a:pt x="794541" y="254000"/>
                      <a:pt x="787400" y="247506"/>
                      <a:pt x="787400" y="238125"/>
                    </a:cubicBezTo>
                    <a:cubicBezTo>
                      <a:pt x="787400" y="229466"/>
                      <a:pt x="794541" y="222250"/>
                      <a:pt x="803110" y="222250"/>
                    </a:cubicBezTo>
                    <a:close/>
                    <a:moveTo>
                      <a:pt x="803110" y="128588"/>
                    </a:moveTo>
                    <a:cubicBezTo>
                      <a:pt x="803110" y="128588"/>
                      <a:pt x="803110" y="128588"/>
                      <a:pt x="1184440" y="128588"/>
                    </a:cubicBezTo>
                    <a:cubicBezTo>
                      <a:pt x="1193009" y="128588"/>
                      <a:pt x="1200150" y="135804"/>
                      <a:pt x="1200150" y="144463"/>
                    </a:cubicBezTo>
                    <a:cubicBezTo>
                      <a:pt x="1200150" y="153844"/>
                      <a:pt x="1193009" y="160338"/>
                      <a:pt x="1184440" y="160338"/>
                    </a:cubicBezTo>
                    <a:cubicBezTo>
                      <a:pt x="1184440" y="160338"/>
                      <a:pt x="1184440" y="160338"/>
                      <a:pt x="803110" y="160338"/>
                    </a:cubicBezTo>
                    <a:cubicBezTo>
                      <a:pt x="794541" y="160338"/>
                      <a:pt x="787400" y="153844"/>
                      <a:pt x="787400" y="144463"/>
                    </a:cubicBezTo>
                    <a:cubicBezTo>
                      <a:pt x="787400" y="135804"/>
                      <a:pt x="794541" y="128588"/>
                      <a:pt x="803110" y="128588"/>
                    </a:cubicBezTo>
                    <a:close/>
                    <a:moveTo>
                      <a:pt x="100313" y="31750"/>
                    </a:moveTo>
                    <a:cubicBezTo>
                      <a:pt x="62461" y="31750"/>
                      <a:pt x="31750" y="62440"/>
                      <a:pt x="31750" y="100267"/>
                    </a:cubicBezTo>
                    <a:cubicBezTo>
                      <a:pt x="31750" y="100267"/>
                      <a:pt x="31750" y="100267"/>
                      <a:pt x="31750" y="656971"/>
                    </a:cubicBezTo>
                    <a:cubicBezTo>
                      <a:pt x="31750" y="694798"/>
                      <a:pt x="62461" y="725488"/>
                      <a:pt x="100313" y="725488"/>
                    </a:cubicBezTo>
                    <a:cubicBezTo>
                      <a:pt x="100313" y="725488"/>
                      <a:pt x="100313" y="725488"/>
                      <a:pt x="1203026" y="725488"/>
                    </a:cubicBezTo>
                    <a:cubicBezTo>
                      <a:pt x="1240878" y="725488"/>
                      <a:pt x="1271588" y="694798"/>
                      <a:pt x="1271588" y="656971"/>
                    </a:cubicBezTo>
                    <a:lnTo>
                      <a:pt x="1271588" y="100267"/>
                    </a:lnTo>
                    <a:cubicBezTo>
                      <a:pt x="1271588" y="62440"/>
                      <a:pt x="1240878" y="31750"/>
                      <a:pt x="1203026" y="31750"/>
                    </a:cubicBezTo>
                    <a:cubicBezTo>
                      <a:pt x="1203026" y="31750"/>
                      <a:pt x="1203026" y="31750"/>
                      <a:pt x="100313" y="31750"/>
                    </a:cubicBezTo>
                    <a:close/>
                    <a:moveTo>
                      <a:pt x="100037" y="0"/>
                    </a:moveTo>
                    <a:cubicBezTo>
                      <a:pt x="100037" y="0"/>
                      <a:pt x="100037" y="0"/>
                      <a:pt x="1203301" y="0"/>
                    </a:cubicBezTo>
                    <a:cubicBezTo>
                      <a:pt x="1258322" y="0"/>
                      <a:pt x="1303338" y="45006"/>
                      <a:pt x="1303338" y="100013"/>
                    </a:cubicBezTo>
                    <a:cubicBezTo>
                      <a:pt x="1303338" y="100013"/>
                      <a:pt x="1303338" y="100013"/>
                      <a:pt x="1303338" y="657226"/>
                    </a:cubicBezTo>
                    <a:cubicBezTo>
                      <a:pt x="1303338" y="712233"/>
                      <a:pt x="1258322" y="757238"/>
                      <a:pt x="1203301" y="757238"/>
                    </a:cubicBezTo>
                    <a:cubicBezTo>
                      <a:pt x="1203301" y="757238"/>
                      <a:pt x="1203301" y="757238"/>
                      <a:pt x="100037" y="757238"/>
                    </a:cubicBezTo>
                    <a:cubicBezTo>
                      <a:pt x="45017" y="757238"/>
                      <a:pt x="0" y="712233"/>
                      <a:pt x="0" y="657226"/>
                    </a:cubicBezTo>
                    <a:cubicBezTo>
                      <a:pt x="0" y="657226"/>
                      <a:pt x="0" y="657226"/>
                      <a:pt x="0" y="100013"/>
                    </a:cubicBezTo>
                    <a:cubicBezTo>
                      <a:pt x="0" y="45006"/>
                      <a:pt x="45017" y="0"/>
                      <a:pt x="10003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9982B4E-BDF8-4352-ACC6-C7F1180AA2A5}"/>
              </a:ext>
            </a:extLst>
          </p:cNvPr>
          <p:cNvGraphicFramePr>
            <a:graphicFrameLocks noGrp="1"/>
          </p:cNvGraphicFramePr>
          <p:nvPr/>
        </p:nvGraphicFramePr>
        <p:xfrm>
          <a:off x="4325960" y="830223"/>
          <a:ext cx="7165378" cy="364897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94690">
                  <a:extLst>
                    <a:ext uri="{9D8B030D-6E8A-4147-A177-3AD203B41FA5}">
                      <a16:colId xmlns:a16="http://schemas.microsoft.com/office/drawing/2014/main" val="3858757115"/>
                    </a:ext>
                  </a:extLst>
                </a:gridCol>
                <a:gridCol w="1898781">
                  <a:extLst>
                    <a:ext uri="{9D8B030D-6E8A-4147-A177-3AD203B41FA5}">
                      <a16:colId xmlns:a16="http://schemas.microsoft.com/office/drawing/2014/main" val="3303179708"/>
                    </a:ext>
                  </a:extLst>
                </a:gridCol>
                <a:gridCol w="3471907">
                  <a:extLst>
                    <a:ext uri="{9D8B030D-6E8A-4147-A177-3AD203B41FA5}">
                      <a16:colId xmlns:a16="http://schemas.microsoft.com/office/drawing/2014/main" val="2672268668"/>
                    </a:ext>
                  </a:extLst>
                </a:gridCol>
              </a:tblGrid>
              <a:tr h="370476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eer Center</a:t>
                      </a:r>
                    </a:p>
                  </a:txBody>
                  <a:tcPr marL="0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Trebuchet MS" panose="020B0603020202020204" pitchFamily="34" charset="0"/>
                        <a:buChar char="​"/>
                      </a:pPr>
                      <a:r>
                        <a:rPr lang="en-US" sz="2000" b="0" i="0" u="none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 information</a:t>
                      </a:r>
                    </a:p>
                  </a:txBody>
                  <a:tcPr marL="70581" marR="70581" marT="43603" marB="43603" anchor="b">
                    <a:lnB w="9525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515698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FranklinHampshire</a:t>
                      </a:r>
                    </a:p>
                  </a:txBody>
                  <a:tcPr marL="7470" marR="7470" marT="4542" marB="0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nni Menard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kern="1200" baseline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  <a:hlinkClick r:id="rId6"/>
                        </a:rPr>
                        <a:t>pennimenard@masshirefhcareers.org</a:t>
                      </a:r>
                      <a:endParaRPr lang="en-US" sz="1400" b="0" i="0" u="sng" strike="noStrike" kern="1200" baseline="0">
                        <a:solidFill>
                          <a:schemeClr val="accent3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-774-4361 x329</a:t>
                      </a:r>
                    </a:p>
                  </a:txBody>
                  <a:tcPr marL="70581" marR="70581" marT="43603" marB="43603" anchor="ctr">
                    <a:lnT w="9525">
                      <a:solidFill>
                        <a:srgbClr val="9A9A9A"/>
                      </a:solidFill>
                      <a:prstDash val="soli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781921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FranklinHampshire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 strike="noStrike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ija</a:t>
                      </a:r>
                      <a:r>
                        <a:rPr lang="en-US" sz="1400" b="0" i="0" u="none" strike="noStrike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strike="noStrike" baseline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oily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mboily@masshirefhcareers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413-774-4361 x359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4628620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Holyoke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anol Cruz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8"/>
                        </a:rPr>
                        <a:t>icruz@masshireholyoke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baseline="0">
                          <a:solidFill>
                            <a:srgbClr val="333333"/>
                          </a:solidFill>
                          <a:latin typeface="+mn-lt"/>
                          <a:ea typeface="+mn-ea"/>
                          <a:cs typeface="+mn-cs"/>
                        </a:rPr>
                        <a:t>413-561-0305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342974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Holyoke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lene Corales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sng" strike="noStrike" baseline="0">
                          <a:solidFill>
                            <a:srgbClr val="0000FF"/>
                          </a:solidFill>
                          <a:latin typeface="+mn-lt"/>
                          <a:ea typeface="+mn-ea"/>
                          <a:cs typeface="+mn-cs"/>
                          <a:hlinkClick r:id="rId9"/>
                        </a:rPr>
                        <a:t>mcorales@masshireholyoke.org</a:t>
                      </a:r>
                      <a:endParaRPr lang="en-US" sz="1400" b="0" i="0" u="sng" strike="noStrike" baseline="0">
                        <a:solidFill>
                          <a:srgbClr val="0000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-532-4900 x126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8668591"/>
                  </a:ext>
                </a:extLst>
              </a:tr>
              <a:tr h="68734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Springfield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olanda Rodriguez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0"/>
                        </a:rPr>
                        <a:t>yrodriguez@masshirespringfield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-858-2890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786857"/>
                  </a:ext>
                </a:extLst>
              </a:tr>
              <a:tr h="4856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ssHireSpringfield Career Ctr</a:t>
                      </a:r>
                    </a:p>
                  </a:txBody>
                  <a:tcPr marL="7470" marR="7470" marT="4542" marB="0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entin Murray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1"/>
                        </a:rPr>
                        <a:t>qmurray@masshirespringfield.org</a:t>
                      </a:r>
                      <a:endParaRPr lang="en-US" sz="1400" b="0" i="0" u="none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3-858-2854</a:t>
                      </a:r>
                    </a:p>
                  </a:txBody>
                  <a:tcPr marL="70581" marR="70581" marT="43603" marB="43603" anchor="ctr"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203822"/>
                  </a:ext>
                </a:extLst>
              </a:tr>
            </a:tbl>
          </a:graphicData>
        </a:graphic>
      </p:graphicFrame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4DC1806F-7F32-4835-A3D8-F6139752F4A9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Oval 20">
            <a:extLst>
              <a:ext uri="{FF2B5EF4-FFF2-40B4-BE49-F238E27FC236}">
                <a16:creationId xmlns:a16="http://schemas.microsoft.com/office/drawing/2014/main" id="{F305E0A3-9CEF-49AB-ABCD-795D331507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271029A-2BBC-4B21-9CB6-345A075C3155}"/>
              </a:ext>
            </a:extLst>
          </p:cNvPr>
          <p:cNvSpPr txBox="1">
            <a:spLocks/>
          </p:cNvSpPr>
          <p:nvPr/>
        </p:nvSpPr>
        <p:spPr>
          <a:xfrm>
            <a:off x="179428" y="351098"/>
            <a:ext cx="3416268" cy="26769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extLst>
      <p:ext uri="{BB962C8B-B14F-4D97-AF65-F5344CB8AC3E}">
        <p14:creationId xmlns:p14="http://schemas.microsoft.com/office/powerpoint/2010/main" val="160354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nitial events for Market Makers to attend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3EC2611F-6B70-48BC-83EE-2C91B041CF28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6CD9AEAA-498E-4EE4-A311-1FC60225DDF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560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6FEF3B-8CBD-4202-9232-B4A2C768A3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6FEF3B-8CBD-4202-9232-B4A2C768A3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0FF3207-02E2-4EF6-A22F-77630A5F9A2B}"/>
              </a:ext>
            </a:extLst>
          </p:cNvPr>
          <p:cNvCxnSpPr>
            <a:cxnSpLocks/>
          </p:cNvCxnSpPr>
          <p:nvPr/>
        </p:nvCxnSpPr>
        <p:spPr>
          <a:xfrm flipH="1">
            <a:off x="647880" y="1789606"/>
            <a:ext cx="10579563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685" y="546128"/>
            <a:ext cx="10117513" cy="609398"/>
          </a:xfrm>
        </p:spPr>
        <p:txBody>
          <a:bodyPr vert="horz"/>
          <a:lstStyle/>
          <a:p>
            <a:r>
              <a:rPr lang="en-US" sz="2200"/>
              <a:t>To support the Market Maker cohort, CommCorp is leading two types of Market Maker meetings where resources, trainings, and TA are provid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Market Maker role within MassHire workforce system</a:t>
            </a:r>
          </a:p>
        </p:txBody>
      </p:sp>
      <p:sp>
        <p:nvSpPr>
          <p:cNvPr id="25" name="ee4pHeader2">
            <a:extLst>
              <a:ext uri="{FF2B5EF4-FFF2-40B4-BE49-F238E27FC236}">
                <a16:creationId xmlns:a16="http://schemas.microsoft.com/office/drawing/2014/main" id="{85AA512E-4A7F-4F18-A133-5C579AEEDBD3}"/>
              </a:ext>
            </a:extLst>
          </p:cNvPr>
          <p:cNvSpPr txBox="1"/>
          <p:nvPr/>
        </p:nvSpPr>
        <p:spPr>
          <a:xfrm>
            <a:off x="450304" y="2402193"/>
            <a:ext cx="5078948" cy="73189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en-US" sz="2000" b="1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Community of practice</a:t>
            </a:r>
          </a:p>
        </p:txBody>
      </p:sp>
      <p:sp>
        <p:nvSpPr>
          <p:cNvPr id="29" name="ee4pContent1">
            <a:extLst>
              <a:ext uri="{FF2B5EF4-FFF2-40B4-BE49-F238E27FC236}">
                <a16:creationId xmlns:a16="http://schemas.microsoft.com/office/drawing/2014/main" id="{4FEDD95F-95B3-4022-9FA0-422D52325B29}"/>
              </a:ext>
            </a:extLst>
          </p:cNvPr>
          <p:cNvSpPr txBox="1"/>
          <p:nvPr/>
        </p:nvSpPr>
        <p:spPr>
          <a:xfrm>
            <a:off x="450304" y="3122936"/>
            <a:ext cx="5078948" cy="32435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400" b="1"/>
              <a:t>Monthly group meetings </a:t>
            </a:r>
            <a:r>
              <a:rPr lang="en-US" sz="1400"/>
              <a:t>to convene Market Makers and supporting internal stakeholders</a:t>
            </a:r>
            <a:endParaRPr lang="en-US" sz="1400" b="1"/>
          </a:p>
          <a:p>
            <a:endParaRPr lang="en-US" sz="1400"/>
          </a:p>
          <a:p>
            <a:r>
              <a:rPr lang="en-US" sz="1400"/>
              <a:t>Attendees include:</a:t>
            </a:r>
          </a:p>
          <a:p>
            <a:pPr marL="226800" lvl="1" indent="-151200"/>
            <a:r>
              <a:rPr lang="en-US" sz="1400"/>
              <a:t>Market Makers</a:t>
            </a:r>
          </a:p>
          <a:p>
            <a:pPr marL="226800" lvl="1" indent="-151200"/>
            <a:r>
              <a:rPr lang="en-US" sz="1400"/>
              <a:t>Regional leadership</a:t>
            </a:r>
          </a:p>
          <a:p>
            <a:pPr marL="226800" lvl="1" indent="-151200"/>
            <a:endParaRPr lang="en-US" sz="1400"/>
          </a:p>
          <a:p>
            <a:endParaRPr lang="en-US" sz="1400"/>
          </a:p>
          <a:p>
            <a:r>
              <a:rPr lang="en-US" sz="1400"/>
              <a:t>Example topics include:</a:t>
            </a:r>
          </a:p>
          <a:p>
            <a:pPr marL="226800" lvl="1" indent="-151200"/>
            <a:r>
              <a:rPr lang="en-US" sz="1400"/>
              <a:t>Participate in Market Maker trainings </a:t>
            </a:r>
          </a:p>
          <a:p>
            <a:pPr marL="226800" lvl="1" indent="-151200"/>
            <a:r>
              <a:rPr lang="en-US" sz="1400"/>
              <a:t>Share best practices</a:t>
            </a:r>
          </a:p>
          <a:p>
            <a:pPr marL="226800" lvl="1" indent="-151200"/>
            <a:r>
              <a:rPr lang="en-US" sz="1400"/>
              <a:t>Troubleshoot challenges</a:t>
            </a:r>
          </a:p>
          <a:p>
            <a:pPr marL="226800" lvl="1" indent="-151200"/>
            <a:r>
              <a:rPr lang="en-US" sz="1400"/>
              <a:t>Update on relevant state initiatives</a:t>
            </a:r>
          </a:p>
          <a:p>
            <a:pPr marL="108000" lvl="1" indent="0">
              <a:buNone/>
            </a:pPr>
            <a:endParaRPr lang="en-US" sz="140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925E2D0-FCA2-4426-B2DF-46BB64B4FC91}"/>
              </a:ext>
            </a:extLst>
          </p:cNvPr>
          <p:cNvGrpSpPr>
            <a:grpSpLocks noChangeAspect="1"/>
          </p:cNvGrpSpPr>
          <p:nvPr/>
        </p:nvGrpSpPr>
        <p:grpSpPr>
          <a:xfrm>
            <a:off x="463817" y="2164470"/>
            <a:ext cx="816730" cy="816728"/>
            <a:chOff x="1419496" y="2606040"/>
            <a:chExt cx="1644650" cy="1644650"/>
          </a:xfrm>
        </p:grpSpPr>
        <p:sp>
          <p:nvSpPr>
            <p:cNvPr id="27" name="AutoShape 678">
              <a:extLst>
                <a:ext uri="{FF2B5EF4-FFF2-40B4-BE49-F238E27FC236}">
                  <a16:creationId xmlns:a16="http://schemas.microsoft.com/office/drawing/2014/main" id="{2DBF3AC8-3551-4131-8891-7F465411224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419496" y="2606040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4A8A1198-9B18-42EC-8D50-94EF61C8BD98}"/>
                </a:ext>
              </a:extLst>
            </p:cNvPr>
            <p:cNvGrpSpPr/>
            <p:nvPr/>
          </p:nvGrpSpPr>
          <p:grpSpPr>
            <a:xfrm>
              <a:off x="1693858" y="2881291"/>
              <a:ext cx="1097476" cy="1095037"/>
              <a:chOff x="1693858" y="2881291"/>
              <a:chExt cx="1097476" cy="1095037"/>
            </a:xfrm>
          </p:grpSpPr>
          <p:sp>
            <p:nvSpPr>
              <p:cNvPr id="36" name="Freeform 5">
                <a:extLst>
                  <a:ext uri="{FF2B5EF4-FFF2-40B4-BE49-F238E27FC236}">
                    <a16:creationId xmlns:a16="http://schemas.microsoft.com/office/drawing/2014/main" id="{A631280E-1FB1-4680-9D0E-C4E3AE2EA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3451" y="2970755"/>
                <a:ext cx="918645" cy="912934"/>
              </a:xfrm>
              <a:custGeom>
                <a:avLst/>
                <a:gdLst>
                  <a:gd name="connsiteX0" fmla="*/ 349108 w 918645"/>
                  <a:gd name="connsiteY0" fmla="*/ 780067 h 912934"/>
                  <a:gd name="connsiteX1" fmla="*/ 371950 w 918645"/>
                  <a:gd name="connsiteY1" fmla="*/ 804419 h 912934"/>
                  <a:gd name="connsiteX2" fmla="*/ 269873 w 918645"/>
                  <a:gd name="connsiteY2" fmla="*/ 864584 h 912934"/>
                  <a:gd name="connsiteX3" fmla="*/ 257738 w 918645"/>
                  <a:gd name="connsiteY3" fmla="*/ 849543 h 912934"/>
                  <a:gd name="connsiteX4" fmla="*/ 246317 w 918645"/>
                  <a:gd name="connsiteY4" fmla="*/ 840948 h 912934"/>
                  <a:gd name="connsiteX5" fmla="*/ 349108 w 918645"/>
                  <a:gd name="connsiteY5" fmla="*/ 780067 h 912934"/>
                  <a:gd name="connsiteX6" fmla="*/ 539780 w 918645"/>
                  <a:gd name="connsiteY6" fmla="*/ 317794 h 912934"/>
                  <a:gd name="connsiteX7" fmla="*/ 541207 w 918645"/>
                  <a:gd name="connsiteY7" fmla="*/ 318508 h 912934"/>
                  <a:gd name="connsiteX8" fmla="*/ 541921 w 918645"/>
                  <a:gd name="connsiteY8" fmla="*/ 319222 h 912934"/>
                  <a:gd name="connsiteX9" fmla="*/ 542634 w 918645"/>
                  <a:gd name="connsiteY9" fmla="*/ 319935 h 912934"/>
                  <a:gd name="connsiteX10" fmla="*/ 564037 w 918645"/>
                  <a:gd name="connsiteY10" fmla="*/ 329212 h 912934"/>
                  <a:gd name="connsiteX11" fmla="*/ 773789 w 918645"/>
                  <a:gd name="connsiteY11" fmla="*/ 493339 h 912934"/>
                  <a:gd name="connsiteX12" fmla="*/ 773789 w 918645"/>
                  <a:gd name="connsiteY12" fmla="*/ 492626 h 912934"/>
                  <a:gd name="connsiteX13" fmla="*/ 778783 w 918645"/>
                  <a:gd name="connsiteY13" fmla="*/ 496907 h 912934"/>
                  <a:gd name="connsiteX14" fmla="*/ 780923 w 918645"/>
                  <a:gd name="connsiteY14" fmla="*/ 499048 h 912934"/>
                  <a:gd name="connsiteX15" fmla="*/ 783063 w 918645"/>
                  <a:gd name="connsiteY15" fmla="*/ 501189 h 912934"/>
                  <a:gd name="connsiteX16" fmla="*/ 785204 w 918645"/>
                  <a:gd name="connsiteY16" fmla="*/ 504043 h 912934"/>
                  <a:gd name="connsiteX17" fmla="*/ 793765 w 918645"/>
                  <a:gd name="connsiteY17" fmla="*/ 519029 h 912934"/>
                  <a:gd name="connsiteX18" fmla="*/ 800186 w 918645"/>
                  <a:gd name="connsiteY18" fmla="*/ 530446 h 912934"/>
                  <a:gd name="connsiteX19" fmla="*/ 801613 w 918645"/>
                  <a:gd name="connsiteY19" fmla="*/ 532587 h 912934"/>
                  <a:gd name="connsiteX20" fmla="*/ 803040 w 918645"/>
                  <a:gd name="connsiteY20" fmla="*/ 534728 h 912934"/>
                  <a:gd name="connsiteX21" fmla="*/ 842992 w 918645"/>
                  <a:gd name="connsiteY21" fmla="*/ 602519 h 912934"/>
                  <a:gd name="connsiteX22" fmla="*/ 847986 w 918645"/>
                  <a:gd name="connsiteY22" fmla="*/ 611083 h 912934"/>
                  <a:gd name="connsiteX23" fmla="*/ 850840 w 918645"/>
                  <a:gd name="connsiteY23" fmla="*/ 616791 h 912934"/>
                  <a:gd name="connsiteX24" fmla="*/ 867249 w 918645"/>
                  <a:gd name="connsiteY24" fmla="*/ 643195 h 912934"/>
                  <a:gd name="connsiteX25" fmla="*/ 866536 w 918645"/>
                  <a:gd name="connsiteY25" fmla="*/ 643195 h 912934"/>
                  <a:gd name="connsiteX26" fmla="*/ 866536 w 918645"/>
                  <a:gd name="connsiteY26" fmla="*/ 643908 h 912934"/>
                  <a:gd name="connsiteX27" fmla="*/ 852267 w 918645"/>
                  <a:gd name="connsiteY27" fmla="*/ 655326 h 912934"/>
                  <a:gd name="connsiteX28" fmla="*/ 842992 w 918645"/>
                  <a:gd name="connsiteY28" fmla="*/ 666743 h 912934"/>
                  <a:gd name="connsiteX29" fmla="*/ 795192 w 918645"/>
                  <a:gd name="connsiteY29" fmla="*/ 584680 h 912934"/>
                  <a:gd name="connsiteX30" fmla="*/ 770221 w 918645"/>
                  <a:gd name="connsiteY30" fmla="*/ 542577 h 912934"/>
                  <a:gd name="connsiteX31" fmla="*/ 758093 w 918645"/>
                  <a:gd name="connsiteY31" fmla="*/ 521883 h 912934"/>
                  <a:gd name="connsiteX32" fmla="*/ 573312 w 918645"/>
                  <a:gd name="connsiteY32" fmla="*/ 377023 h 912934"/>
                  <a:gd name="connsiteX33" fmla="*/ 549769 w 918645"/>
                  <a:gd name="connsiteY33" fmla="*/ 358469 h 912934"/>
                  <a:gd name="connsiteX34" fmla="*/ 544061 w 918645"/>
                  <a:gd name="connsiteY34" fmla="*/ 354188 h 912934"/>
                  <a:gd name="connsiteX35" fmla="*/ 541207 w 918645"/>
                  <a:gd name="connsiteY35" fmla="*/ 352047 h 912934"/>
                  <a:gd name="connsiteX36" fmla="*/ 539067 w 918645"/>
                  <a:gd name="connsiteY36" fmla="*/ 351333 h 912934"/>
                  <a:gd name="connsiteX37" fmla="*/ 538354 w 918645"/>
                  <a:gd name="connsiteY37" fmla="*/ 351333 h 912934"/>
                  <a:gd name="connsiteX38" fmla="*/ 530506 w 918645"/>
                  <a:gd name="connsiteY38" fmla="*/ 351333 h 912934"/>
                  <a:gd name="connsiteX39" fmla="*/ 529792 w 918645"/>
                  <a:gd name="connsiteY39" fmla="*/ 351333 h 912934"/>
                  <a:gd name="connsiteX40" fmla="*/ 529079 w 918645"/>
                  <a:gd name="connsiteY40" fmla="*/ 352047 h 912934"/>
                  <a:gd name="connsiteX41" fmla="*/ 524798 w 918645"/>
                  <a:gd name="connsiteY41" fmla="*/ 354188 h 912934"/>
                  <a:gd name="connsiteX42" fmla="*/ 524085 w 918645"/>
                  <a:gd name="connsiteY42" fmla="*/ 354901 h 912934"/>
                  <a:gd name="connsiteX43" fmla="*/ 521231 w 918645"/>
                  <a:gd name="connsiteY43" fmla="*/ 357756 h 912934"/>
                  <a:gd name="connsiteX44" fmla="*/ 518377 w 918645"/>
                  <a:gd name="connsiteY44" fmla="*/ 366319 h 912934"/>
                  <a:gd name="connsiteX45" fmla="*/ 518377 w 918645"/>
                  <a:gd name="connsiteY45" fmla="*/ 367033 h 912934"/>
                  <a:gd name="connsiteX46" fmla="*/ 518377 w 918645"/>
                  <a:gd name="connsiteY46" fmla="*/ 368460 h 912934"/>
                  <a:gd name="connsiteX47" fmla="*/ 519804 w 918645"/>
                  <a:gd name="connsiteY47" fmla="*/ 371314 h 912934"/>
                  <a:gd name="connsiteX48" fmla="*/ 519804 w 918645"/>
                  <a:gd name="connsiteY48" fmla="*/ 372028 h 912934"/>
                  <a:gd name="connsiteX49" fmla="*/ 519804 w 918645"/>
                  <a:gd name="connsiteY49" fmla="*/ 373455 h 912934"/>
                  <a:gd name="connsiteX50" fmla="*/ 520518 w 918645"/>
                  <a:gd name="connsiteY50" fmla="*/ 374168 h 912934"/>
                  <a:gd name="connsiteX51" fmla="*/ 521231 w 918645"/>
                  <a:gd name="connsiteY51" fmla="*/ 374882 h 912934"/>
                  <a:gd name="connsiteX52" fmla="*/ 521231 w 918645"/>
                  <a:gd name="connsiteY52" fmla="*/ 375596 h 912934"/>
                  <a:gd name="connsiteX53" fmla="*/ 541921 w 918645"/>
                  <a:gd name="connsiteY53" fmla="*/ 392722 h 912934"/>
                  <a:gd name="connsiteX54" fmla="*/ 607557 w 918645"/>
                  <a:gd name="connsiteY54" fmla="*/ 446242 h 912934"/>
                  <a:gd name="connsiteX55" fmla="*/ 636095 w 918645"/>
                  <a:gd name="connsiteY55" fmla="*/ 469790 h 912934"/>
                  <a:gd name="connsiteX56" fmla="*/ 636808 w 918645"/>
                  <a:gd name="connsiteY56" fmla="*/ 470504 h 912934"/>
                  <a:gd name="connsiteX57" fmla="*/ 637522 w 918645"/>
                  <a:gd name="connsiteY57" fmla="*/ 471218 h 912934"/>
                  <a:gd name="connsiteX58" fmla="*/ 638235 w 918645"/>
                  <a:gd name="connsiteY58" fmla="*/ 472645 h 912934"/>
                  <a:gd name="connsiteX59" fmla="*/ 638235 w 918645"/>
                  <a:gd name="connsiteY59" fmla="*/ 473358 h 912934"/>
                  <a:gd name="connsiteX60" fmla="*/ 639662 w 918645"/>
                  <a:gd name="connsiteY60" fmla="*/ 479781 h 912934"/>
                  <a:gd name="connsiteX61" fmla="*/ 638235 w 918645"/>
                  <a:gd name="connsiteY61" fmla="*/ 485490 h 912934"/>
                  <a:gd name="connsiteX62" fmla="*/ 638235 w 918645"/>
                  <a:gd name="connsiteY62" fmla="*/ 486203 h 912934"/>
                  <a:gd name="connsiteX63" fmla="*/ 634668 w 918645"/>
                  <a:gd name="connsiteY63" fmla="*/ 491198 h 912934"/>
                  <a:gd name="connsiteX64" fmla="*/ 633954 w 918645"/>
                  <a:gd name="connsiteY64" fmla="*/ 491912 h 912934"/>
                  <a:gd name="connsiteX65" fmla="*/ 633241 w 918645"/>
                  <a:gd name="connsiteY65" fmla="*/ 491912 h 912934"/>
                  <a:gd name="connsiteX66" fmla="*/ 633241 w 918645"/>
                  <a:gd name="connsiteY66" fmla="*/ 492626 h 912934"/>
                  <a:gd name="connsiteX67" fmla="*/ 623966 w 918645"/>
                  <a:gd name="connsiteY67" fmla="*/ 495480 h 912934"/>
                  <a:gd name="connsiteX68" fmla="*/ 622539 w 918645"/>
                  <a:gd name="connsiteY68" fmla="*/ 495480 h 912934"/>
                  <a:gd name="connsiteX69" fmla="*/ 621113 w 918645"/>
                  <a:gd name="connsiteY69" fmla="*/ 495480 h 912934"/>
                  <a:gd name="connsiteX70" fmla="*/ 618972 w 918645"/>
                  <a:gd name="connsiteY70" fmla="*/ 494766 h 912934"/>
                  <a:gd name="connsiteX71" fmla="*/ 617545 w 918645"/>
                  <a:gd name="connsiteY71" fmla="*/ 494053 h 912934"/>
                  <a:gd name="connsiteX72" fmla="*/ 616832 w 918645"/>
                  <a:gd name="connsiteY72" fmla="*/ 494053 h 912934"/>
                  <a:gd name="connsiteX73" fmla="*/ 615405 w 918645"/>
                  <a:gd name="connsiteY73" fmla="*/ 493339 h 912934"/>
                  <a:gd name="connsiteX74" fmla="*/ 576166 w 918645"/>
                  <a:gd name="connsiteY74" fmla="*/ 461941 h 912934"/>
                  <a:gd name="connsiteX75" fmla="*/ 502682 w 918645"/>
                  <a:gd name="connsiteY75" fmla="*/ 402712 h 912934"/>
                  <a:gd name="connsiteX76" fmla="*/ 468437 w 918645"/>
                  <a:gd name="connsiteY76" fmla="*/ 374882 h 912934"/>
                  <a:gd name="connsiteX77" fmla="*/ 467723 w 918645"/>
                  <a:gd name="connsiteY77" fmla="*/ 374168 h 912934"/>
                  <a:gd name="connsiteX78" fmla="*/ 467010 w 918645"/>
                  <a:gd name="connsiteY78" fmla="*/ 374168 h 912934"/>
                  <a:gd name="connsiteX79" fmla="*/ 462016 w 918645"/>
                  <a:gd name="connsiteY79" fmla="*/ 371314 h 912934"/>
                  <a:gd name="connsiteX80" fmla="*/ 449887 w 918645"/>
                  <a:gd name="connsiteY80" fmla="*/ 371314 h 912934"/>
                  <a:gd name="connsiteX81" fmla="*/ 447033 w 918645"/>
                  <a:gd name="connsiteY81" fmla="*/ 372028 h 912934"/>
                  <a:gd name="connsiteX82" fmla="*/ 445607 w 918645"/>
                  <a:gd name="connsiteY82" fmla="*/ 373455 h 912934"/>
                  <a:gd name="connsiteX83" fmla="*/ 444893 w 918645"/>
                  <a:gd name="connsiteY83" fmla="*/ 374168 h 912934"/>
                  <a:gd name="connsiteX84" fmla="*/ 444180 w 918645"/>
                  <a:gd name="connsiteY84" fmla="*/ 374168 h 912934"/>
                  <a:gd name="connsiteX85" fmla="*/ 444180 w 918645"/>
                  <a:gd name="connsiteY85" fmla="*/ 374882 h 912934"/>
                  <a:gd name="connsiteX86" fmla="*/ 443466 w 918645"/>
                  <a:gd name="connsiteY86" fmla="*/ 374882 h 912934"/>
                  <a:gd name="connsiteX87" fmla="*/ 442753 w 918645"/>
                  <a:gd name="connsiteY87" fmla="*/ 375596 h 912934"/>
                  <a:gd name="connsiteX88" fmla="*/ 442039 w 918645"/>
                  <a:gd name="connsiteY88" fmla="*/ 376309 h 912934"/>
                  <a:gd name="connsiteX89" fmla="*/ 439899 w 918645"/>
                  <a:gd name="connsiteY89" fmla="*/ 379164 h 912934"/>
                  <a:gd name="connsiteX90" fmla="*/ 439899 w 918645"/>
                  <a:gd name="connsiteY90" fmla="*/ 379877 h 912934"/>
                  <a:gd name="connsiteX91" fmla="*/ 439186 w 918645"/>
                  <a:gd name="connsiteY91" fmla="*/ 381304 h 912934"/>
                  <a:gd name="connsiteX92" fmla="*/ 438472 w 918645"/>
                  <a:gd name="connsiteY92" fmla="*/ 382018 h 912934"/>
                  <a:gd name="connsiteX93" fmla="*/ 438472 w 918645"/>
                  <a:gd name="connsiteY93" fmla="*/ 382732 h 912934"/>
                  <a:gd name="connsiteX94" fmla="*/ 437045 w 918645"/>
                  <a:gd name="connsiteY94" fmla="*/ 389154 h 912934"/>
                  <a:gd name="connsiteX95" fmla="*/ 437045 w 918645"/>
                  <a:gd name="connsiteY95" fmla="*/ 389868 h 912934"/>
                  <a:gd name="connsiteX96" fmla="*/ 437045 w 918645"/>
                  <a:gd name="connsiteY96" fmla="*/ 391295 h 912934"/>
                  <a:gd name="connsiteX97" fmla="*/ 437045 w 918645"/>
                  <a:gd name="connsiteY97" fmla="*/ 392008 h 912934"/>
                  <a:gd name="connsiteX98" fmla="*/ 439186 w 918645"/>
                  <a:gd name="connsiteY98" fmla="*/ 397717 h 912934"/>
                  <a:gd name="connsiteX99" fmla="*/ 441326 w 918645"/>
                  <a:gd name="connsiteY99" fmla="*/ 400572 h 912934"/>
                  <a:gd name="connsiteX100" fmla="*/ 442039 w 918645"/>
                  <a:gd name="connsiteY100" fmla="*/ 401999 h 912934"/>
                  <a:gd name="connsiteX101" fmla="*/ 442753 w 918645"/>
                  <a:gd name="connsiteY101" fmla="*/ 402712 h 912934"/>
                  <a:gd name="connsiteX102" fmla="*/ 443466 w 918645"/>
                  <a:gd name="connsiteY102" fmla="*/ 403426 h 912934"/>
                  <a:gd name="connsiteX103" fmla="*/ 444180 w 918645"/>
                  <a:gd name="connsiteY103" fmla="*/ 403426 h 912934"/>
                  <a:gd name="connsiteX104" fmla="*/ 477711 w 918645"/>
                  <a:gd name="connsiteY104" fmla="*/ 431970 h 912934"/>
                  <a:gd name="connsiteX105" fmla="*/ 502682 w 918645"/>
                  <a:gd name="connsiteY105" fmla="*/ 453378 h 912934"/>
                  <a:gd name="connsiteX106" fmla="*/ 531219 w 918645"/>
                  <a:gd name="connsiteY106" fmla="*/ 477640 h 912934"/>
                  <a:gd name="connsiteX107" fmla="*/ 581873 w 918645"/>
                  <a:gd name="connsiteY107" fmla="*/ 520456 h 912934"/>
                  <a:gd name="connsiteX108" fmla="*/ 587581 w 918645"/>
                  <a:gd name="connsiteY108" fmla="*/ 531873 h 912934"/>
                  <a:gd name="connsiteX109" fmla="*/ 587581 w 918645"/>
                  <a:gd name="connsiteY109" fmla="*/ 533301 h 912934"/>
                  <a:gd name="connsiteX110" fmla="*/ 587581 w 918645"/>
                  <a:gd name="connsiteY110" fmla="*/ 534014 h 912934"/>
                  <a:gd name="connsiteX111" fmla="*/ 587581 w 918645"/>
                  <a:gd name="connsiteY111" fmla="*/ 534728 h 912934"/>
                  <a:gd name="connsiteX112" fmla="*/ 583300 w 918645"/>
                  <a:gd name="connsiteY112" fmla="*/ 543291 h 912934"/>
                  <a:gd name="connsiteX113" fmla="*/ 582587 w 918645"/>
                  <a:gd name="connsiteY113" fmla="*/ 544718 h 912934"/>
                  <a:gd name="connsiteX114" fmla="*/ 581873 w 918645"/>
                  <a:gd name="connsiteY114" fmla="*/ 545432 h 912934"/>
                  <a:gd name="connsiteX115" fmla="*/ 581160 w 918645"/>
                  <a:gd name="connsiteY115" fmla="*/ 545432 h 912934"/>
                  <a:gd name="connsiteX116" fmla="*/ 579020 w 918645"/>
                  <a:gd name="connsiteY116" fmla="*/ 547573 h 912934"/>
                  <a:gd name="connsiteX117" fmla="*/ 574739 w 918645"/>
                  <a:gd name="connsiteY117" fmla="*/ 549000 h 912934"/>
                  <a:gd name="connsiteX118" fmla="*/ 562611 w 918645"/>
                  <a:gd name="connsiteY118" fmla="*/ 546859 h 912934"/>
                  <a:gd name="connsiteX119" fmla="*/ 561184 w 918645"/>
                  <a:gd name="connsiteY119" fmla="*/ 545432 h 912934"/>
                  <a:gd name="connsiteX120" fmla="*/ 559757 w 918645"/>
                  <a:gd name="connsiteY120" fmla="*/ 544005 h 912934"/>
                  <a:gd name="connsiteX121" fmla="*/ 535500 w 918645"/>
                  <a:gd name="connsiteY121" fmla="*/ 524024 h 912934"/>
                  <a:gd name="connsiteX122" fmla="*/ 510529 w 918645"/>
                  <a:gd name="connsiteY122" fmla="*/ 502616 h 912934"/>
                  <a:gd name="connsiteX123" fmla="*/ 481278 w 918645"/>
                  <a:gd name="connsiteY123" fmla="*/ 477640 h 912934"/>
                  <a:gd name="connsiteX124" fmla="*/ 456308 w 918645"/>
                  <a:gd name="connsiteY124" fmla="*/ 456946 h 912934"/>
                  <a:gd name="connsiteX125" fmla="*/ 422776 w 918645"/>
                  <a:gd name="connsiteY125" fmla="*/ 428402 h 912934"/>
                  <a:gd name="connsiteX126" fmla="*/ 402087 w 918645"/>
                  <a:gd name="connsiteY126" fmla="*/ 409848 h 912934"/>
                  <a:gd name="connsiteX127" fmla="*/ 401373 w 918645"/>
                  <a:gd name="connsiteY127" fmla="*/ 409848 h 912934"/>
                  <a:gd name="connsiteX128" fmla="*/ 398520 w 918645"/>
                  <a:gd name="connsiteY128" fmla="*/ 407708 h 912934"/>
                  <a:gd name="connsiteX129" fmla="*/ 397093 w 918645"/>
                  <a:gd name="connsiteY129" fmla="*/ 406994 h 912934"/>
                  <a:gd name="connsiteX130" fmla="*/ 392812 w 918645"/>
                  <a:gd name="connsiteY130" fmla="*/ 405567 h 912934"/>
                  <a:gd name="connsiteX131" fmla="*/ 372836 w 918645"/>
                  <a:gd name="connsiteY131" fmla="*/ 411276 h 912934"/>
                  <a:gd name="connsiteX132" fmla="*/ 372122 w 918645"/>
                  <a:gd name="connsiteY132" fmla="*/ 411989 h 912934"/>
                  <a:gd name="connsiteX133" fmla="*/ 369982 w 918645"/>
                  <a:gd name="connsiteY133" fmla="*/ 413416 h 912934"/>
                  <a:gd name="connsiteX134" fmla="*/ 367842 w 918645"/>
                  <a:gd name="connsiteY134" fmla="*/ 417698 h 912934"/>
                  <a:gd name="connsiteX135" fmla="*/ 365701 w 918645"/>
                  <a:gd name="connsiteY135" fmla="*/ 427688 h 912934"/>
                  <a:gd name="connsiteX136" fmla="*/ 367842 w 918645"/>
                  <a:gd name="connsiteY136" fmla="*/ 436251 h 912934"/>
                  <a:gd name="connsiteX137" fmla="*/ 369268 w 918645"/>
                  <a:gd name="connsiteY137" fmla="*/ 438392 h 912934"/>
                  <a:gd name="connsiteX138" fmla="*/ 369268 w 918645"/>
                  <a:gd name="connsiteY138" fmla="*/ 439106 h 912934"/>
                  <a:gd name="connsiteX139" fmla="*/ 370695 w 918645"/>
                  <a:gd name="connsiteY139" fmla="*/ 440533 h 912934"/>
                  <a:gd name="connsiteX140" fmla="*/ 371409 w 918645"/>
                  <a:gd name="connsiteY140" fmla="*/ 441247 h 912934"/>
                  <a:gd name="connsiteX141" fmla="*/ 373549 w 918645"/>
                  <a:gd name="connsiteY141" fmla="*/ 443387 h 912934"/>
                  <a:gd name="connsiteX142" fmla="*/ 373549 w 918645"/>
                  <a:gd name="connsiteY142" fmla="*/ 444101 h 912934"/>
                  <a:gd name="connsiteX143" fmla="*/ 394239 w 918645"/>
                  <a:gd name="connsiteY143" fmla="*/ 461227 h 912934"/>
                  <a:gd name="connsiteX144" fmla="*/ 427771 w 918645"/>
                  <a:gd name="connsiteY144" fmla="*/ 489771 h 912934"/>
                  <a:gd name="connsiteX145" fmla="*/ 452741 w 918645"/>
                  <a:gd name="connsiteY145" fmla="*/ 511179 h 912934"/>
                  <a:gd name="connsiteX146" fmla="*/ 483419 w 918645"/>
                  <a:gd name="connsiteY146" fmla="*/ 536869 h 912934"/>
                  <a:gd name="connsiteX147" fmla="*/ 507676 w 918645"/>
                  <a:gd name="connsiteY147" fmla="*/ 557563 h 912934"/>
                  <a:gd name="connsiteX148" fmla="*/ 530506 w 918645"/>
                  <a:gd name="connsiteY148" fmla="*/ 576830 h 912934"/>
                  <a:gd name="connsiteX149" fmla="*/ 531219 w 918645"/>
                  <a:gd name="connsiteY149" fmla="*/ 578257 h 912934"/>
                  <a:gd name="connsiteX150" fmla="*/ 531933 w 918645"/>
                  <a:gd name="connsiteY150" fmla="*/ 578971 h 912934"/>
                  <a:gd name="connsiteX151" fmla="*/ 532646 w 918645"/>
                  <a:gd name="connsiteY151" fmla="*/ 579684 h 912934"/>
                  <a:gd name="connsiteX152" fmla="*/ 534073 w 918645"/>
                  <a:gd name="connsiteY152" fmla="*/ 582539 h 912934"/>
                  <a:gd name="connsiteX153" fmla="*/ 534786 w 918645"/>
                  <a:gd name="connsiteY153" fmla="*/ 585393 h 912934"/>
                  <a:gd name="connsiteX154" fmla="*/ 534786 w 918645"/>
                  <a:gd name="connsiteY154" fmla="*/ 586820 h 912934"/>
                  <a:gd name="connsiteX155" fmla="*/ 531933 w 918645"/>
                  <a:gd name="connsiteY155" fmla="*/ 598952 h 912934"/>
                  <a:gd name="connsiteX156" fmla="*/ 531219 w 918645"/>
                  <a:gd name="connsiteY156" fmla="*/ 598952 h 912934"/>
                  <a:gd name="connsiteX157" fmla="*/ 530506 w 918645"/>
                  <a:gd name="connsiteY157" fmla="*/ 599665 h 912934"/>
                  <a:gd name="connsiteX158" fmla="*/ 525512 w 918645"/>
                  <a:gd name="connsiteY158" fmla="*/ 603233 h 912934"/>
                  <a:gd name="connsiteX159" fmla="*/ 522658 w 918645"/>
                  <a:gd name="connsiteY159" fmla="*/ 603947 h 912934"/>
                  <a:gd name="connsiteX160" fmla="*/ 520518 w 918645"/>
                  <a:gd name="connsiteY160" fmla="*/ 604660 h 912934"/>
                  <a:gd name="connsiteX161" fmla="*/ 519804 w 918645"/>
                  <a:gd name="connsiteY161" fmla="*/ 604660 h 912934"/>
                  <a:gd name="connsiteX162" fmla="*/ 519091 w 918645"/>
                  <a:gd name="connsiteY162" fmla="*/ 603947 h 912934"/>
                  <a:gd name="connsiteX163" fmla="*/ 518377 w 918645"/>
                  <a:gd name="connsiteY163" fmla="*/ 603947 h 912934"/>
                  <a:gd name="connsiteX164" fmla="*/ 512670 w 918645"/>
                  <a:gd name="connsiteY164" fmla="*/ 602519 h 912934"/>
                  <a:gd name="connsiteX165" fmla="*/ 511956 w 918645"/>
                  <a:gd name="connsiteY165" fmla="*/ 602519 h 912934"/>
                  <a:gd name="connsiteX166" fmla="*/ 510529 w 918645"/>
                  <a:gd name="connsiteY166" fmla="*/ 601806 h 912934"/>
                  <a:gd name="connsiteX167" fmla="*/ 487699 w 918645"/>
                  <a:gd name="connsiteY167" fmla="*/ 581825 h 912934"/>
                  <a:gd name="connsiteX168" fmla="*/ 462729 w 918645"/>
                  <a:gd name="connsiteY168" fmla="*/ 561131 h 912934"/>
                  <a:gd name="connsiteX169" fmla="*/ 431338 w 918645"/>
                  <a:gd name="connsiteY169" fmla="*/ 535441 h 912934"/>
                  <a:gd name="connsiteX170" fmla="*/ 407081 w 918645"/>
                  <a:gd name="connsiteY170" fmla="*/ 514033 h 912934"/>
                  <a:gd name="connsiteX171" fmla="*/ 373549 w 918645"/>
                  <a:gd name="connsiteY171" fmla="*/ 486203 h 912934"/>
                  <a:gd name="connsiteX172" fmla="*/ 348579 w 918645"/>
                  <a:gd name="connsiteY172" fmla="*/ 465509 h 912934"/>
                  <a:gd name="connsiteX173" fmla="*/ 320755 w 918645"/>
                  <a:gd name="connsiteY173" fmla="*/ 441960 h 912934"/>
                  <a:gd name="connsiteX174" fmla="*/ 312907 w 918645"/>
                  <a:gd name="connsiteY174" fmla="*/ 437679 h 912934"/>
                  <a:gd name="connsiteX175" fmla="*/ 309340 w 918645"/>
                  <a:gd name="connsiteY175" fmla="*/ 436251 h 912934"/>
                  <a:gd name="connsiteX176" fmla="*/ 307913 w 918645"/>
                  <a:gd name="connsiteY176" fmla="*/ 436251 h 912934"/>
                  <a:gd name="connsiteX177" fmla="*/ 307199 w 918645"/>
                  <a:gd name="connsiteY177" fmla="*/ 436251 h 912934"/>
                  <a:gd name="connsiteX178" fmla="*/ 303632 w 918645"/>
                  <a:gd name="connsiteY178" fmla="*/ 436251 h 912934"/>
                  <a:gd name="connsiteX179" fmla="*/ 300065 w 918645"/>
                  <a:gd name="connsiteY179" fmla="*/ 436965 h 912934"/>
                  <a:gd name="connsiteX180" fmla="*/ 299351 w 918645"/>
                  <a:gd name="connsiteY180" fmla="*/ 436965 h 912934"/>
                  <a:gd name="connsiteX181" fmla="*/ 296498 w 918645"/>
                  <a:gd name="connsiteY181" fmla="*/ 438392 h 912934"/>
                  <a:gd name="connsiteX182" fmla="*/ 295784 w 918645"/>
                  <a:gd name="connsiteY182" fmla="*/ 438392 h 912934"/>
                  <a:gd name="connsiteX183" fmla="*/ 292217 w 918645"/>
                  <a:gd name="connsiteY183" fmla="*/ 440533 h 912934"/>
                  <a:gd name="connsiteX184" fmla="*/ 290790 w 918645"/>
                  <a:gd name="connsiteY184" fmla="*/ 441247 h 912934"/>
                  <a:gd name="connsiteX185" fmla="*/ 289363 w 918645"/>
                  <a:gd name="connsiteY185" fmla="*/ 442674 h 912934"/>
                  <a:gd name="connsiteX186" fmla="*/ 288650 w 918645"/>
                  <a:gd name="connsiteY186" fmla="*/ 443387 h 912934"/>
                  <a:gd name="connsiteX187" fmla="*/ 287223 w 918645"/>
                  <a:gd name="connsiteY187" fmla="*/ 444815 h 912934"/>
                  <a:gd name="connsiteX188" fmla="*/ 287223 w 918645"/>
                  <a:gd name="connsiteY188" fmla="*/ 445528 h 912934"/>
                  <a:gd name="connsiteX189" fmla="*/ 286509 w 918645"/>
                  <a:gd name="connsiteY189" fmla="*/ 445528 h 912934"/>
                  <a:gd name="connsiteX190" fmla="*/ 285796 w 918645"/>
                  <a:gd name="connsiteY190" fmla="*/ 446955 h 912934"/>
                  <a:gd name="connsiteX191" fmla="*/ 282942 w 918645"/>
                  <a:gd name="connsiteY191" fmla="*/ 451951 h 912934"/>
                  <a:gd name="connsiteX192" fmla="*/ 281515 w 918645"/>
                  <a:gd name="connsiteY192" fmla="*/ 458373 h 912934"/>
                  <a:gd name="connsiteX193" fmla="*/ 281515 w 918645"/>
                  <a:gd name="connsiteY193" fmla="*/ 459800 h 912934"/>
                  <a:gd name="connsiteX194" fmla="*/ 282229 w 918645"/>
                  <a:gd name="connsiteY194" fmla="*/ 466222 h 912934"/>
                  <a:gd name="connsiteX195" fmla="*/ 282942 w 918645"/>
                  <a:gd name="connsiteY195" fmla="*/ 466936 h 912934"/>
                  <a:gd name="connsiteX196" fmla="*/ 290077 w 918645"/>
                  <a:gd name="connsiteY196" fmla="*/ 478354 h 912934"/>
                  <a:gd name="connsiteX197" fmla="*/ 317901 w 918645"/>
                  <a:gd name="connsiteY197" fmla="*/ 501902 h 912934"/>
                  <a:gd name="connsiteX198" fmla="*/ 342158 w 918645"/>
                  <a:gd name="connsiteY198" fmla="*/ 522597 h 912934"/>
                  <a:gd name="connsiteX199" fmla="*/ 375689 w 918645"/>
                  <a:gd name="connsiteY199" fmla="*/ 551141 h 912934"/>
                  <a:gd name="connsiteX200" fmla="*/ 387818 w 918645"/>
                  <a:gd name="connsiteY200" fmla="*/ 561131 h 912934"/>
                  <a:gd name="connsiteX201" fmla="*/ 387818 w 918645"/>
                  <a:gd name="connsiteY201" fmla="*/ 561844 h 912934"/>
                  <a:gd name="connsiteX202" fmla="*/ 399946 w 918645"/>
                  <a:gd name="connsiteY202" fmla="*/ 571835 h 912934"/>
                  <a:gd name="connsiteX203" fmla="*/ 432051 w 918645"/>
                  <a:gd name="connsiteY203" fmla="*/ 598952 h 912934"/>
                  <a:gd name="connsiteX204" fmla="*/ 456308 w 918645"/>
                  <a:gd name="connsiteY204" fmla="*/ 619646 h 912934"/>
                  <a:gd name="connsiteX205" fmla="*/ 481992 w 918645"/>
                  <a:gd name="connsiteY205" fmla="*/ 641767 h 912934"/>
                  <a:gd name="connsiteX206" fmla="*/ 506249 w 918645"/>
                  <a:gd name="connsiteY206" fmla="*/ 662462 h 912934"/>
                  <a:gd name="connsiteX207" fmla="*/ 529792 w 918645"/>
                  <a:gd name="connsiteY207" fmla="*/ 683156 h 912934"/>
                  <a:gd name="connsiteX208" fmla="*/ 531219 w 918645"/>
                  <a:gd name="connsiteY208" fmla="*/ 683870 h 912934"/>
                  <a:gd name="connsiteX209" fmla="*/ 537640 w 918645"/>
                  <a:gd name="connsiteY209" fmla="*/ 691719 h 912934"/>
                  <a:gd name="connsiteX210" fmla="*/ 539067 w 918645"/>
                  <a:gd name="connsiteY210" fmla="*/ 693146 h 912934"/>
                  <a:gd name="connsiteX211" fmla="*/ 544775 w 918645"/>
                  <a:gd name="connsiteY211" fmla="*/ 710273 h 912934"/>
                  <a:gd name="connsiteX212" fmla="*/ 536927 w 918645"/>
                  <a:gd name="connsiteY212" fmla="*/ 735249 h 912934"/>
                  <a:gd name="connsiteX213" fmla="*/ 536213 w 918645"/>
                  <a:gd name="connsiteY213" fmla="*/ 736676 h 912934"/>
                  <a:gd name="connsiteX214" fmla="*/ 534786 w 918645"/>
                  <a:gd name="connsiteY214" fmla="*/ 738816 h 912934"/>
                  <a:gd name="connsiteX215" fmla="*/ 532646 w 918645"/>
                  <a:gd name="connsiteY215" fmla="*/ 740957 h 912934"/>
                  <a:gd name="connsiteX216" fmla="*/ 530506 w 918645"/>
                  <a:gd name="connsiteY216" fmla="*/ 743098 h 912934"/>
                  <a:gd name="connsiteX217" fmla="*/ 528365 w 918645"/>
                  <a:gd name="connsiteY217" fmla="*/ 744525 h 912934"/>
                  <a:gd name="connsiteX218" fmla="*/ 527652 w 918645"/>
                  <a:gd name="connsiteY218" fmla="*/ 744525 h 912934"/>
                  <a:gd name="connsiteX219" fmla="*/ 525512 w 918645"/>
                  <a:gd name="connsiteY219" fmla="*/ 745952 h 912934"/>
                  <a:gd name="connsiteX220" fmla="*/ 525512 w 918645"/>
                  <a:gd name="connsiteY220" fmla="*/ 746666 h 912934"/>
                  <a:gd name="connsiteX221" fmla="*/ 523371 w 918645"/>
                  <a:gd name="connsiteY221" fmla="*/ 748093 h 912934"/>
                  <a:gd name="connsiteX222" fmla="*/ 521231 w 918645"/>
                  <a:gd name="connsiteY222" fmla="*/ 748807 h 912934"/>
                  <a:gd name="connsiteX223" fmla="*/ 519804 w 918645"/>
                  <a:gd name="connsiteY223" fmla="*/ 749520 h 912934"/>
                  <a:gd name="connsiteX224" fmla="*/ 518377 w 918645"/>
                  <a:gd name="connsiteY224" fmla="*/ 749520 h 912934"/>
                  <a:gd name="connsiteX225" fmla="*/ 517664 w 918645"/>
                  <a:gd name="connsiteY225" fmla="*/ 750234 h 912934"/>
                  <a:gd name="connsiteX226" fmla="*/ 516237 w 918645"/>
                  <a:gd name="connsiteY226" fmla="*/ 750234 h 912934"/>
                  <a:gd name="connsiteX227" fmla="*/ 514810 w 918645"/>
                  <a:gd name="connsiteY227" fmla="*/ 750948 h 912934"/>
                  <a:gd name="connsiteX228" fmla="*/ 514097 w 918645"/>
                  <a:gd name="connsiteY228" fmla="*/ 750948 h 912934"/>
                  <a:gd name="connsiteX229" fmla="*/ 512670 w 918645"/>
                  <a:gd name="connsiteY229" fmla="*/ 750948 h 912934"/>
                  <a:gd name="connsiteX230" fmla="*/ 511243 w 918645"/>
                  <a:gd name="connsiteY230" fmla="*/ 751661 h 912934"/>
                  <a:gd name="connsiteX231" fmla="*/ 494834 w 918645"/>
                  <a:gd name="connsiteY231" fmla="*/ 750234 h 912934"/>
                  <a:gd name="connsiteX232" fmla="*/ 491980 w 918645"/>
                  <a:gd name="connsiteY232" fmla="*/ 749520 h 912934"/>
                  <a:gd name="connsiteX233" fmla="*/ 488413 w 918645"/>
                  <a:gd name="connsiteY233" fmla="*/ 748093 h 912934"/>
                  <a:gd name="connsiteX234" fmla="*/ 481992 w 918645"/>
                  <a:gd name="connsiteY234" fmla="*/ 743812 h 912934"/>
                  <a:gd name="connsiteX235" fmla="*/ 457022 w 918645"/>
                  <a:gd name="connsiteY235" fmla="*/ 724545 h 912934"/>
                  <a:gd name="connsiteX236" fmla="*/ 431338 w 918645"/>
                  <a:gd name="connsiteY236" fmla="*/ 705277 h 912934"/>
                  <a:gd name="connsiteX237" fmla="*/ 407081 w 918645"/>
                  <a:gd name="connsiteY237" fmla="*/ 686010 h 912934"/>
                  <a:gd name="connsiteX238" fmla="*/ 395666 w 918645"/>
                  <a:gd name="connsiteY238" fmla="*/ 677447 h 912934"/>
                  <a:gd name="connsiteX239" fmla="*/ 377116 w 918645"/>
                  <a:gd name="connsiteY239" fmla="*/ 668884 h 912934"/>
                  <a:gd name="connsiteX240" fmla="*/ 364988 w 918645"/>
                  <a:gd name="connsiteY240" fmla="*/ 668170 h 912934"/>
                  <a:gd name="connsiteX241" fmla="*/ 362848 w 918645"/>
                  <a:gd name="connsiteY241" fmla="*/ 668170 h 912934"/>
                  <a:gd name="connsiteX242" fmla="*/ 337877 w 918645"/>
                  <a:gd name="connsiteY242" fmla="*/ 678161 h 912934"/>
                  <a:gd name="connsiteX243" fmla="*/ 337164 w 918645"/>
                  <a:gd name="connsiteY243" fmla="*/ 678161 h 912934"/>
                  <a:gd name="connsiteX244" fmla="*/ 337164 w 918645"/>
                  <a:gd name="connsiteY244" fmla="*/ 678874 h 912934"/>
                  <a:gd name="connsiteX245" fmla="*/ 378543 w 918645"/>
                  <a:gd name="connsiteY245" fmla="*/ 720977 h 912934"/>
                  <a:gd name="connsiteX246" fmla="*/ 401373 w 918645"/>
                  <a:gd name="connsiteY246" fmla="*/ 743098 h 912934"/>
                  <a:gd name="connsiteX247" fmla="*/ 424203 w 918645"/>
                  <a:gd name="connsiteY247" fmla="*/ 766647 h 912934"/>
                  <a:gd name="connsiteX248" fmla="*/ 446320 w 918645"/>
                  <a:gd name="connsiteY248" fmla="*/ 788768 h 912934"/>
                  <a:gd name="connsiteX249" fmla="*/ 460589 w 918645"/>
                  <a:gd name="connsiteY249" fmla="*/ 803754 h 912934"/>
                  <a:gd name="connsiteX250" fmla="*/ 462729 w 918645"/>
                  <a:gd name="connsiteY250" fmla="*/ 805895 h 912934"/>
                  <a:gd name="connsiteX251" fmla="*/ 525512 w 918645"/>
                  <a:gd name="connsiteY251" fmla="*/ 869405 h 912934"/>
                  <a:gd name="connsiteX252" fmla="*/ 526225 w 918645"/>
                  <a:gd name="connsiteY252" fmla="*/ 870118 h 912934"/>
                  <a:gd name="connsiteX253" fmla="*/ 626820 w 918645"/>
                  <a:gd name="connsiteY253" fmla="*/ 877968 h 912934"/>
                  <a:gd name="connsiteX254" fmla="*/ 671767 w 918645"/>
                  <a:gd name="connsiteY254" fmla="*/ 881536 h 912934"/>
                  <a:gd name="connsiteX255" fmla="*/ 671767 w 918645"/>
                  <a:gd name="connsiteY255" fmla="*/ 882249 h 912934"/>
                  <a:gd name="connsiteX256" fmla="*/ 666059 w 918645"/>
                  <a:gd name="connsiteY256" fmla="*/ 909366 h 912934"/>
                  <a:gd name="connsiteX257" fmla="*/ 666773 w 918645"/>
                  <a:gd name="connsiteY257" fmla="*/ 912934 h 912934"/>
                  <a:gd name="connsiteX258" fmla="*/ 626820 w 918645"/>
                  <a:gd name="connsiteY258" fmla="*/ 910080 h 912934"/>
                  <a:gd name="connsiteX259" fmla="*/ 623253 w 918645"/>
                  <a:gd name="connsiteY259" fmla="*/ 910080 h 912934"/>
                  <a:gd name="connsiteX260" fmla="*/ 521231 w 918645"/>
                  <a:gd name="connsiteY260" fmla="*/ 902230 h 912934"/>
                  <a:gd name="connsiteX261" fmla="*/ 511956 w 918645"/>
                  <a:gd name="connsiteY261" fmla="*/ 899376 h 912934"/>
                  <a:gd name="connsiteX262" fmla="*/ 509103 w 918645"/>
                  <a:gd name="connsiteY262" fmla="*/ 897235 h 912934"/>
                  <a:gd name="connsiteX263" fmla="*/ 422776 w 918645"/>
                  <a:gd name="connsiteY263" fmla="*/ 810890 h 912934"/>
                  <a:gd name="connsiteX264" fmla="*/ 399946 w 918645"/>
                  <a:gd name="connsiteY264" fmla="*/ 788055 h 912934"/>
                  <a:gd name="connsiteX265" fmla="*/ 377116 w 918645"/>
                  <a:gd name="connsiteY265" fmla="*/ 763792 h 912934"/>
                  <a:gd name="connsiteX266" fmla="*/ 354286 w 918645"/>
                  <a:gd name="connsiteY266" fmla="*/ 740957 h 912934"/>
                  <a:gd name="connsiteX267" fmla="*/ 311480 w 918645"/>
                  <a:gd name="connsiteY267" fmla="*/ 696714 h 912934"/>
                  <a:gd name="connsiteX268" fmla="*/ 305772 w 918645"/>
                  <a:gd name="connsiteY268" fmla="*/ 688865 h 912934"/>
                  <a:gd name="connsiteX269" fmla="*/ 303632 w 918645"/>
                  <a:gd name="connsiteY269" fmla="*/ 681729 h 912934"/>
                  <a:gd name="connsiteX270" fmla="*/ 303632 w 918645"/>
                  <a:gd name="connsiteY270" fmla="*/ 678161 h 912934"/>
                  <a:gd name="connsiteX271" fmla="*/ 309340 w 918645"/>
                  <a:gd name="connsiteY271" fmla="*/ 661034 h 912934"/>
                  <a:gd name="connsiteX272" fmla="*/ 310766 w 918645"/>
                  <a:gd name="connsiteY272" fmla="*/ 659607 h 912934"/>
                  <a:gd name="connsiteX273" fmla="*/ 312907 w 918645"/>
                  <a:gd name="connsiteY273" fmla="*/ 657466 h 912934"/>
                  <a:gd name="connsiteX274" fmla="*/ 390672 w 918645"/>
                  <a:gd name="connsiteY274" fmla="*/ 638913 h 912934"/>
                  <a:gd name="connsiteX275" fmla="*/ 414929 w 918645"/>
                  <a:gd name="connsiteY275" fmla="*/ 651758 h 912934"/>
                  <a:gd name="connsiteX276" fmla="*/ 451314 w 918645"/>
                  <a:gd name="connsiteY276" fmla="*/ 679588 h 912934"/>
                  <a:gd name="connsiteX277" fmla="*/ 476998 w 918645"/>
                  <a:gd name="connsiteY277" fmla="*/ 699569 h 912934"/>
                  <a:gd name="connsiteX278" fmla="*/ 501968 w 918645"/>
                  <a:gd name="connsiteY278" fmla="*/ 718836 h 912934"/>
                  <a:gd name="connsiteX279" fmla="*/ 506249 w 918645"/>
                  <a:gd name="connsiteY279" fmla="*/ 720263 h 912934"/>
                  <a:gd name="connsiteX280" fmla="*/ 506249 w 918645"/>
                  <a:gd name="connsiteY280" fmla="*/ 719549 h 912934"/>
                  <a:gd name="connsiteX281" fmla="*/ 508389 w 918645"/>
                  <a:gd name="connsiteY281" fmla="*/ 718836 h 912934"/>
                  <a:gd name="connsiteX282" fmla="*/ 509103 w 918645"/>
                  <a:gd name="connsiteY282" fmla="*/ 718836 h 912934"/>
                  <a:gd name="connsiteX283" fmla="*/ 509816 w 918645"/>
                  <a:gd name="connsiteY283" fmla="*/ 718122 h 912934"/>
                  <a:gd name="connsiteX284" fmla="*/ 510529 w 918645"/>
                  <a:gd name="connsiteY284" fmla="*/ 718122 h 912934"/>
                  <a:gd name="connsiteX285" fmla="*/ 510529 w 918645"/>
                  <a:gd name="connsiteY285" fmla="*/ 717409 h 912934"/>
                  <a:gd name="connsiteX286" fmla="*/ 511243 w 918645"/>
                  <a:gd name="connsiteY286" fmla="*/ 716695 h 912934"/>
                  <a:gd name="connsiteX287" fmla="*/ 509816 w 918645"/>
                  <a:gd name="connsiteY287" fmla="*/ 708132 h 912934"/>
                  <a:gd name="connsiteX288" fmla="*/ 467723 w 918645"/>
                  <a:gd name="connsiteY288" fmla="*/ 671738 h 912934"/>
                  <a:gd name="connsiteX289" fmla="*/ 326462 w 918645"/>
                  <a:gd name="connsiteY289" fmla="*/ 550427 h 912934"/>
                  <a:gd name="connsiteX290" fmla="*/ 305059 w 918645"/>
                  <a:gd name="connsiteY290" fmla="*/ 532587 h 912934"/>
                  <a:gd name="connsiteX291" fmla="*/ 305772 w 918645"/>
                  <a:gd name="connsiteY291" fmla="*/ 531873 h 912934"/>
                  <a:gd name="connsiteX292" fmla="*/ 270100 w 918645"/>
                  <a:gd name="connsiteY292" fmla="*/ 501902 h 912934"/>
                  <a:gd name="connsiteX293" fmla="*/ 250124 w 918645"/>
                  <a:gd name="connsiteY293" fmla="*/ 457659 h 912934"/>
                  <a:gd name="connsiteX294" fmla="*/ 262966 w 918645"/>
                  <a:gd name="connsiteY294" fmla="*/ 424120 h 912934"/>
                  <a:gd name="connsiteX295" fmla="*/ 263679 w 918645"/>
                  <a:gd name="connsiteY295" fmla="*/ 423407 h 912934"/>
                  <a:gd name="connsiteX296" fmla="*/ 270814 w 918645"/>
                  <a:gd name="connsiteY296" fmla="*/ 416271 h 912934"/>
                  <a:gd name="connsiteX297" fmla="*/ 292217 w 918645"/>
                  <a:gd name="connsiteY297" fmla="*/ 405567 h 912934"/>
                  <a:gd name="connsiteX298" fmla="*/ 293644 w 918645"/>
                  <a:gd name="connsiteY298" fmla="*/ 405567 h 912934"/>
                  <a:gd name="connsiteX299" fmla="*/ 325035 w 918645"/>
                  <a:gd name="connsiteY299" fmla="*/ 407708 h 912934"/>
                  <a:gd name="connsiteX300" fmla="*/ 330743 w 918645"/>
                  <a:gd name="connsiteY300" fmla="*/ 409848 h 912934"/>
                  <a:gd name="connsiteX301" fmla="*/ 332170 w 918645"/>
                  <a:gd name="connsiteY301" fmla="*/ 410562 h 912934"/>
                  <a:gd name="connsiteX302" fmla="*/ 335737 w 918645"/>
                  <a:gd name="connsiteY302" fmla="*/ 412703 h 912934"/>
                  <a:gd name="connsiteX303" fmla="*/ 335737 w 918645"/>
                  <a:gd name="connsiteY303" fmla="*/ 411276 h 912934"/>
                  <a:gd name="connsiteX304" fmla="*/ 336450 w 918645"/>
                  <a:gd name="connsiteY304" fmla="*/ 409848 h 912934"/>
                  <a:gd name="connsiteX305" fmla="*/ 338591 w 918645"/>
                  <a:gd name="connsiteY305" fmla="*/ 404853 h 912934"/>
                  <a:gd name="connsiteX306" fmla="*/ 340731 w 918645"/>
                  <a:gd name="connsiteY306" fmla="*/ 399858 h 912934"/>
                  <a:gd name="connsiteX307" fmla="*/ 345725 w 918645"/>
                  <a:gd name="connsiteY307" fmla="*/ 392722 h 912934"/>
                  <a:gd name="connsiteX308" fmla="*/ 348579 w 918645"/>
                  <a:gd name="connsiteY308" fmla="*/ 389868 h 912934"/>
                  <a:gd name="connsiteX309" fmla="*/ 350719 w 918645"/>
                  <a:gd name="connsiteY309" fmla="*/ 387727 h 912934"/>
                  <a:gd name="connsiteX310" fmla="*/ 355000 w 918645"/>
                  <a:gd name="connsiteY310" fmla="*/ 384159 h 912934"/>
                  <a:gd name="connsiteX311" fmla="*/ 356427 w 918645"/>
                  <a:gd name="connsiteY311" fmla="*/ 382732 h 912934"/>
                  <a:gd name="connsiteX312" fmla="*/ 362134 w 918645"/>
                  <a:gd name="connsiteY312" fmla="*/ 379164 h 912934"/>
                  <a:gd name="connsiteX313" fmla="*/ 399946 w 918645"/>
                  <a:gd name="connsiteY313" fmla="*/ 374168 h 912934"/>
                  <a:gd name="connsiteX314" fmla="*/ 407081 w 918645"/>
                  <a:gd name="connsiteY314" fmla="*/ 376309 h 912934"/>
                  <a:gd name="connsiteX315" fmla="*/ 407081 w 918645"/>
                  <a:gd name="connsiteY315" fmla="*/ 374882 h 912934"/>
                  <a:gd name="connsiteX316" fmla="*/ 407794 w 918645"/>
                  <a:gd name="connsiteY316" fmla="*/ 374168 h 912934"/>
                  <a:gd name="connsiteX317" fmla="*/ 411361 w 918645"/>
                  <a:gd name="connsiteY317" fmla="*/ 364892 h 912934"/>
                  <a:gd name="connsiteX318" fmla="*/ 418496 w 918645"/>
                  <a:gd name="connsiteY318" fmla="*/ 354901 h 912934"/>
                  <a:gd name="connsiteX319" fmla="*/ 419209 w 918645"/>
                  <a:gd name="connsiteY319" fmla="*/ 354188 h 912934"/>
                  <a:gd name="connsiteX320" fmla="*/ 419923 w 918645"/>
                  <a:gd name="connsiteY320" fmla="*/ 353474 h 912934"/>
                  <a:gd name="connsiteX321" fmla="*/ 424917 w 918645"/>
                  <a:gd name="connsiteY321" fmla="*/ 349193 h 912934"/>
                  <a:gd name="connsiteX322" fmla="*/ 435618 w 918645"/>
                  <a:gd name="connsiteY322" fmla="*/ 342770 h 912934"/>
                  <a:gd name="connsiteX323" fmla="*/ 454881 w 918645"/>
                  <a:gd name="connsiteY323" fmla="*/ 338489 h 912934"/>
                  <a:gd name="connsiteX324" fmla="*/ 457735 w 918645"/>
                  <a:gd name="connsiteY324" fmla="*/ 338489 h 912934"/>
                  <a:gd name="connsiteX325" fmla="*/ 462016 w 918645"/>
                  <a:gd name="connsiteY325" fmla="*/ 338489 h 912934"/>
                  <a:gd name="connsiteX326" fmla="*/ 463442 w 918645"/>
                  <a:gd name="connsiteY326" fmla="*/ 338489 h 912934"/>
                  <a:gd name="connsiteX327" fmla="*/ 465583 w 918645"/>
                  <a:gd name="connsiteY327" fmla="*/ 339202 h 912934"/>
                  <a:gd name="connsiteX328" fmla="*/ 467723 w 918645"/>
                  <a:gd name="connsiteY328" fmla="*/ 339202 h 912934"/>
                  <a:gd name="connsiteX329" fmla="*/ 469150 w 918645"/>
                  <a:gd name="connsiteY329" fmla="*/ 339916 h 912934"/>
                  <a:gd name="connsiteX330" fmla="*/ 472004 w 918645"/>
                  <a:gd name="connsiteY330" fmla="*/ 340629 h 912934"/>
                  <a:gd name="connsiteX331" fmla="*/ 474144 w 918645"/>
                  <a:gd name="connsiteY331" fmla="*/ 341343 h 912934"/>
                  <a:gd name="connsiteX332" fmla="*/ 476284 w 918645"/>
                  <a:gd name="connsiteY332" fmla="*/ 342770 h 912934"/>
                  <a:gd name="connsiteX333" fmla="*/ 478425 w 918645"/>
                  <a:gd name="connsiteY333" fmla="*/ 343484 h 912934"/>
                  <a:gd name="connsiteX334" fmla="*/ 479138 w 918645"/>
                  <a:gd name="connsiteY334" fmla="*/ 343484 h 912934"/>
                  <a:gd name="connsiteX335" fmla="*/ 481278 w 918645"/>
                  <a:gd name="connsiteY335" fmla="*/ 344911 h 912934"/>
                  <a:gd name="connsiteX336" fmla="*/ 482705 w 918645"/>
                  <a:gd name="connsiteY336" fmla="*/ 345625 h 912934"/>
                  <a:gd name="connsiteX337" fmla="*/ 484846 w 918645"/>
                  <a:gd name="connsiteY337" fmla="*/ 347052 h 912934"/>
                  <a:gd name="connsiteX338" fmla="*/ 486273 w 918645"/>
                  <a:gd name="connsiteY338" fmla="*/ 347765 h 912934"/>
                  <a:gd name="connsiteX339" fmla="*/ 487699 w 918645"/>
                  <a:gd name="connsiteY339" fmla="*/ 349193 h 912934"/>
                  <a:gd name="connsiteX340" fmla="*/ 489126 w 918645"/>
                  <a:gd name="connsiteY340" fmla="*/ 350620 h 912934"/>
                  <a:gd name="connsiteX341" fmla="*/ 489840 w 918645"/>
                  <a:gd name="connsiteY341" fmla="*/ 349193 h 912934"/>
                  <a:gd name="connsiteX342" fmla="*/ 489840 w 918645"/>
                  <a:gd name="connsiteY342" fmla="*/ 348479 h 912934"/>
                  <a:gd name="connsiteX343" fmla="*/ 494834 w 918645"/>
                  <a:gd name="connsiteY343" fmla="*/ 339916 h 912934"/>
                  <a:gd name="connsiteX344" fmla="*/ 500541 w 918645"/>
                  <a:gd name="connsiteY344" fmla="*/ 332780 h 912934"/>
                  <a:gd name="connsiteX345" fmla="*/ 501255 w 918645"/>
                  <a:gd name="connsiteY345" fmla="*/ 332066 h 912934"/>
                  <a:gd name="connsiteX346" fmla="*/ 502682 w 918645"/>
                  <a:gd name="connsiteY346" fmla="*/ 330639 h 912934"/>
                  <a:gd name="connsiteX347" fmla="*/ 504109 w 918645"/>
                  <a:gd name="connsiteY347" fmla="*/ 329212 h 912934"/>
                  <a:gd name="connsiteX348" fmla="*/ 506962 w 918645"/>
                  <a:gd name="connsiteY348" fmla="*/ 326357 h 912934"/>
                  <a:gd name="connsiteX349" fmla="*/ 539780 w 918645"/>
                  <a:gd name="connsiteY349" fmla="*/ 317794 h 912934"/>
                  <a:gd name="connsiteX350" fmla="*/ 231993 w 918645"/>
                  <a:gd name="connsiteY350" fmla="*/ 300377 h 912934"/>
                  <a:gd name="connsiteX351" fmla="*/ 234848 w 918645"/>
                  <a:gd name="connsiteY351" fmla="*/ 300377 h 912934"/>
                  <a:gd name="connsiteX352" fmla="*/ 235562 w 918645"/>
                  <a:gd name="connsiteY352" fmla="*/ 300377 h 912934"/>
                  <a:gd name="connsiteX353" fmla="*/ 255549 w 918645"/>
                  <a:gd name="connsiteY353" fmla="*/ 309662 h 912934"/>
                  <a:gd name="connsiteX354" fmla="*/ 276964 w 918645"/>
                  <a:gd name="connsiteY354" fmla="*/ 374653 h 912934"/>
                  <a:gd name="connsiteX355" fmla="*/ 276964 w 918645"/>
                  <a:gd name="connsiteY355" fmla="*/ 376796 h 912934"/>
                  <a:gd name="connsiteX356" fmla="*/ 261260 w 918645"/>
                  <a:gd name="connsiteY356" fmla="*/ 412506 h 912934"/>
                  <a:gd name="connsiteX357" fmla="*/ 219144 w 918645"/>
                  <a:gd name="connsiteY357" fmla="*/ 466784 h 912934"/>
                  <a:gd name="connsiteX358" fmla="*/ 194874 w 918645"/>
                  <a:gd name="connsiteY358" fmla="*/ 498923 h 912934"/>
                  <a:gd name="connsiteX359" fmla="*/ 193446 w 918645"/>
                  <a:gd name="connsiteY359" fmla="*/ 503208 h 912934"/>
                  <a:gd name="connsiteX360" fmla="*/ 193446 w 918645"/>
                  <a:gd name="connsiteY360" fmla="*/ 503922 h 912934"/>
                  <a:gd name="connsiteX361" fmla="*/ 194874 w 918645"/>
                  <a:gd name="connsiteY361" fmla="*/ 507493 h 912934"/>
                  <a:gd name="connsiteX362" fmla="*/ 196302 w 918645"/>
                  <a:gd name="connsiteY362" fmla="*/ 507493 h 912934"/>
                  <a:gd name="connsiteX363" fmla="*/ 197015 w 918645"/>
                  <a:gd name="connsiteY363" fmla="*/ 508208 h 912934"/>
                  <a:gd name="connsiteX364" fmla="*/ 204154 w 918645"/>
                  <a:gd name="connsiteY364" fmla="*/ 508208 h 912934"/>
                  <a:gd name="connsiteX365" fmla="*/ 204867 w 918645"/>
                  <a:gd name="connsiteY365" fmla="*/ 506779 h 912934"/>
                  <a:gd name="connsiteX366" fmla="*/ 223427 w 918645"/>
                  <a:gd name="connsiteY366" fmla="*/ 486068 h 912934"/>
                  <a:gd name="connsiteX367" fmla="*/ 239845 w 918645"/>
                  <a:gd name="connsiteY367" fmla="*/ 515349 h 912934"/>
                  <a:gd name="connsiteX368" fmla="*/ 220572 w 918645"/>
                  <a:gd name="connsiteY368" fmla="*/ 536061 h 912934"/>
                  <a:gd name="connsiteX369" fmla="*/ 219858 w 918645"/>
                  <a:gd name="connsiteY369" fmla="*/ 536061 h 912934"/>
                  <a:gd name="connsiteX370" fmla="*/ 202726 w 918645"/>
                  <a:gd name="connsiteY370" fmla="*/ 541775 h 912934"/>
                  <a:gd name="connsiteX371" fmla="*/ 177742 w 918645"/>
                  <a:gd name="connsiteY371" fmla="*/ 534633 h 912934"/>
                  <a:gd name="connsiteX372" fmla="*/ 176314 w 918645"/>
                  <a:gd name="connsiteY372" fmla="*/ 533204 h 912934"/>
                  <a:gd name="connsiteX373" fmla="*/ 163466 w 918645"/>
                  <a:gd name="connsiteY373" fmla="*/ 515349 h 912934"/>
                  <a:gd name="connsiteX374" fmla="*/ 162038 w 918645"/>
                  <a:gd name="connsiteY374" fmla="*/ 511778 h 912934"/>
                  <a:gd name="connsiteX375" fmla="*/ 161324 w 918645"/>
                  <a:gd name="connsiteY375" fmla="*/ 508208 h 912934"/>
                  <a:gd name="connsiteX376" fmla="*/ 169176 w 918645"/>
                  <a:gd name="connsiteY376" fmla="*/ 478926 h 912934"/>
                  <a:gd name="connsiteX377" fmla="*/ 235562 w 918645"/>
                  <a:gd name="connsiteY377" fmla="*/ 393222 h 912934"/>
                  <a:gd name="connsiteX378" fmla="*/ 244128 w 918645"/>
                  <a:gd name="connsiteY378" fmla="*/ 373939 h 912934"/>
                  <a:gd name="connsiteX379" fmla="*/ 245555 w 918645"/>
                  <a:gd name="connsiteY379" fmla="*/ 361798 h 912934"/>
                  <a:gd name="connsiteX380" fmla="*/ 244842 w 918645"/>
                  <a:gd name="connsiteY380" fmla="*/ 359655 h 912934"/>
                  <a:gd name="connsiteX381" fmla="*/ 235562 w 918645"/>
                  <a:gd name="connsiteY381" fmla="*/ 334658 h 912934"/>
                  <a:gd name="connsiteX382" fmla="*/ 234848 w 918645"/>
                  <a:gd name="connsiteY382" fmla="*/ 333944 h 912934"/>
                  <a:gd name="connsiteX383" fmla="*/ 125633 w 918645"/>
                  <a:gd name="connsiteY383" fmla="*/ 441788 h 912934"/>
                  <a:gd name="connsiteX384" fmla="*/ 43543 w 918645"/>
                  <a:gd name="connsiteY384" fmla="*/ 523206 h 912934"/>
                  <a:gd name="connsiteX385" fmla="*/ 42829 w 918645"/>
                  <a:gd name="connsiteY385" fmla="*/ 523206 h 912934"/>
                  <a:gd name="connsiteX386" fmla="*/ 39974 w 918645"/>
                  <a:gd name="connsiteY386" fmla="*/ 562486 h 912934"/>
                  <a:gd name="connsiteX387" fmla="*/ 31408 w 918645"/>
                  <a:gd name="connsiteY387" fmla="*/ 668901 h 912934"/>
                  <a:gd name="connsiteX388" fmla="*/ 30694 w 918645"/>
                  <a:gd name="connsiteY388" fmla="*/ 668901 h 912934"/>
                  <a:gd name="connsiteX389" fmla="*/ 3569 w 918645"/>
                  <a:gd name="connsiteY389" fmla="*/ 663902 h 912934"/>
                  <a:gd name="connsiteX390" fmla="*/ 0 w 918645"/>
                  <a:gd name="connsiteY390" fmla="*/ 663902 h 912934"/>
                  <a:gd name="connsiteX391" fmla="*/ 7852 w 918645"/>
                  <a:gd name="connsiteY391" fmla="*/ 561058 h 912934"/>
                  <a:gd name="connsiteX392" fmla="*/ 7852 w 918645"/>
                  <a:gd name="connsiteY392" fmla="*/ 558201 h 912934"/>
                  <a:gd name="connsiteX393" fmla="*/ 11421 w 918645"/>
                  <a:gd name="connsiteY393" fmla="*/ 518206 h 912934"/>
                  <a:gd name="connsiteX394" fmla="*/ 12135 w 918645"/>
                  <a:gd name="connsiteY394" fmla="*/ 513921 h 912934"/>
                  <a:gd name="connsiteX395" fmla="*/ 12135 w 918645"/>
                  <a:gd name="connsiteY395" fmla="*/ 513207 h 912934"/>
                  <a:gd name="connsiteX396" fmla="*/ 15704 w 918645"/>
                  <a:gd name="connsiteY396" fmla="*/ 506065 h 912934"/>
                  <a:gd name="connsiteX397" fmla="*/ 112784 w 918645"/>
                  <a:gd name="connsiteY397" fmla="*/ 408935 h 912934"/>
                  <a:gd name="connsiteX398" fmla="*/ 215575 w 918645"/>
                  <a:gd name="connsiteY398" fmla="*/ 308947 h 912934"/>
                  <a:gd name="connsiteX399" fmla="*/ 231993 w 918645"/>
                  <a:gd name="connsiteY399" fmla="*/ 300377 h 912934"/>
                  <a:gd name="connsiteX400" fmla="*/ 886586 w 918645"/>
                  <a:gd name="connsiteY400" fmla="*/ 246317 h 912934"/>
                  <a:gd name="connsiteX401" fmla="*/ 915083 w 918645"/>
                  <a:gd name="connsiteY401" fmla="*/ 252024 h 912934"/>
                  <a:gd name="connsiteX402" fmla="*/ 918645 w 918645"/>
                  <a:gd name="connsiteY402" fmla="*/ 252024 h 912934"/>
                  <a:gd name="connsiteX403" fmla="*/ 907246 w 918645"/>
                  <a:gd name="connsiteY403" fmla="*/ 396848 h 912934"/>
                  <a:gd name="connsiteX404" fmla="*/ 902972 w 918645"/>
                  <a:gd name="connsiteY404" fmla="*/ 409689 h 912934"/>
                  <a:gd name="connsiteX405" fmla="*/ 816767 w 918645"/>
                  <a:gd name="connsiteY405" fmla="*/ 495299 h 912934"/>
                  <a:gd name="connsiteX406" fmla="*/ 812493 w 918645"/>
                  <a:gd name="connsiteY406" fmla="*/ 487452 h 912934"/>
                  <a:gd name="connsiteX407" fmla="*/ 811780 w 918645"/>
                  <a:gd name="connsiteY407" fmla="*/ 486738 h 912934"/>
                  <a:gd name="connsiteX408" fmla="*/ 798244 w 918645"/>
                  <a:gd name="connsiteY408" fmla="*/ 471756 h 912934"/>
                  <a:gd name="connsiteX409" fmla="*/ 796819 w 918645"/>
                  <a:gd name="connsiteY409" fmla="*/ 470330 h 912934"/>
                  <a:gd name="connsiteX410" fmla="*/ 875187 w 918645"/>
                  <a:gd name="connsiteY410" fmla="*/ 392567 h 912934"/>
                  <a:gd name="connsiteX411" fmla="*/ 886586 w 918645"/>
                  <a:gd name="connsiteY411" fmla="*/ 249171 h 912934"/>
                  <a:gd name="connsiteX412" fmla="*/ 886586 w 918645"/>
                  <a:gd name="connsiteY412" fmla="*/ 246317 h 912934"/>
                  <a:gd name="connsiteX413" fmla="*/ 74946 w 918645"/>
                  <a:gd name="connsiteY413" fmla="*/ 246317 h 912934"/>
                  <a:gd name="connsiteX414" fmla="*/ 76376 w 918645"/>
                  <a:gd name="connsiteY414" fmla="*/ 249168 h 912934"/>
                  <a:gd name="connsiteX415" fmla="*/ 132867 w 918645"/>
                  <a:gd name="connsiteY415" fmla="*/ 345385 h 912934"/>
                  <a:gd name="connsiteX416" fmla="*/ 109270 w 918645"/>
                  <a:gd name="connsiteY416" fmla="*/ 368904 h 912934"/>
                  <a:gd name="connsiteX417" fmla="*/ 50634 w 918645"/>
                  <a:gd name="connsiteY417" fmla="*/ 269837 h 912934"/>
                  <a:gd name="connsiteX418" fmla="*/ 65650 w 918645"/>
                  <a:gd name="connsiteY418" fmla="*/ 257721 h 912934"/>
                  <a:gd name="connsiteX419" fmla="*/ 74946 w 918645"/>
                  <a:gd name="connsiteY419" fmla="*/ 246317 h 912934"/>
                  <a:gd name="connsiteX420" fmla="*/ 649098 w 918645"/>
                  <a:gd name="connsiteY420" fmla="*/ 51395 h 912934"/>
                  <a:gd name="connsiteX421" fmla="*/ 661261 w 918645"/>
                  <a:gd name="connsiteY421" fmla="*/ 66420 h 912934"/>
                  <a:gd name="connsiteX422" fmla="*/ 672708 w 918645"/>
                  <a:gd name="connsiteY422" fmla="*/ 75005 h 912934"/>
                  <a:gd name="connsiteX423" fmla="*/ 571827 w 918645"/>
                  <a:gd name="connsiteY423" fmla="*/ 134389 h 912934"/>
                  <a:gd name="connsiteX424" fmla="*/ 548217 w 918645"/>
                  <a:gd name="connsiteY424" fmla="*/ 110779 h 912934"/>
                  <a:gd name="connsiteX425" fmla="*/ 649098 w 918645"/>
                  <a:gd name="connsiteY425" fmla="*/ 51395 h 912934"/>
                  <a:gd name="connsiteX426" fmla="*/ 251316 w 918645"/>
                  <a:gd name="connsiteY426" fmla="*/ 0 h 912934"/>
                  <a:gd name="connsiteX427" fmla="*/ 397012 w 918645"/>
                  <a:gd name="connsiteY427" fmla="*/ 10706 h 912934"/>
                  <a:gd name="connsiteX428" fmla="*/ 409153 w 918645"/>
                  <a:gd name="connsiteY428" fmla="*/ 15702 h 912934"/>
                  <a:gd name="connsiteX429" fmla="*/ 520568 w 918645"/>
                  <a:gd name="connsiteY429" fmla="*/ 127041 h 912934"/>
                  <a:gd name="connsiteX430" fmla="*/ 544136 w 918645"/>
                  <a:gd name="connsiteY430" fmla="*/ 150594 h 912934"/>
                  <a:gd name="connsiteX431" fmla="*/ 606271 w 918645"/>
                  <a:gd name="connsiteY431" fmla="*/ 214115 h 912934"/>
                  <a:gd name="connsiteX432" fmla="*/ 614841 w 918645"/>
                  <a:gd name="connsiteY432" fmla="*/ 234812 h 912934"/>
                  <a:gd name="connsiteX433" fmla="*/ 614841 w 918645"/>
                  <a:gd name="connsiteY433" fmla="*/ 235526 h 912934"/>
                  <a:gd name="connsiteX434" fmla="*/ 605557 w 918645"/>
                  <a:gd name="connsiteY434" fmla="*/ 255510 h 912934"/>
                  <a:gd name="connsiteX435" fmla="*/ 539137 w 918645"/>
                  <a:gd name="connsiteY435" fmla="*/ 276921 h 912934"/>
                  <a:gd name="connsiteX436" fmla="*/ 503427 w 918645"/>
                  <a:gd name="connsiteY436" fmla="*/ 261220 h 912934"/>
                  <a:gd name="connsiteX437" fmla="*/ 445577 w 918645"/>
                  <a:gd name="connsiteY437" fmla="*/ 216969 h 912934"/>
                  <a:gd name="connsiteX438" fmla="*/ 416295 w 918645"/>
                  <a:gd name="connsiteY438" fmla="*/ 194131 h 912934"/>
                  <a:gd name="connsiteX439" fmla="*/ 412010 w 918645"/>
                  <a:gd name="connsiteY439" fmla="*/ 193417 h 912934"/>
                  <a:gd name="connsiteX440" fmla="*/ 408439 w 918645"/>
                  <a:gd name="connsiteY440" fmla="*/ 194844 h 912934"/>
                  <a:gd name="connsiteX441" fmla="*/ 407725 w 918645"/>
                  <a:gd name="connsiteY441" fmla="*/ 195558 h 912934"/>
                  <a:gd name="connsiteX442" fmla="*/ 407011 w 918645"/>
                  <a:gd name="connsiteY442" fmla="*/ 196272 h 912934"/>
                  <a:gd name="connsiteX443" fmla="*/ 408439 w 918645"/>
                  <a:gd name="connsiteY443" fmla="*/ 204836 h 912934"/>
                  <a:gd name="connsiteX444" fmla="*/ 427008 w 918645"/>
                  <a:gd name="connsiteY444" fmla="*/ 221252 h 912934"/>
                  <a:gd name="connsiteX445" fmla="*/ 458433 w 918645"/>
                  <a:gd name="connsiteY445" fmla="*/ 247659 h 912934"/>
                  <a:gd name="connsiteX446" fmla="*/ 497713 w 918645"/>
                  <a:gd name="connsiteY446" fmla="*/ 281204 h 912934"/>
                  <a:gd name="connsiteX447" fmla="*/ 498428 w 918645"/>
                  <a:gd name="connsiteY447" fmla="*/ 281917 h 912934"/>
                  <a:gd name="connsiteX448" fmla="*/ 508426 w 918645"/>
                  <a:gd name="connsiteY448" fmla="*/ 290482 h 912934"/>
                  <a:gd name="connsiteX449" fmla="*/ 488429 w 918645"/>
                  <a:gd name="connsiteY449" fmla="*/ 301188 h 912934"/>
                  <a:gd name="connsiteX450" fmla="*/ 487715 w 918645"/>
                  <a:gd name="connsiteY450" fmla="*/ 301188 h 912934"/>
                  <a:gd name="connsiteX451" fmla="*/ 480573 w 918645"/>
                  <a:gd name="connsiteY451" fmla="*/ 307611 h 912934"/>
                  <a:gd name="connsiteX452" fmla="*/ 479144 w 918645"/>
                  <a:gd name="connsiteY452" fmla="*/ 307611 h 912934"/>
                  <a:gd name="connsiteX453" fmla="*/ 478430 w 918645"/>
                  <a:gd name="connsiteY453" fmla="*/ 307611 h 912934"/>
                  <a:gd name="connsiteX454" fmla="*/ 447720 w 918645"/>
                  <a:gd name="connsiteY454" fmla="*/ 281204 h 912934"/>
                  <a:gd name="connsiteX455" fmla="*/ 422009 w 918645"/>
                  <a:gd name="connsiteY455" fmla="*/ 259079 h 912934"/>
                  <a:gd name="connsiteX456" fmla="*/ 397726 w 918645"/>
                  <a:gd name="connsiteY456" fmla="*/ 238381 h 912934"/>
                  <a:gd name="connsiteX457" fmla="*/ 387013 w 918645"/>
                  <a:gd name="connsiteY457" fmla="*/ 229103 h 912934"/>
                  <a:gd name="connsiteX458" fmla="*/ 379157 w 918645"/>
                  <a:gd name="connsiteY458" fmla="*/ 219824 h 912934"/>
                  <a:gd name="connsiteX459" fmla="*/ 374158 w 918645"/>
                  <a:gd name="connsiteY459" fmla="*/ 202695 h 912934"/>
                  <a:gd name="connsiteX460" fmla="*/ 381300 w 918645"/>
                  <a:gd name="connsiteY460" fmla="*/ 177715 h 912934"/>
                  <a:gd name="connsiteX461" fmla="*/ 382014 w 918645"/>
                  <a:gd name="connsiteY461" fmla="*/ 176288 h 912934"/>
                  <a:gd name="connsiteX462" fmla="*/ 400583 w 918645"/>
                  <a:gd name="connsiteY462" fmla="*/ 162727 h 912934"/>
                  <a:gd name="connsiteX463" fmla="*/ 404154 w 918645"/>
                  <a:gd name="connsiteY463" fmla="*/ 162013 h 912934"/>
                  <a:gd name="connsiteX464" fmla="*/ 407011 w 918645"/>
                  <a:gd name="connsiteY464" fmla="*/ 161300 h 912934"/>
                  <a:gd name="connsiteX465" fmla="*/ 436293 w 918645"/>
                  <a:gd name="connsiteY465" fmla="*/ 169150 h 912934"/>
                  <a:gd name="connsiteX466" fmla="*/ 522710 w 918645"/>
                  <a:gd name="connsiteY466" fmla="*/ 235526 h 912934"/>
                  <a:gd name="connsiteX467" fmla="*/ 541279 w 918645"/>
                  <a:gd name="connsiteY467" fmla="*/ 244091 h 912934"/>
                  <a:gd name="connsiteX468" fmla="*/ 553420 w 918645"/>
                  <a:gd name="connsiteY468" fmla="*/ 245518 h 912934"/>
                  <a:gd name="connsiteX469" fmla="*/ 555563 w 918645"/>
                  <a:gd name="connsiteY469" fmla="*/ 244804 h 912934"/>
                  <a:gd name="connsiteX470" fmla="*/ 581274 w 918645"/>
                  <a:gd name="connsiteY470" fmla="*/ 234812 h 912934"/>
                  <a:gd name="connsiteX471" fmla="*/ 519139 w 918645"/>
                  <a:gd name="connsiteY471" fmla="*/ 171292 h 912934"/>
                  <a:gd name="connsiteX472" fmla="*/ 514854 w 918645"/>
                  <a:gd name="connsiteY472" fmla="*/ 167009 h 912934"/>
                  <a:gd name="connsiteX473" fmla="*/ 496285 w 918645"/>
                  <a:gd name="connsiteY473" fmla="*/ 147739 h 912934"/>
                  <a:gd name="connsiteX474" fmla="*/ 392013 w 918645"/>
                  <a:gd name="connsiteY474" fmla="*/ 42823 h 912934"/>
                  <a:gd name="connsiteX475" fmla="*/ 246317 w 918645"/>
                  <a:gd name="connsiteY475" fmla="*/ 31404 h 912934"/>
                  <a:gd name="connsiteX476" fmla="*/ 252031 w 918645"/>
                  <a:gd name="connsiteY476" fmla="*/ 3569 h 912934"/>
                  <a:gd name="connsiteX477" fmla="*/ 251316 w 918645"/>
                  <a:gd name="connsiteY477" fmla="*/ 0 h 912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</a:cxnLst>
                <a:rect l="l" t="t" r="r" b="b"/>
                <a:pathLst>
                  <a:path w="918645" h="912934">
                    <a:moveTo>
                      <a:pt x="349108" y="780067"/>
                    </a:moveTo>
                    <a:cubicBezTo>
                      <a:pt x="371950" y="804419"/>
                      <a:pt x="371950" y="804419"/>
                      <a:pt x="371950" y="804419"/>
                    </a:cubicBezTo>
                    <a:cubicBezTo>
                      <a:pt x="333404" y="827339"/>
                      <a:pt x="269873" y="864584"/>
                      <a:pt x="269873" y="864584"/>
                    </a:cubicBezTo>
                    <a:cubicBezTo>
                      <a:pt x="267018" y="858854"/>
                      <a:pt x="262735" y="853840"/>
                      <a:pt x="257738" y="849543"/>
                    </a:cubicBezTo>
                    <a:cubicBezTo>
                      <a:pt x="246317" y="840948"/>
                      <a:pt x="246317" y="840948"/>
                      <a:pt x="246317" y="840948"/>
                    </a:cubicBezTo>
                    <a:cubicBezTo>
                      <a:pt x="246317" y="840948"/>
                      <a:pt x="310561" y="802987"/>
                      <a:pt x="349108" y="780067"/>
                    </a:cubicBezTo>
                    <a:close/>
                    <a:moveTo>
                      <a:pt x="539780" y="317794"/>
                    </a:moveTo>
                    <a:cubicBezTo>
                      <a:pt x="541207" y="318508"/>
                      <a:pt x="541207" y="318508"/>
                      <a:pt x="541207" y="318508"/>
                    </a:cubicBezTo>
                    <a:cubicBezTo>
                      <a:pt x="541921" y="319222"/>
                      <a:pt x="541921" y="319222"/>
                      <a:pt x="541921" y="319222"/>
                    </a:cubicBezTo>
                    <a:cubicBezTo>
                      <a:pt x="542634" y="319935"/>
                      <a:pt x="542634" y="319935"/>
                      <a:pt x="542634" y="319935"/>
                    </a:cubicBezTo>
                    <a:cubicBezTo>
                      <a:pt x="550482" y="320649"/>
                      <a:pt x="557616" y="324217"/>
                      <a:pt x="564037" y="329212"/>
                    </a:cubicBezTo>
                    <a:cubicBezTo>
                      <a:pt x="773789" y="493339"/>
                      <a:pt x="773789" y="493339"/>
                      <a:pt x="773789" y="493339"/>
                    </a:cubicBezTo>
                    <a:cubicBezTo>
                      <a:pt x="773789" y="492626"/>
                      <a:pt x="773789" y="492626"/>
                      <a:pt x="773789" y="492626"/>
                    </a:cubicBezTo>
                    <a:cubicBezTo>
                      <a:pt x="778783" y="496907"/>
                      <a:pt x="778783" y="496907"/>
                      <a:pt x="778783" y="496907"/>
                    </a:cubicBezTo>
                    <a:cubicBezTo>
                      <a:pt x="779496" y="497621"/>
                      <a:pt x="780210" y="498334"/>
                      <a:pt x="780923" y="499048"/>
                    </a:cubicBezTo>
                    <a:cubicBezTo>
                      <a:pt x="781636" y="499762"/>
                      <a:pt x="783063" y="500475"/>
                      <a:pt x="783063" y="501189"/>
                    </a:cubicBezTo>
                    <a:cubicBezTo>
                      <a:pt x="783777" y="502616"/>
                      <a:pt x="784490" y="503330"/>
                      <a:pt x="785204" y="504043"/>
                    </a:cubicBezTo>
                    <a:cubicBezTo>
                      <a:pt x="793765" y="519029"/>
                      <a:pt x="793765" y="519029"/>
                      <a:pt x="793765" y="519029"/>
                    </a:cubicBezTo>
                    <a:cubicBezTo>
                      <a:pt x="795192" y="521169"/>
                      <a:pt x="797332" y="525451"/>
                      <a:pt x="800186" y="530446"/>
                    </a:cubicBezTo>
                    <a:cubicBezTo>
                      <a:pt x="800899" y="531160"/>
                      <a:pt x="801613" y="531873"/>
                      <a:pt x="801613" y="532587"/>
                    </a:cubicBezTo>
                    <a:cubicBezTo>
                      <a:pt x="802326" y="533301"/>
                      <a:pt x="802326" y="534014"/>
                      <a:pt x="803040" y="534728"/>
                    </a:cubicBezTo>
                    <a:cubicBezTo>
                      <a:pt x="813028" y="552568"/>
                      <a:pt x="829437" y="579684"/>
                      <a:pt x="842992" y="602519"/>
                    </a:cubicBezTo>
                    <a:cubicBezTo>
                      <a:pt x="847986" y="611083"/>
                      <a:pt x="847986" y="611083"/>
                      <a:pt x="847986" y="611083"/>
                    </a:cubicBezTo>
                    <a:cubicBezTo>
                      <a:pt x="850840" y="616791"/>
                      <a:pt x="850840" y="616791"/>
                      <a:pt x="850840" y="616791"/>
                    </a:cubicBezTo>
                    <a:cubicBezTo>
                      <a:pt x="860115" y="632491"/>
                      <a:pt x="867249" y="643195"/>
                      <a:pt x="867249" y="643195"/>
                    </a:cubicBezTo>
                    <a:cubicBezTo>
                      <a:pt x="867249" y="643195"/>
                      <a:pt x="867249" y="643195"/>
                      <a:pt x="866536" y="643195"/>
                    </a:cubicBezTo>
                    <a:cubicBezTo>
                      <a:pt x="866536" y="643908"/>
                      <a:pt x="866536" y="643908"/>
                      <a:pt x="866536" y="643908"/>
                    </a:cubicBezTo>
                    <a:cubicBezTo>
                      <a:pt x="860828" y="646763"/>
                      <a:pt x="855834" y="651044"/>
                      <a:pt x="852267" y="655326"/>
                    </a:cubicBezTo>
                    <a:cubicBezTo>
                      <a:pt x="842992" y="666743"/>
                      <a:pt x="842992" y="666743"/>
                      <a:pt x="842992" y="666743"/>
                    </a:cubicBezTo>
                    <a:cubicBezTo>
                      <a:pt x="795192" y="584680"/>
                      <a:pt x="795192" y="584680"/>
                      <a:pt x="795192" y="584680"/>
                    </a:cubicBezTo>
                    <a:cubicBezTo>
                      <a:pt x="770221" y="542577"/>
                      <a:pt x="770221" y="542577"/>
                      <a:pt x="770221" y="542577"/>
                    </a:cubicBezTo>
                    <a:cubicBezTo>
                      <a:pt x="758093" y="521883"/>
                      <a:pt x="758093" y="521883"/>
                      <a:pt x="758093" y="521883"/>
                    </a:cubicBezTo>
                    <a:cubicBezTo>
                      <a:pt x="573312" y="377023"/>
                      <a:pt x="573312" y="377023"/>
                      <a:pt x="573312" y="377023"/>
                    </a:cubicBezTo>
                    <a:cubicBezTo>
                      <a:pt x="549769" y="358469"/>
                      <a:pt x="549769" y="358469"/>
                      <a:pt x="549769" y="358469"/>
                    </a:cubicBezTo>
                    <a:cubicBezTo>
                      <a:pt x="544061" y="354188"/>
                      <a:pt x="544061" y="354188"/>
                      <a:pt x="544061" y="354188"/>
                    </a:cubicBezTo>
                    <a:cubicBezTo>
                      <a:pt x="543348" y="353474"/>
                      <a:pt x="541921" y="352761"/>
                      <a:pt x="541207" y="352047"/>
                    </a:cubicBezTo>
                    <a:cubicBezTo>
                      <a:pt x="540494" y="352047"/>
                      <a:pt x="539780" y="352047"/>
                      <a:pt x="539067" y="351333"/>
                    </a:cubicBezTo>
                    <a:cubicBezTo>
                      <a:pt x="539067" y="351333"/>
                      <a:pt x="538354" y="351333"/>
                      <a:pt x="538354" y="351333"/>
                    </a:cubicBezTo>
                    <a:cubicBezTo>
                      <a:pt x="535500" y="350620"/>
                      <a:pt x="532646" y="350620"/>
                      <a:pt x="530506" y="351333"/>
                    </a:cubicBezTo>
                    <a:cubicBezTo>
                      <a:pt x="530506" y="351333"/>
                      <a:pt x="529792" y="351333"/>
                      <a:pt x="529792" y="351333"/>
                    </a:cubicBezTo>
                    <a:cubicBezTo>
                      <a:pt x="529792" y="352047"/>
                      <a:pt x="529792" y="352047"/>
                      <a:pt x="529079" y="352047"/>
                    </a:cubicBezTo>
                    <a:cubicBezTo>
                      <a:pt x="527652" y="352761"/>
                      <a:pt x="526225" y="353474"/>
                      <a:pt x="524798" y="354188"/>
                    </a:cubicBezTo>
                    <a:cubicBezTo>
                      <a:pt x="524798" y="354188"/>
                      <a:pt x="524085" y="354901"/>
                      <a:pt x="524085" y="354901"/>
                    </a:cubicBezTo>
                    <a:cubicBezTo>
                      <a:pt x="522658" y="355615"/>
                      <a:pt x="521945" y="357042"/>
                      <a:pt x="521231" y="357756"/>
                    </a:cubicBezTo>
                    <a:cubicBezTo>
                      <a:pt x="519804" y="360610"/>
                      <a:pt x="518377" y="363465"/>
                      <a:pt x="518377" y="366319"/>
                    </a:cubicBezTo>
                    <a:cubicBezTo>
                      <a:pt x="518377" y="366319"/>
                      <a:pt x="518377" y="367033"/>
                      <a:pt x="518377" y="367033"/>
                    </a:cubicBezTo>
                    <a:cubicBezTo>
                      <a:pt x="518377" y="367746"/>
                      <a:pt x="518377" y="367746"/>
                      <a:pt x="518377" y="368460"/>
                    </a:cubicBezTo>
                    <a:cubicBezTo>
                      <a:pt x="519091" y="369173"/>
                      <a:pt x="519091" y="370600"/>
                      <a:pt x="519804" y="371314"/>
                    </a:cubicBezTo>
                    <a:cubicBezTo>
                      <a:pt x="519804" y="372028"/>
                      <a:pt x="519804" y="372028"/>
                      <a:pt x="519804" y="372028"/>
                    </a:cubicBezTo>
                    <a:cubicBezTo>
                      <a:pt x="519804" y="373455"/>
                      <a:pt x="519804" y="373455"/>
                      <a:pt x="519804" y="373455"/>
                    </a:cubicBezTo>
                    <a:cubicBezTo>
                      <a:pt x="520518" y="373455"/>
                      <a:pt x="520518" y="374168"/>
                      <a:pt x="520518" y="374168"/>
                    </a:cubicBezTo>
                    <a:cubicBezTo>
                      <a:pt x="521231" y="374882"/>
                      <a:pt x="521231" y="374882"/>
                      <a:pt x="521231" y="374882"/>
                    </a:cubicBezTo>
                    <a:cubicBezTo>
                      <a:pt x="521231" y="375596"/>
                      <a:pt x="521231" y="375596"/>
                      <a:pt x="521231" y="375596"/>
                    </a:cubicBezTo>
                    <a:cubicBezTo>
                      <a:pt x="521945" y="375596"/>
                      <a:pt x="529792" y="382732"/>
                      <a:pt x="541921" y="392722"/>
                    </a:cubicBezTo>
                    <a:cubicBezTo>
                      <a:pt x="560470" y="407708"/>
                      <a:pt x="587581" y="429829"/>
                      <a:pt x="607557" y="446242"/>
                    </a:cubicBezTo>
                    <a:cubicBezTo>
                      <a:pt x="623966" y="459800"/>
                      <a:pt x="636095" y="469790"/>
                      <a:pt x="636095" y="469790"/>
                    </a:cubicBezTo>
                    <a:cubicBezTo>
                      <a:pt x="636095" y="469790"/>
                      <a:pt x="636808" y="469790"/>
                      <a:pt x="636808" y="470504"/>
                    </a:cubicBezTo>
                    <a:cubicBezTo>
                      <a:pt x="636808" y="470504"/>
                      <a:pt x="636808" y="471218"/>
                      <a:pt x="637522" y="471218"/>
                    </a:cubicBezTo>
                    <a:cubicBezTo>
                      <a:pt x="637522" y="471931"/>
                      <a:pt x="637522" y="471931"/>
                      <a:pt x="638235" y="472645"/>
                    </a:cubicBezTo>
                    <a:cubicBezTo>
                      <a:pt x="638235" y="472645"/>
                      <a:pt x="638235" y="473358"/>
                      <a:pt x="638235" y="473358"/>
                    </a:cubicBezTo>
                    <a:cubicBezTo>
                      <a:pt x="638949" y="475499"/>
                      <a:pt x="639662" y="477640"/>
                      <a:pt x="639662" y="479781"/>
                    </a:cubicBezTo>
                    <a:cubicBezTo>
                      <a:pt x="639662" y="481922"/>
                      <a:pt x="638949" y="484062"/>
                      <a:pt x="638235" y="485490"/>
                    </a:cubicBezTo>
                    <a:cubicBezTo>
                      <a:pt x="638235" y="485490"/>
                      <a:pt x="638235" y="485490"/>
                      <a:pt x="638235" y="486203"/>
                    </a:cubicBezTo>
                    <a:cubicBezTo>
                      <a:pt x="637522" y="487630"/>
                      <a:pt x="636095" y="489771"/>
                      <a:pt x="634668" y="491198"/>
                    </a:cubicBezTo>
                    <a:cubicBezTo>
                      <a:pt x="634668" y="491198"/>
                      <a:pt x="634668" y="491198"/>
                      <a:pt x="633954" y="491912"/>
                    </a:cubicBezTo>
                    <a:cubicBezTo>
                      <a:pt x="633954" y="491912"/>
                      <a:pt x="633241" y="491912"/>
                      <a:pt x="633241" y="491912"/>
                    </a:cubicBezTo>
                    <a:cubicBezTo>
                      <a:pt x="633241" y="492626"/>
                      <a:pt x="633241" y="492626"/>
                      <a:pt x="633241" y="492626"/>
                    </a:cubicBezTo>
                    <a:cubicBezTo>
                      <a:pt x="630387" y="494053"/>
                      <a:pt x="627534" y="495480"/>
                      <a:pt x="623966" y="495480"/>
                    </a:cubicBezTo>
                    <a:cubicBezTo>
                      <a:pt x="622539" y="495480"/>
                      <a:pt x="622539" y="495480"/>
                      <a:pt x="622539" y="495480"/>
                    </a:cubicBezTo>
                    <a:cubicBezTo>
                      <a:pt x="621826" y="495480"/>
                      <a:pt x="621826" y="495480"/>
                      <a:pt x="621113" y="495480"/>
                    </a:cubicBezTo>
                    <a:cubicBezTo>
                      <a:pt x="620399" y="494766"/>
                      <a:pt x="619686" y="494766"/>
                      <a:pt x="618972" y="494766"/>
                    </a:cubicBezTo>
                    <a:cubicBezTo>
                      <a:pt x="618259" y="494766"/>
                      <a:pt x="618259" y="494053"/>
                      <a:pt x="617545" y="494053"/>
                    </a:cubicBezTo>
                    <a:cubicBezTo>
                      <a:pt x="617545" y="494053"/>
                      <a:pt x="617545" y="494053"/>
                      <a:pt x="616832" y="494053"/>
                    </a:cubicBezTo>
                    <a:cubicBezTo>
                      <a:pt x="616832" y="494053"/>
                      <a:pt x="616119" y="493339"/>
                      <a:pt x="615405" y="493339"/>
                    </a:cubicBezTo>
                    <a:cubicBezTo>
                      <a:pt x="614692" y="492626"/>
                      <a:pt x="598283" y="479781"/>
                      <a:pt x="576166" y="461941"/>
                    </a:cubicBezTo>
                    <a:cubicBezTo>
                      <a:pt x="553336" y="443387"/>
                      <a:pt x="524798" y="420552"/>
                      <a:pt x="502682" y="402712"/>
                    </a:cubicBezTo>
                    <a:cubicBezTo>
                      <a:pt x="485559" y="389154"/>
                      <a:pt x="472004" y="377736"/>
                      <a:pt x="468437" y="374882"/>
                    </a:cubicBezTo>
                    <a:cubicBezTo>
                      <a:pt x="467723" y="374882"/>
                      <a:pt x="467723" y="374168"/>
                      <a:pt x="467723" y="374168"/>
                    </a:cubicBezTo>
                    <a:cubicBezTo>
                      <a:pt x="467723" y="374168"/>
                      <a:pt x="467010" y="374168"/>
                      <a:pt x="467010" y="374168"/>
                    </a:cubicBezTo>
                    <a:cubicBezTo>
                      <a:pt x="465583" y="372741"/>
                      <a:pt x="463442" y="372028"/>
                      <a:pt x="462016" y="371314"/>
                    </a:cubicBezTo>
                    <a:cubicBezTo>
                      <a:pt x="457735" y="369887"/>
                      <a:pt x="453454" y="369887"/>
                      <a:pt x="449887" y="371314"/>
                    </a:cubicBezTo>
                    <a:cubicBezTo>
                      <a:pt x="449174" y="371314"/>
                      <a:pt x="447747" y="372028"/>
                      <a:pt x="447033" y="372028"/>
                    </a:cubicBezTo>
                    <a:cubicBezTo>
                      <a:pt x="446320" y="372741"/>
                      <a:pt x="446320" y="372741"/>
                      <a:pt x="445607" y="373455"/>
                    </a:cubicBezTo>
                    <a:cubicBezTo>
                      <a:pt x="445607" y="373455"/>
                      <a:pt x="444893" y="373455"/>
                      <a:pt x="444893" y="374168"/>
                    </a:cubicBezTo>
                    <a:cubicBezTo>
                      <a:pt x="444180" y="374168"/>
                      <a:pt x="444180" y="374168"/>
                      <a:pt x="444180" y="374168"/>
                    </a:cubicBezTo>
                    <a:cubicBezTo>
                      <a:pt x="444180" y="374882"/>
                      <a:pt x="444180" y="374882"/>
                      <a:pt x="444180" y="374882"/>
                    </a:cubicBezTo>
                    <a:cubicBezTo>
                      <a:pt x="443466" y="374882"/>
                      <a:pt x="443466" y="374882"/>
                      <a:pt x="443466" y="374882"/>
                    </a:cubicBezTo>
                    <a:cubicBezTo>
                      <a:pt x="442753" y="375596"/>
                      <a:pt x="442753" y="375596"/>
                      <a:pt x="442753" y="375596"/>
                    </a:cubicBezTo>
                    <a:cubicBezTo>
                      <a:pt x="442039" y="376309"/>
                      <a:pt x="442039" y="376309"/>
                      <a:pt x="442039" y="376309"/>
                    </a:cubicBezTo>
                    <a:cubicBezTo>
                      <a:pt x="441326" y="377023"/>
                      <a:pt x="440612" y="378450"/>
                      <a:pt x="439899" y="379164"/>
                    </a:cubicBezTo>
                    <a:cubicBezTo>
                      <a:pt x="439899" y="379164"/>
                      <a:pt x="439899" y="379164"/>
                      <a:pt x="439899" y="379877"/>
                    </a:cubicBezTo>
                    <a:cubicBezTo>
                      <a:pt x="439186" y="380591"/>
                      <a:pt x="439186" y="381304"/>
                      <a:pt x="439186" y="381304"/>
                    </a:cubicBezTo>
                    <a:cubicBezTo>
                      <a:pt x="439186" y="382018"/>
                      <a:pt x="438472" y="382018"/>
                      <a:pt x="438472" y="382018"/>
                    </a:cubicBezTo>
                    <a:cubicBezTo>
                      <a:pt x="438472" y="382732"/>
                      <a:pt x="438472" y="382732"/>
                      <a:pt x="438472" y="382732"/>
                    </a:cubicBezTo>
                    <a:cubicBezTo>
                      <a:pt x="437759" y="384872"/>
                      <a:pt x="437045" y="387013"/>
                      <a:pt x="437045" y="389154"/>
                    </a:cubicBezTo>
                    <a:cubicBezTo>
                      <a:pt x="437045" y="389868"/>
                      <a:pt x="437045" y="389868"/>
                      <a:pt x="437045" y="389868"/>
                    </a:cubicBezTo>
                    <a:cubicBezTo>
                      <a:pt x="437045" y="390581"/>
                      <a:pt x="437045" y="390581"/>
                      <a:pt x="437045" y="391295"/>
                    </a:cubicBezTo>
                    <a:cubicBezTo>
                      <a:pt x="437045" y="392008"/>
                      <a:pt x="437045" y="392008"/>
                      <a:pt x="437045" y="392008"/>
                    </a:cubicBezTo>
                    <a:cubicBezTo>
                      <a:pt x="437759" y="394149"/>
                      <a:pt x="438472" y="395576"/>
                      <a:pt x="439186" y="397717"/>
                    </a:cubicBezTo>
                    <a:cubicBezTo>
                      <a:pt x="439899" y="398431"/>
                      <a:pt x="440612" y="399144"/>
                      <a:pt x="441326" y="400572"/>
                    </a:cubicBezTo>
                    <a:cubicBezTo>
                      <a:pt x="441326" y="400572"/>
                      <a:pt x="442039" y="401285"/>
                      <a:pt x="442039" y="401999"/>
                    </a:cubicBezTo>
                    <a:cubicBezTo>
                      <a:pt x="442753" y="401999"/>
                      <a:pt x="442753" y="401999"/>
                      <a:pt x="442753" y="402712"/>
                    </a:cubicBezTo>
                    <a:cubicBezTo>
                      <a:pt x="443466" y="402712"/>
                      <a:pt x="443466" y="402712"/>
                      <a:pt x="443466" y="403426"/>
                    </a:cubicBezTo>
                    <a:cubicBezTo>
                      <a:pt x="444180" y="403426"/>
                      <a:pt x="444180" y="403426"/>
                      <a:pt x="444180" y="403426"/>
                    </a:cubicBezTo>
                    <a:cubicBezTo>
                      <a:pt x="477711" y="431970"/>
                      <a:pt x="477711" y="431970"/>
                      <a:pt x="477711" y="431970"/>
                    </a:cubicBezTo>
                    <a:cubicBezTo>
                      <a:pt x="502682" y="453378"/>
                      <a:pt x="502682" y="453378"/>
                      <a:pt x="502682" y="453378"/>
                    </a:cubicBezTo>
                    <a:cubicBezTo>
                      <a:pt x="531219" y="477640"/>
                      <a:pt x="531219" y="477640"/>
                      <a:pt x="531219" y="477640"/>
                    </a:cubicBezTo>
                    <a:cubicBezTo>
                      <a:pt x="581873" y="520456"/>
                      <a:pt x="581873" y="520456"/>
                      <a:pt x="581873" y="520456"/>
                    </a:cubicBezTo>
                    <a:cubicBezTo>
                      <a:pt x="584727" y="523310"/>
                      <a:pt x="586867" y="527592"/>
                      <a:pt x="587581" y="531873"/>
                    </a:cubicBezTo>
                    <a:cubicBezTo>
                      <a:pt x="587581" y="533301"/>
                      <a:pt x="587581" y="533301"/>
                      <a:pt x="587581" y="533301"/>
                    </a:cubicBezTo>
                    <a:cubicBezTo>
                      <a:pt x="587581" y="533301"/>
                      <a:pt x="587581" y="534014"/>
                      <a:pt x="587581" y="534014"/>
                    </a:cubicBezTo>
                    <a:cubicBezTo>
                      <a:pt x="587581" y="534728"/>
                      <a:pt x="587581" y="534728"/>
                      <a:pt x="587581" y="534728"/>
                    </a:cubicBezTo>
                    <a:cubicBezTo>
                      <a:pt x="586867" y="537582"/>
                      <a:pt x="585441" y="541150"/>
                      <a:pt x="583300" y="543291"/>
                    </a:cubicBezTo>
                    <a:cubicBezTo>
                      <a:pt x="583300" y="544005"/>
                      <a:pt x="582587" y="544005"/>
                      <a:pt x="582587" y="544718"/>
                    </a:cubicBezTo>
                    <a:cubicBezTo>
                      <a:pt x="581873" y="544718"/>
                      <a:pt x="581873" y="545432"/>
                      <a:pt x="581873" y="545432"/>
                    </a:cubicBezTo>
                    <a:cubicBezTo>
                      <a:pt x="581873" y="545432"/>
                      <a:pt x="581160" y="545432"/>
                      <a:pt x="581160" y="545432"/>
                    </a:cubicBezTo>
                    <a:cubicBezTo>
                      <a:pt x="580447" y="546145"/>
                      <a:pt x="579733" y="546859"/>
                      <a:pt x="579020" y="547573"/>
                    </a:cubicBezTo>
                    <a:cubicBezTo>
                      <a:pt x="576879" y="548286"/>
                      <a:pt x="575452" y="548286"/>
                      <a:pt x="574739" y="549000"/>
                    </a:cubicBezTo>
                    <a:cubicBezTo>
                      <a:pt x="570458" y="549713"/>
                      <a:pt x="566178" y="549000"/>
                      <a:pt x="562611" y="546859"/>
                    </a:cubicBezTo>
                    <a:cubicBezTo>
                      <a:pt x="561897" y="546145"/>
                      <a:pt x="561184" y="546145"/>
                      <a:pt x="561184" y="545432"/>
                    </a:cubicBezTo>
                    <a:cubicBezTo>
                      <a:pt x="559757" y="544005"/>
                      <a:pt x="559757" y="544005"/>
                      <a:pt x="559757" y="544005"/>
                    </a:cubicBezTo>
                    <a:cubicBezTo>
                      <a:pt x="535500" y="524024"/>
                      <a:pt x="535500" y="524024"/>
                      <a:pt x="535500" y="524024"/>
                    </a:cubicBezTo>
                    <a:cubicBezTo>
                      <a:pt x="510529" y="502616"/>
                      <a:pt x="510529" y="502616"/>
                      <a:pt x="510529" y="502616"/>
                    </a:cubicBezTo>
                    <a:cubicBezTo>
                      <a:pt x="481278" y="477640"/>
                      <a:pt x="481278" y="477640"/>
                      <a:pt x="481278" y="477640"/>
                    </a:cubicBezTo>
                    <a:cubicBezTo>
                      <a:pt x="456308" y="456946"/>
                      <a:pt x="456308" y="456946"/>
                      <a:pt x="456308" y="456946"/>
                    </a:cubicBezTo>
                    <a:cubicBezTo>
                      <a:pt x="422776" y="428402"/>
                      <a:pt x="422776" y="428402"/>
                      <a:pt x="422776" y="428402"/>
                    </a:cubicBezTo>
                    <a:cubicBezTo>
                      <a:pt x="402087" y="409848"/>
                      <a:pt x="402087" y="409848"/>
                      <a:pt x="402087" y="409848"/>
                    </a:cubicBezTo>
                    <a:cubicBezTo>
                      <a:pt x="402087" y="409848"/>
                      <a:pt x="402087" y="409848"/>
                      <a:pt x="401373" y="409848"/>
                    </a:cubicBezTo>
                    <a:cubicBezTo>
                      <a:pt x="400660" y="409135"/>
                      <a:pt x="399233" y="408421"/>
                      <a:pt x="398520" y="407708"/>
                    </a:cubicBezTo>
                    <a:cubicBezTo>
                      <a:pt x="397806" y="407708"/>
                      <a:pt x="397093" y="406994"/>
                      <a:pt x="397093" y="406994"/>
                    </a:cubicBezTo>
                    <a:cubicBezTo>
                      <a:pt x="395666" y="406280"/>
                      <a:pt x="394239" y="406280"/>
                      <a:pt x="392812" y="405567"/>
                    </a:cubicBezTo>
                    <a:cubicBezTo>
                      <a:pt x="386391" y="404140"/>
                      <a:pt x="378543" y="405567"/>
                      <a:pt x="372836" y="411276"/>
                    </a:cubicBezTo>
                    <a:cubicBezTo>
                      <a:pt x="372122" y="411276"/>
                      <a:pt x="372122" y="411276"/>
                      <a:pt x="372122" y="411989"/>
                    </a:cubicBezTo>
                    <a:cubicBezTo>
                      <a:pt x="371409" y="412703"/>
                      <a:pt x="370695" y="413416"/>
                      <a:pt x="369982" y="413416"/>
                    </a:cubicBezTo>
                    <a:cubicBezTo>
                      <a:pt x="369268" y="414843"/>
                      <a:pt x="368555" y="416271"/>
                      <a:pt x="367842" y="417698"/>
                    </a:cubicBezTo>
                    <a:cubicBezTo>
                      <a:pt x="366415" y="420552"/>
                      <a:pt x="365701" y="424120"/>
                      <a:pt x="365701" y="427688"/>
                    </a:cubicBezTo>
                    <a:cubicBezTo>
                      <a:pt x="365701" y="431256"/>
                      <a:pt x="366415" y="434111"/>
                      <a:pt x="367842" y="436251"/>
                    </a:cubicBezTo>
                    <a:cubicBezTo>
                      <a:pt x="368555" y="436965"/>
                      <a:pt x="368555" y="437679"/>
                      <a:pt x="369268" y="438392"/>
                    </a:cubicBezTo>
                    <a:cubicBezTo>
                      <a:pt x="369268" y="439106"/>
                      <a:pt x="369268" y="439106"/>
                      <a:pt x="369268" y="439106"/>
                    </a:cubicBezTo>
                    <a:cubicBezTo>
                      <a:pt x="369982" y="439819"/>
                      <a:pt x="369982" y="439819"/>
                      <a:pt x="370695" y="440533"/>
                    </a:cubicBezTo>
                    <a:cubicBezTo>
                      <a:pt x="370695" y="440533"/>
                      <a:pt x="370695" y="441247"/>
                      <a:pt x="371409" y="441247"/>
                    </a:cubicBezTo>
                    <a:cubicBezTo>
                      <a:pt x="372122" y="441960"/>
                      <a:pt x="372836" y="442674"/>
                      <a:pt x="373549" y="443387"/>
                    </a:cubicBezTo>
                    <a:cubicBezTo>
                      <a:pt x="373549" y="444101"/>
                      <a:pt x="373549" y="444101"/>
                      <a:pt x="373549" y="444101"/>
                    </a:cubicBezTo>
                    <a:cubicBezTo>
                      <a:pt x="373549" y="444101"/>
                      <a:pt x="382110" y="451237"/>
                      <a:pt x="394239" y="461227"/>
                    </a:cubicBezTo>
                    <a:cubicBezTo>
                      <a:pt x="403514" y="469077"/>
                      <a:pt x="415642" y="479067"/>
                      <a:pt x="427771" y="489771"/>
                    </a:cubicBezTo>
                    <a:cubicBezTo>
                      <a:pt x="435618" y="496907"/>
                      <a:pt x="444180" y="504043"/>
                      <a:pt x="452741" y="511179"/>
                    </a:cubicBezTo>
                    <a:cubicBezTo>
                      <a:pt x="462729" y="519742"/>
                      <a:pt x="473431" y="528305"/>
                      <a:pt x="483419" y="536869"/>
                    </a:cubicBezTo>
                    <a:cubicBezTo>
                      <a:pt x="491980" y="544718"/>
                      <a:pt x="500541" y="551854"/>
                      <a:pt x="507676" y="557563"/>
                    </a:cubicBezTo>
                    <a:cubicBezTo>
                      <a:pt x="521231" y="568980"/>
                      <a:pt x="530506" y="576830"/>
                      <a:pt x="530506" y="576830"/>
                    </a:cubicBezTo>
                    <a:cubicBezTo>
                      <a:pt x="531219" y="578257"/>
                      <a:pt x="531219" y="578257"/>
                      <a:pt x="531219" y="578257"/>
                    </a:cubicBezTo>
                    <a:cubicBezTo>
                      <a:pt x="531933" y="578257"/>
                      <a:pt x="531933" y="578257"/>
                      <a:pt x="531933" y="578971"/>
                    </a:cubicBezTo>
                    <a:cubicBezTo>
                      <a:pt x="531933" y="578971"/>
                      <a:pt x="532646" y="579684"/>
                      <a:pt x="532646" y="579684"/>
                    </a:cubicBezTo>
                    <a:cubicBezTo>
                      <a:pt x="533360" y="580398"/>
                      <a:pt x="533360" y="581825"/>
                      <a:pt x="534073" y="582539"/>
                    </a:cubicBezTo>
                    <a:cubicBezTo>
                      <a:pt x="534786" y="583252"/>
                      <a:pt x="534786" y="584680"/>
                      <a:pt x="534786" y="585393"/>
                    </a:cubicBezTo>
                    <a:cubicBezTo>
                      <a:pt x="534786" y="585393"/>
                      <a:pt x="534786" y="586107"/>
                      <a:pt x="534786" y="586820"/>
                    </a:cubicBezTo>
                    <a:cubicBezTo>
                      <a:pt x="535500" y="591102"/>
                      <a:pt x="534073" y="595384"/>
                      <a:pt x="531933" y="598952"/>
                    </a:cubicBezTo>
                    <a:cubicBezTo>
                      <a:pt x="531219" y="598952"/>
                      <a:pt x="531219" y="598952"/>
                      <a:pt x="531219" y="598952"/>
                    </a:cubicBezTo>
                    <a:cubicBezTo>
                      <a:pt x="530506" y="599665"/>
                      <a:pt x="530506" y="599665"/>
                      <a:pt x="530506" y="599665"/>
                    </a:cubicBezTo>
                    <a:cubicBezTo>
                      <a:pt x="529079" y="601092"/>
                      <a:pt x="527652" y="602519"/>
                      <a:pt x="525512" y="603233"/>
                    </a:cubicBezTo>
                    <a:cubicBezTo>
                      <a:pt x="524798" y="603233"/>
                      <a:pt x="524085" y="603947"/>
                      <a:pt x="522658" y="603947"/>
                    </a:cubicBezTo>
                    <a:cubicBezTo>
                      <a:pt x="521945" y="603947"/>
                      <a:pt x="521231" y="603947"/>
                      <a:pt x="520518" y="604660"/>
                    </a:cubicBezTo>
                    <a:cubicBezTo>
                      <a:pt x="519804" y="604660"/>
                      <a:pt x="519804" y="604660"/>
                      <a:pt x="519804" y="604660"/>
                    </a:cubicBezTo>
                    <a:cubicBezTo>
                      <a:pt x="519804" y="604660"/>
                      <a:pt x="519091" y="604660"/>
                      <a:pt x="519091" y="603947"/>
                    </a:cubicBezTo>
                    <a:cubicBezTo>
                      <a:pt x="518377" y="603947"/>
                      <a:pt x="518377" y="603947"/>
                      <a:pt x="518377" y="603947"/>
                    </a:cubicBezTo>
                    <a:cubicBezTo>
                      <a:pt x="516237" y="603947"/>
                      <a:pt x="514810" y="603947"/>
                      <a:pt x="512670" y="602519"/>
                    </a:cubicBezTo>
                    <a:cubicBezTo>
                      <a:pt x="512670" y="602519"/>
                      <a:pt x="512670" y="602519"/>
                      <a:pt x="511956" y="602519"/>
                    </a:cubicBezTo>
                    <a:cubicBezTo>
                      <a:pt x="511956" y="602519"/>
                      <a:pt x="511243" y="601806"/>
                      <a:pt x="510529" y="601806"/>
                    </a:cubicBezTo>
                    <a:cubicBezTo>
                      <a:pt x="510529" y="601806"/>
                      <a:pt x="501255" y="593956"/>
                      <a:pt x="487699" y="581825"/>
                    </a:cubicBezTo>
                    <a:cubicBezTo>
                      <a:pt x="480565" y="576116"/>
                      <a:pt x="472004" y="568980"/>
                      <a:pt x="462729" y="561131"/>
                    </a:cubicBezTo>
                    <a:cubicBezTo>
                      <a:pt x="453454" y="553281"/>
                      <a:pt x="442753" y="544005"/>
                      <a:pt x="431338" y="535441"/>
                    </a:cubicBezTo>
                    <a:cubicBezTo>
                      <a:pt x="423490" y="528305"/>
                      <a:pt x="414929" y="521169"/>
                      <a:pt x="407081" y="514033"/>
                    </a:cubicBezTo>
                    <a:cubicBezTo>
                      <a:pt x="395666" y="504757"/>
                      <a:pt x="384251" y="494766"/>
                      <a:pt x="373549" y="486203"/>
                    </a:cubicBezTo>
                    <a:cubicBezTo>
                      <a:pt x="364274" y="478354"/>
                      <a:pt x="356427" y="471931"/>
                      <a:pt x="348579" y="465509"/>
                    </a:cubicBezTo>
                    <a:cubicBezTo>
                      <a:pt x="332883" y="451951"/>
                      <a:pt x="322181" y="443387"/>
                      <a:pt x="320755" y="441960"/>
                    </a:cubicBezTo>
                    <a:cubicBezTo>
                      <a:pt x="318614" y="439819"/>
                      <a:pt x="315761" y="438392"/>
                      <a:pt x="312907" y="437679"/>
                    </a:cubicBezTo>
                    <a:cubicBezTo>
                      <a:pt x="312193" y="436965"/>
                      <a:pt x="310766" y="436965"/>
                      <a:pt x="309340" y="436251"/>
                    </a:cubicBezTo>
                    <a:cubicBezTo>
                      <a:pt x="309340" y="436251"/>
                      <a:pt x="308626" y="436251"/>
                      <a:pt x="307913" y="436251"/>
                    </a:cubicBezTo>
                    <a:cubicBezTo>
                      <a:pt x="307913" y="436251"/>
                      <a:pt x="307913" y="436251"/>
                      <a:pt x="307199" y="436251"/>
                    </a:cubicBezTo>
                    <a:cubicBezTo>
                      <a:pt x="306486" y="436251"/>
                      <a:pt x="305059" y="436251"/>
                      <a:pt x="303632" y="436251"/>
                    </a:cubicBezTo>
                    <a:cubicBezTo>
                      <a:pt x="302205" y="436251"/>
                      <a:pt x="301492" y="436965"/>
                      <a:pt x="300065" y="436965"/>
                    </a:cubicBezTo>
                    <a:cubicBezTo>
                      <a:pt x="300065" y="436965"/>
                      <a:pt x="300065" y="436965"/>
                      <a:pt x="299351" y="436965"/>
                    </a:cubicBezTo>
                    <a:cubicBezTo>
                      <a:pt x="298638" y="436965"/>
                      <a:pt x="297924" y="437679"/>
                      <a:pt x="296498" y="438392"/>
                    </a:cubicBezTo>
                    <a:cubicBezTo>
                      <a:pt x="295784" y="438392"/>
                      <a:pt x="295784" y="438392"/>
                      <a:pt x="295784" y="438392"/>
                    </a:cubicBezTo>
                    <a:cubicBezTo>
                      <a:pt x="295071" y="439106"/>
                      <a:pt x="293644" y="439819"/>
                      <a:pt x="292217" y="440533"/>
                    </a:cubicBezTo>
                    <a:cubicBezTo>
                      <a:pt x="292217" y="440533"/>
                      <a:pt x="291504" y="441247"/>
                      <a:pt x="290790" y="441247"/>
                    </a:cubicBezTo>
                    <a:cubicBezTo>
                      <a:pt x="290077" y="441960"/>
                      <a:pt x="290077" y="441960"/>
                      <a:pt x="289363" y="442674"/>
                    </a:cubicBezTo>
                    <a:cubicBezTo>
                      <a:pt x="289363" y="442674"/>
                      <a:pt x="288650" y="443387"/>
                      <a:pt x="288650" y="443387"/>
                    </a:cubicBezTo>
                    <a:cubicBezTo>
                      <a:pt x="287936" y="444101"/>
                      <a:pt x="287936" y="444101"/>
                      <a:pt x="287223" y="444815"/>
                    </a:cubicBezTo>
                    <a:cubicBezTo>
                      <a:pt x="287223" y="444815"/>
                      <a:pt x="287223" y="445528"/>
                      <a:pt x="287223" y="445528"/>
                    </a:cubicBezTo>
                    <a:cubicBezTo>
                      <a:pt x="286509" y="445528"/>
                      <a:pt x="286509" y="445528"/>
                      <a:pt x="286509" y="445528"/>
                    </a:cubicBezTo>
                    <a:cubicBezTo>
                      <a:pt x="286509" y="446242"/>
                      <a:pt x="285796" y="446242"/>
                      <a:pt x="285796" y="446955"/>
                    </a:cubicBezTo>
                    <a:cubicBezTo>
                      <a:pt x="284369" y="448383"/>
                      <a:pt x="283656" y="450523"/>
                      <a:pt x="282942" y="451951"/>
                    </a:cubicBezTo>
                    <a:cubicBezTo>
                      <a:pt x="282229" y="454091"/>
                      <a:pt x="282229" y="456232"/>
                      <a:pt x="281515" y="458373"/>
                    </a:cubicBezTo>
                    <a:cubicBezTo>
                      <a:pt x="281515" y="459087"/>
                      <a:pt x="281515" y="459087"/>
                      <a:pt x="281515" y="459800"/>
                    </a:cubicBezTo>
                    <a:cubicBezTo>
                      <a:pt x="281515" y="461941"/>
                      <a:pt x="282229" y="464082"/>
                      <a:pt x="282229" y="466222"/>
                    </a:cubicBezTo>
                    <a:cubicBezTo>
                      <a:pt x="282942" y="466936"/>
                      <a:pt x="282942" y="466936"/>
                      <a:pt x="282942" y="466936"/>
                    </a:cubicBezTo>
                    <a:cubicBezTo>
                      <a:pt x="284369" y="471218"/>
                      <a:pt x="286509" y="475499"/>
                      <a:pt x="290077" y="478354"/>
                    </a:cubicBezTo>
                    <a:cubicBezTo>
                      <a:pt x="317901" y="501902"/>
                      <a:pt x="317901" y="501902"/>
                      <a:pt x="317901" y="501902"/>
                    </a:cubicBezTo>
                    <a:cubicBezTo>
                      <a:pt x="342158" y="522597"/>
                      <a:pt x="342158" y="522597"/>
                      <a:pt x="342158" y="522597"/>
                    </a:cubicBezTo>
                    <a:cubicBezTo>
                      <a:pt x="375689" y="551141"/>
                      <a:pt x="375689" y="551141"/>
                      <a:pt x="375689" y="551141"/>
                    </a:cubicBezTo>
                    <a:cubicBezTo>
                      <a:pt x="387818" y="561131"/>
                      <a:pt x="387818" y="561131"/>
                      <a:pt x="387818" y="561131"/>
                    </a:cubicBezTo>
                    <a:cubicBezTo>
                      <a:pt x="387818" y="561844"/>
                      <a:pt x="387818" y="561844"/>
                      <a:pt x="387818" y="561844"/>
                    </a:cubicBezTo>
                    <a:cubicBezTo>
                      <a:pt x="399946" y="571835"/>
                      <a:pt x="399946" y="571835"/>
                      <a:pt x="399946" y="571835"/>
                    </a:cubicBezTo>
                    <a:cubicBezTo>
                      <a:pt x="432051" y="598952"/>
                      <a:pt x="432051" y="598952"/>
                      <a:pt x="432051" y="598952"/>
                    </a:cubicBezTo>
                    <a:cubicBezTo>
                      <a:pt x="456308" y="619646"/>
                      <a:pt x="456308" y="619646"/>
                      <a:pt x="456308" y="619646"/>
                    </a:cubicBezTo>
                    <a:cubicBezTo>
                      <a:pt x="481992" y="641767"/>
                      <a:pt x="481992" y="641767"/>
                      <a:pt x="481992" y="641767"/>
                    </a:cubicBezTo>
                    <a:cubicBezTo>
                      <a:pt x="506249" y="662462"/>
                      <a:pt x="506249" y="662462"/>
                      <a:pt x="506249" y="662462"/>
                    </a:cubicBezTo>
                    <a:cubicBezTo>
                      <a:pt x="529792" y="683156"/>
                      <a:pt x="529792" y="683156"/>
                      <a:pt x="529792" y="683156"/>
                    </a:cubicBezTo>
                    <a:cubicBezTo>
                      <a:pt x="531219" y="683870"/>
                      <a:pt x="531219" y="683870"/>
                      <a:pt x="531219" y="683870"/>
                    </a:cubicBezTo>
                    <a:cubicBezTo>
                      <a:pt x="533360" y="686010"/>
                      <a:pt x="536213" y="688865"/>
                      <a:pt x="537640" y="691719"/>
                    </a:cubicBezTo>
                    <a:cubicBezTo>
                      <a:pt x="538354" y="691719"/>
                      <a:pt x="539067" y="692433"/>
                      <a:pt x="539067" y="693146"/>
                    </a:cubicBezTo>
                    <a:cubicBezTo>
                      <a:pt x="541921" y="698855"/>
                      <a:pt x="544061" y="703850"/>
                      <a:pt x="544775" y="710273"/>
                    </a:cubicBezTo>
                    <a:cubicBezTo>
                      <a:pt x="544775" y="718836"/>
                      <a:pt x="542634" y="728113"/>
                      <a:pt x="536927" y="735249"/>
                    </a:cubicBezTo>
                    <a:cubicBezTo>
                      <a:pt x="536213" y="736676"/>
                      <a:pt x="536213" y="736676"/>
                      <a:pt x="536213" y="736676"/>
                    </a:cubicBezTo>
                    <a:cubicBezTo>
                      <a:pt x="535500" y="737389"/>
                      <a:pt x="534786" y="738103"/>
                      <a:pt x="534786" y="738816"/>
                    </a:cubicBezTo>
                    <a:cubicBezTo>
                      <a:pt x="534073" y="739530"/>
                      <a:pt x="533360" y="740244"/>
                      <a:pt x="532646" y="740957"/>
                    </a:cubicBezTo>
                    <a:cubicBezTo>
                      <a:pt x="531933" y="741671"/>
                      <a:pt x="531219" y="742384"/>
                      <a:pt x="530506" y="743098"/>
                    </a:cubicBezTo>
                    <a:cubicBezTo>
                      <a:pt x="529792" y="743812"/>
                      <a:pt x="529079" y="743812"/>
                      <a:pt x="528365" y="744525"/>
                    </a:cubicBezTo>
                    <a:cubicBezTo>
                      <a:pt x="528365" y="744525"/>
                      <a:pt x="528365" y="744525"/>
                      <a:pt x="527652" y="744525"/>
                    </a:cubicBezTo>
                    <a:cubicBezTo>
                      <a:pt x="526939" y="745239"/>
                      <a:pt x="526225" y="745952"/>
                      <a:pt x="525512" y="745952"/>
                    </a:cubicBezTo>
                    <a:cubicBezTo>
                      <a:pt x="525512" y="746666"/>
                      <a:pt x="525512" y="746666"/>
                      <a:pt x="525512" y="746666"/>
                    </a:cubicBezTo>
                    <a:cubicBezTo>
                      <a:pt x="524798" y="746666"/>
                      <a:pt x="524085" y="747380"/>
                      <a:pt x="523371" y="748093"/>
                    </a:cubicBezTo>
                    <a:cubicBezTo>
                      <a:pt x="522658" y="748093"/>
                      <a:pt x="521945" y="748807"/>
                      <a:pt x="521231" y="748807"/>
                    </a:cubicBezTo>
                    <a:cubicBezTo>
                      <a:pt x="520518" y="748807"/>
                      <a:pt x="520518" y="748807"/>
                      <a:pt x="519804" y="749520"/>
                    </a:cubicBezTo>
                    <a:cubicBezTo>
                      <a:pt x="519804" y="749520"/>
                      <a:pt x="519091" y="749520"/>
                      <a:pt x="518377" y="749520"/>
                    </a:cubicBezTo>
                    <a:cubicBezTo>
                      <a:pt x="518377" y="750234"/>
                      <a:pt x="518377" y="750234"/>
                      <a:pt x="517664" y="750234"/>
                    </a:cubicBezTo>
                    <a:cubicBezTo>
                      <a:pt x="517664" y="750234"/>
                      <a:pt x="516950" y="750234"/>
                      <a:pt x="516237" y="750234"/>
                    </a:cubicBezTo>
                    <a:cubicBezTo>
                      <a:pt x="516237" y="750234"/>
                      <a:pt x="515524" y="750948"/>
                      <a:pt x="514810" y="750948"/>
                    </a:cubicBezTo>
                    <a:cubicBezTo>
                      <a:pt x="514810" y="750948"/>
                      <a:pt x="514810" y="750948"/>
                      <a:pt x="514097" y="750948"/>
                    </a:cubicBezTo>
                    <a:cubicBezTo>
                      <a:pt x="514097" y="750948"/>
                      <a:pt x="513383" y="750948"/>
                      <a:pt x="512670" y="750948"/>
                    </a:cubicBezTo>
                    <a:cubicBezTo>
                      <a:pt x="511956" y="751661"/>
                      <a:pt x="511956" y="751661"/>
                      <a:pt x="511243" y="751661"/>
                    </a:cubicBezTo>
                    <a:cubicBezTo>
                      <a:pt x="505535" y="752375"/>
                      <a:pt x="499828" y="752375"/>
                      <a:pt x="494834" y="750234"/>
                    </a:cubicBezTo>
                    <a:cubicBezTo>
                      <a:pt x="493407" y="750234"/>
                      <a:pt x="492693" y="749520"/>
                      <a:pt x="491980" y="749520"/>
                    </a:cubicBezTo>
                    <a:cubicBezTo>
                      <a:pt x="490553" y="748807"/>
                      <a:pt x="489840" y="748807"/>
                      <a:pt x="488413" y="748093"/>
                    </a:cubicBezTo>
                    <a:cubicBezTo>
                      <a:pt x="486273" y="747380"/>
                      <a:pt x="484132" y="745952"/>
                      <a:pt x="481992" y="743812"/>
                    </a:cubicBezTo>
                    <a:cubicBezTo>
                      <a:pt x="457022" y="724545"/>
                      <a:pt x="457022" y="724545"/>
                      <a:pt x="457022" y="724545"/>
                    </a:cubicBezTo>
                    <a:cubicBezTo>
                      <a:pt x="431338" y="705277"/>
                      <a:pt x="431338" y="705277"/>
                      <a:pt x="431338" y="705277"/>
                    </a:cubicBezTo>
                    <a:cubicBezTo>
                      <a:pt x="407081" y="686010"/>
                      <a:pt x="407081" y="686010"/>
                      <a:pt x="407081" y="686010"/>
                    </a:cubicBezTo>
                    <a:cubicBezTo>
                      <a:pt x="395666" y="677447"/>
                      <a:pt x="395666" y="677447"/>
                      <a:pt x="395666" y="677447"/>
                    </a:cubicBezTo>
                    <a:cubicBezTo>
                      <a:pt x="389958" y="673166"/>
                      <a:pt x="383537" y="670311"/>
                      <a:pt x="377116" y="668884"/>
                    </a:cubicBezTo>
                    <a:cubicBezTo>
                      <a:pt x="372836" y="668170"/>
                      <a:pt x="368555" y="667457"/>
                      <a:pt x="364988" y="668170"/>
                    </a:cubicBezTo>
                    <a:cubicBezTo>
                      <a:pt x="364274" y="668170"/>
                      <a:pt x="363561" y="668170"/>
                      <a:pt x="362848" y="668170"/>
                    </a:cubicBezTo>
                    <a:cubicBezTo>
                      <a:pt x="353573" y="668884"/>
                      <a:pt x="345012" y="672452"/>
                      <a:pt x="337877" y="678161"/>
                    </a:cubicBezTo>
                    <a:cubicBezTo>
                      <a:pt x="337877" y="678161"/>
                      <a:pt x="337877" y="678161"/>
                      <a:pt x="337164" y="678161"/>
                    </a:cubicBezTo>
                    <a:cubicBezTo>
                      <a:pt x="337164" y="678161"/>
                      <a:pt x="337164" y="678161"/>
                      <a:pt x="337164" y="678874"/>
                    </a:cubicBezTo>
                    <a:cubicBezTo>
                      <a:pt x="378543" y="720977"/>
                      <a:pt x="378543" y="720977"/>
                      <a:pt x="378543" y="720977"/>
                    </a:cubicBezTo>
                    <a:cubicBezTo>
                      <a:pt x="401373" y="743098"/>
                      <a:pt x="401373" y="743098"/>
                      <a:pt x="401373" y="743098"/>
                    </a:cubicBezTo>
                    <a:cubicBezTo>
                      <a:pt x="424203" y="766647"/>
                      <a:pt x="424203" y="766647"/>
                      <a:pt x="424203" y="766647"/>
                    </a:cubicBezTo>
                    <a:cubicBezTo>
                      <a:pt x="446320" y="788768"/>
                      <a:pt x="446320" y="788768"/>
                      <a:pt x="446320" y="788768"/>
                    </a:cubicBezTo>
                    <a:cubicBezTo>
                      <a:pt x="460589" y="803754"/>
                      <a:pt x="460589" y="803754"/>
                      <a:pt x="460589" y="803754"/>
                    </a:cubicBezTo>
                    <a:cubicBezTo>
                      <a:pt x="462729" y="805895"/>
                      <a:pt x="462729" y="805895"/>
                      <a:pt x="462729" y="805895"/>
                    </a:cubicBezTo>
                    <a:cubicBezTo>
                      <a:pt x="525512" y="869405"/>
                      <a:pt x="525512" y="869405"/>
                      <a:pt x="525512" y="869405"/>
                    </a:cubicBezTo>
                    <a:cubicBezTo>
                      <a:pt x="526225" y="870118"/>
                      <a:pt x="526225" y="870118"/>
                      <a:pt x="526225" y="870118"/>
                    </a:cubicBezTo>
                    <a:cubicBezTo>
                      <a:pt x="626820" y="877968"/>
                      <a:pt x="626820" y="877968"/>
                      <a:pt x="626820" y="877968"/>
                    </a:cubicBezTo>
                    <a:cubicBezTo>
                      <a:pt x="671767" y="881536"/>
                      <a:pt x="671767" y="881536"/>
                      <a:pt x="671767" y="881536"/>
                    </a:cubicBezTo>
                    <a:cubicBezTo>
                      <a:pt x="671767" y="882249"/>
                      <a:pt x="671767" y="882249"/>
                      <a:pt x="671767" y="882249"/>
                    </a:cubicBezTo>
                    <a:cubicBezTo>
                      <a:pt x="666773" y="890813"/>
                      <a:pt x="665346" y="900089"/>
                      <a:pt x="666059" y="909366"/>
                    </a:cubicBezTo>
                    <a:cubicBezTo>
                      <a:pt x="666059" y="910793"/>
                      <a:pt x="666773" y="912221"/>
                      <a:pt x="666773" y="912934"/>
                    </a:cubicBezTo>
                    <a:cubicBezTo>
                      <a:pt x="666773" y="912934"/>
                      <a:pt x="651077" y="912221"/>
                      <a:pt x="626820" y="910080"/>
                    </a:cubicBezTo>
                    <a:cubicBezTo>
                      <a:pt x="625393" y="910080"/>
                      <a:pt x="624680" y="910080"/>
                      <a:pt x="623253" y="910080"/>
                    </a:cubicBezTo>
                    <a:cubicBezTo>
                      <a:pt x="595429" y="907939"/>
                      <a:pt x="558330" y="905085"/>
                      <a:pt x="521231" y="902230"/>
                    </a:cubicBezTo>
                    <a:cubicBezTo>
                      <a:pt x="518377" y="902230"/>
                      <a:pt x="514810" y="900803"/>
                      <a:pt x="511956" y="899376"/>
                    </a:cubicBezTo>
                    <a:cubicBezTo>
                      <a:pt x="510529" y="898662"/>
                      <a:pt x="509816" y="897949"/>
                      <a:pt x="509103" y="897235"/>
                    </a:cubicBezTo>
                    <a:cubicBezTo>
                      <a:pt x="422776" y="810890"/>
                      <a:pt x="422776" y="810890"/>
                      <a:pt x="422776" y="810890"/>
                    </a:cubicBezTo>
                    <a:cubicBezTo>
                      <a:pt x="399946" y="788055"/>
                      <a:pt x="399946" y="788055"/>
                      <a:pt x="399946" y="788055"/>
                    </a:cubicBezTo>
                    <a:cubicBezTo>
                      <a:pt x="377116" y="763792"/>
                      <a:pt x="377116" y="763792"/>
                      <a:pt x="377116" y="763792"/>
                    </a:cubicBezTo>
                    <a:cubicBezTo>
                      <a:pt x="354286" y="740957"/>
                      <a:pt x="354286" y="740957"/>
                      <a:pt x="354286" y="740957"/>
                    </a:cubicBezTo>
                    <a:cubicBezTo>
                      <a:pt x="311480" y="696714"/>
                      <a:pt x="311480" y="696714"/>
                      <a:pt x="311480" y="696714"/>
                    </a:cubicBezTo>
                    <a:cubicBezTo>
                      <a:pt x="309340" y="694573"/>
                      <a:pt x="307199" y="691719"/>
                      <a:pt x="305772" y="688865"/>
                    </a:cubicBezTo>
                    <a:cubicBezTo>
                      <a:pt x="305059" y="686724"/>
                      <a:pt x="304345" y="684583"/>
                      <a:pt x="303632" y="681729"/>
                    </a:cubicBezTo>
                    <a:cubicBezTo>
                      <a:pt x="303632" y="681015"/>
                      <a:pt x="303632" y="679588"/>
                      <a:pt x="303632" y="678161"/>
                    </a:cubicBezTo>
                    <a:cubicBezTo>
                      <a:pt x="303632" y="671738"/>
                      <a:pt x="305772" y="666030"/>
                      <a:pt x="309340" y="661034"/>
                    </a:cubicBezTo>
                    <a:cubicBezTo>
                      <a:pt x="310053" y="660321"/>
                      <a:pt x="310053" y="660321"/>
                      <a:pt x="310766" y="659607"/>
                    </a:cubicBezTo>
                    <a:cubicBezTo>
                      <a:pt x="311480" y="658894"/>
                      <a:pt x="312193" y="658180"/>
                      <a:pt x="312907" y="657466"/>
                    </a:cubicBezTo>
                    <a:cubicBezTo>
                      <a:pt x="333597" y="637486"/>
                      <a:pt x="364274" y="631063"/>
                      <a:pt x="390672" y="638913"/>
                    </a:cubicBezTo>
                    <a:cubicBezTo>
                      <a:pt x="399233" y="641767"/>
                      <a:pt x="407794" y="646049"/>
                      <a:pt x="414929" y="651758"/>
                    </a:cubicBezTo>
                    <a:cubicBezTo>
                      <a:pt x="451314" y="679588"/>
                      <a:pt x="451314" y="679588"/>
                      <a:pt x="451314" y="679588"/>
                    </a:cubicBezTo>
                    <a:cubicBezTo>
                      <a:pt x="476998" y="699569"/>
                      <a:pt x="476998" y="699569"/>
                      <a:pt x="476998" y="699569"/>
                    </a:cubicBezTo>
                    <a:cubicBezTo>
                      <a:pt x="501968" y="718836"/>
                      <a:pt x="501968" y="718836"/>
                      <a:pt x="501968" y="718836"/>
                    </a:cubicBezTo>
                    <a:cubicBezTo>
                      <a:pt x="504109" y="720263"/>
                      <a:pt x="504822" y="720263"/>
                      <a:pt x="506249" y="720263"/>
                    </a:cubicBezTo>
                    <a:cubicBezTo>
                      <a:pt x="506249" y="719549"/>
                      <a:pt x="506249" y="719549"/>
                      <a:pt x="506249" y="719549"/>
                    </a:cubicBezTo>
                    <a:cubicBezTo>
                      <a:pt x="506962" y="719549"/>
                      <a:pt x="507676" y="719549"/>
                      <a:pt x="508389" y="718836"/>
                    </a:cubicBezTo>
                    <a:cubicBezTo>
                      <a:pt x="509103" y="718836"/>
                      <a:pt x="509103" y="718836"/>
                      <a:pt x="509103" y="718836"/>
                    </a:cubicBezTo>
                    <a:cubicBezTo>
                      <a:pt x="509816" y="718836"/>
                      <a:pt x="509816" y="718122"/>
                      <a:pt x="509816" y="718122"/>
                    </a:cubicBezTo>
                    <a:cubicBezTo>
                      <a:pt x="510529" y="718122"/>
                      <a:pt x="510529" y="718122"/>
                      <a:pt x="510529" y="718122"/>
                    </a:cubicBezTo>
                    <a:cubicBezTo>
                      <a:pt x="510529" y="717409"/>
                      <a:pt x="510529" y="717409"/>
                      <a:pt x="510529" y="717409"/>
                    </a:cubicBezTo>
                    <a:cubicBezTo>
                      <a:pt x="511243" y="716695"/>
                      <a:pt x="511243" y="716695"/>
                      <a:pt x="511243" y="716695"/>
                    </a:cubicBezTo>
                    <a:cubicBezTo>
                      <a:pt x="513383" y="713841"/>
                      <a:pt x="512670" y="710273"/>
                      <a:pt x="509816" y="708132"/>
                    </a:cubicBezTo>
                    <a:cubicBezTo>
                      <a:pt x="467723" y="671738"/>
                      <a:pt x="467723" y="671738"/>
                      <a:pt x="467723" y="671738"/>
                    </a:cubicBezTo>
                    <a:cubicBezTo>
                      <a:pt x="326462" y="550427"/>
                      <a:pt x="326462" y="550427"/>
                      <a:pt x="326462" y="550427"/>
                    </a:cubicBezTo>
                    <a:cubicBezTo>
                      <a:pt x="305059" y="532587"/>
                      <a:pt x="305059" y="532587"/>
                      <a:pt x="305059" y="532587"/>
                    </a:cubicBezTo>
                    <a:cubicBezTo>
                      <a:pt x="305772" y="531873"/>
                      <a:pt x="305772" y="531873"/>
                      <a:pt x="305772" y="531873"/>
                    </a:cubicBezTo>
                    <a:cubicBezTo>
                      <a:pt x="270100" y="501902"/>
                      <a:pt x="270100" y="501902"/>
                      <a:pt x="270100" y="501902"/>
                    </a:cubicBezTo>
                    <a:cubicBezTo>
                      <a:pt x="257258" y="491198"/>
                      <a:pt x="250124" y="475499"/>
                      <a:pt x="250124" y="457659"/>
                    </a:cubicBezTo>
                    <a:cubicBezTo>
                      <a:pt x="250838" y="445528"/>
                      <a:pt x="255118" y="434111"/>
                      <a:pt x="262966" y="424120"/>
                    </a:cubicBezTo>
                    <a:cubicBezTo>
                      <a:pt x="262966" y="424120"/>
                      <a:pt x="262966" y="423407"/>
                      <a:pt x="263679" y="423407"/>
                    </a:cubicBezTo>
                    <a:cubicBezTo>
                      <a:pt x="265820" y="420552"/>
                      <a:pt x="267960" y="418411"/>
                      <a:pt x="270814" y="416271"/>
                    </a:cubicBezTo>
                    <a:cubicBezTo>
                      <a:pt x="277235" y="411276"/>
                      <a:pt x="284369" y="407708"/>
                      <a:pt x="292217" y="405567"/>
                    </a:cubicBezTo>
                    <a:cubicBezTo>
                      <a:pt x="292930" y="405567"/>
                      <a:pt x="292930" y="405567"/>
                      <a:pt x="293644" y="405567"/>
                    </a:cubicBezTo>
                    <a:cubicBezTo>
                      <a:pt x="304345" y="403426"/>
                      <a:pt x="315047" y="404140"/>
                      <a:pt x="325035" y="407708"/>
                    </a:cubicBezTo>
                    <a:cubicBezTo>
                      <a:pt x="327176" y="408421"/>
                      <a:pt x="329316" y="409135"/>
                      <a:pt x="330743" y="409848"/>
                    </a:cubicBezTo>
                    <a:cubicBezTo>
                      <a:pt x="331456" y="409848"/>
                      <a:pt x="331456" y="410562"/>
                      <a:pt x="332170" y="410562"/>
                    </a:cubicBezTo>
                    <a:cubicBezTo>
                      <a:pt x="333597" y="411276"/>
                      <a:pt x="334310" y="411989"/>
                      <a:pt x="335737" y="412703"/>
                    </a:cubicBezTo>
                    <a:cubicBezTo>
                      <a:pt x="335737" y="412703"/>
                      <a:pt x="335737" y="411989"/>
                      <a:pt x="335737" y="411276"/>
                    </a:cubicBezTo>
                    <a:cubicBezTo>
                      <a:pt x="336450" y="411276"/>
                      <a:pt x="336450" y="410562"/>
                      <a:pt x="336450" y="409848"/>
                    </a:cubicBezTo>
                    <a:cubicBezTo>
                      <a:pt x="337164" y="408421"/>
                      <a:pt x="337877" y="406280"/>
                      <a:pt x="338591" y="404853"/>
                    </a:cubicBezTo>
                    <a:cubicBezTo>
                      <a:pt x="339304" y="403426"/>
                      <a:pt x="340017" y="401285"/>
                      <a:pt x="340731" y="399858"/>
                    </a:cubicBezTo>
                    <a:cubicBezTo>
                      <a:pt x="342158" y="397717"/>
                      <a:pt x="344298" y="395576"/>
                      <a:pt x="345725" y="392722"/>
                    </a:cubicBezTo>
                    <a:cubicBezTo>
                      <a:pt x="346438" y="392008"/>
                      <a:pt x="347152" y="391295"/>
                      <a:pt x="348579" y="389868"/>
                    </a:cubicBezTo>
                    <a:cubicBezTo>
                      <a:pt x="349292" y="389154"/>
                      <a:pt x="350006" y="388440"/>
                      <a:pt x="350719" y="387727"/>
                    </a:cubicBezTo>
                    <a:cubicBezTo>
                      <a:pt x="352146" y="386300"/>
                      <a:pt x="353573" y="384872"/>
                      <a:pt x="355000" y="384159"/>
                    </a:cubicBezTo>
                    <a:cubicBezTo>
                      <a:pt x="355713" y="383445"/>
                      <a:pt x="355713" y="383445"/>
                      <a:pt x="356427" y="382732"/>
                    </a:cubicBezTo>
                    <a:cubicBezTo>
                      <a:pt x="358567" y="381304"/>
                      <a:pt x="359994" y="380591"/>
                      <a:pt x="362134" y="379164"/>
                    </a:cubicBezTo>
                    <a:cubicBezTo>
                      <a:pt x="373549" y="373455"/>
                      <a:pt x="387104" y="371314"/>
                      <a:pt x="399946" y="374168"/>
                    </a:cubicBezTo>
                    <a:cubicBezTo>
                      <a:pt x="402087" y="374882"/>
                      <a:pt x="404227" y="375596"/>
                      <a:pt x="407081" y="376309"/>
                    </a:cubicBezTo>
                    <a:cubicBezTo>
                      <a:pt x="407081" y="375596"/>
                      <a:pt x="407081" y="375596"/>
                      <a:pt x="407081" y="374882"/>
                    </a:cubicBezTo>
                    <a:cubicBezTo>
                      <a:pt x="407081" y="374882"/>
                      <a:pt x="407081" y="374168"/>
                      <a:pt x="407794" y="374168"/>
                    </a:cubicBezTo>
                    <a:cubicBezTo>
                      <a:pt x="408508" y="370600"/>
                      <a:pt x="409935" y="367746"/>
                      <a:pt x="411361" y="364892"/>
                    </a:cubicBezTo>
                    <a:cubicBezTo>
                      <a:pt x="413502" y="361324"/>
                      <a:pt x="415642" y="357756"/>
                      <a:pt x="418496" y="354901"/>
                    </a:cubicBezTo>
                    <a:cubicBezTo>
                      <a:pt x="418496" y="354901"/>
                      <a:pt x="419209" y="354188"/>
                      <a:pt x="419209" y="354188"/>
                    </a:cubicBezTo>
                    <a:cubicBezTo>
                      <a:pt x="419209" y="353474"/>
                      <a:pt x="419923" y="353474"/>
                      <a:pt x="419923" y="353474"/>
                    </a:cubicBezTo>
                    <a:cubicBezTo>
                      <a:pt x="421350" y="352047"/>
                      <a:pt x="422776" y="350620"/>
                      <a:pt x="424917" y="349193"/>
                    </a:cubicBezTo>
                    <a:cubicBezTo>
                      <a:pt x="427771" y="346338"/>
                      <a:pt x="432051" y="344197"/>
                      <a:pt x="435618" y="342770"/>
                    </a:cubicBezTo>
                    <a:cubicBezTo>
                      <a:pt x="441326" y="339916"/>
                      <a:pt x="448460" y="338489"/>
                      <a:pt x="454881" y="338489"/>
                    </a:cubicBezTo>
                    <a:cubicBezTo>
                      <a:pt x="455595" y="338489"/>
                      <a:pt x="456308" y="338489"/>
                      <a:pt x="457735" y="338489"/>
                    </a:cubicBezTo>
                    <a:cubicBezTo>
                      <a:pt x="459162" y="338489"/>
                      <a:pt x="460589" y="338489"/>
                      <a:pt x="462016" y="338489"/>
                    </a:cubicBezTo>
                    <a:cubicBezTo>
                      <a:pt x="462729" y="338489"/>
                      <a:pt x="463442" y="338489"/>
                      <a:pt x="463442" y="338489"/>
                    </a:cubicBezTo>
                    <a:cubicBezTo>
                      <a:pt x="464156" y="339202"/>
                      <a:pt x="464869" y="339202"/>
                      <a:pt x="465583" y="339202"/>
                    </a:cubicBezTo>
                    <a:cubicBezTo>
                      <a:pt x="466296" y="339202"/>
                      <a:pt x="467010" y="339202"/>
                      <a:pt x="467723" y="339202"/>
                    </a:cubicBezTo>
                    <a:cubicBezTo>
                      <a:pt x="468437" y="339916"/>
                      <a:pt x="468437" y="339916"/>
                      <a:pt x="469150" y="339916"/>
                    </a:cubicBezTo>
                    <a:cubicBezTo>
                      <a:pt x="469863" y="339916"/>
                      <a:pt x="470577" y="340629"/>
                      <a:pt x="472004" y="340629"/>
                    </a:cubicBezTo>
                    <a:cubicBezTo>
                      <a:pt x="472717" y="340629"/>
                      <a:pt x="473431" y="341343"/>
                      <a:pt x="474144" y="341343"/>
                    </a:cubicBezTo>
                    <a:cubicBezTo>
                      <a:pt x="474858" y="342057"/>
                      <a:pt x="475571" y="342057"/>
                      <a:pt x="476284" y="342770"/>
                    </a:cubicBezTo>
                    <a:cubicBezTo>
                      <a:pt x="476998" y="342770"/>
                      <a:pt x="477711" y="342770"/>
                      <a:pt x="478425" y="343484"/>
                    </a:cubicBezTo>
                    <a:cubicBezTo>
                      <a:pt x="479138" y="343484"/>
                      <a:pt x="479138" y="343484"/>
                      <a:pt x="479138" y="343484"/>
                    </a:cubicBezTo>
                    <a:cubicBezTo>
                      <a:pt x="479852" y="344197"/>
                      <a:pt x="480565" y="344197"/>
                      <a:pt x="481278" y="344911"/>
                    </a:cubicBezTo>
                    <a:cubicBezTo>
                      <a:pt x="481992" y="344911"/>
                      <a:pt x="482705" y="345625"/>
                      <a:pt x="482705" y="345625"/>
                    </a:cubicBezTo>
                    <a:cubicBezTo>
                      <a:pt x="483419" y="346338"/>
                      <a:pt x="484132" y="346338"/>
                      <a:pt x="484846" y="347052"/>
                    </a:cubicBezTo>
                    <a:cubicBezTo>
                      <a:pt x="485559" y="347052"/>
                      <a:pt x="485559" y="347765"/>
                      <a:pt x="486273" y="347765"/>
                    </a:cubicBezTo>
                    <a:cubicBezTo>
                      <a:pt x="486986" y="348479"/>
                      <a:pt x="487699" y="348479"/>
                      <a:pt x="487699" y="349193"/>
                    </a:cubicBezTo>
                    <a:cubicBezTo>
                      <a:pt x="489126" y="350620"/>
                      <a:pt x="489126" y="350620"/>
                      <a:pt x="489126" y="350620"/>
                    </a:cubicBezTo>
                    <a:cubicBezTo>
                      <a:pt x="489126" y="349906"/>
                      <a:pt x="489840" y="349906"/>
                      <a:pt x="489840" y="349193"/>
                    </a:cubicBezTo>
                    <a:cubicBezTo>
                      <a:pt x="489840" y="349193"/>
                      <a:pt x="489840" y="348479"/>
                      <a:pt x="489840" y="348479"/>
                    </a:cubicBezTo>
                    <a:cubicBezTo>
                      <a:pt x="491267" y="345625"/>
                      <a:pt x="492693" y="342770"/>
                      <a:pt x="494834" y="339916"/>
                    </a:cubicBezTo>
                    <a:cubicBezTo>
                      <a:pt x="496261" y="337061"/>
                      <a:pt x="498401" y="334921"/>
                      <a:pt x="500541" y="332780"/>
                    </a:cubicBezTo>
                    <a:cubicBezTo>
                      <a:pt x="500541" y="332780"/>
                      <a:pt x="500541" y="332780"/>
                      <a:pt x="501255" y="332066"/>
                    </a:cubicBezTo>
                    <a:cubicBezTo>
                      <a:pt x="501255" y="332066"/>
                      <a:pt x="501968" y="331353"/>
                      <a:pt x="502682" y="330639"/>
                    </a:cubicBezTo>
                    <a:cubicBezTo>
                      <a:pt x="503395" y="330639"/>
                      <a:pt x="503395" y="329925"/>
                      <a:pt x="504109" y="329212"/>
                    </a:cubicBezTo>
                    <a:cubicBezTo>
                      <a:pt x="504822" y="327785"/>
                      <a:pt x="505535" y="327071"/>
                      <a:pt x="506962" y="326357"/>
                    </a:cubicBezTo>
                    <a:cubicBezTo>
                      <a:pt x="516950" y="319222"/>
                      <a:pt x="528365" y="316367"/>
                      <a:pt x="539780" y="317794"/>
                    </a:cubicBezTo>
                    <a:close/>
                    <a:moveTo>
                      <a:pt x="231993" y="300377"/>
                    </a:moveTo>
                    <a:cubicBezTo>
                      <a:pt x="233420" y="300377"/>
                      <a:pt x="234134" y="300377"/>
                      <a:pt x="234848" y="300377"/>
                    </a:cubicBezTo>
                    <a:cubicBezTo>
                      <a:pt x="235562" y="300377"/>
                      <a:pt x="235562" y="300377"/>
                      <a:pt x="235562" y="300377"/>
                    </a:cubicBezTo>
                    <a:cubicBezTo>
                      <a:pt x="243414" y="301091"/>
                      <a:pt x="250552" y="303948"/>
                      <a:pt x="255549" y="309662"/>
                    </a:cubicBezTo>
                    <a:cubicBezTo>
                      <a:pt x="272681" y="327516"/>
                      <a:pt x="279819" y="351799"/>
                      <a:pt x="276964" y="374653"/>
                    </a:cubicBezTo>
                    <a:cubicBezTo>
                      <a:pt x="276964" y="375367"/>
                      <a:pt x="276964" y="376082"/>
                      <a:pt x="276964" y="376796"/>
                    </a:cubicBezTo>
                    <a:cubicBezTo>
                      <a:pt x="274822" y="389651"/>
                      <a:pt x="269826" y="401793"/>
                      <a:pt x="261260" y="412506"/>
                    </a:cubicBezTo>
                    <a:cubicBezTo>
                      <a:pt x="219144" y="466784"/>
                      <a:pt x="219144" y="466784"/>
                      <a:pt x="219144" y="466784"/>
                    </a:cubicBezTo>
                    <a:cubicBezTo>
                      <a:pt x="194874" y="498923"/>
                      <a:pt x="194874" y="498923"/>
                      <a:pt x="194874" y="498923"/>
                    </a:cubicBezTo>
                    <a:cubicBezTo>
                      <a:pt x="192732" y="501066"/>
                      <a:pt x="192732" y="502494"/>
                      <a:pt x="193446" y="503208"/>
                    </a:cubicBezTo>
                    <a:cubicBezTo>
                      <a:pt x="193446" y="503922"/>
                      <a:pt x="193446" y="503922"/>
                      <a:pt x="193446" y="503922"/>
                    </a:cubicBezTo>
                    <a:cubicBezTo>
                      <a:pt x="193446" y="505351"/>
                      <a:pt x="194160" y="506065"/>
                      <a:pt x="194874" y="507493"/>
                    </a:cubicBezTo>
                    <a:cubicBezTo>
                      <a:pt x="196302" y="507493"/>
                      <a:pt x="196302" y="507493"/>
                      <a:pt x="196302" y="507493"/>
                    </a:cubicBezTo>
                    <a:cubicBezTo>
                      <a:pt x="197015" y="508208"/>
                      <a:pt x="197015" y="508208"/>
                      <a:pt x="197015" y="508208"/>
                    </a:cubicBezTo>
                    <a:cubicBezTo>
                      <a:pt x="199157" y="509636"/>
                      <a:pt x="202012" y="509636"/>
                      <a:pt x="204154" y="508208"/>
                    </a:cubicBezTo>
                    <a:cubicBezTo>
                      <a:pt x="204154" y="507493"/>
                      <a:pt x="204867" y="507493"/>
                      <a:pt x="204867" y="506779"/>
                    </a:cubicBezTo>
                    <a:lnTo>
                      <a:pt x="223427" y="486068"/>
                    </a:lnTo>
                    <a:cubicBezTo>
                      <a:pt x="226282" y="496780"/>
                      <a:pt x="231993" y="506779"/>
                      <a:pt x="239845" y="515349"/>
                    </a:cubicBezTo>
                    <a:cubicBezTo>
                      <a:pt x="231279" y="524634"/>
                      <a:pt x="223427" y="533204"/>
                      <a:pt x="220572" y="536061"/>
                    </a:cubicBezTo>
                    <a:cubicBezTo>
                      <a:pt x="219858" y="536061"/>
                      <a:pt x="219858" y="536061"/>
                      <a:pt x="219858" y="536061"/>
                    </a:cubicBezTo>
                    <a:cubicBezTo>
                      <a:pt x="214861" y="539632"/>
                      <a:pt x="209150" y="541060"/>
                      <a:pt x="202726" y="541775"/>
                    </a:cubicBezTo>
                    <a:cubicBezTo>
                      <a:pt x="194160" y="542489"/>
                      <a:pt x="184880" y="539632"/>
                      <a:pt x="177742" y="534633"/>
                    </a:cubicBezTo>
                    <a:cubicBezTo>
                      <a:pt x="176314" y="533204"/>
                      <a:pt x="176314" y="533204"/>
                      <a:pt x="176314" y="533204"/>
                    </a:cubicBezTo>
                    <a:cubicBezTo>
                      <a:pt x="170604" y="528919"/>
                      <a:pt x="165607" y="522491"/>
                      <a:pt x="163466" y="515349"/>
                    </a:cubicBezTo>
                    <a:cubicBezTo>
                      <a:pt x="162752" y="513921"/>
                      <a:pt x="162752" y="513207"/>
                      <a:pt x="162038" y="511778"/>
                    </a:cubicBezTo>
                    <a:cubicBezTo>
                      <a:pt x="162038" y="510350"/>
                      <a:pt x="162038" y="509636"/>
                      <a:pt x="161324" y="508208"/>
                    </a:cubicBezTo>
                    <a:cubicBezTo>
                      <a:pt x="159897" y="498209"/>
                      <a:pt x="162752" y="488210"/>
                      <a:pt x="169176" y="478926"/>
                    </a:cubicBezTo>
                    <a:cubicBezTo>
                      <a:pt x="235562" y="393222"/>
                      <a:pt x="235562" y="393222"/>
                      <a:pt x="235562" y="393222"/>
                    </a:cubicBezTo>
                    <a:cubicBezTo>
                      <a:pt x="239845" y="387509"/>
                      <a:pt x="242700" y="381081"/>
                      <a:pt x="244128" y="373939"/>
                    </a:cubicBezTo>
                    <a:cubicBezTo>
                      <a:pt x="245555" y="369654"/>
                      <a:pt x="245555" y="366083"/>
                      <a:pt x="245555" y="361798"/>
                    </a:cubicBezTo>
                    <a:cubicBezTo>
                      <a:pt x="245555" y="361084"/>
                      <a:pt x="245555" y="360369"/>
                      <a:pt x="244842" y="359655"/>
                    </a:cubicBezTo>
                    <a:cubicBezTo>
                      <a:pt x="244128" y="350371"/>
                      <a:pt x="240559" y="341800"/>
                      <a:pt x="235562" y="334658"/>
                    </a:cubicBezTo>
                    <a:cubicBezTo>
                      <a:pt x="234848" y="334658"/>
                      <a:pt x="234848" y="334658"/>
                      <a:pt x="234848" y="333944"/>
                    </a:cubicBezTo>
                    <a:cubicBezTo>
                      <a:pt x="125633" y="441788"/>
                      <a:pt x="125633" y="441788"/>
                      <a:pt x="125633" y="441788"/>
                    </a:cubicBezTo>
                    <a:cubicBezTo>
                      <a:pt x="43543" y="523206"/>
                      <a:pt x="43543" y="523206"/>
                      <a:pt x="43543" y="523206"/>
                    </a:cubicBezTo>
                    <a:cubicBezTo>
                      <a:pt x="42829" y="523206"/>
                      <a:pt x="42829" y="523206"/>
                      <a:pt x="42829" y="523206"/>
                    </a:cubicBezTo>
                    <a:cubicBezTo>
                      <a:pt x="39974" y="562486"/>
                      <a:pt x="39974" y="562486"/>
                      <a:pt x="39974" y="562486"/>
                    </a:cubicBezTo>
                    <a:cubicBezTo>
                      <a:pt x="31408" y="668901"/>
                      <a:pt x="31408" y="668901"/>
                      <a:pt x="31408" y="668901"/>
                    </a:cubicBezTo>
                    <a:cubicBezTo>
                      <a:pt x="31408" y="668901"/>
                      <a:pt x="31408" y="668901"/>
                      <a:pt x="30694" y="668901"/>
                    </a:cubicBezTo>
                    <a:cubicBezTo>
                      <a:pt x="22842" y="664616"/>
                      <a:pt x="13563" y="662473"/>
                      <a:pt x="3569" y="663902"/>
                    </a:cubicBezTo>
                    <a:cubicBezTo>
                      <a:pt x="2141" y="663902"/>
                      <a:pt x="1428" y="663902"/>
                      <a:pt x="0" y="663902"/>
                    </a:cubicBezTo>
                    <a:cubicBezTo>
                      <a:pt x="0" y="663902"/>
                      <a:pt x="3569" y="616765"/>
                      <a:pt x="7852" y="561058"/>
                    </a:cubicBezTo>
                    <a:cubicBezTo>
                      <a:pt x="7852" y="558201"/>
                      <a:pt x="7852" y="558201"/>
                      <a:pt x="7852" y="558201"/>
                    </a:cubicBezTo>
                    <a:cubicBezTo>
                      <a:pt x="9280" y="545346"/>
                      <a:pt x="9993" y="531776"/>
                      <a:pt x="11421" y="518206"/>
                    </a:cubicBezTo>
                    <a:cubicBezTo>
                      <a:pt x="11421" y="516778"/>
                      <a:pt x="11421" y="515349"/>
                      <a:pt x="12135" y="513921"/>
                    </a:cubicBezTo>
                    <a:cubicBezTo>
                      <a:pt x="12135" y="513921"/>
                      <a:pt x="12135" y="513207"/>
                      <a:pt x="12135" y="513207"/>
                    </a:cubicBezTo>
                    <a:cubicBezTo>
                      <a:pt x="12849" y="511064"/>
                      <a:pt x="13563" y="508208"/>
                      <a:pt x="15704" y="506065"/>
                    </a:cubicBezTo>
                    <a:cubicBezTo>
                      <a:pt x="112784" y="408935"/>
                      <a:pt x="112784" y="408935"/>
                      <a:pt x="112784" y="408935"/>
                    </a:cubicBezTo>
                    <a:cubicBezTo>
                      <a:pt x="215575" y="308947"/>
                      <a:pt x="215575" y="308947"/>
                      <a:pt x="215575" y="308947"/>
                    </a:cubicBezTo>
                    <a:cubicBezTo>
                      <a:pt x="220572" y="303948"/>
                      <a:pt x="225568" y="301806"/>
                      <a:pt x="231993" y="300377"/>
                    </a:cubicBezTo>
                    <a:close/>
                    <a:moveTo>
                      <a:pt x="886586" y="246317"/>
                    </a:moveTo>
                    <a:cubicBezTo>
                      <a:pt x="895135" y="251311"/>
                      <a:pt x="905109" y="253451"/>
                      <a:pt x="915083" y="252024"/>
                    </a:cubicBezTo>
                    <a:cubicBezTo>
                      <a:pt x="915795" y="252024"/>
                      <a:pt x="917220" y="252024"/>
                      <a:pt x="918645" y="252024"/>
                    </a:cubicBezTo>
                    <a:cubicBezTo>
                      <a:pt x="918645" y="252024"/>
                      <a:pt x="912946" y="325506"/>
                      <a:pt x="907246" y="396848"/>
                    </a:cubicBezTo>
                    <a:cubicBezTo>
                      <a:pt x="907246" y="401842"/>
                      <a:pt x="905821" y="406122"/>
                      <a:pt x="902972" y="409689"/>
                    </a:cubicBezTo>
                    <a:cubicBezTo>
                      <a:pt x="816767" y="495299"/>
                      <a:pt x="816767" y="495299"/>
                      <a:pt x="816767" y="495299"/>
                    </a:cubicBezTo>
                    <a:cubicBezTo>
                      <a:pt x="812493" y="487452"/>
                      <a:pt x="812493" y="487452"/>
                      <a:pt x="812493" y="487452"/>
                    </a:cubicBezTo>
                    <a:cubicBezTo>
                      <a:pt x="811780" y="486738"/>
                      <a:pt x="811780" y="486738"/>
                      <a:pt x="811780" y="486738"/>
                    </a:cubicBezTo>
                    <a:cubicBezTo>
                      <a:pt x="809643" y="483884"/>
                      <a:pt x="805368" y="477464"/>
                      <a:pt x="798244" y="471756"/>
                    </a:cubicBezTo>
                    <a:cubicBezTo>
                      <a:pt x="796819" y="470330"/>
                      <a:pt x="796819" y="470330"/>
                      <a:pt x="796819" y="470330"/>
                    </a:cubicBezTo>
                    <a:cubicBezTo>
                      <a:pt x="875187" y="392567"/>
                      <a:pt x="875187" y="392567"/>
                      <a:pt x="875187" y="392567"/>
                    </a:cubicBezTo>
                    <a:cubicBezTo>
                      <a:pt x="886586" y="249171"/>
                      <a:pt x="886586" y="249171"/>
                      <a:pt x="886586" y="249171"/>
                    </a:cubicBezTo>
                    <a:cubicBezTo>
                      <a:pt x="886586" y="246317"/>
                      <a:pt x="886586" y="246317"/>
                      <a:pt x="886586" y="246317"/>
                    </a:cubicBezTo>
                    <a:close/>
                    <a:moveTo>
                      <a:pt x="74946" y="246317"/>
                    </a:moveTo>
                    <a:cubicBezTo>
                      <a:pt x="76376" y="249168"/>
                      <a:pt x="76376" y="249168"/>
                      <a:pt x="76376" y="249168"/>
                    </a:cubicBezTo>
                    <a:cubicBezTo>
                      <a:pt x="76376" y="249168"/>
                      <a:pt x="111415" y="309036"/>
                      <a:pt x="132867" y="345385"/>
                    </a:cubicBezTo>
                    <a:lnTo>
                      <a:pt x="109270" y="368904"/>
                    </a:lnTo>
                    <a:cubicBezTo>
                      <a:pt x="87102" y="330418"/>
                      <a:pt x="50634" y="269837"/>
                      <a:pt x="50634" y="269837"/>
                    </a:cubicBezTo>
                    <a:cubicBezTo>
                      <a:pt x="56354" y="266986"/>
                      <a:pt x="61360" y="262710"/>
                      <a:pt x="65650" y="257721"/>
                    </a:cubicBezTo>
                    <a:cubicBezTo>
                      <a:pt x="74946" y="246317"/>
                      <a:pt x="74946" y="246317"/>
                      <a:pt x="74946" y="246317"/>
                    </a:cubicBezTo>
                    <a:close/>
                    <a:moveTo>
                      <a:pt x="649098" y="51395"/>
                    </a:moveTo>
                    <a:cubicBezTo>
                      <a:pt x="651960" y="57119"/>
                      <a:pt x="656252" y="62127"/>
                      <a:pt x="661261" y="66420"/>
                    </a:cubicBezTo>
                    <a:cubicBezTo>
                      <a:pt x="672708" y="75005"/>
                      <a:pt x="672708" y="75005"/>
                      <a:pt x="672708" y="75005"/>
                    </a:cubicBezTo>
                    <a:cubicBezTo>
                      <a:pt x="672708" y="75005"/>
                      <a:pt x="609747" y="112210"/>
                      <a:pt x="571827" y="134389"/>
                    </a:cubicBezTo>
                    <a:cubicBezTo>
                      <a:pt x="548217" y="110779"/>
                      <a:pt x="548217" y="110779"/>
                      <a:pt x="548217" y="110779"/>
                    </a:cubicBezTo>
                    <a:cubicBezTo>
                      <a:pt x="586852" y="87884"/>
                      <a:pt x="649098" y="51395"/>
                      <a:pt x="649098" y="51395"/>
                    </a:cubicBezTo>
                    <a:close/>
                    <a:moveTo>
                      <a:pt x="251316" y="0"/>
                    </a:moveTo>
                    <a:cubicBezTo>
                      <a:pt x="251316" y="0"/>
                      <a:pt x="325593" y="5710"/>
                      <a:pt x="397012" y="10706"/>
                    </a:cubicBezTo>
                    <a:cubicBezTo>
                      <a:pt x="401297" y="11420"/>
                      <a:pt x="405582" y="12847"/>
                      <a:pt x="409153" y="15702"/>
                    </a:cubicBezTo>
                    <a:cubicBezTo>
                      <a:pt x="520568" y="127041"/>
                      <a:pt x="520568" y="127041"/>
                      <a:pt x="520568" y="127041"/>
                    </a:cubicBezTo>
                    <a:cubicBezTo>
                      <a:pt x="544136" y="150594"/>
                      <a:pt x="544136" y="150594"/>
                      <a:pt x="544136" y="150594"/>
                    </a:cubicBezTo>
                    <a:lnTo>
                      <a:pt x="606271" y="214115"/>
                    </a:lnTo>
                    <a:cubicBezTo>
                      <a:pt x="611984" y="219824"/>
                      <a:pt x="614841" y="226961"/>
                      <a:pt x="614841" y="234812"/>
                    </a:cubicBezTo>
                    <a:cubicBezTo>
                      <a:pt x="614841" y="235526"/>
                      <a:pt x="614841" y="235526"/>
                      <a:pt x="614841" y="235526"/>
                    </a:cubicBezTo>
                    <a:cubicBezTo>
                      <a:pt x="614841" y="243377"/>
                      <a:pt x="611270" y="249800"/>
                      <a:pt x="605557" y="255510"/>
                    </a:cubicBezTo>
                    <a:cubicBezTo>
                      <a:pt x="587702" y="273353"/>
                      <a:pt x="562705" y="280490"/>
                      <a:pt x="539137" y="276921"/>
                    </a:cubicBezTo>
                    <a:cubicBezTo>
                      <a:pt x="526281" y="274780"/>
                      <a:pt x="514140" y="269784"/>
                      <a:pt x="503427" y="261220"/>
                    </a:cubicBezTo>
                    <a:cubicBezTo>
                      <a:pt x="445577" y="216969"/>
                      <a:pt x="445577" y="216969"/>
                      <a:pt x="445577" y="216969"/>
                    </a:cubicBezTo>
                    <a:cubicBezTo>
                      <a:pt x="416295" y="194131"/>
                      <a:pt x="416295" y="194131"/>
                      <a:pt x="416295" y="194131"/>
                    </a:cubicBezTo>
                    <a:cubicBezTo>
                      <a:pt x="414867" y="192703"/>
                      <a:pt x="413438" y="192703"/>
                      <a:pt x="412010" y="193417"/>
                    </a:cubicBezTo>
                    <a:cubicBezTo>
                      <a:pt x="410582" y="193417"/>
                      <a:pt x="409153" y="194131"/>
                      <a:pt x="408439" y="194844"/>
                    </a:cubicBezTo>
                    <a:cubicBezTo>
                      <a:pt x="407725" y="195558"/>
                      <a:pt x="407725" y="195558"/>
                      <a:pt x="407725" y="195558"/>
                    </a:cubicBezTo>
                    <a:cubicBezTo>
                      <a:pt x="407011" y="196272"/>
                      <a:pt x="407011" y="196272"/>
                      <a:pt x="407011" y="196272"/>
                    </a:cubicBezTo>
                    <a:cubicBezTo>
                      <a:pt x="405582" y="199127"/>
                      <a:pt x="405582" y="202695"/>
                      <a:pt x="408439" y="204836"/>
                    </a:cubicBezTo>
                    <a:cubicBezTo>
                      <a:pt x="427008" y="221252"/>
                      <a:pt x="427008" y="221252"/>
                      <a:pt x="427008" y="221252"/>
                    </a:cubicBezTo>
                    <a:cubicBezTo>
                      <a:pt x="458433" y="247659"/>
                      <a:pt x="458433" y="247659"/>
                      <a:pt x="458433" y="247659"/>
                    </a:cubicBezTo>
                    <a:cubicBezTo>
                      <a:pt x="497713" y="281204"/>
                      <a:pt x="497713" y="281204"/>
                      <a:pt x="497713" y="281204"/>
                    </a:cubicBezTo>
                    <a:cubicBezTo>
                      <a:pt x="498428" y="281917"/>
                      <a:pt x="498428" y="281917"/>
                      <a:pt x="498428" y="281917"/>
                    </a:cubicBezTo>
                    <a:cubicBezTo>
                      <a:pt x="508426" y="290482"/>
                      <a:pt x="508426" y="290482"/>
                      <a:pt x="508426" y="290482"/>
                    </a:cubicBezTo>
                    <a:cubicBezTo>
                      <a:pt x="501284" y="292623"/>
                      <a:pt x="494142" y="296192"/>
                      <a:pt x="488429" y="301188"/>
                    </a:cubicBezTo>
                    <a:cubicBezTo>
                      <a:pt x="487715" y="301188"/>
                      <a:pt x="487715" y="301188"/>
                      <a:pt x="487715" y="301188"/>
                    </a:cubicBezTo>
                    <a:cubicBezTo>
                      <a:pt x="484858" y="303329"/>
                      <a:pt x="482715" y="305470"/>
                      <a:pt x="480573" y="307611"/>
                    </a:cubicBezTo>
                    <a:cubicBezTo>
                      <a:pt x="479859" y="307611"/>
                      <a:pt x="479859" y="307611"/>
                      <a:pt x="479144" y="307611"/>
                    </a:cubicBezTo>
                    <a:cubicBezTo>
                      <a:pt x="479144" y="307611"/>
                      <a:pt x="479144" y="307611"/>
                      <a:pt x="478430" y="307611"/>
                    </a:cubicBezTo>
                    <a:cubicBezTo>
                      <a:pt x="447720" y="281204"/>
                      <a:pt x="447720" y="281204"/>
                      <a:pt x="447720" y="281204"/>
                    </a:cubicBezTo>
                    <a:cubicBezTo>
                      <a:pt x="422009" y="259079"/>
                      <a:pt x="422009" y="259079"/>
                      <a:pt x="422009" y="259079"/>
                    </a:cubicBezTo>
                    <a:cubicBezTo>
                      <a:pt x="397726" y="238381"/>
                      <a:pt x="397726" y="238381"/>
                      <a:pt x="397726" y="238381"/>
                    </a:cubicBezTo>
                    <a:cubicBezTo>
                      <a:pt x="387013" y="229103"/>
                      <a:pt x="387013" y="229103"/>
                      <a:pt x="387013" y="229103"/>
                    </a:cubicBezTo>
                    <a:cubicBezTo>
                      <a:pt x="384157" y="226248"/>
                      <a:pt x="381300" y="223393"/>
                      <a:pt x="379157" y="219824"/>
                    </a:cubicBezTo>
                    <a:cubicBezTo>
                      <a:pt x="376300" y="214828"/>
                      <a:pt x="374158" y="209119"/>
                      <a:pt x="374158" y="202695"/>
                    </a:cubicBezTo>
                    <a:cubicBezTo>
                      <a:pt x="373444" y="194131"/>
                      <a:pt x="375586" y="184852"/>
                      <a:pt x="381300" y="177715"/>
                    </a:cubicBezTo>
                    <a:cubicBezTo>
                      <a:pt x="382014" y="176288"/>
                      <a:pt x="382014" y="176288"/>
                      <a:pt x="382014" y="176288"/>
                    </a:cubicBezTo>
                    <a:cubicBezTo>
                      <a:pt x="386299" y="169864"/>
                      <a:pt x="393441" y="165582"/>
                      <a:pt x="400583" y="162727"/>
                    </a:cubicBezTo>
                    <a:cubicBezTo>
                      <a:pt x="401297" y="162727"/>
                      <a:pt x="402726" y="162727"/>
                      <a:pt x="404154" y="162013"/>
                    </a:cubicBezTo>
                    <a:cubicBezTo>
                      <a:pt x="404868" y="162013"/>
                      <a:pt x="406297" y="162013"/>
                      <a:pt x="407011" y="161300"/>
                    </a:cubicBezTo>
                    <a:cubicBezTo>
                      <a:pt x="417009" y="159872"/>
                      <a:pt x="427722" y="162727"/>
                      <a:pt x="436293" y="169150"/>
                    </a:cubicBezTo>
                    <a:cubicBezTo>
                      <a:pt x="522710" y="235526"/>
                      <a:pt x="522710" y="235526"/>
                      <a:pt x="522710" y="235526"/>
                    </a:cubicBezTo>
                    <a:cubicBezTo>
                      <a:pt x="528424" y="239808"/>
                      <a:pt x="534851" y="242663"/>
                      <a:pt x="541279" y="244091"/>
                    </a:cubicBezTo>
                    <a:cubicBezTo>
                      <a:pt x="545564" y="245518"/>
                      <a:pt x="549850" y="245518"/>
                      <a:pt x="553420" y="245518"/>
                    </a:cubicBezTo>
                    <a:cubicBezTo>
                      <a:pt x="554135" y="245518"/>
                      <a:pt x="554849" y="245518"/>
                      <a:pt x="555563" y="244804"/>
                    </a:cubicBezTo>
                    <a:cubicBezTo>
                      <a:pt x="565562" y="244091"/>
                      <a:pt x="574132" y="240522"/>
                      <a:pt x="581274" y="234812"/>
                    </a:cubicBezTo>
                    <a:cubicBezTo>
                      <a:pt x="519139" y="171292"/>
                      <a:pt x="519139" y="171292"/>
                      <a:pt x="519139" y="171292"/>
                    </a:cubicBezTo>
                    <a:cubicBezTo>
                      <a:pt x="514854" y="167009"/>
                      <a:pt x="514854" y="167009"/>
                      <a:pt x="514854" y="167009"/>
                    </a:cubicBezTo>
                    <a:cubicBezTo>
                      <a:pt x="496285" y="147739"/>
                      <a:pt x="496285" y="147739"/>
                      <a:pt x="496285" y="147739"/>
                    </a:cubicBezTo>
                    <a:cubicBezTo>
                      <a:pt x="392013" y="42823"/>
                      <a:pt x="392013" y="42823"/>
                      <a:pt x="392013" y="42823"/>
                    </a:cubicBezTo>
                    <a:cubicBezTo>
                      <a:pt x="246317" y="31404"/>
                      <a:pt x="246317" y="31404"/>
                      <a:pt x="246317" y="31404"/>
                    </a:cubicBezTo>
                    <a:cubicBezTo>
                      <a:pt x="251316" y="22839"/>
                      <a:pt x="252745" y="13561"/>
                      <a:pt x="252031" y="3569"/>
                    </a:cubicBezTo>
                    <a:cubicBezTo>
                      <a:pt x="252031" y="2141"/>
                      <a:pt x="251316" y="1428"/>
                      <a:pt x="251316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7" name="Freeform 6">
                <a:extLst>
                  <a:ext uri="{FF2B5EF4-FFF2-40B4-BE49-F238E27FC236}">
                    <a16:creationId xmlns:a16="http://schemas.microsoft.com/office/drawing/2014/main" id="{CE04653E-8C4E-4570-9D9A-8BFA63C09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3858" y="2881291"/>
                <a:ext cx="1097476" cy="1095037"/>
              </a:xfrm>
              <a:custGeom>
                <a:avLst/>
                <a:gdLst>
                  <a:gd name="connsiteX0" fmla="*/ 102489 w 1097476"/>
                  <a:gd name="connsiteY0" fmla="*/ 785303 h 1095037"/>
                  <a:gd name="connsiteX1" fmla="*/ 108914 w 1097476"/>
                  <a:gd name="connsiteY1" fmla="*/ 788161 h 1095037"/>
                  <a:gd name="connsiteX2" fmla="*/ 117480 w 1097476"/>
                  <a:gd name="connsiteY2" fmla="*/ 795306 h 1095037"/>
                  <a:gd name="connsiteX3" fmla="*/ 146747 w 1097476"/>
                  <a:gd name="connsiteY3" fmla="*/ 818883 h 1095037"/>
                  <a:gd name="connsiteX4" fmla="*/ 279518 w 1097476"/>
                  <a:gd name="connsiteY4" fmla="*/ 925340 h 1095037"/>
                  <a:gd name="connsiteX5" fmla="*/ 328058 w 1097476"/>
                  <a:gd name="connsiteY5" fmla="*/ 963922 h 1095037"/>
                  <a:gd name="connsiteX6" fmla="*/ 330199 w 1097476"/>
                  <a:gd name="connsiteY6" fmla="*/ 986071 h 1095037"/>
                  <a:gd name="connsiteX7" fmla="*/ 325916 w 1097476"/>
                  <a:gd name="connsiteY7" fmla="*/ 991786 h 1095037"/>
                  <a:gd name="connsiteX8" fmla="*/ 248110 w 1097476"/>
                  <a:gd name="connsiteY8" fmla="*/ 1088955 h 1095037"/>
                  <a:gd name="connsiteX9" fmla="*/ 225981 w 1097476"/>
                  <a:gd name="connsiteY9" fmla="*/ 1091813 h 1095037"/>
                  <a:gd name="connsiteX10" fmla="*/ 6837 w 1097476"/>
                  <a:gd name="connsiteY10" fmla="*/ 915338 h 1095037"/>
                  <a:gd name="connsiteX11" fmla="*/ 3982 w 1097476"/>
                  <a:gd name="connsiteY11" fmla="*/ 893189 h 1095037"/>
                  <a:gd name="connsiteX12" fmla="*/ 73223 w 1097476"/>
                  <a:gd name="connsiteY12" fmla="*/ 807452 h 1095037"/>
                  <a:gd name="connsiteX13" fmla="*/ 86785 w 1097476"/>
                  <a:gd name="connsiteY13" fmla="*/ 790304 h 1095037"/>
                  <a:gd name="connsiteX14" fmla="*/ 102489 w 1097476"/>
                  <a:gd name="connsiteY14" fmla="*/ 785303 h 1095037"/>
                  <a:gd name="connsiteX15" fmla="*/ 977121 w 1097476"/>
                  <a:gd name="connsiteY15" fmla="*/ 759075 h 1095037"/>
                  <a:gd name="connsiteX16" fmla="*/ 988465 w 1097476"/>
                  <a:gd name="connsiteY16" fmla="*/ 762555 h 1095037"/>
                  <a:gd name="connsiteX17" fmla="*/ 993467 w 1097476"/>
                  <a:gd name="connsiteY17" fmla="*/ 766124 h 1095037"/>
                  <a:gd name="connsiteX18" fmla="*/ 1091365 w 1097476"/>
                  <a:gd name="connsiteY18" fmla="*/ 844644 h 1095037"/>
                  <a:gd name="connsiteX19" fmla="*/ 1094223 w 1097476"/>
                  <a:gd name="connsiteY19" fmla="*/ 866773 h 1095037"/>
                  <a:gd name="connsiteX20" fmla="*/ 917721 w 1097476"/>
                  <a:gd name="connsiteY20" fmla="*/ 1085917 h 1095037"/>
                  <a:gd name="connsiteX21" fmla="*/ 895569 w 1097476"/>
                  <a:gd name="connsiteY21" fmla="*/ 1088772 h 1095037"/>
                  <a:gd name="connsiteX22" fmla="*/ 809819 w 1097476"/>
                  <a:gd name="connsiteY22" fmla="*/ 1019531 h 1095037"/>
                  <a:gd name="connsiteX23" fmla="*/ 792669 w 1097476"/>
                  <a:gd name="connsiteY23" fmla="*/ 1005969 h 1095037"/>
                  <a:gd name="connsiteX24" fmla="*/ 787667 w 1097476"/>
                  <a:gd name="connsiteY24" fmla="*/ 990265 h 1095037"/>
                  <a:gd name="connsiteX25" fmla="*/ 787667 w 1097476"/>
                  <a:gd name="connsiteY25" fmla="*/ 989551 h 1095037"/>
                  <a:gd name="connsiteX26" fmla="*/ 790525 w 1097476"/>
                  <a:gd name="connsiteY26" fmla="*/ 983840 h 1095037"/>
                  <a:gd name="connsiteX27" fmla="*/ 797671 w 1097476"/>
                  <a:gd name="connsiteY27" fmla="*/ 974560 h 1095037"/>
                  <a:gd name="connsiteX28" fmla="*/ 821967 w 1097476"/>
                  <a:gd name="connsiteY28" fmla="*/ 944580 h 1095037"/>
                  <a:gd name="connsiteX29" fmla="*/ 928440 w 1097476"/>
                  <a:gd name="connsiteY29" fmla="*/ 812522 h 1095037"/>
                  <a:gd name="connsiteX30" fmla="*/ 966313 w 1097476"/>
                  <a:gd name="connsiteY30" fmla="*/ 764696 h 1095037"/>
                  <a:gd name="connsiteX31" fmla="*/ 977121 w 1097476"/>
                  <a:gd name="connsiteY31" fmla="*/ 759075 h 1095037"/>
                  <a:gd name="connsiteX32" fmla="*/ 860979 w 1097476"/>
                  <a:gd name="connsiteY32" fmla="*/ 327 h 1095037"/>
                  <a:gd name="connsiteX33" fmla="*/ 872835 w 1097476"/>
                  <a:gd name="connsiteY33" fmla="*/ 3807 h 1095037"/>
                  <a:gd name="connsiteX34" fmla="*/ 1091763 w 1097476"/>
                  <a:gd name="connsiteY34" fmla="*/ 180149 h 1095037"/>
                  <a:gd name="connsiteX35" fmla="*/ 1093902 w 1097476"/>
                  <a:gd name="connsiteY35" fmla="*/ 202280 h 1095037"/>
                  <a:gd name="connsiteX36" fmla="*/ 1011893 w 1097476"/>
                  <a:gd name="connsiteY36" fmla="*/ 304373 h 1095037"/>
                  <a:gd name="connsiteX37" fmla="*/ 989787 w 1097476"/>
                  <a:gd name="connsiteY37" fmla="*/ 307228 h 1095037"/>
                  <a:gd name="connsiteX38" fmla="*/ 770145 w 1097476"/>
                  <a:gd name="connsiteY38" fmla="*/ 130887 h 1095037"/>
                  <a:gd name="connsiteX39" fmla="*/ 768006 w 1097476"/>
                  <a:gd name="connsiteY39" fmla="*/ 108755 h 1095037"/>
                  <a:gd name="connsiteX40" fmla="*/ 850728 w 1097476"/>
                  <a:gd name="connsiteY40" fmla="*/ 5949 h 1095037"/>
                  <a:gd name="connsiteX41" fmla="*/ 860979 w 1097476"/>
                  <a:gd name="connsiteY41" fmla="*/ 327 h 1095037"/>
                  <a:gd name="connsiteX42" fmla="*/ 190332 w 1097476"/>
                  <a:gd name="connsiteY42" fmla="*/ 59 h 1095037"/>
                  <a:gd name="connsiteX43" fmla="*/ 201664 w 1097476"/>
                  <a:gd name="connsiteY43" fmla="*/ 3806 h 1095037"/>
                  <a:gd name="connsiteX44" fmla="*/ 304455 w 1097476"/>
                  <a:gd name="connsiteY44" fmla="*/ 85896 h 1095037"/>
                  <a:gd name="connsiteX45" fmla="*/ 306596 w 1097476"/>
                  <a:gd name="connsiteY45" fmla="*/ 108025 h 1095037"/>
                  <a:gd name="connsiteX46" fmla="*/ 130995 w 1097476"/>
                  <a:gd name="connsiteY46" fmla="*/ 327169 h 1095037"/>
                  <a:gd name="connsiteX47" fmla="*/ 108867 w 1097476"/>
                  <a:gd name="connsiteY47" fmla="*/ 330024 h 1095037"/>
                  <a:gd name="connsiteX48" fmla="*/ 6076 w 1097476"/>
                  <a:gd name="connsiteY48" fmla="*/ 247220 h 1095037"/>
                  <a:gd name="connsiteX49" fmla="*/ 3221 w 1097476"/>
                  <a:gd name="connsiteY49" fmla="*/ 225092 h 1095037"/>
                  <a:gd name="connsiteX50" fmla="*/ 179535 w 1097476"/>
                  <a:gd name="connsiteY50" fmla="*/ 5948 h 1095037"/>
                  <a:gd name="connsiteX51" fmla="*/ 190332 w 1097476"/>
                  <a:gd name="connsiteY51" fmla="*/ 59 h 1095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1097476" h="1095037">
                    <a:moveTo>
                      <a:pt x="102489" y="785303"/>
                    </a:moveTo>
                    <a:cubicBezTo>
                      <a:pt x="104631" y="786018"/>
                      <a:pt x="106772" y="786732"/>
                      <a:pt x="108914" y="788161"/>
                    </a:cubicBezTo>
                    <a:cubicBezTo>
                      <a:pt x="117480" y="795306"/>
                      <a:pt x="117480" y="795306"/>
                      <a:pt x="117480" y="795306"/>
                    </a:cubicBezTo>
                    <a:cubicBezTo>
                      <a:pt x="146747" y="818883"/>
                      <a:pt x="146747" y="818883"/>
                      <a:pt x="146747" y="818883"/>
                    </a:cubicBezTo>
                    <a:cubicBezTo>
                      <a:pt x="279518" y="925340"/>
                      <a:pt x="279518" y="925340"/>
                      <a:pt x="279518" y="925340"/>
                    </a:cubicBezTo>
                    <a:cubicBezTo>
                      <a:pt x="328058" y="963922"/>
                      <a:pt x="328058" y="963922"/>
                      <a:pt x="328058" y="963922"/>
                    </a:cubicBezTo>
                    <a:cubicBezTo>
                      <a:pt x="334482" y="969638"/>
                      <a:pt x="335910" y="979640"/>
                      <a:pt x="330199" y="986071"/>
                    </a:cubicBezTo>
                    <a:cubicBezTo>
                      <a:pt x="325916" y="991786"/>
                      <a:pt x="325916" y="991786"/>
                      <a:pt x="325916" y="991786"/>
                    </a:cubicBezTo>
                    <a:cubicBezTo>
                      <a:pt x="248110" y="1088955"/>
                      <a:pt x="248110" y="1088955"/>
                      <a:pt x="248110" y="1088955"/>
                    </a:cubicBezTo>
                    <a:cubicBezTo>
                      <a:pt x="242399" y="1096100"/>
                      <a:pt x="232405" y="1096814"/>
                      <a:pt x="225981" y="1091813"/>
                    </a:cubicBezTo>
                    <a:cubicBezTo>
                      <a:pt x="6837" y="915338"/>
                      <a:pt x="6837" y="915338"/>
                      <a:pt x="6837" y="915338"/>
                    </a:cubicBezTo>
                    <a:cubicBezTo>
                      <a:pt x="-301" y="910336"/>
                      <a:pt x="-1015" y="900334"/>
                      <a:pt x="3982" y="893189"/>
                    </a:cubicBezTo>
                    <a:cubicBezTo>
                      <a:pt x="73223" y="807452"/>
                      <a:pt x="73223" y="807452"/>
                      <a:pt x="73223" y="807452"/>
                    </a:cubicBezTo>
                    <a:cubicBezTo>
                      <a:pt x="86785" y="790304"/>
                      <a:pt x="86785" y="790304"/>
                      <a:pt x="86785" y="790304"/>
                    </a:cubicBezTo>
                    <a:cubicBezTo>
                      <a:pt x="90354" y="785303"/>
                      <a:pt x="96779" y="783874"/>
                      <a:pt x="102489" y="785303"/>
                    </a:cubicBezTo>
                    <a:close/>
                    <a:moveTo>
                      <a:pt x="977121" y="759075"/>
                    </a:moveTo>
                    <a:cubicBezTo>
                      <a:pt x="981140" y="758629"/>
                      <a:pt x="985249" y="759699"/>
                      <a:pt x="988465" y="762555"/>
                    </a:cubicBezTo>
                    <a:cubicBezTo>
                      <a:pt x="993467" y="766124"/>
                      <a:pt x="993467" y="766124"/>
                      <a:pt x="993467" y="766124"/>
                    </a:cubicBezTo>
                    <a:cubicBezTo>
                      <a:pt x="1091365" y="844644"/>
                      <a:pt x="1091365" y="844644"/>
                      <a:pt x="1091365" y="844644"/>
                    </a:cubicBezTo>
                    <a:cubicBezTo>
                      <a:pt x="1098511" y="850355"/>
                      <a:pt x="1099225" y="860349"/>
                      <a:pt x="1094223" y="866773"/>
                    </a:cubicBezTo>
                    <a:cubicBezTo>
                      <a:pt x="917721" y="1085917"/>
                      <a:pt x="917721" y="1085917"/>
                      <a:pt x="917721" y="1085917"/>
                    </a:cubicBezTo>
                    <a:cubicBezTo>
                      <a:pt x="912004" y="1093055"/>
                      <a:pt x="902715" y="1093769"/>
                      <a:pt x="895569" y="1088772"/>
                    </a:cubicBezTo>
                    <a:cubicBezTo>
                      <a:pt x="809819" y="1019531"/>
                      <a:pt x="809819" y="1019531"/>
                      <a:pt x="809819" y="1019531"/>
                    </a:cubicBezTo>
                    <a:cubicBezTo>
                      <a:pt x="792669" y="1005969"/>
                      <a:pt x="792669" y="1005969"/>
                      <a:pt x="792669" y="1005969"/>
                    </a:cubicBezTo>
                    <a:cubicBezTo>
                      <a:pt x="787667" y="1002400"/>
                      <a:pt x="785523" y="995975"/>
                      <a:pt x="787667" y="990265"/>
                    </a:cubicBezTo>
                    <a:cubicBezTo>
                      <a:pt x="787667" y="989551"/>
                      <a:pt x="787667" y="989551"/>
                      <a:pt x="787667" y="989551"/>
                    </a:cubicBezTo>
                    <a:cubicBezTo>
                      <a:pt x="787667" y="988123"/>
                      <a:pt x="789096" y="985982"/>
                      <a:pt x="790525" y="983840"/>
                    </a:cubicBezTo>
                    <a:cubicBezTo>
                      <a:pt x="797671" y="974560"/>
                      <a:pt x="797671" y="974560"/>
                      <a:pt x="797671" y="974560"/>
                    </a:cubicBezTo>
                    <a:cubicBezTo>
                      <a:pt x="821967" y="944580"/>
                      <a:pt x="821967" y="944580"/>
                      <a:pt x="821967" y="944580"/>
                    </a:cubicBezTo>
                    <a:cubicBezTo>
                      <a:pt x="928440" y="812522"/>
                      <a:pt x="928440" y="812522"/>
                      <a:pt x="928440" y="812522"/>
                    </a:cubicBezTo>
                    <a:cubicBezTo>
                      <a:pt x="966313" y="764696"/>
                      <a:pt x="966313" y="764696"/>
                      <a:pt x="966313" y="764696"/>
                    </a:cubicBezTo>
                    <a:cubicBezTo>
                      <a:pt x="969171" y="761484"/>
                      <a:pt x="973101" y="759521"/>
                      <a:pt x="977121" y="759075"/>
                    </a:cubicBezTo>
                    <a:close/>
                    <a:moveTo>
                      <a:pt x="860979" y="327"/>
                    </a:moveTo>
                    <a:cubicBezTo>
                      <a:pt x="864990" y="-119"/>
                      <a:pt x="869269" y="952"/>
                      <a:pt x="872835" y="3807"/>
                    </a:cubicBezTo>
                    <a:cubicBezTo>
                      <a:pt x="1091763" y="180149"/>
                      <a:pt x="1091763" y="180149"/>
                      <a:pt x="1091763" y="180149"/>
                    </a:cubicBezTo>
                    <a:cubicBezTo>
                      <a:pt x="1098181" y="185146"/>
                      <a:pt x="1099607" y="195141"/>
                      <a:pt x="1093902" y="202280"/>
                    </a:cubicBezTo>
                    <a:cubicBezTo>
                      <a:pt x="1011893" y="304373"/>
                      <a:pt x="1011893" y="304373"/>
                      <a:pt x="1011893" y="304373"/>
                    </a:cubicBezTo>
                    <a:cubicBezTo>
                      <a:pt x="1006188" y="311512"/>
                      <a:pt x="996205" y="312940"/>
                      <a:pt x="989787" y="307228"/>
                    </a:cubicBezTo>
                    <a:cubicBezTo>
                      <a:pt x="770145" y="130887"/>
                      <a:pt x="770145" y="130887"/>
                      <a:pt x="770145" y="130887"/>
                    </a:cubicBezTo>
                    <a:cubicBezTo>
                      <a:pt x="763727" y="125890"/>
                      <a:pt x="762301" y="115895"/>
                      <a:pt x="768006" y="108755"/>
                    </a:cubicBezTo>
                    <a:cubicBezTo>
                      <a:pt x="850728" y="5949"/>
                      <a:pt x="850728" y="5949"/>
                      <a:pt x="850728" y="5949"/>
                    </a:cubicBezTo>
                    <a:cubicBezTo>
                      <a:pt x="853224" y="2736"/>
                      <a:pt x="856968" y="773"/>
                      <a:pt x="860979" y="327"/>
                    </a:cubicBezTo>
                    <a:close/>
                    <a:moveTo>
                      <a:pt x="190332" y="59"/>
                    </a:moveTo>
                    <a:cubicBezTo>
                      <a:pt x="194347" y="-298"/>
                      <a:pt x="198452" y="951"/>
                      <a:pt x="201664" y="3806"/>
                    </a:cubicBezTo>
                    <a:cubicBezTo>
                      <a:pt x="304455" y="85896"/>
                      <a:pt x="304455" y="85896"/>
                      <a:pt x="304455" y="85896"/>
                    </a:cubicBezTo>
                    <a:cubicBezTo>
                      <a:pt x="310879" y="91607"/>
                      <a:pt x="312307" y="101600"/>
                      <a:pt x="306596" y="108025"/>
                    </a:cubicBezTo>
                    <a:cubicBezTo>
                      <a:pt x="130995" y="327169"/>
                      <a:pt x="130995" y="327169"/>
                      <a:pt x="130995" y="327169"/>
                    </a:cubicBezTo>
                    <a:cubicBezTo>
                      <a:pt x="125285" y="334307"/>
                      <a:pt x="115291" y="335021"/>
                      <a:pt x="108867" y="330024"/>
                    </a:cubicBezTo>
                    <a:cubicBezTo>
                      <a:pt x="6076" y="247220"/>
                      <a:pt x="6076" y="247220"/>
                      <a:pt x="6076" y="247220"/>
                    </a:cubicBezTo>
                    <a:cubicBezTo>
                      <a:pt x="-1062" y="241510"/>
                      <a:pt x="-1776" y="232230"/>
                      <a:pt x="3221" y="225092"/>
                    </a:cubicBezTo>
                    <a:cubicBezTo>
                      <a:pt x="179535" y="5948"/>
                      <a:pt x="179535" y="5948"/>
                      <a:pt x="179535" y="5948"/>
                    </a:cubicBezTo>
                    <a:cubicBezTo>
                      <a:pt x="182391" y="2379"/>
                      <a:pt x="186317" y="416"/>
                      <a:pt x="190332" y="59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</p:grpSp>
      <p:sp>
        <p:nvSpPr>
          <p:cNvPr id="28" name="ee4pContent1">
            <a:extLst>
              <a:ext uri="{FF2B5EF4-FFF2-40B4-BE49-F238E27FC236}">
                <a16:creationId xmlns:a16="http://schemas.microsoft.com/office/drawing/2014/main" id="{08033D15-D6FE-468C-ADE8-C82EBD1197BB}"/>
              </a:ext>
            </a:extLst>
          </p:cNvPr>
          <p:cNvSpPr txBox="1"/>
          <p:nvPr/>
        </p:nvSpPr>
        <p:spPr>
          <a:xfrm>
            <a:off x="6481011" y="3122936"/>
            <a:ext cx="5111524" cy="32435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400" b="1"/>
              <a:t>Monthly individual meetings</a:t>
            </a:r>
            <a:r>
              <a:rPr lang="en-US" sz="1400"/>
              <a:t> with program leadership to provide Market Makers support</a:t>
            </a:r>
          </a:p>
          <a:p>
            <a:endParaRPr lang="en-US" sz="1400"/>
          </a:p>
          <a:p>
            <a:r>
              <a:rPr lang="en-US" sz="1400"/>
              <a:t>Attendees include:</a:t>
            </a:r>
          </a:p>
          <a:p>
            <a:pPr marL="226800" lvl="1" indent="-151200"/>
            <a:r>
              <a:rPr lang="en-US" sz="1400"/>
              <a:t>Market Makers</a:t>
            </a:r>
          </a:p>
          <a:p>
            <a:pPr marL="226800" lvl="1" indent="-151200"/>
            <a:r>
              <a:rPr lang="en-US" sz="1400"/>
              <a:t>Regional leadership</a:t>
            </a:r>
          </a:p>
          <a:p>
            <a:pPr marL="226800" lvl="1" indent="-151200"/>
            <a:r>
              <a:rPr lang="en-US" sz="1400" err="1"/>
              <a:t>CommCorp</a:t>
            </a:r>
            <a:r>
              <a:rPr lang="en-US" sz="1400"/>
              <a:t> Grant Manager (TBC)</a:t>
            </a:r>
          </a:p>
          <a:p>
            <a:pPr marL="226800" lvl="1" indent="-151200"/>
            <a:endParaRPr lang="en-US" sz="1400"/>
          </a:p>
          <a:p>
            <a:r>
              <a:rPr lang="en-US" sz="1400"/>
              <a:t>Example topics include:</a:t>
            </a:r>
          </a:p>
          <a:p>
            <a:pPr marL="226800" lvl="1" indent="-151200"/>
            <a:r>
              <a:rPr lang="en-US" sz="1400"/>
              <a:t>Region-specific business engagement strategy and initial hypotheses for promising outreach</a:t>
            </a:r>
          </a:p>
          <a:p>
            <a:pPr marL="226800" lvl="1" indent="-151200"/>
            <a:r>
              <a:rPr lang="en-US" sz="1400"/>
              <a:t>Review progress updates and outcome metrics </a:t>
            </a:r>
          </a:p>
          <a:p>
            <a:pPr marL="226800" lvl="1" indent="-151200"/>
            <a:r>
              <a:rPr lang="en-US" sz="1400"/>
              <a:t>Other relevant regional and state efforts</a:t>
            </a:r>
          </a:p>
        </p:txBody>
      </p:sp>
      <p:sp>
        <p:nvSpPr>
          <p:cNvPr id="24" name="ee4pHeader1">
            <a:extLst>
              <a:ext uri="{FF2B5EF4-FFF2-40B4-BE49-F238E27FC236}">
                <a16:creationId xmlns:a16="http://schemas.microsoft.com/office/drawing/2014/main" id="{2E04A1A2-8345-49CC-8157-DAE06810F4DE}"/>
              </a:ext>
            </a:extLst>
          </p:cNvPr>
          <p:cNvSpPr txBox="1"/>
          <p:nvPr/>
        </p:nvSpPr>
        <p:spPr>
          <a:xfrm>
            <a:off x="6481011" y="2402193"/>
            <a:ext cx="5078948" cy="73189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en-US" sz="2000" b="1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Individual technical assistanc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D778A7F-DC69-4892-B4C6-C455991B2344}"/>
              </a:ext>
            </a:extLst>
          </p:cNvPr>
          <p:cNvGrpSpPr>
            <a:grpSpLocks noChangeAspect="1"/>
          </p:cNvGrpSpPr>
          <p:nvPr/>
        </p:nvGrpSpPr>
        <p:grpSpPr>
          <a:xfrm>
            <a:off x="6497763" y="2164470"/>
            <a:ext cx="816730" cy="816728"/>
            <a:chOff x="5273675" y="2606675"/>
            <a:chExt cx="1644650" cy="1644650"/>
          </a:xfrm>
        </p:grpSpPr>
        <p:sp>
          <p:nvSpPr>
            <p:cNvPr id="20" name="AutoShape 3">
              <a:extLst>
                <a:ext uri="{FF2B5EF4-FFF2-40B4-BE49-F238E27FC236}">
                  <a16:creationId xmlns:a16="http://schemas.microsoft.com/office/drawing/2014/main" id="{D77D3974-7D93-499E-9CDC-8174C976D4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A7F6172-9C99-4D8F-A756-6FB0D8EE669B}"/>
                </a:ext>
              </a:extLst>
            </p:cNvPr>
            <p:cNvGrpSpPr/>
            <p:nvPr/>
          </p:nvGrpSpPr>
          <p:grpSpPr>
            <a:xfrm>
              <a:off x="5387022" y="2882899"/>
              <a:ext cx="1417956" cy="1095377"/>
              <a:chOff x="5387022" y="2882899"/>
              <a:chExt cx="1417956" cy="1095377"/>
            </a:xfrm>
          </p:grpSpPr>
          <p:sp>
            <p:nvSpPr>
              <p:cNvPr id="22" name="Freeform 14">
                <a:extLst>
                  <a:ext uri="{FF2B5EF4-FFF2-40B4-BE49-F238E27FC236}">
                    <a16:creationId xmlns:a16="http://schemas.microsoft.com/office/drawing/2014/main" id="{AE1D1432-102E-40D1-B38B-07D8921629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022" y="2919413"/>
                <a:ext cx="1270953" cy="1058863"/>
              </a:xfrm>
              <a:custGeom>
                <a:avLst/>
                <a:gdLst>
                  <a:gd name="connsiteX0" fmla="*/ 903720 w 1270953"/>
                  <a:gd name="connsiteY0" fmla="*/ 565150 h 1058863"/>
                  <a:gd name="connsiteX1" fmla="*/ 904433 w 1270953"/>
                  <a:gd name="connsiteY1" fmla="*/ 565864 h 1058863"/>
                  <a:gd name="connsiteX2" fmla="*/ 933669 w 1270953"/>
                  <a:gd name="connsiteY2" fmla="*/ 598683 h 1058863"/>
                  <a:gd name="connsiteX3" fmla="*/ 928678 w 1270953"/>
                  <a:gd name="connsiteY3" fmla="*/ 644344 h 1058863"/>
                  <a:gd name="connsiteX4" fmla="*/ 891598 w 1270953"/>
                  <a:gd name="connsiteY4" fmla="*/ 702134 h 1058863"/>
                  <a:gd name="connsiteX5" fmla="*/ 873771 w 1270953"/>
                  <a:gd name="connsiteY5" fmla="*/ 727819 h 1058863"/>
                  <a:gd name="connsiteX6" fmla="*/ 922973 w 1270953"/>
                  <a:gd name="connsiteY6" fmla="*/ 738520 h 1058863"/>
                  <a:gd name="connsiteX7" fmla="*/ 935809 w 1270953"/>
                  <a:gd name="connsiteY7" fmla="*/ 742801 h 1058863"/>
                  <a:gd name="connsiteX8" fmla="*/ 940800 w 1270953"/>
                  <a:gd name="connsiteY8" fmla="*/ 755643 h 1058863"/>
                  <a:gd name="connsiteX9" fmla="*/ 945079 w 1270953"/>
                  <a:gd name="connsiteY9" fmla="*/ 887633 h 1058863"/>
                  <a:gd name="connsiteX10" fmla="*/ 1008542 w 1270953"/>
                  <a:gd name="connsiteY10" fmla="*/ 894768 h 1058863"/>
                  <a:gd name="connsiteX11" fmla="*/ 1069866 w 1270953"/>
                  <a:gd name="connsiteY11" fmla="*/ 891200 h 1058863"/>
                  <a:gd name="connsiteX12" fmla="*/ 1081989 w 1270953"/>
                  <a:gd name="connsiteY12" fmla="*/ 893341 h 1058863"/>
                  <a:gd name="connsiteX13" fmla="*/ 1089119 w 1270953"/>
                  <a:gd name="connsiteY13" fmla="*/ 906183 h 1058863"/>
                  <a:gd name="connsiteX14" fmla="*/ 1089119 w 1270953"/>
                  <a:gd name="connsiteY14" fmla="*/ 1027471 h 1058863"/>
                  <a:gd name="connsiteX15" fmla="*/ 1239578 w 1270953"/>
                  <a:gd name="connsiteY15" fmla="*/ 993225 h 1058863"/>
                  <a:gd name="connsiteX16" fmla="*/ 1239578 w 1270953"/>
                  <a:gd name="connsiteY16" fmla="*/ 939002 h 1058863"/>
                  <a:gd name="connsiteX17" fmla="*/ 1239578 w 1270953"/>
                  <a:gd name="connsiteY17" fmla="*/ 938289 h 1058863"/>
                  <a:gd name="connsiteX18" fmla="*/ 1241717 w 1270953"/>
                  <a:gd name="connsiteY18" fmla="*/ 939716 h 1058863"/>
                  <a:gd name="connsiteX19" fmla="*/ 1256692 w 1270953"/>
                  <a:gd name="connsiteY19" fmla="*/ 942569 h 1058863"/>
                  <a:gd name="connsiteX20" fmla="*/ 1270953 w 1270953"/>
                  <a:gd name="connsiteY20" fmla="*/ 940429 h 1058863"/>
                  <a:gd name="connsiteX21" fmla="*/ 1270953 w 1270953"/>
                  <a:gd name="connsiteY21" fmla="*/ 1002500 h 1058863"/>
                  <a:gd name="connsiteX22" fmla="*/ 1263109 w 1270953"/>
                  <a:gd name="connsiteY22" fmla="*/ 1016056 h 1058863"/>
                  <a:gd name="connsiteX23" fmla="*/ 1088406 w 1270953"/>
                  <a:gd name="connsiteY23" fmla="*/ 1058863 h 1058863"/>
                  <a:gd name="connsiteX24" fmla="*/ 1072719 w 1270953"/>
                  <a:gd name="connsiteY24" fmla="*/ 1058150 h 1058863"/>
                  <a:gd name="connsiteX25" fmla="*/ 1057744 w 1270953"/>
                  <a:gd name="connsiteY25" fmla="*/ 1042454 h 1058863"/>
                  <a:gd name="connsiteX26" fmla="*/ 1057744 w 1270953"/>
                  <a:gd name="connsiteY26" fmla="*/ 924020 h 1058863"/>
                  <a:gd name="connsiteX27" fmla="*/ 1009968 w 1270953"/>
                  <a:gd name="connsiteY27" fmla="*/ 926160 h 1058863"/>
                  <a:gd name="connsiteX28" fmla="*/ 922973 w 1270953"/>
                  <a:gd name="connsiteY28" fmla="*/ 909750 h 1058863"/>
                  <a:gd name="connsiteX29" fmla="*/ 906573 w 1270953"/>
                  <a:gd name="connsiteY29" fmla="*/ 819141 h 1058863"/>
                  <a:gd name="connsiteX30" fmla="*/ 907999 w 1270953"/>
                  <a:gd name="connsiteY30" fmla="*/ 770626 h 1058863"/>
                  <a:gd name="connsiteX31" fmla="*/ 843822 w 1270953"/>
                  <a:gd name="connsiteY31" fmla="*/ 739234 h 1058863"/>
                  <a:gd name="connsiteX32" fmla="*/ 869493 w 1270953"/>
                  <a:gd name="connsiteY32" fmla="*/ 680017 h 1058863"/>
                  <a:gd name="connsiteX33" fmla="*/ 899442 w 1270953"/>
                  <a:gd name="connsiteY33" fmla="*/ 632929 h 1058863"/>
                  <a:gd name="connsiteX34" fmla="*/ 903007 w 1270953"/>
                  <a:gd name="connsiteY34" fmla="*/ 589408 h 1058863"/>
                  <a:gd name="connsiteX35" fmla="*/ 903720 w 1270953"/>
                  <a:gd name="connsiteY35" fmla="*/ 565150 h 1058863"/>
                  <a:gd name="connsiteX36" fmla="*/ 275370 w 1270953"/>
                  <a:gd name="connsiteY36" fmla="*/ 357187 h 1058863"/>
                  <a:gd name="connsiteX37" fmla="*/ 298221 w 1270953"/>
                  <a:gd name="connsiteY37" fmla="*/ 357901 h 1058863"/>
                  <a:gd name="connsiteX38" fmla="*/ 514589 w 1270953"/>
                  <a:gd name="connsiteY38" fmla="*/ 483559 h 1058863"/>
                  <a:gd name="connsiteX39" fmla="*/ 514589 w 1270953"/>
                  <a:gd name="connsiteY39" fmla="*/ 488557 h 1058863"/>
                  <a:gd name="connsiteX40" fmla="*/ 507448 w 1270953"/>
                  <a:gd name="connsiteY40" fmla="*/ 517116 h 1058863"/>
                  <a:gd name="connsiteX41" fmla="*/ 489596 w 1270953"/>
                  <a:gd name="connsiteY41" fmla="*/ 546388 h 1058863"/>
                  <a:gd name="connsiteX42" fmla="*/ 483169 w 1270953"/>
                  <a:gd name="connsiteY42" fmla="*/ 555670 h 1058863"/>
                  <a:gd name="connsiteX43" fmla="*/ 333211 w 1270953"/>
                  <a:gd name="connsiteY43" fmla="*/ 671332 h 1058863"/>
                  <a:gd name="connsiteX44" fmla="*/ 331783 w 1270953"/>
                  <a:gd name="connsiteY44" fmla="*/ 671332 h 1058863"/>
                  <a:gd name="connsiteX45" fmla="*/ 329641 w 1270953"/>
                  <a:gd name="connsiteY45" fmla="*/ 664193 h 1058863"/>
                  <a:gd name="connsiteX46" fmla="*/ 359632 w 1270953"/>
                  <a:gd name="connsiteY46" fmla="*/ 634206 h 1058863"/>
                  <a:gd name="connsiteX47" fmla="*/ 210388 w 1270953"/>
                  <a:gd name="connsiteY47" fmla="*/ 699177 h 1058863"/>
                  <a:gd name="connsiteX48" fmla="*/ 145406 w 1270953"/>
                  <a:gd name="connsiteY48" fmla="*/ 816268 h 1058863"/>
                  <a:gd name="connsiteX49" fmla="*/ 163258 w 1270953"/>
                  <a:gd name="connsiteY49" fmla="*/ 911225 h 1058863"/>
                  <a:gd name="connsiteX50" fmla="*/ 161830 w 1270953"/>
                  <a:gd name="connsiteY50" fmla="*/ 911225 h 1058863"/>
                  <a:gd name="connsiteX51" fmla="*/ 28296 w 1270953"/>
                  <a:gd name="connsiteY51" fmla="*/ 499266 h 1058863"/>
                  <a:gd name="connsiteX52" fmla="*/ 275370 w 1270953"/>
                  <a:gd name="connsiteY52" fmla="*/ 357187 h 1058863"/>
                  <a:gd name="connsiteX53" fmla="*/ 745473 w 1270953"/>
                  <a:gd name="connsiteY53" fmla="*/ 0 h 1058863"/>
                  <a:gd name="connsiteX54" fmla="*/ 998793 w 1270953"/>
                  <a:gd name="connsiteY54" fmla="*/ 0 h 1058863"/>
                  <a:gd name="connsiteX55" fmla="*/ 1036003 w 1270953"/>
                  <a:gd name="connsiteY55" fmla="*/ 37211 h 1058863"/>
                  <a:gd name="connsiteX56" fmla="*/ 1036003 w 1270953"/>
                  <a:gd name="connsiteY56" fmla="*/ 197503 h 1058863"/>
                  <a:gd name="connsiteX57" fmla="*/ 998793 w 1270953"/>
                  <a:gd name="connsiteY57" fmla="*/ 234714 h 1058863"/>
                  <a:gd name="connsiteX58" fmla="*/ 935105 w 1270953"/>
                  <a:gd name="connsiteY58" fmla="*/ 234714 h 1058863"/>
                  <a:gd name="connsiteX59" fmla="*/ 935105 w 1270953"/>
                  <a:gd name="connsiteY59" fmla="*/ 320585 h 1058863"/>
                  <a:gd name="connsiteX60" fmla="*/ 926518 w 1270953"/>
                  <a:gd name="connsiteY60" fmla="*/ 327025 h 1058863"/>
                  <a:gd name="connsiteX61" fmla="*/ 914353 w 1270953"/>
                  <a:gd name="connsiteY61" fmla="*/ 320585 h 1058863"/>
                  <a:gd name="connsiteX62" fmla="*/ 834922 w 1270953"/>
                  <a:gd name="connsiteY62" fmla="*/ 234714 h 1058863"/>
                  <a:gd name="connsiteX63" fmla="*/ 745473 w 1270953"/>
                  <a:gd name="connsiteY63" fmla="*/ 234714 h 1058863"/>
                  <a:gd name="connsiteX64" fmla="*/ 708978 w 1270953"/>
                  <a:gd name="connsiteY64" fmla="*/ 197503 h 1058863"/>
                  <a:gd name="connsiteX65" fmla="*/ 708978 w 1270953"/>
                  <a:gd name="connsiteY65" fmla="*/ 196072 h 1058863"/>
                  <a:gd name="connsiteX66" fmla="*/ 708978 w 1270953"/>
                  <a:gd name="connsiteY66" fmla="*/ 37211 h 1058863"/>
                  <a:gd name="connsiteX67" fmla="*/ 729730 w 1270953"/>
                  <a:gd name="connsiteY67" fmla="*/ 3578 h 1058863"/>
                  <a:gd name="connsiteX68" fmla="*/ 734740 w 1270953"/>
                  <a:gd name="connsiteY68" fmla="*/ 1431 h 1058863"/>
                  <a:gd name="connsiteX69" fmla="*/ 745473 w 1270953"/>
                  <a:gd name="connsiteY69" fmla="*/ 0 h 1058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270953" h="1058863">
                    <a:moveTo>
                      <a:pt x="903720" y="565150"/>
                    </a:moveTo>
                    <a:cubicBezTo>
                      <a:pt x="903720" y="565150"/>
                      <a:pt x="904433" y="565864"/>
                      <a:pt x="904433" y="565864"/>
                    </a:cubicBezTo>
                    <a:cubicBezTo>
                      <a:pt x="911564" y="575852"/>
                      <a:pt x="921547" y="586554"/>
                      <a:pt x="933669" y="598683"/>
                    </a:cubicBezTo>
                    <a:cubicBezTo>
                      <a:pt x="932956" y="620800"/>
                      <a:pt x="932243" y="635782"/>
                      <a:pt x="928678" y="644344"/>
                    </a:cubicBezTo>
                    <a:cubicBezTo>
                      <a:pt x="925112" y="652905"/>
                      <a:pt x="912277" y="682157"/>
                      <a:pt x="891598" y="702134"/>
                    </a:cubicBezTo>
                    <a:cubicBezTo>
                      <a:pt x="881615" y="712836"/>
                      <a:pt x="875910" y="722824"/>
                      <a:pt x="873771" y="727819"/>
                    </a:cubicBezTo>
                    <a:cubicBezTo>
                      <a:pt x="878763" y="733526"/>
                      <a:pt x="894450" y="742088"/>
                      <a:pt x="922973" y="738520"/>
                    </a:cubicBezTo>
                    <a:cubicBezTo>
                      <a:pt x="927965" y="737807"/>
                      <a:pt x="932243" y="739947"/>
                      <a:pt x="935809" y="742801"/>
                    </a:cubicBezTo>
                    <a:cubicBezTo>
                      <a:pt x="939374" y="746368"/>
                      <a:pt x="940800" y="750649"/>
                      <a:pt x="940800" y="755643"/>
                    </a:cubicBezTo>
                    <a:cubicBezTo>
                      <a:pt x="935809" y="817001"/>
                      <a:pt x="937948" y="876931"/>
                      <a:pt x="945079" y="887633"/>
                    </a:cubicBezTo>
                    <a:cubicBezTo>
                      <a:pt x="947218" y="889060"/>
                      <a:pt x="958627" y="894768"/>
                      <a:pt x="1008542" y="894768"/>
                    </a:cubicBezTo>
                    <a:cubicBezTo>
                      <a:pt x="1037778" y="894054"/>
                      <a:pt x="1064875" y="891914"/>
                      <a:pt x="1069866" y="891200"/>
                    </a:cubicBezTo>
                    <a:cubicBezTo>
                      <a:pt x="1074145" y="890487"/>
                      <a:pt x="1078423" y="891200"/>
                      <a:pt x="1081989" y="893341"/>
                    </a:cubicBezTo>
                    <a:cubicBezTo>
                      <a:pt x="1086267" y="896195"/>
                      <a:pt x="1089119" y="901189"/>
                      <a:pt x="1089119" y="906183"/>
                    </a:cubicBezTo>
                    <a:cubicBezTo>
                      <a:pt x="1089119" y="906183"/>
                      <a:pt x="1089119" y="906183"/>
                      <a:pt x="1089119" y="1027471"/>
                    </a:cubicBezTo>
                    <a:cubicBezTo>
                      <a:pt x="1118355" y="1026758"/>
                      <a:pt x="1184671" y="1023190"/>
                      <a:pt x="1239578" y="993225"/>
                    </a:cubicBezTo>
                    <a:cubicBezTo>
                      <a:pt x="1239578" y="993225"/>
                      <a:pt x="1239578" y="993225"/>
                      <a:pt x="1239578" y="939002"/>
                    </a:cubicBezTo>
                    <a:cubicBezTo>
                      <a:pt x="1239578" y="939002"/>
                      <a:pt x="1239578" y="938289"/>
                      <a:pt x="1239578" y="938289"/>
                    </a:cubicBezTo>
                    <a:cubicBezTo>
                      <a:pt x="1240291" y="939002"/>
                      <a:pt x="1241004" y="939002"/>
                      <a:pt x="1241717" y="939716"/>
                    </a:cubicBezTo>
                    <a:cubicBezTo>
                      <a:pt x="1245996" y="941856"/>
                      <a:pt x="1250987" y="942569"/>
                      <a:pt x="1256692" y="942569"/>
                    </a:cubicBezTo>
                    <a:cubicBezTo>
                      <a:pt x="1259544" y="942569"/>
                      <a:pt x="1263822" y="942569"/>
                      <a:pt x="1270953" y="940429"/>
                    </a:cubicBezTo>
                    <a:cubicBezTo>
                      <a:pt x="1270953" y="940429"/>
                      <a:pt x="1270953" y="940429"/>
                      <a:pt x="1270953" y="1002500"/>
                    </a:cubicBezTo>
                    <a:cubicBezTo>
                      <a:pt x="1270953" y="1008208"/>
                      <a:pt x="1268101" y="1013202"/>
                      <a:pt x="1263109" y="1016056"/>
                    </a:cubicBezTo>
                    <a:cubicBezTo>
                      <a:pt x="1199646" y="1054582"/>
                      <a:pt x="1121921" y="1058863"/>
                      <a:pt x="1088406" y="1058863"/>
                    </a:cubicBezTo>
                    <a:cubicBezTo>
                      <a:pt x="1079136" y="1058863"/>
                      <a:pt x="1073432" y="1058150"/>
                      <a:pt x="1072719" y="1058150"/>
                    </a:cubicBezTo>
                    <a:cubicBezTo>
                      <a:pt x="1064162" y="1057436"/>
                      <a:pt x="1057744" y="1051015"/>
                      <a:pt x="1057744" y="1042454"/>
                    </a:cubicBezTo>
                    <a:cubicBezTo>
                      <a:pt x="1057744" y="1042454"/>
                      <a:pt x="1057744" y="1042454"/>
                      <a:pt x="1057744" y="924020"/>
                    </a:cubicBezTo>
                    <a:cubicBezTo>
                      <a:pt x="1041343" y="925446"/>
                      <a:pt x="1019951" y="926160"/>
                      <a:pt x="1009968" y="926160"/>
                    </a:cubicBezTo>
                    <a:cubicBezTo>
                      <a:pt x="947218" y="926160"/>
                      <a:pt x="930817" y="917598"/>
                      <a:pt x="922973" y="909750"/>
                    </a:cubicBezTo>
                    <a:cubicBezTo>
                      <a:pt x="915129" y="901189"/>
                      <a:pt x="906573" y="884066"/>
                      <a:pt x="906573" y="819141"/>
                    </a:cubicBezTo>
                    <a:cubicBezTo>
                      <a:pt x="906573" y="800591"/>
                      <a:pt x="907286" y="783468"/>
                      <a:pt x="907999" y="770626"/>
                    </a:cubicBezTo>
                    <a:cubicBezTo>
                      <a:pt x="868067" y="769913"/>
                      <a:pt x="848814" y="750649"/>
                      <a:pt x="843822" y="739234"/>
                    </a:cubicBezTo>
                    <a:cubicBezTo>
                      <a:pt x="835978" y="720684"/>
                      <a:pt x="856657" y="693573"/>
                      <a:pt x="869493" y="680017"/>
                    </a:cubicBezTo>
                    <a:cubicBezTo>
                      <a:pt x="882328" y="667175"/>
                      <a:pt x="893737" y="647198"/>
                      <a:pt x="899442" y="632929"/>
                    </a:cubicBezTo>
                    <a:cubicBezTo>
                      <a:pt x="901581" y="627221"/>
                      <a:pt x="902294" y="603677"/>
                      <a:pt x="903007" y="589408"/>
                    </a:cubicBezTo>
                    <a:cubicBezTo>
                      <a:pt x="903007" y="580846"/>
                      <a:pt x="903007" y="572285"/>
                      <a:pt x="903720" y="565150"/>
                    </a:cubicBezTo>
                    <a:close/>
                    <a:moveTo>
                      <a:pt x="275370" y="357187"/>
                    </a:moveTo>
                    <a:cubicBezTo>
                      <a:pt x="283225" y="357187"/>
                      <a:pt x="290366" y="357901"/>
                      <a:pt x="298221" y="357901"/>
                    </a:cubicBezTo>
                    <a:cubicBezTo>
                      <a:pt x="458176" y="369325"/>
                      <a:pt x="515303" y="446433"/>
                      <a:pt x="514589" y="483559"/>
                    </a:cubicBezTo>
                    <a:cubicBezTo>
                      <a:pt x="514589" y="483559"/>
                      <a:pt x="514589" y="483559"/>
                      <a:pt x="514589" y="488557"/>
                    </a:cubicBezTo>
                    <a:cubicBezTo>
                      <a:pt x="513875" y="498552"/>
                      <a:pt x="511733" y="507834"/>
                      <a:pt x="507448" y="517116"/>
                    </a:cubicBezTo>
                    <a:cubicBezTo>
                      <a:pt x="503164" y="527111"/>
                      <a:pt x="497451" y="537107"/>
                      <a:pt x="489596" y="546388"/>
                    </a:cubicBezTo>
                    <a:cubicBezTo>
                      <a:pt x="487454" y="549244"/>
                      <a:pt x="485312" y="552100"/>
                      <a:pt x="483169" y="555670"/>
                    </a:cubicBezTo>
                    <a:cubicBezTo>
                      <a:pt x="452464" y="590654"/>
                      <a:pt x="376770" y="647772"/>
                      <a:pt x="333211" y="671332"/>
                    </a:cubicBezTo>
                    <a:cubicBezTo>
                      <a:pt x="333211" y="671332"/>
                      <a:pt x="332497" y="671332"/>
                      <a:pt x="331783" y="671332"/>
                    </a:cubicBezTo>
                    <a:cubicBezTo>
                      <a:pt x="328212" y="671332"/>
                      <a:pt x="326784" y="667049"/>
                      <a:pt x="329641" y="664193"/>
                    </a:cubicBezTo>
                    <a:cubicBezTo>
                      <a:pt x="343922" y="652769"/>
                      <a:pt x="353205" y="642774"/>
                      <a:pt x="359632" y="634206"/>
                    </a:cubicBezTo>
                    <a:cubicBezTo>
                      <a:pt x="300363" y="659195"/>
                      <a:pt x="243950" y="684898"/>
                      <a:pt x="210388" y="699177"/>
                    </a:cubicBezTo>
                    <a:cubicBezTo>
                      <a:pt x="166829" y="719168"/>
                      <a:pt x="139693" y="766290"/>
                      <a:pt x="145406" y="816268"/>
                    </a:cubicBezTo>
                    <a:cubicBezTo>
                      <a:pt x="151119" y="865531"/>
                      <a:pt x="178254" y="904085"/>
                      <a:pt x="163258" y="911225"/>
                    </a:cubicBezTo>
                    <a:cubicBezTo>
                      <a:pt x="163258" y="911225"/>
                      <a:pt x="162544" y="911225"/>
                      <a:pt x="161830" y="911225"/>
                    </a:cubicBezTo>
                    <a:cubicBezTo>
                      <a:pt x="136837" y="911225"/>
                      <a:pt x="-75247" y="708459"/>
                      <a:pt x="28296" y="499266"/>
                    </a:cubicBezTo>
                    <a:cubicBezTo>
                      <a:pt x="64000" y="427156"/>
                      <a:pt x="147548" y="357187"/>
                      <a:pt x="275370" y="357187"/>
                    </a:cubicBezTo>
                    <a:close/>
                    <a:moveTo>
                      <a:pt x="745473" y="0"/>
                    </a:moveTo>
                    <a:cubicBezTo>
                      <a:pt x="745473" y="0"/>
                      <a:pt x="745473" y="0"/>
                      <a:pt x="998793" y="0"/>
                    </a:cubicBezTo>
                    <a:cubicBezTo>
                      <a:pt x="1019545" y="0"/>
                      <a:pt x="1036003" y="16458"/>
                      <a:pt x="1036003" y="37211"/>
                    </a:cubicBezTo>
                    <a:cubicBezTo>
                      <a:pt x="1036003" y="37211"/>
                      <a:pt x="1036003" y="37211"/>
                      <a:pt x="1036003" y="197503"/>
                    </a:cubicBezTo>
                    <a:cubicBezTo>
                      <a:pt x="1036003" y="218255"/>
                      <a:pt x="1019545" y="234714"/>
                      <a:pt x="998793" y="234714"/>
                    </a:cubicBezTo>
                    <a:cubicBezTo>
                      <a:pt x="998793" y="234714"/>
                      <a:pt x="998793" y="234714"/>
                      <a:pt x="935105" y="234714"/>
                    </a:cubicBezTo>
                    <a:cubicBezTo>
                      <a:pt x="935105" y="234714"/>
                      <a:pt x="935105" y="234714"/>
                      <a:pt x="935105" y="320585"/>
                    </a:cubicBezTo>
                    <a:cubicBezTo>
                      <a:pt x="935105" y="320585"/>
                      <a:pt x="932958" y="327025"/>
                      <a:pt x="926518" y="327025"/>
                    </a:cubicBezTo>
                    <a:cubicBezTo>
                      <a:pt x="923655" y="327025"/>
                      <a:pt x="919362" y="325594"/>
                      <a:pt x="914353" y="320585"/>
                    </a:cubicBezTo>
                    <a:cubicBezTo>
                      <a:pt x="903619" y="309135"/>
                      <a:pt x="867124" y="266915"/>
                      <a:pt x="834922" y="234714"/>
                    </a:cubicBezTo>
                    <a:cubicBezTo>
                      <a:pt x="834922" y="234714"/>
                      <a:pt x="834922" y="234714"/>
                      <a:pt x="745473" y="234714"/>
                    </a:cubicBezTo>
                    <a:cubicBezTo>
                      <a:pt x="724721" y="234714"/>
                      <a:pt x="708978" y="218255"/>
                      <a:pt x="708978" y="197503"/>
                    </a:cubicBezTo>
                    <a:cubicBezTo>
                      <a:pt x="708978" y="197503"/>
                      <a:pt x="708978" y="197503"/>
                      <a:pt x="708978" y="196072"/>
                    </a:cubicBezTo>
                    <a:cubicBezTo>
                      <a:pt x="708978" y="190347"/>
                      <a:pt x="708978" y="163155"/>
                      <a:pt x="708978" y="37211"/>
                    </a:cubicBezTo>
                    <a:cubicBezTo>
                      <a:pt x="708978" y="21468"/>
                      <a:pt x="717565" y="9303"/>
                      <a:pt x="729730" y="3578"/>
                    </a:cubicBezTo>
                    <a:cubicBezTo>
                      <a:pt x="731877" y="2862"/>
                      <a:pt x="733308" y="2147"/>
                      <a:pt x="734740" y="1431"/>
                    </a:cubicBezTo>
                    <a:cubicBezTo>
                      <a:pt x="738317" y="715"/>
                      <a:pt x="741895" y="0"/>
                      <a:pt x="745473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3" name="Freeform 15">
                <a:extLst>
                  <a:ext uri="{FF2B5EF4-FFF2-40B4-BE49-F238E27FC236}">
                    <a16:creationId xmlns:a16="http://schemas.microsoft.com/office/drawing/2014/main" id="{F94012D9-98D3-491D-9DD0-160FF3482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4025" y="2882899"/>
                <a:ext cx="1270953" cy="1095376"/>
              </a:xfrm>
              <a:custGeom>
                <a:avLst/>
                <a:gdLst>
                  <a:gd name="connsiteX0" fmla="*/ 367233 w 1270953"/>
                  <a:gd name="connsiteY0" fmla="*/ 601663 h 1095376"/>
                  <a:gd name="connsiteX1" fmla="*/ 367946 w 1270953"/>
                  <a:gd name="connsiteY1" fmla="*/ 625921 h 1095376"/>
                  <a:gd name="connsiteX2" fmla="*/ 371512 w 1270953"/>
                  <a:gd name="connsiteY2" fmla="*/ 669442 h 1095376"/>
                  <a:gd name="connsiteX3" fmla="*/ 401461 w 1270953"/>
                  <a:gd name="connsiteY3" fmla="*/ 716530 h 1095376"/>
                  <a:gd name="connsiteX4" fmla="*/ 427131 w 1270953"/>
                  <a:gd name="connsiteY4" fmla="*/ 775747 h 1095376"/>
                  <a:gd name="connsiteX5" fmla="*/ 362955 w 1270953"/>
                  <a:gd name="connsiteY5" fmla="*/ 807139 h 1095376"/>
                  <a:gd name="connsiteX6" fmla="*/ 364381 w 1270953"/>
                  <a:gd name="connsiteY6" fmla="*/ 855654 h 1095376"/>
                  <a:gd name="connsiteX7" fmla="*/ 347980 w 1270953"/>
                  <a:gd name="connsiteY7" fmla="*/ 946263 h 1095376"/>
                  <a:gd name="connsiteX8" fmla="*/ 260985 w 1270953"/>
                  <a:gd name="connsiteY8" fmla="*/ 962673 h 1095376"/>
                  <a:gd name="connsiteX9" fmla="*/ 213209 w 1270953"/>
                  <a:gd name="connsiteY9" fmla="*/ 960533 h 1095376"/>
                  <a:gd name="connsiteX10" fmla="*/ 213209 w 1270953"/>
                  <a:gd name="connsiteY10" fmla="*/ 1078967 h 1095376"/>
                  <a:gd name="connsiteX11" fmla="*/ 198235 w 1270953"/>
                  <a:gd name="connsiteY11" fmla="*/ 1094663 h 1095376"/>
                  <a:gd name="connsiteX12" fmla="*/ 182547 w 1270953"/>
                  <a:gd name="connsiteY12" fmla="*/ 1095376 h 1095376"/>
                  <a:gd name="connsiteX13" fmla="*/ 7844 w 1270953"/>
                  <a:gd name="connsiteY13" fmla="*/ 1052569 h 1095376"/>
                  <a:gd name="connsiteX14" fmla="*/ 0 w 1270953"/>
                  <a:gd name="connsiteY14" fmla="*/ 1039013 h 1095376"/>
                  <a:gd name="connsiteX15" fmla="*/ 0 w 1270953"/>
                  <a:gd name="connsiteY15" fmla="*/ 976942 h 1095376"/>
                  <a:gd name="connsiteX16" fmla="*/ 14262 w 1270953"/>
                  <a:gd name="connsiteY16" fmla="*/ 979082 h 1095376"/>
                  <a:gd name="connsiteX17" fmla="*/ 29236 w 1270953"/>
                  <a:gd name="connsiteY17" fmla="*/ 976229 h 1095376"/>
                  <a:gd name="connsiteX18" fmla="*/ 31375 w 1270953"/>
                  <a:gd name="connsiteY18" fmla="*/ 974802 h 1095376"/>
                  <a:gd name="connsiteX19" fmla="*/ 31375 w 1270953"/>
                  <a:gd name="connsiteY19" fmla="*/ 975515 h 1095376"/>
                  <a:gd name="connsiteX20" fmla="*/ 31375 w 1270953"/>
                  <a:gd name="connsiteY20" fmla="*/ 1029738 h 1095376"/>
                  <a:gd name="connsiteX21" fmla="*/ 181834 w 1270953"/>
                  <a:gd name="connsiteY21" fmla="*/ 1063984 h 1095376"/>
                  <a:gd name="connsiteX22" fmla="*/ 181834 w 1270953"/>
                  <a:gd name="connsiteY22" fmla="*/ 942696 h 1095376"/>
                  <a:gd name="connsiteX23" fmla="*/ 188965 w 1270953"/>
                  <a:gd name="connsiteY23" fmla="*/ 929854 h 1095376"/>
                  <a:gd name="connsiteX24" fmla="*/ 201087 w 1270953"/>
                  <a:gd name="connsiteY24" fmla="*/ 927713 h 1095376"/>
                  <a:gd name="connsiteX25" fmla="*/ 262411 w 1270953"/>
                  <a:gd name="connsiteY25" fmla="*/ 931281 h 1095376"/>
                  <a:gd name="connsiteX26" fmla="*/ 325875 w 1270953"/>
                  <a:gd name="connsiteY26" fmla="*/ 924146 h 1095376"/>
                  <a:gd name="connsiteX27" fmla="*/ 330153 w 1270953"/>
                  <a:gd name="connsiteY27" fmla="*/ 792156 h 1095376"/>
                  <a:gd name="connsiteX28" fmla="*/ 335145 w 1270953"/>
                  <a:gd name="connsiteY28" fmla="*/ 779314 h 1095376"/>
                  <a:gd name="connsiteX29" fmla="*/ 347980 w 1270953"/>
                  <a:gd name="connsiteY29" fmla="*/ 775033 h 1095376"/>
                  <a:gd name="connsiteX30" fmla="*/ 397182 w 1270953"/>
                  <a:gd name="connsiteY30" fmla="*/ 764332 h 1095376"/>
                  <a:gd name="connsiteX31" fmla="*/ 379355 w 1270953"/>
                  <a:gd name="connsiteY31" fmla="*/ 738647 h 1095376"/>
                  <a:gd name="connsiteX32" fmla="*/ 342276 w 1270953"/>
                  <a:gd name="connsiteY32" fmla="*/ 680857 h 1095376"/>
                  <a:gd name="connsiteX33" fmla="*/ 337284 w 1270953"/>
                  <a:gd name="connsiteY33" fmla="*/ 635196 h 1095376"/>
                  <a:gd name="connsiteX34" fmla="*/ 366520 w 1270953"/>
                  <a:gd name="connsiteY34" fmla="*/ 602377 h 1095376"/>
                  <a:gd name="connsiteX35" fmla="*/ 367233 w 1270953"/>
                  <a:gd name="connsiteY35" fmla="*/ 601663 h 1095376"/>
                  <a:gd name="connsiteX36" fmla="*/ 995583 w 1270953"/>
                  <a:gd name="connsiteY36" fmla="*/ 393700 h 1095376"/>
                  <a:gd name="connsiteX37" fmla="*/ 1242658 w 1270953"/>
                  <a:gd name="connsiteY37" fmla="*/ 535779 h 1095376"/>
                  <a:gd name="connsiteX38" fmla="*/ 1109123 w 1270953"/>
                  <a:gd name="connsiteY38" fmla="*/ 947738 h 1095376"/>
                  <a:gd name="connsiteX39" fmla="*/ 1107695 w 1270953"/>
                  <a:gd name="connsiteY39" fmla="*/ 947738 h 1095376"/>
                  <a:gd name="connsiteX40" fmla="*/ 1125547 w 1270953"/>
                  <a:gd name="connsiteY40" fmla="*/ 852781 h 1095376"/>
                  <a:gd name="connsiteX41" fmla="*/ 1060565 w 1270953"/>
                  <a:gd name="connsiteY41" fmla="*/ 735690 h 1095376"/>
                  <a:gd name="connsiteX42" fmla="*/ 911321 w 1270953"/>
                  <a:gd name="connsiteY42" fmla="*/ 670719 h 1095376"/>
                  <a:gd name="connsiteX43" fmla="*/ 941313 w 1270953"/>
                  <a:gd name="connsiteY43" fmla="*/ 700706 h 1095376"/>
                  <a:gd name="connsiteX44" fmla="*/ 939171 w 1270953"/>
                  <a:gd name="connsiteY44" fmla="*/ 707845 h 1095376"/>
                  <a:gd name="connsiteX45" fmla="*/ 937742 w 1270953"/>
                  <a:gd name="connsiteY45" fmla="*/ 707845 h 1095376"/>
                  <a:gd name="connsiteX46" fmla="*/ 787784 w 1270953"/>
                  <a:gd name="connsiteY46" fmla="*/ 592183 h 1095376"/>
                  <a:gd name="connsiteX47" fmla="*/ 781357 w 1270953"/>
                  <a:gd name="connsiteY47" fmla="*/ 582901 h 1095376"/>
                  <a:gd name="connsiteX48" fmla="*/ 763505 w 1270953"/>
                  <a:gd name="connsiteY48" fmla="*/ 553628 h 1095376"/>
                  <a:gd name="connsiteX49" fmla="*/ 756364 w 1270953"/>
                  <a:gd name="connsiteY49" fmla="*/ 525070 h 1095376"/>
                  <a:gd name="connsiteX50" fmla="*/ 756364 w 1270953"/>
                  <a:gd name="connsiteY50" fmla="*/ 520072 h 1095376"/>
                  <a:gd name="connsiteX51" fmla="*/ 972733 w 1270953"/>
                  <a:gd name="connsiteY51" fmla="*/ 394414 h 1095376"/>
                  <a:gd name="connsiteX52" fmla="*/ 995583 w 1270953"/>
                  <a:gd name="connsiteY52" fmla="*/ 393700 h 1095376"/>
                  <a:gd name="connsiteX53" fmla="*/ 299002 w 1270953"/>
                  <a:gd name="connsiteY53" fmla="*/ 0 h 1095376"/>
                  <a:gd name="connsiteX54" fmla="*/ 551317 w 1270953"/>
                  <a:gd name="connsiteY54" fmla="*/ 0 h 1095376"/>
                  <a:gd name="connsiteX55" fmla="*/ 566997 w 1270953"/>
                  <a:gd name="connsiteY55" fmla="*/ 3578 h 1095376"/>
                  <a:gd name="connsiteX56" fmla="*/ 576263 w 1270953"/>
                  <a:gd name="connsiteY56" fmla="*/ 9303 h 1095376"/>
                  <a:gd name="connsiteX57" fmla="*/ 570561 w 1270953"/>
                  <a:gd name="connsiteY57" fmla="*/ 11449 h 1095376"/>
                  <a:gd name="connsiteX58" fmla="*/ 530647 w 1270953"/>
                  <a:gd name="connsiteY58" fmla="*/ 74421 h 1095376"/>
                  <a:gd name="connsiteX59" fmla="*/ 530647 w 1270953"/>
                  <a:gd name="connsiteY59" fmla="*/ 234714 h 1095376"/>
                  <a:gd name="connsiteX60" fmla="*/ 462222 w 1270953"/>
                  <a:gd name="connsiteY60" fmla="*/ 234714 h 1095376"/>
                  <a:gd name="connsiteX61" fmla="*/ 383107 w 1270953"/>
                  <a:gd name="connsiteY61" fmla="*/ 319869 h 1095376"/>
                  <a:gd name="connsiteX62" fmla="*/ 370990 w 1270953"/>
                  <a:gd name="connsiteY62" fmla="*/ 327025 h 1095376"/>
                  <a:gd name="connsiteX63" fmla="*/ 362437 w 1270953"/>
                  <a:gd name="connsiteY63" fmla="*/ 319869 h 1095376"/>
                  <a:gd name="connsiteX64" fmla="*/ 362437 w 1270953"/>
                  <a:gd name="connsiteY64" fmla="*/ 234714 h 1095376"/>
                  <a:gd name="connsiteX65" fmla="*/ 299002 w 1270953"/>
                  <a:gd name="connsiteY65" fmla="*/ 234714 h 1095376"/>
                  <a:gd name="connsiteX66" fmla="*/ 261938 w 1270953"/>
                  <a:gd name="connsiteY66" fmla="*/ 197503 h 1095376"/>
                  <a:gd name="connsiteX67" fmla="*/ 261938 w 1270953"/>
                  <a:gd name="connsiteY67" fmla="*/ 37211 h 1095376"/>
                  <a:gd name="connsiteX68" fmla="*/ 299002 w 1270953"/>
                  <a:gd name="connsiteY68" fmla="*/ 0 h 1095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1270953" h="1095376">
                    <a:moveTo>
                      <a:pt x="367233" y="601663"/>
                    </a:moveTo>
                    <a:cubicBezTo>
                      <a:pt x="367946" y="608798"/>
                      <a:pt x="367946" y="617359"/>
                      <a:pt x="367946" y="625921"/>
                    </a:cubicBezTo>
                    <a:cubicBezTo>
                      <a:pt x="368659" y="640190"/>
                      <a:pt x="369372" y="663734"/>
                      <a:pt x="371512" y="669442"/>
                    </a:cubicBezTo>
                    <a:cubicBezTo>
                      <a:pt x="377216" y="683711"/>
                      <a:pt x="388625" y="703688"/>
                      <a:pt x="401461" y="716530"/>
                    </a:cubicBezTo>
                    <a:cubicBezTo>
                      <a:pt x="414296" y="730086"/>
                      <a:pt x="434975" y="757197"/>
                      <a:pt x="427131" y="775747"/>
                    </a:cubicBezTo>
                    <a:cubicBezTo>
                      <a:pt x="422140" y="787162"/>
                      <a:pt x="402887" y="806426"/>
                      <a:pt x="362955" y="807139"/>
                    </a:cubicBezTo>
                    <a:cubicBezTo>
                      <a:pt x="363668" y="819981"/>
                      <a:pt x="364381" y="837104"/>
                      <a:pt x="364381" y="855654"/>
                    </a:cubicBezTo>
                    <a:cubicBezTo>
                      <a:pt x="364381" y="920579"/>
                      <a:pt x="355824" y="937702"/>
                      <a:pt x="347980" y="946263"/>
                    </a:cubicBezTo>
                    <a:cubicBezTo>
                      <a:pt x="340136" y="954111"/>
                      <a:pt x="323736" y="963386"/>
                      <a:pt x="260985" y="962673"/>
                    </a:cubicBezTo>
                    <a:cubicBezTo>
                      <a:pt x="251002" y="962673"/>
                      <a:pt x="229610" y="961959"/>
                      <a:pt x="213209" y="960533"/>
                    </a:cubicBezTo>
                    <a:cubicBezTo>
                      <a:pt x="213209" y="960533"/>
                      <a:pt x="213209" y="960533"/>
                      <a:pt x="213209" y="1078967"/>
                    </a:cubicBezTo>
                    <a:cubicBezTo>
                      <a:pt x="213209" y="1087528"/>
                      <a:pt x="206792" y="1093949"/>
                      <a:pt x="198235" y="1094663"/>
                    </a:cubicBezTo>
                    <a:cubicBezTo>
                      <a:pt x="197522" y="1094663"/>
                      <a:pt x="191817" y="1095376"/>
                      <a:pt x="182547" y="1095376"/>
                    </a:cubicBezTo>
                    <a:cubicBezTo>
                      <a:pt x="149033" y="1095376"/>
                      <a:pt x="71308" y="1091095"/>
                      <a:pt x="7844" y="1052569"/>
                    </a:cubicBezTo>
                    <a:cubicBezTo>
                      <a:pt x="2853" y="1049715"/>
                      <a:pt x="0" y="1044721"/>
                      <a:pt x="0" y="1039013"/>
                    </a:cubicBezTo>
                    <a:cubicBezTo>
                      <a:pt x="0" y="1039013"/>
                      <a:pt x="0" y="1039013"/>
                      <a:pt x="0" y="976942"/>
                    </a:cubicBezTo>
                    <a:cubicBezTo>
                      <a:pt x="7131" y="979082"/>
                      <a:pt x="11409" y="979082"/>
                      <a:pt x="14262" y="979082"/>
                    </a:cubicBezTo>
                    <a:cubicBezTo>
                      <a:pt x="19966" y="979082"/>
                      <a:pt x="24958" y="978369"/>
                      <a:pt x="29236" y="976229"/>
                    </a:cubicBezTo>
                    <a:cubicBezTo>
                      <a:pt x="29949" y="975515"/>
                      <a:pt x="30662" y="975515"/>
                      <a:pt x="31375" y="974802"/>
                    </a:cubicBezTo>
                    <a:cubicBezTo>
                      <a:pt x="31375" y="974802"/>
                      <a:pt x="31375" y="975515"/>
                      <a:pt x="31375" y="975515"/>
                    </a:cubicBezTo>
                    <a:cubicBezTo>
                      <a:pt x="31375" y="975515"/>
                      <a:pt x="31375" y="975515"/>
                      <a:pt x="31375" y="1029738"/>
                    </a:cubicBezTo>
                    <a:cubicBezTo>
                      <a:pt x="86282" y="1059703"/>
                      <a:pt x="152598" y="1063984"/>
                      <a:pt x="181834" y="1063984"/>
                    </a:cubicBezTo>
                    <a:cubicBezTo>
                      <a:pt x="181834" y="1063984"/>
                      <a:pt x="181834" y="1063984"/>
                      <a:pt x="181834" y="942696"/>
                    </a:cubicBezTo>
                    <a:cubicBezTo>
                      <a:pt x="181834" y="937702"/>
                      <a:pt x="184686" y="932708"/>
                      <a:pt x="188965" y="929854"/>
                    </a:cubicBezTo>
                    <a:cubicBezTo>
                      <a:pt x="192530" y="927713"/>
                      <a:pt x="196809" y="927000"/>
                      <a:pt x="201087" y="927713"/>
                    </a:cubicBezTo>
                    <a:cubicBezTo>
                      <a:pt x="206079" y="928427"/>
                      <a:pt x="233175" y="930567"/>
                      <a:pt x="262411" y="931281"/>
                    </a:cubicBezTo>
                    <a:cubicBezTo>
                      <a:pt x="312327" y="931281"/>
                      <a:pt x="323736" y="925573"/>
                      <a:pt x="325875" y="924146"/>
                    </a:cubicBezTo>
                    <a:cubicBezTo>
                      <a:pt x="333719" y="912731"/>
                      <a:pt x="334432" y="846379"/>
                      <a:pt x="330153" y="792156"/>
                    </a:cubicBezTo>
                    <a:cubicBezTo>
                      <a:pt x="330153" y="787162"/>
                      <a:pt x="331580" y="782881"/>
                      <a:pt x="335145" y="779314"/>
                    </a:cubicBezTo>
                    <a:cubicBezTo>
                      <a:pt x="338710" y="776460"/>
                      <a:pt x="342989" y="774320"/>
                      <a:pt x="347980" y="775033"/>
                    </a:cubicBezTo>
                    <a:cubicBezTo>
                      <a:pt x="376503" y="778601"/>
                      <a:pt x="392191" y="770039"/>
                      <a:pt x="397182" y="764332"/>
                    </a:cubicBezTo>
                    <a:cubicBezTo>
                      <a:pt x="395043" y="759337"/>
                      <a:pt x="389339" y="749349"/>
                      <a:pt x="379355" y="738647"/>
                    </a:cubicBezTo>
                    <a:cubicBezTo>
                      <a:pt x="358676" y="718670"/>
                      <a:pt x="345841" y="689418"/>
                      <a:pt x="342276" y="680857"/>
                    </a:cubicBezTo>
                    <a:cubicBezTo>
                      <a:pt x="338710" y="672295"/>
                      <a:pt x="337997" y="657313"/>
                      <a:pt x="337284" y="635196"/>
                    </a:cubicBezTo>
                    <a:cubicBezTo>
                      <a:pt x="349406" y="623067"/>
                      <a:pt x="359389" y="612365"/>
                      <a:pt x="366520" y="602377"/>
                    </a:cubicBezTo>
                    <a:cubicBezTo>
                      <a:pt x="366520" y="602377"/>
                      <a:pt x="367233" y="601663"/>
                      <a:pt x="367233" y="601663"/>
                    </a:cubicBezTo>
                    <a:close/>
                    <a:moveTo>
                      <a:pt x="995583" y="393700"/>
                    </a:moveTo>
                    <a:cubicBezTo>
                      <a:pt x="1123405" y="393700"/>
                      <a:pt x="1206953" y="463669"/>
                      <a:pt x="1242658" y="535779"/>
                    </a:cubicBezTo>
                    <a:cubicBezTo>
                      <a:pt x="1346200" y="744972"/>
                      <a:pt x="1134116" y="947738"/>
                      <a:pt x="1109123" y="947738"/>
                    </a:cubicBezTo>
                    <a:cubicBezTo>
                      <a:pt x="1108409" y="947738"/>
                      <a:pt x="1107695" y="947738"/>
                      <a:pt x="1107695" y="947738"/>
                    </a:cubicBezTo>
                    <a:cubicBezTo>
                      <a:pt x="1092699" y="940598"/>
                      <a:pt x="1119835" y="902044"/>
                      <a:pt x="1125547" y="852781"/>
                    </a:cubicBezTo>
                    <a:cubicBezTo>
                      <a:pt x="1131260" y="802803"/>
                      <a:pt x="1104125" y="755681"/>
                      <a:pt x="1060565" y="735690"/>
                    </a:cubicBezTo>
                    <a:cubicBezTo>
                      <a:pt x="1027003" y="721411"/>
                      <a:pt x="970590" y="695708"/>
                      <a:pt x="911321" y="670719"/>
                    </a:cubicBezTo>
                    <a:cubicBezTo>
                      <a:pt x="917748" y="679287"/>
                      <a:pt x="927031" y="689282"/>
                      <a:pt x="941313" y="700706"/>
                    </a:cubicBezTo>
                    <a:cubicBezTo>
                      <a:pt x="944169" y="703562"/>
                      <a:pt x="942741" y="707845"/>
                      <a:pt x="939171" y="707845"/>
                    </a:cubicBezTo>
                    <a:cubicBezTo>
                      <a:pt x="938457" y="707845"/>
                      <a:pt x="937742" y="707845"/>
                      <a:pt x="937742" y="707845"/>
                    </a:cubicBezTo>
                    <a:cubicBezTo>
                      <a:pt x="894183" y="684285"/>
                      <a:pt x="818490" y="627167"/>
                      <a:pt x="787784" y="592183"/>
                    </a:cubicBezTo>
                    <a:cubicBezTo>
                      <a:pt x="785642" y="588613"/>
                      <a:pt x="783500" y="585757"/>
                      <a:pt x="781357" y="582901"/>
                    </a:cubicBezTo>
                    <a:cubicBezTo>
                      <a:pt x="773502" y="573619"/>
                      <a:pt x="767790" y="563624"/>
                      <a:pt x="763505" y="553628"/>
                    </a:cubicBezTo>
                    <a:cubicBezTo>
                      <a:pt x="759221" y="544347"/>
                      <a:pt x="757078" y="535065"/>
                      <a:pt x="756364" y="525070"/>
                    </a:cubicBezTo>
                    <a:cubicBezTo>
                      <a:pt x="756364" y="525070"/>
                      <a:pt x="756364" y="525070"/>
                      <a:pt x="756364" y="520072"/>
                    </a:cubicBezTo>
                    <a:cubicBezTo>
                      <a:pt x="755650" y="482946"/>
                      <a:pt x="812777" y="405837"/>
                      <a:pt x="972733" y="394414"/>
                    </a:cubicBezTo>
                    <a:cubicBezTo>
                      <a:pt x="980588" y="394414"/>
                      <a:pt x="987729" y="393700"/>
                      <a:pt x="995583" y="393700"/>
                    </a:cubicBezTo>
                    <a:close/>
                    <a:moveTo>
                      <a:pt x="299002" y="0"/>
                    </a:moveTo>
                    <a:cubicBezTo>
                      <a:pt x="551317" y="0"/>
                      <a:pt x="551317" y="0"/>
                      <a:pt x="551317" y="0"/>
                    </a:cubicBezTo>
                    <a:cubicBezTo>
                      <a:pt x="557019" y="0"/>
                      <a:pt x="562008" y="1431"/>
                      <a:pt x="566997" y="3578"/>
                    </a:cubicBezTo>
                    <a:cubicBezTo>
                      <a:pt x="569848" y="5009"/>
                      <a:pt x="573412" y="7156"/>
                      <a:pt x="576263" y="9303"/>
                    </a:cubicBezTo>
                    <a:cubicBezTo>
                      <a:pt x="574125" y="10018"/>
                      <a:pt x="571987" y="10734"/>
                      <a:pt x="570561" y="11449"/>
                    </a:cubicBezTo>
                    <a:cubicBezTo>
                      <a:pt x="545615" y="22183"/>
                      <a:pt x="530647" y="46513"/>
                      <a:pt x="530647" y="74421"/>
                    </a:cubicBezTo>
                    <a:cubicBezTo>
                      <a:pt x="530647" y="74421"/>
                      <a:pt x="530647" y="74421"/>
                      <a:pt x="530647" y="234714"/>
                    </a:cubicBezTo>
                    <a:cubicBezTo>
                      <a:pt x="462222" y="234714"/>
                      <a:pt x="462222" y="234714"/>
                      <a:pt x="462222" y="234714"/>
                    </a:cubicBezTo>
                    <a:cubicBezTo>
                      <a:pt x="430148" y="266915"/>
                      <a:pt x="393798" y="309135"/>
                      <a:pt x="383107" y="319869"/>
                    </a:cubicBezTo>
                    <a:cubicBezTo>
                      <a:pt x="378117" y="324878"/>
                      <a:pt x="373841" y="327025"/>
                      <a:pt x="370990" y="327025"/>
                    </a:cubicBezTo>
                    <a:cubicBezTo>
                      <a:pt x="364575" y="327025"/>
                      <a:pt x="362437" y="319869"/>
                      <a:pt x="362437" y="319869"/>
                    </a:cubicBezTo>
                    <a:cubicBezTo>
                      <a:pt x="362437" y="234714"/>
                      <a:pt x="362437" y="234714"/>
                      <a:pt x="362437" y="234714"/>
                    </a:cubicBezTo>
                    <a:cubicBezTo>
                      <a:pt x="299002" y="234714"/>
                      <a:pt x="299002" y="234714"/>
                      <a:pt x="299002" y="234714"/>
                    </a:cubicBezTo>
                    <a:cubicBezTo>
                      <a:pt x="278332" y="234714"/>
                      <a:pt x="261938" y="218255"/>
                      <a:pt x="261938" y="197503"/>
                    </a:cubicBezTo>
                    <a:cubicBezTo>
                      <a:pt x="261938" y="37211"/>
                      <a:pt x="261938" y="37211"/>
                      <a:pt x="261938" y="37211"/>
                    </a:cubicBezTo>
                    <a:cubicBezTo>
                      <a:pt x="261938" y="16458"/>
                      <a:pt x="278332" y="0"/>
                      <a:pt x="299002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F523DC92-6D06-442D-A761-1D49E5D8F7B1}"/>
              </a:ext>
            </a:extLst>
          </p:cNvPr>
          <p:cNvSpPr txBox="1"/>
          <p:nvPr/>
        </p:nvSpPr>
        <p:spPr>
          <a:xfrm>
            <a:off x="1238489" y="1604018"/>
            <a:ext cx="9306047" cy="375251"/>
          </a:xfrm>
          <a:prstGeom prst="rect">
            <a:avLst/>
          </a:prstGeom>
          <a:solidFill>
            <a:schemeClr val="bg2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b="1">
                <a:solidFill>
                  <a:srgbClr val="00269E"/>
                </a:solidFill>
              </a:rPr>
              <a:t>Invitations and agendas will come from BCG initially until CommCorp staff takes on</a:t>
            </a: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id="{A7E622C1-2133-4F9E-902E-795BAA041B43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F2470B11-9AD6-4CA6-843B-BFD60E866A0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37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200"/>
              <a:t>Market Makers should ensure they are included in these meetings to leverage connectivity with employers and training programs</a:t>
            </a:r>
            <a:br>
              <a:rPr lang="en-US" sz="2200"/>
            </a:br>
            <a:endParaRPr lang="en-US" sz="22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088A45-72F4-4024-92AE-3356BD7206AB}"/>
              </a:ext>
            </a:extLst>
          </p:cNvPr>
          <p:cNvSpPr txBox="1"/>
          <p:nvPr/>
        </p:nvSpPr>
        <p:spPr>
          <a:xfrm>
            <a:off x="6030411" y="2072190"/>
            <a:ext cx="5034987" cy="738664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Maker event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of practice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:1 technical assistanc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22AD39E-C162-4367-8212-C10B01C3EA33}"/>
              </a:ext>
            </a:extLst>
          </p:cNvPr>
          <p:cNvSpPr/>
          <p:nvPr/>
        </p:nvSpPr>
        <p:spPr>
          <a:xfrm rot="2526215">
            <a:off x="4935159" y="1984322"/>
            <a:ext cx="914400" cy="914400"/>
          </a:xfrm>
          <a:prstGeom prst="round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8C26D90-65DC-4E2C-AC45-EA86B8A59138}"/>
              </a:ext>
            </a:extLst>
          </p:cNvPr>
          <p:cNvSpPr/>
          <p:nvPr/>
        </p:nvSpPr>
        <p:spPr>
          <a:xfrm rot="2526215">
            <a:off x="4830228" y="1984322"/>
            <a:ext cx="914400" cy="914400"/>
          </a:xfrm>
          <a:prstGeom prst="roundRect">
            <a:avLst/>
          </a:prstGeom>
          <a:solidFill>
            <a:srgbClr val="F2F2F2"/>
          </a:solidFill>
          <a:ln w="9525" cap="rnd" cmpd="sng" algn="ctr">
            <a:solidFill>
              <a:srgbClr val="F2F2F2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4497160-940F-48CA-91BB-E5D91126FBEA}"/>
              </a:ext>
            </a:extLst>
          </p:cNvPr>
          <p:cNvSpPr/>
          <p:nvPr/>
        </p:nvSpPr>
        <p:spPr>
          <a:xfrm>
            <a:off x="5206262" y="1849622"/>
            <a:ext cx="99142" cy="109056"/>
          </a:xfrm>
          <a:prstGeom prst="ellipse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3CC854-E94C-4285-BE89-BB7108887B4C}"/>
              </a:ext>
            </a:extLst>
          </p:cNvPr>
          <p:cNvSpPr txBox="1"/>
          <p:nvPr/>
        </p:nvSpPr>
        <p:spPr>
          <a:xfrm>
            <a:off x="5972538" y="3223146"/>
            <a:ext cx="5034987" cy="1231106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99C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orce board/Career Center event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Maker / BSR convening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BizWorks meeting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 convening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workforce board planning meeting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E690696A-8F94-4AA2-89A3-F3DD3B5989FE}"/>
              </a:ext>
            </a:extLst>
          </p:cNvPr>
          <p:cNvSpPr/>
          <p:nvPr/>
        </p:nvSpPr>
        <p:spPr>
          <a:xfrm rot="2526215">
            <a:off x="4935159" y="3381499"/>
            <a:ext cx="914400" cy="914400"/>
          </a:xfrm>
          <a:prstGeom prst="round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4295577-E75C-4B52-83FE-A2335A134606}"/>
              </a:ext>
            </a:extLst>
          </p:cNvPr>
          <p:cNvSpPr/>
          <p:nvPr/>
        </p:nvSpPr>
        <p:spPr>
          <a:xfrm rot="2526215">
            <a:off x="4830228" y="3381499"/>
            <a:ext cx="914400" cy="914400"/>
          </a:xfrm>
          <a:prstGeom prst="roundRect">
            <a:avLst/>
          </a:prstGeom>
          <a:solidFill>
            <a:srgbClr val="F2F2F2"/>
          </a:solidFill>
          <a:ln w="9525" cap="rnd" cmpd="sng" algn="ctr">
            <a:solidFill>
              <a:srgbClr val="F2F2F2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02257D0-D70F-4801-8A35-08867EAD24C8}"/>
              </a:ext>
            </a:extLst>
          </p:cNvPr>
          <p:cNvSpPr/>
          <p:nvPr/>
        </p:nvSpPr>
        <p:spPr>
          <a:xfrm>
            <a:off x="5206262" y="3557740"/>
            <a:ext cx="99142" cy="109056"/>
          </a:xfrm>
          <a:prstGeom prst="ellipse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A9538E-0F38-4FB8-9F08-909A6D2D2CC2}"/>
              </a:ext>
            </a:extLst>
          </p:cNvPr>
          <p:cNvSpPr txBox="1"/>
          <p:nvPr/>
        </p:nvSpPr>
        <p:spPr>
          <a:xfrm>
            <a:off x="5972538" y="4828113"/>
            <a:ext cx="5034987" cy="1231106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5BBB2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partner event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bers of commerce convening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association convenings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r pitches on upskilling</a:t>
            </a:r>
          </a:p>
          <a:p>
            <a:pPr marL="291600" lvl="1" indent="-1944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cational High School convening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BCFAFCAD-1A76-4581-9DBC-EBEF8BC595DE}"/>
              </a:ext>
            </a:extLst>
          </p:cNvPr>
          <p:cNvSpPr/>
          <p:nvPr/>
        </p:nvSpPr>
        <p:spPr>
          <a:xfrm rot="2526215">
            <a:off x="4935159" y="4986467"/>
            <a:ext cx="914400" cy="914400"/>
          </a:xfrm>
          <a:prstGeom prst="roundRect">
            <a:avLst/>
          </a:prstGeom>
          <a:solidFill>
            <a:srgbClr val="5BBB2B"/>
          </a:solidFill>
          <a:ln w="9525" cap="rnd" cmpd="sng" algn="ctr">
            <a:solidFill>
              <a:srgbClr val="5BBB2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B0F86F9-825B-4EBC-A166-54FE25A46CA7}"/>
              </a:ext>
            </a:extLst>
          </p:cNvPr>
          <p:cNvSpPr/>
          <p:nvPr/>
        </p:nvSpPr>
        <p:spPr>
          <a:xfrm rot="2526215">
            <a:off x="4830228" y="4986467"/>
            <a:ext cx="914400" cy="914400"/>
          </a:xfrm>
          <a:prstGeom prst="roundRect">
            <a:avLst/>
          </a:prstGeom>
          <a:solidFill>
            <a:srgbClr val="F2F2F2"/>
          </a:solidFill>
          <a:ln w="9525" cap="rnd" cmpd="sng" algn="ctr">
            <a:solidFill>
              <a:srgbClr val="F2F2F2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594B8EB-21D8-4870-AC53-B353DF1E1CC1}"/>
              </a:ext>
            </a:extLst>
          </p:cNvPr>
          <p:cNvSpPr/>
          <p:nvPr/>
        </p:nvSpPr>
        <p:spPr>
          <a:xfrm>
            <a:off x="5255833" y="5923950"/>
            <a:ext cx="99142" cy="109056"/>
          </a:xfrm>
          <a:prstGeom prst="ellipse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9" name="bcgIcons_GoToMarket">
            <a:extLst>
              <a:ext uri="{FF2B5EF4-FFF2-40B4-BE49-F238E27FC236}">
                <a16:creationId xmlns:a16="http://schemas.microsoft.com/office/drawing/2014/main" id="{1116C71F-EB2B-4CE8-873B-B89F68C745F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38735" y="2092507"/>
            <a:ext cx="697385" cy="698031"/>
            <a:chOff x="1682" y="0"/>
            <a:chExt cx="4316" cy="4320"/>
          </a:xfrm>
        </p:grpSpPr>
        <p:sp>
          <p:nvSpPr>
            <p:cNvPr id="20" name="AutoShape 14">
              <a:extLst>
                <a:ext uri="{FF2B5EF4-FFF2-40B4-BE49-F238E27FC236}">
                  <a16:creationId xmlns:a16="http://schemas.microsoft.com/office/drawing/2014/main" id="{02F2D814-DAD6-465D-90EE-69E888600C0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2C8DA103-9843-49B2-9299-04D254E457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296"/>
              <a:ext cx="2605" cy="2697"/>
            </a:xfrm>
            <a:custGeom>
              <a:avLst/>
              <a:gdLst>
                <a:gd name="T0" fmla="*/ 540 w 1391"/>
                <a:gd name="T1" fmla="*/ 461 h 1438"/>
                <a:gd name="T2" fmla="*/ 144 w 1391"/>
                <a:gd name="T3" fmla="*/ 866 h 1438"/>
                <a:gd name="T4" fmla="*/ 204 w 1391"/>
                <a:gd name="T5" fmla="*/ 1230 h 1438"/>
                <a:gd name="T6" fmla="*/ 235 w 1391"/>
                <a:gd name="T7" fmla="*/ 1261 h 1438"/>
                <a:gd name="T8" fmla="*/ 122 w 1391"/>
                <a:gd name="T9" fmla="*/ 1364 h 1438"/>
                <a:gd name="T10" fmla="*/ 121 w 1391"/>
                <a:gd name="T11" fmla="*/ 1364 h 1438"/>
                <a:gd name="T12" fmla="*/ 8 w 1391"/>
                <a:gd name="T13" fmla="*/ 1258 h 1438"/>
                <a:gd name="T14" fmla="*/ 40 w 1391"/>
                <a:gd name="T15" fmla="*/ 1228 h 1438"/>
                <a:gd name="T16" fmla="*/ 100 w 1391"/>
                <a:gd name="T17" fmla="*/ 857 h 1438"/>
                <a:gd name="T18" fmla="*/ 496 w 1391"/>
                <a:gd name="T19" fmla="*/ 452 h 1438"/>
                <a:gd name="T20" fmla="*/ 518 w 1391"/>
                <a:gd name="T21" fmla="*/ 0 h 1438"/>
                <a:gd name="T22" fmla="*/ 758 w 1391"/>
                <a:gd name="T23" fmla="*/ 746 h 1438"/>
                <a:gd name="T24" fmla="*/ 699 w 1391"/>
                <a:gd name="T25" fmla="*/ 22 h 1438"/>
                <a:gd name="T26" fmla="*/ 655 w 1391"/>
                <a:gd name="T27" fmla="*/ 22 h 1438"/>
                <a:gd name="T28" fmla="*/ 594 w 1391"/>
                <a:gd name="T29" fmla="*/ 744 h 1438"/>
                <a:gd name="T30" fmla="*/ 562 w 1391"/>
                <a:gd name="T31" fmla="*/ 775 h 1438"/>
                <a:gd name="T32" fmla="*/ 674 w 1391"/>
                <a:gd name="T33" fmla="*/ 880 h 1438"/>
                <a:gd name="T34" fmla="*/ 690 w 1391"/>
                <a:gd name="T35" fmla="*/ 874 h 1438"/>
                <a:gd name="T36" fmla="*/ 790 w 1391"/>
                <a:gd name="T37" fmla="*/ 747 h 1438"/>
                <a:gd name="T38" fmla="*/ 1111 w 1391"/>
                <a:gd name="T39" fmla="*/ 886 h 1438"/>
                <a:gd name="T40" fmla="*/ 1051 w 1391"/>
                <a:gd name="T41" fmla="*/ 726 h 1438"/>
                <a:gd name="T42" fmla="*/ 858 w 1391"/>
                <a:gd name="T43" fmla="*/ 524 h 1438"/>
                <a:gd name="T44" fmla="*/ 836 w 1391"/>
                <a:gd name="T45" fmla="*/ 0 h 1438"/>
                <a:gd name="T46" fmla="*/ 814 w 1391"/>
                <a:gd name="T47" fmla="*/ 533 h 1438"/>
                <a:gd name="T48" fmla="*/ 1007 w 1391"/>
                <a:gd name="T49" fmla="*/ 735 h 1438"/>
                <a:gd name="T50" fmla="*/ 947 w 1391"/>
                <a:gd name="T51" fmla="*/ 884 h 1438"/>
                <a:gd name="T52" fmla="*/ 915 w 1391"/>
                <a:gd name="T53" fmla="*/ 915 h 1438"/>
                <a:gd name="T54" fmla="*/ 1027 w 1391"/>
                <a:gd name="T55" fmla="*/ 1021 h 1438"/>
                <a:gd name="T56" fmla="*/ 1043 w 1391"/>
                <a:gd name="T57" fmla="*/ 1014 h 1438"/>
                <a:gd name="T58" fmla="*/ 1142 w 1391"/>
                <a:gd name="T59" fmla="*/ 887 h 1438"/>
                <a:gd name="T60" fmla="*/ 1383 w 1391"/>
                <a:gd name="T61" fmla="*/ 1304 h 1438"/>
                <a:gd name="T62" fmla="*/ 1291 w 1391"/>
                <a:gd name="T63" fmla="*/ 1362 h 1438"/>
                <a:gd name="T64" fmla="*/ 1285 w 1391"/>
                <a:gd name="T65" fmla="*/ 618 h 1438"/>
                <a:gd name="T66" fmla="*/ 1016 w 1391"/>
                <a:gd name="T67" fmla="*/ 22 h 1438"/>
                <a:gd name="T68" fmla="*/ 972 w 1391"/>
                <a:gd name="T69" fmla="*/ 22 h 1438"/>
                <a:gd name="T70" fmla="*/ 979 w 1391"/>
                <a:gd name="T71" fmla="*/ 373 h 1438"/>
                <a:gd name="T72" fmla="*/ 1247 w 1391"/>
                <a:gd name="T73" fmla="*/ 1363 h 1438"/>
                <a:gd name="T74" fmla="*/ 1156 w 1391"/>
                <a:gd name="T75" fmla="*/ 1301 h 1438"/>
                <a:gd name="T76" fmla="*/ 1252 w 1391"/>
                <a:gd name="T77" fmla="*/ 1431 h 1438"/>
                <a:gd name="T78" fmla="*/ 1268 w 1391"/>
                <a:gd name="T79" fmla="*/ 1438 h 1438"/>
                <a:gd name="T80" fmla="*/ 1288 w 1391"/>
                <a:gd name="T81" fmla="*/ 1427 h 1438"/>
                <a:gd name="T82" fmla="*/ 1383 w 1391"/>
                <a:gd name="T83" fmla="*/ 1304 h 1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1" h="1438">
                  <a:moveTo>
                    <a:pt x="540" y="22"/>
                  </a:moveTo>
                  <a:cubicBezTo>
                    <a:pt x="540" y="461"/>
                    <a:pt x="540" y="461"/>
                    <a:pt x="540" y="461"/>
                  </a:cubicBezTo>
                  <a:cubicBezTo>
                    <a:pt x="540" y="467"/>
                    <a:pt x="538" y="472"/>
                    <a:pt x="534" y="476"/>
                  </a:cubicBezTo>
                  <a:cubicBezTo>
                    <a:pt x="144" y="866"/>
                    <a:pt x="144" y="866"/>
                    <a:pt x="144" y="866"/>
                  </a:cubicBezTo>
                  <a:cubicBezTo>
                    <a:pt x="144" y="1289"/>
                    <a:pt x="144" y="1289"/>
                    <a:pt x="144" y="1289"/>
                  </a:cubicBezTo>
                  <a:cubicBezTo>
                    <a:pt x="204" y="1230"/>
                    <a:pt x="204" y="1230"/>
                    <a:pt x="204" y="1230"/>
                  </a:cubicBezTo>
                  <a:cubicBezTo>
                    <a:pt x="213" y="1221"/>
                    <a:pt x="227" y="1221"/>
                    <a:pt x="235" y="1230"/>
                  </a:cubicBezTo>
                  <a:cubicBezTo>
                    <a:pt x="244" y="1239"/>
                    <a:pt x="244" y="1253"/>
                    <a:pt x="235" y="1261"/>
                  </a:cubicBezTo>
                  <a:cubicBezTo>
                    <a:pt x="141" y="1353"/>
                    <a:pt x="141" y="1353"/>
                    <a:pt x="141" y="1353"/>
                  </a:cubicBezTo>
                  <a:cubicBezTo>
                    <a:pt x="137" y="1360"/>
                    <a:pt x="130" y="1364"/>
                    <a:pt x="122" y="1364"/>
                  </a:cubicBezTo>
                  <a:cubicBezTo>
                    <a:pt x="122" y="1364"/>
                    <a:pt x="121" y="1364"/>
                    <a:pt x="121" y="1364"/>
                  </a:cubicBezTo>
                  <a:cubicBezTo>
                    <a:pt x="121" y="1364"/>
                    <a:pt x="121" y="1364"/>
                    <a:pt x="121" y="1364"/>
                  </a:cubicBezTo>
                  <a:cubicBezTo>
                    <a:pt x="115" y="1364"/>
                    <a:pt x="109" y="1362"/>
                    <a:pt x="105" y="1357"/>
                  </a:cubicBezTo>
                  <a:cubicBezTo>
                    <a:pt x="8" y="1258"/>
                    <a:pt x="8" y="1258"/>
                    <a:pt x="8" y="1258"/>
                  </a:cubicBezTo>
                  <a:cubicBezTo>
                    <a:pt x="0" y="1250"/>
                    <a:pt x="0" y="1236"/>
                    <a:pt x="9" y="1227"/>
                  </a:cubicBezTo>
                  <a:cubicBezTo>
                    <a:pt x="18" y="1219"/>
                    <a:pt x="31" y="1219"/>
                    <a:pt x="40" y="1228"/>
                  </a:cubicBezTo>
                  <a:cubicBezTo>
                    <a:pt x="100" y="1289"/>
                    <a:pt x="100" y="1289"/>
                    <a:pt x="100" y="1289"/>
                  </a:cubicBezTo>
                  <a:cubicBezTo>
                    <a:pt x="100" y="857"/>
                    <a:pt x="100" y="857"/>
                    <a:pt x="100" y="857"/>
                  </a:cubicBezTo>
                  <a:cubicBezTo>
                    <a:pt x="100" y="851"/>
                    <a:pt x="102" y="846"/>
                    <a:pt x="106" y="842"/>
                  </a:cubicBezTo>
                  <a:cubicBezTo>
                    <a:pt x="496" y="452"/>
                    <a:pt x="496" y="452"/>
                    <a:pt x="496" y="452"/>
                  </a:cubicBezTo>
                  <a:cubicBezTo>
                    <a:pt x="496" y="22"/>
                    <a:pt x="496" y="22"/>
                    <a:pt x="496" y="22"/>
                  </a:cubicBezTo>
                  <a:cubicBezTo>
                    <a:pt x="496" y="10"/>
                    <a:pt x="506" y="0"/>
                    <a:pt x="518" y="0"/>
                  </a:cubicBezTo>
                  <a:cubicBezTo>
                    <a:pt x="531" y="0"/>
                    <a:pt x="540" y="10"/>
                    <a:pt x="540" y="22"/>
                  </a:cubicBezTo>
                  <a:close/>
                  <a:moveTo>
                    <a:pt x="758" y="746"/>
                  </a:moveTo>
                  <a:cubicBezTo>
                    <a:pt x="699" y="804"/>
                    <a:pt x="699" y="804"/>
                    <a:pt x="699" y="804"/>
                  </a:cubicBezTo>
                  <a:cubicBezTo>
                    <a:pt x="699" y="22"/>
                    <a:pt x="699" y="22"/>
                    <a:pt x="699" y="22"/>
                  </a:cubicBezTo>
                  <a:cubicBezTo>
                    <a:pt x="699" y="10"/>
                    <a:pt x="689" y="0"/>
                    <a:pt x="677" y="0"/>
                  </a:cubicBezTo>
                  <a:cubicBezTo>
                    <a:pt x="665" y="0"/>
                    <a:pt x="655" y="10"/>
                    <a:pt x="655" y="22"/>
                  </a:cubicBezTo>
                  <a:cubicBezTo>
                    <a:pt x="655" y="807"/>
                    <a:pt x="655" y="807"/>
                    <a:pt x="655" y="807"/>
                  </a:cubicBezTo>
                  <a:cubicBezTo>
                    <a:pt x="594" y="744"/>
                    <a:pt x="594" y="744"/>
                    <a:pt x="594" y="744"/>
                  </a:cubicBezTo>
                  <a:cubicBezTo>
                    <a:pt x="586" y="735"/>
                    <a:pt x="572" y="735"/>
                    <a:pt x="563" y="744"/>
                  </a:cubicBezTo>
                  <a:cubicBezTo>
                    <a:pt x="554" y="752"/>
                    <a:pt x="554" y="766"/>
                    <a:pt x="562" y="775"/>
                  </a:cubicBezTo>
                  <a:cubicBezTo>
                    <a:pt x="659" y="874"/>
                    <a:pt x="659" y="874"/>
                    <a:pt x="659" y="874"/>
                  </a:cubicBezTo>
                  <a:cubicBezTo>
                    <a:pt x="663" y="878"/>
                    <a:pt x="669" y="880"/>
                    <a:pt x="674" y="880"/>
                  </a:cubicBezTo>
                  <a:cubicBezTo>
                    <a:pt x="675" y="880"/>
                    <a:pt x="675" y="880"/>
                    <a:pt x="675" y="880"/>
                  </a:cubicBezTo>
                  <a:cubicBezTo>
                    <a:pt x="680" y="880"/>
                    <a:pt x="686" y="878"/>
                    <a:pt x="690" y="874"/>
                  </a:cubicBezTo>
                  <a:cubicBezTo>
                    <a:pt x="789" y="778"/>
                    <a:pt x="789" y="778"/>
                    <a:pt x="789" y="778"/>
                  </a:cubicBezTo>
                  <a:cubicBezTo>
                    <a:pt x="798" y="769"/>
                    <a:pt x="798" y="755"/>
                    <a:pt x="790" y="747"/>
                  </a:cubicBezTo>
                  <a:cubicBezTo>
                    <a:pt x="781" y="738"/>
                    <a:pt x="767" y="738"/>
                    <a:pt x="758" y="746"/>
                  </a:cubicBezTo>
                  <a:close/>
                  <a:moveTo>
                    <a:pt x="1111" y="886"/>
                  </a:moveTo>
                  <a:cubicBezTo>
                    <a:pt x="1051" y="945"/>
                    <a:pt x="1051" y="945"/>
                    <a:pt x="1051" y="945"/>
                  </a:cubicBezTo>
                  <a:cubicBezTo>
                    <a:pt x="1051" y="726"/>
                    <a:pt x="1051" y="726"/>
                    <a:pt x="1051" y="726"/>
                  </a:cubicBezTo>
                  <a:cubicBezTo>
                    <a:pt x="1051" y="720"/>
                    <a:pt x="1048" y="715"/>
                    <a:pt x="1044" y="710"/>
                  </a:cubicBezTo>
                  <a:cubicBezTo>
                    <a:pt x="858" y="524"/>
                    <a:pt x="858" y="524"/>
                    <a:pt x="858" y="524"/>
                  </a:cubicBezTo>
                  <a:cubicBezTo>
                    <a:pt x="858" y="22"/>
                    <a:pt x="858" y="22"/>
                    <a:pt x="858" y="22"/>
                  </a:cubicBezTo>
                  <a:cubicBezTo>
                    <a:pt x="858" y="10"/>
                    <a:pt x="848" y="0"/>
                    <a:pt x="836" y="0"/>
                  </a:cubicBezTo>
                  <a:cubicBezTo>
                    <a:pt x="823" y="0"/>
                    <a:pt x="814" y="10"/>
                    <a:pt x="814" y="22"/>
                  </a:cubicBezTo>
                  <a:cubicBezTo>
                    <a:pt x="814" y="533"/>
                    <a:pt x="814" y="533"/>
                    <a:pt x="814" y="533"/>
                  </a:cubicBezTo>
                  <a:cubicBezTo>
                    <a:pt x="814" y="539"/>
                    <a:pt x="816" y="545"/>
                    <a:pt x="820" y="549"/>
                  </a:cubicBezTo>
                  <a:cubicBezTo>
                    <a:pt x="1007" y="735"/>
                    <a:pt x="1007" y="735"/>
                    <a:pt x="1007" y="735"/>
                  </a:cubicBezTo>
                  <a:cubicBezTo>
                    <a:pt x="1007" y="946"/>
                    <a:pt x="1007" y="946"/>
                    <a:pt x="1007" y="946"/>
                  </a:cubicBezTo>
                  <a:cubicBezTo>
                    <a:pt x="947" y="884"/>
                    <a:pt x="947" y="884"/>
                    <a:pt x="947" y="884"/>
                  </a:cubicBezTo>
                  <a:cubicBezTo>
                    <a:pt x="938" y="875"/>
                    <a:pt x="924" y="875"/>
                    <a:pt x="916" y="884"/>
                  </a:cubicBezTo>
                  <a:cubicBezTo>
                    <a:pt x="907" y="892"/>
                    <a:pt x="907" y="906"/>
                    <a:pt x="915" y="915"/>
                  </a:cubicBezTo>
                  <a:cubicBezTo>
                    <a:pt x="1012" y="1014"/>
                    <a:pt x="1012" y="1014"/>
                    <a:pt x="1012" y="1014"/>
                  </a:cubicBezTo>
                  <a:cubicBezTo>
                    <a:pt x="1016" y="1018"/>
                    <a:pt x="1021" y="1020"/>
                    <a:pt x="1027" y="1021"/>
                  </a:cubicBezTo>
                  <a:cubicBezTo>
                    <a:pt x="1027" y="1021"/>
                    <a:pt x="1027" y="1021"/>
                    <a:pt x="1027" y="1021"/>
                  </a:cubicBezTo>
                  <a:cubicBezTo>
                    <a:pt x="1033" y="1021"/>
                    <a:pt x="1039" y="1018"/>
                    <a:pt x="1043" y="1014"/>
                  </a:cubicBezTo>
                  <a:cubicBezTo>
                    <a:pt x="1142" y="918"/>
                    <a:pt x="1142" y="918"/>
                    <a:pt x="1142" y="918"/>
                  </a:cubicBezTo>
                  <a:cubicBezTo>
                    <a:pt x="1151" y="909"/>
                    <a:pt x="1151" y="895"/>
                    <a:pt x="1142" y="887"/>
                  </a:cubicBezTo>
                  <a:cubicBezTo>
                    <a:pt x="1134" y="878"/>
                    <a:pt x="1120" y="878"/>
                    <a:pt x="1111" y="886"/>
                  </a:cubicBezTo>
                  <a:close/>
                  <a:moveTo>
                    <a:pt x="1383" y="1304"/>
                  </a:moveTo>
                  <a:cubicBezTo>
                    <a:pt x="1374" y="1295"/>
                    <a:pt x="1360" y="1295"/>
                    <a:pt x="1351" y="1304"/>
                  </a:cubicBezTo>
                  <a:cubicBezTo>
                    <a:pt x="1291" y="1362"/>
                    <a:pt x="1291" y="1362"/>
                    <a:pt x="1291" y="1362"/>
                  </a:cubicBezTo>
                  <a:cubicBezTo>
                    <a:pt x="1291" y="634"/>
                    <a:pt x="1291" y="634"/>
                    <a:pt x="1291" y="634"/>
                  </a:cubicBezTo>
                  <a:cubicBezTo>
                    <a:pt x="1291" y="628"/>
                    <a:pt x="1289" y="623"/>
                    <a:pt x="1285" y="618"/>
                  </a:cubicBezTo>
                  <a:cubicBezTo>
                    <a:pt x="1016" y="348"/>
                    <a:pt x="1016" y="348"/>
                    <a:pt x="1016" y="348"/>
                  </a:cubicBezTo>
                  <a:cubicBezTo>
                    <a:pt x="1016" y="22"/>
                    <a:pt x="1016" y="22"/>
                    <a:pt x="1016" y="22"/>
                  </a:cubicBezTo>
                  <a:cubicBezTo>
                    <a:pt x="1016" y="10"/>
                    <a:pt x="1006" y="0"/>
                    <a:pt x="994" y="0"/>
                  </a:cubicBezTo>
                  <a:cubicBezTo>
                    <a:pt x="982" y="0"/>
                    <a:pt x="972" y="10"/>
                    <a:pt x="972" y="22"/>
                  </a:cubicBezTo>
                  <a:cubicBezTo>
                    <a:pt x="972" y="357"/>
                    <a:pt x="972" y="357"/>
                    <a:pt x="972" y="357"/>
                  </a:cubicBezTo>
                  <a:cubicBezTo>
                    <a:pt x="972" y="363"/>
                    <a:pt x="975" y="368"/>
                    <a:pt x="979" y="373"/>
                  </a:cubicBezTo>
                  <a:cubicBezTo>
                    <a:pt x="1247" y="643"/>
                    <a:pt x="1247" y="643"/>
                    <a:pt x="1247" y="643"/>
                  </a:cubicBezTo>
                  <a:cubicBezTo>
                    <a:pt x="1247" y="1363"/>
                    <a:pt x="1247" y="1363"/>
                    <a:pt x="1247" y="1363"/>
                  </a:cubicBezTo>
                  <a:cubicBezTo>
                    <a:pt x="1187" y="1301"/>
                    <a:pt x="1187" y="1301"/>
                    <a:pt x="1187" y="1301"/>
                  </a:cubicBezTo>
                  <a:cubicBezTo>
                    <a:pt x="1179" y="1293"/>
                    <a:pt x="1165" y="1293"/>
                    <a:pt x="1156" y="1301"/>
                  </a:cubicBezTo>
                  <a:cubicBezTo>
                    <a:pt x="1147" y="1310"/>
                    <a:pt x="1147" y="1323"/>
                    <a:pt x="1155" y="1332"/>
                  </a:cubicBezTo>
                  <a:cubicBezTo>
                    <a:pt x="1252" y="1431"/>
                    <a:pt x="1252" y="1431"/>
                    <a:pt x="1252" y="1431"/>
                  </a:cubicBezTo>
                  <a:cubicBezTo>
                    <a:pt x="1256" y="1436"/>
                    <a:pt x="1262" y="1438"/>
                    <a:pt x="1268" y="1438"/>
                  </a:cubicBezTo>
                  <a:cubicBezTo>
                    <a:pt x="1268" y="1438"/>
                    <a:pt x="1268" y="1438"/>
                    <a:pt x="1268" y="1438"/>
                  </a:cubicBezTo>
                  <a:cubicBezTo>
                    <a:pt x="1268" y="1438"/>
                    <a:pt x="1269" y="1438"/>
                    <a:pt x="1269" y="1438"/>
                  </a:cubicBezTo>
                  <a:cubicBezTo>
                    <a:pt x="1277" y="1438"/>
                    <a:pt x="1284" y="1433"/>
                    <a:pt x="1288" y="1427"/>
                  </a:cubicBezTo>
                  <a:cubicBezTo>
                    <a:pt x="1382" y="1335"/>
                    <a:pt x="1382" y="1335"/>
                    <a:pt x="1382" y="1335"/>
                  </a:cubicBezTo>
                  <a:cubicBezTo>
                    <a:pt x="1391" y="1327"/>
                    <a:pt x="1391" y="1313"/>
                    <a:pt x="1383" y="130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0AAB412D-C153-488C-B597-FEE5E64FCB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7" y="2081"/>
              <a:ext cx="3125" cy="1986"/>
            </a:xfrm>
            <a:custGeom>
              <a:avLst/>
              <a:gdLst>
                <a:gd name="T0" fmla="*/ 554 w 1668"/>
                <a:gd name="T1" fmla="*/ 259 h 1059"/>
                <a:gd name="T2" fmla="*/ 1072 w 1668"/>
                <a:gd name="T3" fmla="*/ 259 h 1059"/>
                <a:gd name="T4" fmla="*/ 956 w 1668"/>
                <a:gd name="T5" fmla="*/ 273 h 1059"/>
                <a:gd name="T6" fmla="*/ 927 w 1668"/>
                <a:gd name="T7" fmla="*/ 331 h 1059"/>
                <a:gd name="T8" fmla="*/ 917 w 1668"/>
                <a:gd name="T9" fmla="*/ 367 h 1059"/>
                <a:gd name="T10" fmla="*/ 856 w 1668"/>
                <a:gd name="T11" fmla="*/ 423 h 1059"/>
                <a:gd name="T12" fmla="*/ 848 w 1668"/>
                <a:gd name="T13" fmla="*/ 431 h 1059"/>
                <a:gd name="T14" fmla="*/ 724 w 1668"/>
                <a:gd name="T15" fmla="*/ 403 h 1059"/>
                <a:gd name="T16" fmla="*/ 679 w 1668"/>
                <a:gd name="T17" fmla="*/ 168 h 1059"/>
                <a:gd name="T18" fmla="*/ 940 w 1668"/>
                <a:gd name="T19" fmla="*/ 107 h 1059"/>
                <a:gd name="T20" fmla="*/ 918 w 1668"/>
                <a:gd name="T21" fmla="*/ 152 h 1059"/>
                <a:gd name="T22" fmla="*/ 919 w 1668"/>
                <a:gd name="T23" fmla="*/ 186 h 1059"/>
                <a:gd name="T24" fmla="*/ 927 w 1668"/>
                <a:gd name="T25" fmla="*/ 218 h 1059"/>
                <a:gd name="T26" fmla="*/ 942 w 1668"/>
                <a:gd name="T27" fmla="*/ 246 h 1059"/>
                <a:gd name="T28" fmla="*/ 1409 w 1668"/>
                <a:gd name="T29" fmla="*/ 542 h 1059"/>
                <a:gd name="T30" fmla="*/ 1409 w 1668"/>
                <a:gd name="T31" fmla="*/ 1059 h 1059"/>
                <a:gd name="T32" fmla="*/ 1409 w 1668"/>
                <a:gd name="T33" fmla="*/ 542 h 1059"/>
                <a:gd name="T34" fmla="*/ 1498 w 1668"/>
                <a:gd name="T35" fmla="*/ 944 h 1059"/>
                <a:gd name="T36" fmla="*/ 1374 w 1668"/>
                <a:gd name="T37" fmla="*/ 972 h 1059"/>
                <a:gd name="T38" fmla="*/ 1366 w 1668"/>
                <a:gd name="T39" fmla="*/ 965 h 1059"/>
                <a:gd name="T40" fmla="*/ 1305 w 1668"/>
                <a:gd name="T41" fmla="*/ 909 h 1059"/>
                <a:gd name="T42" fmla="*/ 1295 w 1668"/>
                <a:gd name="T43" fmla="*/ 873 h 1059"/>
                <a:gd name="T44" fmla="*/ 1266 w 1668"/>
                <a:gd name="T45" fmla="*/ 815 h 1059"/>
                <a:gd name="T46" fmla="*/ 1282 w 1668"/>
                <a:gd name="T47" fmla="*/ 785 h 1059"/>
                <a:gd name="T48" fmla="*/ 1298 w 1668"/>
                <a:gd name="T49" fmla="*/ 747 h 1059"/>
                <a:gd name="T50" fmla="*/ 1307 w 1668"/>
                <a:gd name="T51" fmla="*/ 692 h 1059"/>
                <a:gd name="T52" fmla="*/ 1303 w 1668"/>
                <a:gd name="T53" fmla="*/ 692 h 1059"/>
                <a:gd name="T54" fmla="*/ 1417 w 1668"/>
                <a:gd name="T55" fmla="*/ 629 h 1059"/>
                <a:gd name="T56" fmla="*/ 1498 w 1668"/>
                <a:gd name="T57" fmla="*/ 868 h 1059"/>
                <a:gd name="T58" fmla="*/ 0 w 1668"/>
                <a:gd name="T59" fmla="*/ 721 h 1059"/>
                <a:gd name="T60" fmla="*/ 518 w 1668"/>
                <a:gd name="T61" fmla="*/ 721 h 1059"/>
                <a:gd name="T62" fmla="*/ 406 w 1668"/>
                <a:gd name="T63" fmla="*/ 737 h 1059"/>
                <a:gd name="T64" fmla="*/ 376 w 1668"/>
                <a:gd name="T65" fmla="*/ 775 h 1059"/>
                <a:gd name="T66" fmla="*/ 327 w 1668"/>
                <a:gd name="T67" fmla="*/ 826 h 1059"/>
                <a:gd name="T68" fmla="*/ 304 w 1668"/>
                <a:gd name="T69" fmla="*/ 882 h 1059"/>
                <a:gd name="T70" fmla="*/ 289 w 1668"/>
                <a:gd name="T71" fmla="*/ 890 h 1059"/>
                <a:gd name="T72" fmla="*/ 202 w 1668"/>
                <a:gd name="T73" fmla="*/ 863 h 1059"/>
                <a:gd name="T74" fmla="*/ 132 w 1668"/>
                <a:gd name="T75" fmla="*/ 627 h 1059"/>
                <a:gd name="T76" fmla="*/ 371 w 1668"/>
                <a:gd name="T77" fmla="*/ 606 h 1059"/>
                <a:gd name="T78" fmla="*/ 377 w 1668"/>
                <a:gd name="T79" fmla="*/ 654 h 1059"/>
                <a:gd name="T80" fmla="*/ 394 w 1668"/>
                <a:gd name="T81" fmla="*/ 709 h 1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8" h="1059">
                  <a:moveTo>
                    <a:pt x="813" y="0"/>
                  </a:moveTo>
                  <a:cubicBezTo>
                    <a:pt x="670" y="0"/>
                    <a:pt x="554" y="116"/>
                    <a:pt x="554" y="259"/>
                  </a:cubicBezTo>
                  <a:cubicBezTo>
                    <a:pt x="554" y="402"/>
                    <a:pt x="670" y="518"/>
                    <a:pt x="813" y="518"/>
                  </a:cubicBezTo>
                  <a:cubicBezTo>
                    <a:pt x="956" y="518"/>
                    <a:pt x="1072" y="402"/>
                    <a:pt x="1072" y="259"/>
                  </a:cubicBezTo>
                  <a:cubicBezTo>
                    <a:pt x="1072" y="116"/>
                    <a:pt x="956" y="0"/>
                    <a:pt x="813" y="0"/>
                  </a:cubicBezTo>
                  <a:close/>
                  <a:moveTo>
                    <a:pt x="956" y="273"/>
                  </a:moveTo>
                  <a:cubicBezTo>
                    <a:pt x="955" y="277"/>
                    <a:pt x="949" y="290"/>
                    <a:pt x="925" y="290"/>
                  </a:cubicBezTo>
                  <a:cubicBezTo>
                    <a:pt x="927" y="301"/>
                    <a:pt x="928" y="319"/>
                    <a:pt x="927" y="331"/>
                  </a:cubicBezTo>
                  <a:cubicBezTo>
                    <a:pt x="927" y="334"/>
                    <a:pt x="927" y="334"/>
                    <a:pt x="927" y="334"/>
                  </a:cubicBezTo>
                  <a:cubicBezTo>
                    <a:pt x="926" y="353"/>
                    <a:pt x="925" y="363"/>
                    <a:pt x="917" y="367"/>
                  </a:cubicBezTo>
                  <a:cubicBezTo>
                    <a:pt x="910" y="371"/>
                    <a:pt x="887" y="374"/>
                    <a:pt x="856" y="371"/>
                  </a:cubicBezTo>
                  <a:cubicBezTo>
                    <a:pt x="856" y="423"/>
                    <a:pt x="856" y="423"/>
                    <a:pt x="856" y="423"/>
                  </a:cubicBezTo>
                  <a:cubicBezTo>
                    <a:pt x="856" y="427"/>
                    <a:pt x="853" y="431"/>
                    <a:pt x="848" y="431"/>
                  </a:cubicBezTo>
                  <a:cubicBezTo>
                    <a:pt x="848" y="431"/>
                    <a:pt x="848" y="431"/>
                    <a:pt x="848" y="431"/>
                  </a:cubicBezTo>
                  <a:cubicBezTo>
                    <a:pt x="843" y="431"/>
                    <a:pt x="779" y="430"/>
                    <a:pt x="729" y="410"/>
                  </a:cubicBezTo>
                  <a:cubicBezTo>
                    <a:pt x="726" y="409"/>
                    <a:pt x="724" y="406"/>
                    <a:pt x="724" y="403"/>
                  </a:cubicBezTo>
                  <a:cubicBezTo>
                    <a:pt x="724" y="327"/>
                    <a:pt x="724" y="327"/>
                    <a:pt x="724" y="327"/>
                  </a:cubicBezTo>
                  <a:cubicBezTo>
                    <a:pt x="699" y="300"/>
                    <a:pt x="648" y="234"/>
                    <a:pt x="679" y="168"/>
                  </a:cubicBezTo>
                  <a:cubicBezTo>
                    <a:pt x="697" y="131"/>
                    <a:pt x="733" y="87"/>
                    <a:pt x="805" y="87"/>
                  </a:cubicBezTo>
                  <a:cubicBezTo>
                    <a:pt x="887" y="87"/>
                    <a:pt x="863" y="108"/>
                    <a:pt x="940" y="107"/>
                  </a:cubicBezTo>
                  <a:cubicBezTo>
                    <a:pt x="948" y="107"/>
                    <a:pt x="923" y="134"/>
                    <a:pt x="919" y="151"/>
                  </a:cubicBezTo>
                  <a:cubicBezTo>
                    <a:pt x="919" y="151"/>
                    <a:pt x="919" y="152"/>
                    <a:pt x="918" y="152"/>
                  </a:cubicBezTo>
                  <a:cubicBezTo>
                    <a:pt x="918" y="152"/>
                    <a:pt x="916" y="151"/>
                    <a:pt x="914" y="151"/>
                  </a:cubicBezTo>
                  <a:cubicBezTo>
                    <a:pt x="915" y="161"/>
                    <a:pt x="917" y="180"/>
                    <a:pt x="919" y="186"/>
                  </a:cubicBezTo>
                  <a:cubicBezTo>
                    <a:pt x="921" y="192"/>
                    <a:pt x="922" y="199"/>
                    <a:pt x="924" y="205"/>
                  </a:cubicBezTo>
                  <a:cubicBezTo>
                    <a:pt x="925" y="210"/>
                    <a:pt x="926" y="215"/>
                    <a:pt x="927" y="218"/>
                  </a:cubicBezTo>
                  <a:cubicBezTo>
                    <a:pt x="931" y="230"/>
                    <a:pt x="935" y="239"/>
                    <a:pt x="939" y="243"/>
                  </a:cubicBezTo>
                  <a:cubicBezTo>
                    <a:pt x="940" y="244"/>
                    <a:pt x="941" y="245"/>
                    <a:pt x="942" y="246"/>
                  </a:cubicBezTo>
                  <a:cubicBezTo>
                    <a:pt x="951" y="256"/>
                    <a:pt x="959" y="265"/>
                    <a:pt x="956" y="273"/>
                  </a:cubicBezTo>
                  <a:close/>
                  <a:moveTo>
                    <a:pt x="1409" y="542"/>
                  </a:moveTo>
                  <a:cubicBezTo>
                    <a:pt x="1266" y="542"/>
                    <a:pt x="1150" y="658"/>
                    <a:pt x="1150" y="800"/>
                  </a:cubicBezTo>
                  <a:cubicBezTo>
                    <a:pt x="1150" y="943"/>
                    <a:pt x="1266" y="1059"/>
                    <a:pt x="1409" y="1059"/>
                  </a:cubicBezTo>
                  <a:cubicBezTo>
                    <a:pt x="1552" y="1059"/>
                    <a:pt x="1668" y="943"/>
                    <a:pt x="1668" y="800"/>
                  </a:cubicBezTo>
                  <a:cubicBezTo>
                    <a:pt x="1668" y="658"/>
                    <a:pt x="1552" y="542"/>
                    <a:pt x="1409" y="542"/>
                  </a:cubicBezTo>
                  <a:close/>
                  <a:moveTo>
                    <a:pt x="1498" y="868"/>
                  </a:moveTo>
                  <a:cubicBezTo>
                    <a:pt x="1498" y="944"/>
                    <a:pt x="1498" y="944"/>
                    <a:pt x="1498" y="944"/>
                  </a:cubicBezTo>
                  <a:cubicBezTo>
                    <a:pt x="1498" y="947"/>
                    <a:pt x="1496" y="950"/>
                    <a:pt x="1493" y="951"/>
                  </a:cubicBezTo>
                  <a:cubicBezTo>
                    <a:pt x="1443" y="972"/>
                    <a:pt x="1379" y="972"/>
                    <a:pt x="1374" y="972"/>
                  </a:cubicBezTo>
                  <a:cubicBezTo>
                    <a:pt x="1373" y="972"/>
                    <a:pt x="1373" y="972"/>
                    <a:pt x="1373" y="972"/>
                  </a:cubicBezTo>
                  <a:cubicBezTo>
                    <a:pt x="1369" y="972"/>
                    <a:pt x="1366" y="969"/>
                    <a:pt x="1366" y="965"/>
                  </a:cubicBezTo>
                  <a:cubicBezTo>
                    <a:pt x="1366" y="912"/>
                    <a:pt x="1366" y="912"/>
                    <a:pt x="1366" y="912"/>
                  </a:cubicBezTo>
                  <a:cubicBezTo>
                    <a:pt x="1335" y="916"/>
                    <a:pt x="1311" y="912"/>
                    <a:pt x="1305" y="909"/>
                  </a:cubicBezTo>
                  <a:cubicBezTo>
                    <a:pt x="1297" y="905"/>
                    <a:pt x="1296" y="894"/>
                    <a:pt x="1295" y="875"/>
                  </a:cubicBezTo>
                  <a:cubicBezTo>
                    <a:pt x="1295" y="873"/>
                    <a:pt x="1295" y="873"/>
                    <a:pt x="1295" y="873"/>
                  </a:cubicBezTo>
                  <a:cubicBezTo>
                    <a:pt x="1294" y="861"/>
                    <a:pt x="1295" y="842"/>
                    <a:pt x="1296" y="832"/>
                  </a:cubicBezTo>
                  <a:cubicBezTo>
                    <a:pt x="1273" y="831"/>
                    <a:pt x="1267" y="819"/>
                    <a:pt x="1266" y="815"/>
                  </a:cubicBezTo>
                  <a:cubicBezTo>
                    <a:pt x="1263" y="806"/>
                    <a:pt x="1271" y="797"/>
                    <a:pt x="1280" y="788"/>
                  </a:cubicBezTo>
                  <a:cubicBezTo>
                    <a:pt x="1281" y="787"/>
                    <a:pt x="1282" y="786"/>
                    <a:pt x="1282" y="785"/>
                  </a:cubicBezTo>
                  <a:cubicBezTo>
                    <a:pt x="1286" y="780"/>
                    <a:pt x="1291" y="771"/>
                    <a:pt x="1295" y="760"/>
                  </a:cubicBezTo>
                  <a:cubicBezTo>
                    <a:pt x="1296" y="757"/>
                    <a:pt x="1297" y="752"/>
                    <a:pt x="1298" y="747"/>
                  </a:cubicBezTo>
                  <a:cubicBezTo>
                    <a:pt x="1300" y="740"/>
                    <a:pt x="1301" y="733"/>
                    <a:pt x="1303" y="728"/>
                  </a:cubicBezTo>
                  <a:cubicBezTo>
                    <a:pt x="1305" y="721"/>
                    <a:pt x="1307" y="702"/>
                    <a:pt x="1307" y="692"/>
                  </a:cubicBezTo>
                  <a:cubicBezTo>
                    <a:pt x="1306" y="692"/>
                    <a:pt x="1304" y="693"/>
                    <a:pt x="1303" y="693"/>
                  </a:cubicBezTo>
                  <a:cubicBezTo>
                    <a:pt x="1303" y="693"/>
                    <a:pt x="1303" y="693"/>
                    <a:pt x="1303" y="692"/>
                  </a:cubicBezTo>
                  <a:cubicBezTo>
                    <a:pt x="1299" y="675"/>
                    <a:pt x="1274" y="648"/>
                    <a:pt x="1282" y="648"/>
                  </a:cubicBezTo>
                  <a:cubicBezTo>
                    <a:pt x="1358" y="650"/>
                    <a:pt x="1334" y="629"/>
                    <a:pt x="1417" y="629"/>
                  </a:cubicBezTo>
                  <a:cubicBezTo>
                    <a:pt x="1489" y="629"/>
                    <a:pt x="1525" y="672"/>
                    <a:pt x="1543" y="709"/>
                  </a:cubicBezTo>
                  <a:cubicBezTo>
                    <a:pt x="1574" y="776"/>
                    <a:pt x="1523" y="842"/>
                    <a:pt x="1498" y="868"/>
                  </a:cubicBezTo>
                  <a:close/>
                  <a:moveTo>
                    <a:pt x="259" y="462"/>
                  </a:moveTo>
                  <a:cubicBezTo>
                    <a:pt x="116" y="462"/>
                    <a:pt x="0" y="578"/>
                    <a:pt x="0" y="721"/>
                  </a:cubicBezTo>
                  <a:cubicBezTo>
                    <a:pt x="0" y="864"/>
                    <a:pt x="116" y="980"/>
                    <a:pt x="259" y="980"/>
                  </a:cubicBezTo>
                  <a:cubicBezTo>
                    <a:pt x="402" y="980"/>
                    <a:pt x="518" y="864"/>
                    <a:pt x="518" y="721"/>
                  </a:cubicBezTo>
                  <a:cubicBezTo>
                    <a:pt x="518" y="578"/>
                    <a:pt x="402" y="462"/>
                    <a:pt x="259" y="462"/>
                  </a:cubicBezTo>
                  <a:close/>
                  <a:moveTo>
                    <a:pt x="406" y="737"/>
                  </a:moveTo>
                  <a:cubicBezTo>
                    <a:pt x="404" y="743"/>
                    <a:pt x="394" y="752"/>
                    <a:pt x="375" y="752"/>
                  </a:cubicBezTo>
                  <a:cubicBezTo>
                    <a:pt x="376" y="758"/>
                    <a:pt x="376" y="767"/>
                    <a:pt x="376" y="775"/>
                  </a:cubicBezTo>
                  <a:cubicBezTo>
                    <a:pt x="376" y="806"/>
                    <a:pt x="372" y="815"/>
                    <a:pt x="368" y="818"/>
                  </a:cubicBezTo>
                  <a:cubicBezTo>
                    <a:pt x="365" y="822"/>
                    <a:pt x="357" y="827"/>
                    <a:pt x="327" y="826"/>
                  </a:cubicBezTo>
                  <a:cubicBezTo>
                    <a:pt x="322" y="826"/>
                    <a:pt x="312" y="826"/>
                    <a:pt x="304" y="825"/>
                  </a:cubicBezTo>
                  <a:cubicBezTo>
                    <a:pt x="304" y="882"/>
                    <a:pt x="304" y="882"/>
                    <a:pt x="304" y="882"/>
                  </a:cubicBezTo>
                  <a:cubicBezTo>
                    <a:pt x="304" y="886"/>
                    <a:pt x="301" y="889"/>
                    <a:pt x="297" y="889"/>
                  </a:cubicBezTo>
                  <a:cubicBezTo>
                    <a:pt x="297" y="889"/>
                    <a:pt x="294" y="890"/>
                    <a:pt x="289" y="890"/>
                  </a:cubicBezTo>
                  <a:cubicBezTo>
                    <a:pt x="273" y="890"/>
                    <a:pt x="236" y="887"/>
                    <a:pt x="206" y="869"/>
                  </a:cubicBezTo>
                  <a:cubicBezTo>
                    <a:pt x="204" y="868"/>
                    <a:pt x="202" y="866"/>
                    <a:pt x="202" y="863"/>
                  </a:cubicBezTo>
                  <a:cubicBezTo>
                    <a:pt x="200" y="826"/>
                    <a:pt x="200" y="826"/>
                    <a:pt x="200" y="826"/>
                  </a:cubicBezTo>
                  <a:cubicBezTo>
                    <a:pt x="151" y="806"/>
                    <a:pt x="73" y="749"/>
                    <a:pt x="132" y="627"/>
                  </a:cubicBezTo>
                  <a:cubicBezTo>
                    <a:pt x="150" y="591"/>
                    <a:pt x="192" y="553"/>
                    <a:pt x="262" y="553"/>
                  </a:cubicBezTo>
                  <a:cubicBezTo>
                    <a:pt x="342" y="553"/>
                    <a:pt x="375" y="590"/>
                    <a:pt x="371" y="606"/>
                  </a:cubicBezTo>
                  <a:cubicBezTo>
                    <a:pt x="370" y="609"/>
                    <a:pt x="368" y="612"/>
                    <a:pt x="366" y="615"/>
                  </a:cubicBezTo>
                  <a:cubicBezTo>
                    <a:pt x="370" y="620"/>
                    <a:pt x="379" y="633"/>
                    <a:pt x="377" y="654"/>
                  </a:cubicBezTo>
                  <a:cubicBezTo>
                    <a:pt x="377" y="664"/>
                    <a:pt x="378" y="683"/>
                    <a:pt x="379" y="686"/>
                  </a:cubicBezTo>
                  <a:cubicBezTo>
                    <a:pt x="382" y="693"/>
                    <a:pt x="388" y="703"/>
                    <a:pt x="394" y="709"/>
                  </a:cubicBezTo>
                  <a:cubicBezTo>
                    <a:pt x="400" y="715"/>
                    <a:pt x="410" y="729"/>
                    <a:pt x="406" y="73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5996452-39FE-48D0-BE52-757CE736458F}"/>
              </a:ext>
            </a:extLst>
          </p:cNvPr>
          <p:cNvGrpSpPr>
            <a:grpSpLocks noChangeAspect="1"/>
          </p:cNvGrpSpPr>
          <p:nvPr/>
        </p:nvGrpSpPr>
        <p:grpSpPr>
          <a:xfrm>
            <a:off x="4938736" y="3489684"/>
            <a:ext cx="697385" cy="698031"/>
            <a:chOff x="5273803" y="2606040"/>
            <a:chExt cx="1644396" cy="1645920"/>
          </a:xfrm>
        </p:grpSpPr>
        <p:sp>
          <p:nvSpPr>
            <p:cNvPr id="24" name="AutoShape 38">
              <a:extLst>
                <a:ext uri="{FF2B5EF4-FFF2-40B4-BE49-F238E27FC236}">
                  <a16:creationId xmlns:a16="http://schemas.microsoft.com/office/drawing/2014/main" id="{023D6CD9-C430-464C-8CC3-6B3E94CB734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E3215C0-D283-4FCC-80F4-F1A461E953E7}"/>
                </a:ext>
              </a:extLst>
            </p:cNvPr>
            <p:cNvGrpSpPr/>
            <p:nvPr/>
          </p:nvGrpSpPr>
          <p:grpSpPr>
            <a:xfrm>
              <a:off x="5377816" y="2865501"/>
              <a:ext cx="1434846" cy="1099185"/>
              <a:chOff x="5377816" y="2865501"/>
              <a:chExt cx="1434846" cy="1099185"/>
            </a:xfrm>
          </p:grpSpPr>
          <p:sp>
            <p:nvSpPr>
              <p:cNvPr id="26" name="Freeform 40">
                <a:extLst>
                  <a:ext uri="{FF2B5EF4-FFF2-40B4-BE49-F238E27FC236}">
                    <a16:creationId xmlns:a16="http://schemas.microsoft.com/office/drawing/2014/main" id="{A03DD5AD-5AFE-45E3-8E89-817B237F28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7816" y="2865501"/>
                <a:ext cx="1434846" cy="1099185"/>
              </a:xfrm>
              <a:custGeom>
                <a:avLst/>
                <a:gdLst>
                  <a:gd name="T0" fmla="*/ 169 w 2010"/>
                  <a:gd name="T1" fmla="*/ 1334 h 1539"/>
                  <a:gd name="T2" fmla="*/ 470 w 2010"/>
                  <a:gd name="T3" fmla="*/ 1306 h 1539"/>
                  <a:gd name="T4" fmla="*/ 938 w 2010"/>
                  <a:gd name="T5" fmla="*/ 1306 h 1539"/>
                  <a:gd name="T6" fmla="*/ 637 w 2010"/>
                  <a:gd name="T7" fmla="*/ 1334 h 1539"/>
                  <a:gd name="T8" fmla="*/ 936 w 2010"/>
                  <a:gd name="T9" fmla="*/ 1337 h 1539"/>
                  <a:gd name="T10" fmla="*/ 1072 w 2010"/>
                  <a:gd name="T11" fmla="*/ 1306 h 1539"/>
                  <a:gd name="T12" fmla="*/ 1373 w 2010"/>
                  <a:gd name="T13" fmla="*/ 1334 h 1539"/>
                  <a:gd name="T14" fmla="*/ 1875 w 2010"/>
                  <a:gd name="T15" fmla="*/ 1306 h 1539"/>
                  <a:gd name="T16" fmla="*/ 1573 w 2010"/>
                  <a:gd name="T17" fmla="*/ 1334 h 1539"/>
                  <a:gd name="T18" fmla="*/ 1872 w 2010"/>
                  <a:gd name="T19" fmla="*/ 1337 h 1539"/>
                  <a:gd name="T20" fmla="*/ 468 w 2010"/>
                  <a:gd name="T21" fmla="*/ 948 h 1539"/>
                  <a:gd name="T22" fmla="*/ 138 w 2010"/>
                  <a:gd name="T23" fmla="*/ 948 h 1539"/>
                  <a:gd name="T24" fmla="*/ 938 w 2010"/>
                  <a:gd name="T25" fmla="*/ 917 h 1539"/>
                  <a:gd name="T26" fmla="*/ 637 w 2010"/>
                  <a:gd name="T27" fmla="*/ 945 h 1539"/>
                  <a:gd name="T28" fmla="*/ 936 w 2010"/>
                  <a:gd name="T29" fmla="*/ 948 h 1539"/>
                  <a:gd name="T30" fmla="*/ 1404 w 2010"/>
                  <a:gd name="T31" fmla="*/ 948 h 1539"/>
                  <a:gd name="T32" fmla="*/ 1074 w 2010"/>
                  <a:gd name="T33" fmla="*/ 948 h 1539"/>
                  <a:gd name="T34" fmla="*/ 1875 w 2010"/>
                  <a:gd name="T35" fmla="*/ 917 h 1539"/>
                  <a:gd name="T36" fmla="*/ 1573 w 2010"/>
                  <a:gd name="T37" fmla="*/ 945 h 1539"/>
                  <a:gd name="T38" fmla="*/ 1872 w 2010"/>
                  <a:gd name="T39" fmla="*/ 948 h 1539"/>
                  <a:gd name="T40" fmla="*/ 1999 w 2010"/>
                  <a:gd name="T41" fmla="*/ 1531 h 1539"/>
                  <a:gd name="T42" fmla="*/ 1670 w 2010"/>
                  <a:gd name="T43" fmla="*/ 1531 h 1539"/>
                  <a:gd name="T44" fmla="*/ 343 w 2010"/>
                  <a:gd name="T45" fmla="*/ 1500 h 1539"/>
                  <a:gd name="T46" fmla="*/ 42 w 2010"/>
                  <a:gd name="T47" fmla="*/ 1528 h 1539"/>
                  <a:gd name="T48" fmla="*/ 340 w 2010"/>
                  <a:gd name="T49" fmla="*/ 1531 h 1539"/>
                  <a:gd name="T50" fmla="*/ 1170 w 2010"/>
                  <a:gd name="T51" fmla="*/ 1531 h 1539"/>
                  <a:gd name="T52" fmla="*/ 840 w 2010"/>
                  <a:gd name="T53" fmla="*/ 1531 h 1539"/>
                  <a:gd name="T54" fmla="*/ 758 w 2010"/>
                  <a:gd name="T55" fmla="*/ 1500 h 1539"/>
                  <a:gd name="T56" fmla="*/ 456 w 2010"/>
                  <a:gd name="T57" fmla="*/ 1528 h 1539"/>
                  <a:gd name="T58" fmla="*/ 755 w 2010"/>
                  <a:gd name="T59" fmla="*/ 1531 h 1539"/>
                  <a:gd name="T60" fmla="*/ 1585 w 2010"/>
                  <a:gd name="T61" fmla="*/ 1531 h 1539"/>
                  <a:gd name="T62" fmla="*/ 1255 w 2010"/>
                  <a:gd name="T63" fmla="*/ 1531 h 1539"/>
                  <a:gd name="T64" fmla="*/ 2002 w 2010"/>
                  <a:gd name="T65" fmla="*/ 1111 h 1539"/>
                  <a:gd name="T66" fmla="*/ 1701 w 2010"/>
                  <a:gd name="T67" fmla="*/ 1139 h 1539"/>
                  <a:gd name="T68" fmla="*/ 1999 w 2010"/>
                  <a:gd name="T69" fmla="*/ 1142 h 1539"/>
                  <a:gd name="T70" fmla="*/ 8 w 2010"/>
                  <a:gd name="T71" fmla="*/ 1111 h 1539"/>
                  <a:gd name="T72" fmla="*/ 309 w 2010"/>
                  <a:gd name="T73" fmla="*/ 1139 h 1539"/>
                  <a:gd name="T74" fmla="*/ 1172 w 2010"/>
                  <a:gd name="T75" fmla="*/ 1111 h 1539"/>
                  <a:gd name="T76" fmla="*/ 871 w 2010"/>
                  <a:gd name="T77" fmla="*/ 1139 h 1539"/>
                  <a:gd name="T78" fmla="*/ 1170 w 2010"/>
                  <a:gd name="T79" fmla="*/ 1142 h 1539"/>
                  <a:gd name="T80" fmla="*/ 423 w 2010"/>
                  <a:gd name="T81" fmla="*/ 1111 h 1539"/>
                  <a:gd name="T82" fmla="*/ 724 w 2010"/>
                  <a:gd name="T83" fmla="*/ 1139 h 1539"/>
                  <a:gd name="T84" fmla="*/ 1587 w 2010"/>
                  <a:gd name="T85" fmla="*/ 1111 h 1539"/>
                  <a:gd name="T86" fmla="*/ 1286 w 2010"/>
                  <a:gd name="T87" fmla="*/ 1139 h 1539"/>
                  <a:gd name="T88" fmla="*/ 1585 w 2010"/>
                  <a:gd name="T89" fmla="*/ 1142 h 1539"/>
                  <a:gd name="T90" fmla="*/ 532 w 2010"/>
                  <a:gd name="T91" fmla="*/ 0 h 1539"/>
                  <a:gd name="T92" fmla="*/ 1478 w 2010"/>
                  <a:gd name="T93" fmla="*/ 618 h 1539"/>
                  <a:gd name="T94" fmla="*/ 1456 w 2010"/>
                  <a:gd name="T95" fmla="*/ 574 h 1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10" h="1539">
                    <a:moveTo>
                      <a:pt x="454" y="1342"/>
                    </a:moveTo>
                    <a:cubicBezTo>
                      <a:pt x="447" y="1342"/>
                      <a:pt x="441" y="1339"/>
                      <a:pt x="437" y="1334"/>
                    </a:cubicBezTo>
                    <a:cubicBezTo>
                      <a:pt x="403" y="1294"/>
                      <a:pt x="355" y="1272"/>
                      <a:pt x="303" y="1272"/>
                    </a:cubicBezTo>
                    <a:cubicBezTo>
                      <a:pt x="251" y="1272"/>
                      <a:pt x="202" y="1294"/>
                      <a:pt x="169" y="1334"/>
                    </a:cubicBezTo>
                    <a:cubicBezTo>
                      <a:pt x="161" y="1343"/>
                      <a:pt x="147" y="1344"/>
                      <a:pt x="138" y="1337"/>
                    </a:cubicBezTo>
                    <a:cubicBezTo>
                      <a:pt x="129" y="1329"/>
                      <a:pt x="128" y="1315"/>
                      <a:pt x="135" y="1306"/>
                    </a:cubicBezTo>
                    <a:cubicBezTo>
                      <a:pt x="177" y="1256"/>
                      <a:pt x="238" y="1228"/>
                      <a:pt x="303" y="1228"/>
                    </a:cubicBezTo>
                    <a:cubicBezTo>
                      <a:pt x="368" y="1228"/>
                      <a:pt x="429" y="1256"/>
                      <a:pt x="470" y="1306"/>
                    </a:cubicBezTo>
                    <a:cubicBezTo>
                      <a:pt x="478" y="1315"/>
                      <a:pt x="477" y="1329"/>
                      <a:pt x="468" y="1337"/>
                    </a:cubicBezTo>
                    <a:cubicBezTo>
                      <a:pt x="464" y="1340"/>
                      <a:pt x="458" y="1342"/>
                      <a:pt x="454" y="1342"/>
                    </a:cubicBezTo>
                    <a:close/>
                    <a:moveTo>
                      <a:pt x="936" y="1337"/>
                    </a:moveTo>
                    <a:cubicBezTo>
                      <a:pt x="945" y="1329"/>
                      <a:pt x="946" y="1315"/>
                      <a:pt x="938" y="1306"/>
                    </a:cubicBezTo>
                    <a:cubicBezTo>
                      <a:pt x="897" y="1256"/>
                      <a:pt x="836" y="1228"/>
                      <a:pt x="771" y="1228"/>
                    </a:cubicBezTo>
                    <a:cubicBezTo>
                      <a:pt x="706" y="1228"/>
                      <a:pt x="645" y="1256"/>
                      <a:pt x="603" y="1306"/>
                    </a:cubicBezTo>
                    <a:cubicBezTo>
                      <a:pt x="596" y="1315"/>
                      <a:pt x="597" y="1329"/>
                      <a:pt x="606" y="1337"/>
                    </a:cubicBezTo>
                    <a:cubicBezTo>
                      <a:pt x="615" y="1344"/>
                      <a:pt x="629" y="1343"/>
                      <a:pt x="637" y="1334"/>
                    </a:cubicBezTo>
                    <a:cubicBezTo>
                      <a:pt x="670" y="1294"/>
                      <a:pt x="719" y="1272"/>
                      <a:pt x="771" y="1272"/>
                    </a:cubicBezTo>
                    <a:cubicBezTo>
                      <a:pt x="823" y="1272"/>
                      <a:pt x="871" y="1294"/>
                      <a:pt x="905" y="1334"/>
                    </a:cubicBezTo>
                    <a:cubicBezTo>
                      <a:pt x="909" y="1339"/>
                      <a:pt x="915" y="1342"/>
                      <a:pt x="922" y="1342"/>
                    </a:cubicBezTo>
                    <a:cubicBezTo>
                      <a:pt x="927" y="1342"/>
                      <a:pt x="932" y="1340"/>
                      <a:pt x="936" y="1337"/>
                    </a:cubicBezTo>
                    <a:close/>
                    <a:moveTo>
                      <a:pt x="1404" y="1337"/>
                    </a:moveTo>
                    <a:cubicBezTo>
                      <a:pt x="1413" y="1329"/>
                      <a:pt x="1414" y="1315"/>
                      <a:pt x="1407" y="1306"/>
                    </a:cubicBezTo>
                    <a:cubicBezTo>
                      <a:pt x="1365" y="1256"/>
                      <a:pt x="1304" y="1228"/>
                      <a:pt x="1239" y="1228"/>
                    </a:cubicBezTo>
                    <a:cubicBezTo>
                      <a:pt x="1174" y="1228"/>
                      <a:pt x="1113" y="1256"/>
                      <a:pt x="1072" y="1306"/>
                    </a:cubicBezTo>
                    <a:cubicBezTo>
                      <a:pt x="1064" y="1315"/>
                      <a:pt x="1065" y="1329"/>
                      <a:pt x="1074" y="1337"/>
                    </a:cubicBezTo>
                    <a:cubicBezTo>
                      <a:pt x="1084" y="1344"/>
                      <a:pt x="1097" y="1343"/>
                      <a:pt x="1105" y="1334"/>
                    </a:cubicBezTo>
                    <a:cubicBezTo>
                      <a:pt x="1139" y="1294"/>
                      <a:pt x="1187" y="1272"/>
                      <a:pt x="1239" y="1272"/>
                    </a:cubicBezTo>
                    <a:cubicBezTo>
                      <a:pt x="1291" y="1272"/>
                      <a:pt x="1340" y="1294"/>
                      <a:pt x="1373" y="1334"/>
                    </a:cubicBezTo>
                    <a:cubicBezTo>
                      <a:pt x="1377" y="1339"/>
                      <a:pt x="1383" y="1342"/>
                      <a:pt x="1390" y="1342"/>
                    </a:cubicBezTo>
                    <a:cubicBezTo>
                      <a:pt x="1395" y="1342"/>
                      <a:pt x="1400" y="1340"/>
                      <a:pt x="1404" y="1337"/>
                    </a:cubicBezTo>
                    <a:close/>
                    <a:moveTo>
                      <a:pt x="1872" y="1337"/>
                    </a:moveTo>
                    <a:cubicBezTo>
                      <a:pt x="1881" y="1329"/>
                      <a:pt x="1882" y="1315"/>
                      <a:pt x="1875" y="1306"/>
                    </a:cubicBezTo>
                    <a:cubicBezTo>
                      <a:pt x="1833" y="1256"/>
                      <a:pt x="1772" y="1228"/>
                      <a:pt x="1707" y="1228"/>
                    </a:cubicBezTo>
                    <a:cubicBezTo>
                      <a:pt x="1642" y="1228"/>
                      <a:pt x="1581" y="1256"/>
                      <a:pt x="1540" y="1306"/>
                    </a:cubicBezTo>
                    <a:cubicBezTo>
                      <a:pt x="1532" y="1315"/>
                      <a:pt x="1533" y="1329"/>
                      <a:pt x="1542" y="1337"/>
                    </a:cubicBezTo>
                    <a:cubicBezTo>
                      <a:pt x="1552" y="1344"/>
                      <a:pt x="1566" y="1343"/>
                      <a:pt x="1573" y="1334"/>
                    </a:cubicBezTo>
                    <a:cubicBezTo>
                      <a:pt x="1607" y="1294"/>
                      <a:pt x="1655" y="1272"/>
                      <a:pt x="1707" y="1272"/>
                    </a:cubicBezTo>
                    <a:cubicBezTo>
                      <a:pt x="1759" y="1272"/>
                      <a:pt x="1808" y="1294"/>
                      <a:pt x="1841" y="1334"/>
                    </a:cubicBezTo>
                    <a:cubicBezTo>
                      <a:pt x="1845" y="1339"/>
                      <a:pt x="1852" y="1342"/>
                      <a:pt x="1858" y="1342"/>
                    </a:cubicBezTo>
                    <a:cubicBezTo>
                      <a:pt x="1863" y="1342"/>
                      <a:pt x="1868" y="1340"/>
                      <a:pt x="1872" y="1337"/>
                    </a:cubicBezTo>
                    <a:close/>
                    <a:moveTo>
                      <a:pt x="169" y="945"/>
                    </a:moveTo>
                    <a:cubicBezTo>
                      <a:pt x="202" y="905"/>
                      <a:pt x="251" y="883"/>
                      <a:pt x="303" y="883"/>
                    </a:cubicBezTo>
                    <a:cubicBezTo>
                      <a:pt x="355" y="883"/>
                      <a:pt x="403" y="905"/>
                      <a:pt x="437" y="945"/>
                    </a:cubicBezTo>
                    <a:cubicBezTo>
                      <a:pt x="444" y="954"/>
                      <a:pt x="458" y="955"/>
                      <a:pt x="468" y="948"/>
                    </a:cubicBezTo>
                    <a:cubicBezTo>
                      <a:pt x="477" y="940"/>
                      <a:pt x="478" y="926"/>
                      <a:pt x="470" y="917"/>
                    </a:cubicBezTo>
                    <a:cubicBezTo>
                      <a:pt x="429" y="867"/>
                      <a:pt x="368" y="839"/>
                      <a:pt x="303" y="839"/>
                    </a:cubicBezTo>
                    <a:cubicBezTo>
                      <a:pt x="238" y="839"/>
                      <a:pt x="177" y="867"/>
                      <a:pt x="135" y="917"/>
                    </a:cubicBezTo>
                    <a:cubicBezTo>
                      <a:pt x="128" y="926"/>
                      <a:pt x="129" y="940"/>
                      <a:pt x="138" y="948"/>
                    </a:cubicBezTo>
                    <a:cubicBezTo>
                      <a:pt x="142" y="951"/>
                      <a:pt x="147" y="953"/>
                      <a:pt x="152" y="953"/>
                    </a:cubicBezTo>
                    <a:cubicBezTo>
                      <a:pt x="159" y="953"/>
                      <a:pt x="165" y="950"/>
                      <a:pt x="169" y="945"/>
                    </a:cubicBezTo>
                    <a:close/>
                    <a:moveTo>
                      <a:pt x="936" y="948"/>
                    </a:moveTo>
                    <a:cubicBezTo>
                      <a:pt x="945" y="940"/>
                      <a:pt x="946" y="926"/>
                      <a:pt x="938" y="917"/>
                    </a:cubicBezTo>
                    <a:cubicBezTo>
                      <a:pt x="897" y="867"/>
                      <a:pt x="836" y="839"/>
                      <a:pt x="771" y="839"/>
                    </a:cubicBezTo>
                    <a:cubicBezTo>
                      <a:pt x="706" y="839"/>
                      <a:pt x="645" y="867"/>
                      <a:pt x="603" y="917"/>
                    </a:cubicBezTo>
                    <a:cubicBezTo>
                      <a:pt x="596" y="926"/>
                      <a:pt x="597" y="940"/>
                      <a:pt x="606" y="948"/>
                    </a:cubicBezTo>
                    <a:cubicBezTo>
                      <a:pt x="615" y="955"/>
                      <a:pt x="629" y="954"/>
                      <a:pt x="637" y="945"/>
                    </a:cubicBezTo>
                    <a:cubicBezTo>
                      <a:pt x="670" y="905"/>
                      <a:pt x="719" y="883"/>
                      <a:pt x="771" y="883"/>
                    </a:cubicBezTo>
                    <a:cubicBezTo>
                      <a:pt x="823" y="883"/>
                      <a:pt x="871" y="905"/>
                      <a:pt x="905" y="945"/>
                    </a:cubicBezTo>
                    <a:cubicBezTo>
                      <a:pt x="909" y="950"/>
                      <a:pt x="915" y="953"/>
                      <a:pt x="922" y="953"/>
                    </a:cubicBezTo>
                    <a:cubicBezTo>
                      <a:pt x="927" y="953"/>
                      <a:pt x="932" y="951"/>
                      <a:pt x="936" y="948"/>
                    </a:cubicBezTo>
                    <a:close/>
                    <a:moveTo>
                      <a:pt x="1105" y="945"/>
                    </a:moveTo>
                    <a:cubicBezTo>
                      <a:pt x="1139" y="905"/>
                      <a:pt x="1187" y="883"/>
                      <a:pt x="1239" y="883"/>
                    </a:cubicBezTo>
                    <a:cubicBezTo>
                      <a:pt x="1291" y="883"/>
                      <a:pt x="1340" y="905"/>
                      <a:pt x="1373" y="945"/>
                    </a:cubicBezTo>
                    <a:cubicBezTo>
                      <a:pt x="1381" y="954"/>
                      <a:pt x="1395" y="955"/>
                      <a:pt x="1404" y="948"/>
                    </a:cubicBezTo>
                    <a:cubicBezTo>
                      <a:pt x="1413" y="940"/>
                      <a:pt x="1414" y="926"/>
                      <a:pt x="1407" y="917"/>
                    </a:cubicBezTo>
                    <a:cubicBezTo>
                      <a:pt x="1365" y="867"/>
                      <a:pt x="1304" y="839"/>
                      <a:pt x="1239" y="839"/>
                    </a:cubicBezTo>
                    <a:cubicBezTo>
                      <a:pt x="1174" y="839"/>
                      <a:pt x="1113" y="867"/>
                      <a:pt x="1072" y="917"/>
                    </a:cubicBezTo>
                    <a:cubicBezTo>
                      <a:pt x="1064" y="926"/>
                      <a:pt x="1065" y="940"/>
                      <a:pt x="1074" y="948"/>
                    </a:cubicBezTo>
                    <a:cubicBezTo>
                      <a:pt x="1078" y="951"/>
                      <a:pt x="1083" y="953"/>
                      <a:pt x="1088" y="953"/>
                    </a:cubicBezTo>
                    <a:cubicBezTo>
                      <a:pt x="1095" y="953"/>
                      <a:pt x="1101" y="950"/>
                      <a:pt x="1105" y="945"/>
                    </a:cubicBezTo>
                    <a:close/>
                    <a:moveTo>
                      <a:pt x="1872" y="948"/>
                    </a:moveTo>
                    <a:cubicBezTo>
                      <a:pt x="1881" y="940"/>
                      <a:pt x="1882" y="926"/>
                      <a:pt x="1875" y="917"/>
                    </a:cubicBezTo>
                    <a:cubicBezTo>
                      <a:pt x="1833" y="867"/>
                      <a:pt x="1772" y="839"/>
                      <a:pt x="1707" y="839"/>
                    </a:cubicBezTo>
                    <a:cubicBezTo>
                      <a:pt x="1642" y="839"/>
                      <a:pt x="1581" y="867"/>
                      <a:pt x="1540" y="917"/>
                    </a:cubicBezTo>
                    <a:cubicBezTo>
                      <a:pt x="1532" y="926"/>
                      <a:pt x="1533" y="940"/>
                      <a:pt x="1542" y="948"/>
                    </a:cubicBezTo>
                    <a:cubicBezTo>
                      <a:pt x="1552" y="955"/>
                      <a:pt x="1566" y="954"/>
                      <a:pt x="1573" y="945"/>
                    </a:cubicBezTo>
                    <a:cubicBezTo>
                      <a:pt x="1607" y="905"/>
                      <a:pt x="1655" y="883"/>
                      <a:pt x="1707" y="883"/>
                    </a:cubicBezTo>
                    <a:cubicBezTo>
                      <a:pt x="1759" y="883"/>
                      <a:pt x="1808" y="905"/>
                      <a:pt x="1841" y="945"/>
                    </a:cubicBezTo>
                    <a:cubicBezTo>
                      <a:pt x="1845" y="950"/>
                      <a:pt x="1852" y="953"/>
                      <a:pt x="1858" y="953"/>
                    </a:cubicBezTo>
                    <a:cubicBezTo>
                      <a:pt x="1863" y="953"/>
                      <a:pt x="1868" y="951"/>
                      <a:pt x="1872" y="948"/>
                    </a:cubicBezTo>
                    <a:close/>
                    <a:moveTo>
                      <a:pt x="1701" y="1528"/>
                    </a:moveTo>
                    <a:cubicBezTo>
                      <a:pt x="1734" y="1489"/>
                      <a:pt x="1783" y="1466"/>
                      <a:pt x="1835" y="1466"/>
                    </a:cubicBezTo>
                    <a:cubicBezTo>
                      <a:pt x="1886" y="1466"/>
                      <a:pt x="1935" y="1489"/>
                      <a:pt x="1968" y="1528"/>
                    </a:cubicBezTo>
                    <a:cubicBezTo>
                      <a:pt x="1976" y="1538"/>
                      <a:pt x="1990" y="1539"/>
                      <a:pt x="1999" y="1531"/>
                    </a:cubicBezTo>
                    <a:cubicBezTo>
                      <a:pt x="2009" y="1523"/>
                      <a:pt x="2010" y="1509"/>
                      <a:pt x="2002" y="1500"/>
                    </a:cubicBezTo>
                    <a:cubicBezTo>
                      <a:pt x="1960" y="1451"/>
                      <a:pt x="1899" y="1422"/>
                      <a:pt x="1835" y="1422"/>
                    </a:cubicBezTo>
                    <a:cubicBezTo>
                      <a:pt x="1770" y="1422"/>
                      <a:pt x="1709" y="1451"/>
                      <a:pt x="1667" y="1500"/>
                    </a:cubicBezTo>
                    <a:cubicBezTo>
                      <a:pt x="1659" y="1509"/>
                      <a:pt x="1660" y="1523"/>
                      <a:pt x="1670" y="1531"/>
                    </a:cubicBezTo>
                    <a:cubicBezTo>
                      <a:pt x="1674" y="1535"/>
                      <a:pt x="1679" y="1536"/>
                      <a:pt x="1684" y="1536"/>
                    </a:cubicBezTo>
                    <a:cubicBezTo>
                      <a:pt x="1690" y="1536"/>
                      <a:pt x="1696" y="1534"/>
                      <a:pt x="1701" y="1528"/>
                    </a:cubicBezTo>
                    <a:close/>
                    <a:moveTo>
                      <a:pt x="340" y="1531"/>
                    </a:moveTo>
                    <a:cubicBezTo>
                      <a:pt x="350" y="1523"/>
                      <a:pt x="351" y="1509"/>
                      <a:pt x="343" y="1500"/>
                    </a:cubicBezTo>
                    <a:cubicBezTo>
                      <a:pt x="301" y="1451"/>
                      <a:pt x="240" y="1422"/>
                      <a:pt x="175" y="1422"/>
                    </a:cubicBezTo>
                    <a:cubicBezTo>
                      <a:pt x="111" y="1422"/>
                      <a:pt x="50" y="1451"/>
                      <a:pt x="8" y="1500"/>
                    </a:cubicBezTo>
                    <a:cubicBezTo>
                      <a:pt x="0" y="1509"/>
                      <a:pt x="1" y="1523"/>
                      <a:pt x="11" y="1531"/>
                    </a:cubicBezTo>
                    <a:cubicBezTo>
                      <a:pt x="20" y="1539"/>
                      <a:pt x="34" y="1538"/>
                      <a:pt x="42" y="1528"/>
                    </a:cubicBezTo>
                    <a:cubicBezTo>
                      <a:pt x="75" y="1489"/>
                      <a:pt x="124" y="1466"/>
                      <a:pt x="175" y="1466"/>
                    </a:cubicBezTo>
                    <a:cubicBezTo>
                      <a:pt x="227" y="1466"/>
                      <a:pt x="276" y="1489"/>
                      <a:pt x="309" y="1528"/>
                    </a:cubicBezTo>
                    <a:cubicBezTo>
                      <a:pt x="314" y="1534"/>
                      <a:pt x="320" y="1536"/>
                      <a:pt x="326" y="1536"/>
                    </a:cubicBezTo>
                    <a:cubicBezTo>
                      <a:pt x="331" y="1536"/>
                      <a:pt x="336" y="1535"/>
                      <a:pt x="340" y="1531"/>
                    </a:cubicBezTo>
                    <a:close/>
                    <a:moveTo>
                      <a:pt x="871" y="1528"/>
                    </a:moveTo>
                    <a:cubicBezTo>
                      <a:pt x="905" y="1489"/>
                      <a:pt x="953" y="1466"/>
                      <a:pt x="1005" y="1466"/>
                    </a:cubicBezTo>
                    <a:cubicBezTo>
                      <a:pt x="1057" y="1466"/>
                      <a:pt x="1105" y="1489"/>
                      <a:pt x="1139" y="1528"/>
                    </a:cubicBezTo>
                    <a:cubicBezTo>
                      <a:pt x="1147" y="1538"/>
                      <a:pt x="1160" y="1539"/>
                      <a:pt x="1170" y="1531"/>
                    </a:cubicBezTo>
                    <a:cubicBezTo>
                      <a:pt x="1179" y="1523"/>
                      <a:pt x="1180" y="1509"/>
                      <a:pt x="1172" y="1500"/>
                    </a:cubicBezTo>
                    <a:cubicBezTo>
                      <a:pt x="1131" y="1451"/>
                      <a:pt x="1070" y="1422"/>
                      <a:pt x="1005" y="1422"/>
                    </a:cubicBezTo>
                    <a:cubicBezTo>
                      <a:pt x="940" y="1422"/>
                      <a:pt x="879" y="1451"/>
                      <a:pt x="838" y="1500"/>
                    </a:cubicBezTo>
                    <a:cubicBezTo>
                      <a:pt x="830" y="1509"/>
                      <a:pt x="831" y="1523"/>
                      <a:pt x="840" y="1531"/>
                    </a:cubicBezTo>
                    <a:cubicBezTo>
                      <a:pt x="844" y="1535"/>
                      <a:pt x="849" y="1536"/>
                      <a:pt x="854" y="1536"/>
                    </a:cubicBezTo>
                    <a:cubicBezTo>
                      <a:pt x="861" y="1536"/>
                      <a:pt x="867" y="1534"/>
                      <a:pt x="871" y="1528"/>
                    </a:cubicBezTo>
                    <a:close/>
                    <a:moveTo>
                      <a:pt x="755" y="1531"/>
                    </a:moveTo>
                    <a:cubicBezTo>
                      <a:pt x="764" y="1523"/>
                      <a:pt x="766" y="1509"/>
                      <a:pt x="758" y="1500"/>
                    </a:cubicBezTo>
                    <a:cubicBezTo>
                      <a:pt x="716" y="1451"/>
                      <a:pt x="655" y="1422"/>
                      <a:pt x="590" y="1422"/>
                    </a:cubicBezTo>
                    <a:cubicBezTo>
                      <a:pt x="526" y="1422"/>
                      <a:pt x="464" y="1451"/>
                      <a:pt x="423" y="1500"/>
                    </a:cubicBezTo>
                    <a:cubicBezTo>
                      <a:pt x="415" y="1509"/>
                      <a:pt x="416" y="1523"/>
                      <a:pt x="425" y="1531"/>
                    </a:cubicBezTo>
                    <a:cubicBezTo>
                      <a:pt x="435" y="1539"/>
                      <a:pt x="449" y="1538"/>
                      <a:pt x="456" y="1528"/>
                    </a:cubicBezTo>
                    <a:cubicBezTo>
                      <a:pt x="490" y="1489"/>
                      <a:pt x="539" y="1466"/>
                      <a:pt x="590" y="1466"/>
                    </a:cubicBezTo>
                    <a:cubicBezTo>
                      <a:pt x="642" y="1466"/>
                      <a:pt x="691" y="1489"/>
                      <a:pt x="724" y="1528"/>
                    </a:cubicBezTo>
                    <a:cubicBezTo>
                      <a:pt x="728" y="1534"/>
                      <a:pt x="735" y="1536"/>
                      <a:pt x="741" y="1536"/>
                    </a:cubicBezTo>
                    <a:cubicBezTo>
                      <a:pt x="746" y="1536"/>
                      <a:pt x="751" y="1535"/>
                      <a:pt x="755" y="1531"/>
                    </a:cubicBezTo>
                    <a:close/>
                    <a:moveTo>
                      <a:pt x="1286" y="1528"/>
                    </a:moveTo>
                    <a:cubicBezTo>
                      <a:pt x="1319" y="1489"/>
                      <a:pt x="1368" y="1466"/>
                      <a:pt x="1420" y="1466"/>
                    </a:cubicBezTo>
                    <a:cubicBezTo>
                      <a:pt x="1471" y="1466"/>
                      <a:pt x="1520" y="1489"/>
                      <a:pt x="1554" y="1528"/>
                    </a:cubicBezTo>
                    <a:cubicBezTo>
                      <a:pt x="1561" y="1538"/>
                      <a:pt x="1575" y="1539"/>
                      <a:pt x="1585" y="1531"/>
                    </a:cubicBezTo>
                    <a:cubicBezTo>
                      <a:pt x="1594" y="1523"/>
                      <a:pt x="1595" y="1509"/>
                      <a:pt x="1587" y="1500"/>
                    </a:cubicBezTo>
                    <a:cubicBezTo>
                      <a:pt x="1546" y="1451"/>
                      <a:pt x="1484" y="1422"/>
                      <a:pt x="1420" y="1422"/>
                    </a:cubicBezTo>
                    <a:cubicBezTo>
                      <a:pt x="1355" y="1422"/>
                      <a:pt x="1294" y="1451"/>
                      <a:pt x="1252" y="1500"/>
                    </a:cubicBezTo>
                    <a:cubicBezTo>
                      <a:pt x="1244" y="1509"/>
                      <a:pt x="1246" y="1523"/>
                      <a:pt x="1255" y="1531"/>
                    </a:cubicBezTo>
                    <a:cubicBezTo>
                      <a:pt x="1259" y="1535"/>
                      <a:pt x="1264" y="1536"/>
                      <a:pt x="1269" y="1536"/>
                    </a:cubicBezTo>
                    <a:cubicBezTo>
                      <a:pt x="1275" y="1536"/>
                      <a:pt x="1282" y="1534"/>
                      <a:pt x="1286" y="1528"/>
                    </a:cubicBezTo>
                    <a:close/>
                    <a:moveTo>
                      <a:pt x="1999" y="1142"/>
                    </a:moveTo>
                    <a:cubicBezTo>
                      <a:pt x="2009" y="1134"/>
                      <a:pt x="2010" y="1120"/>
                      <a:pt x="2002" y="1111"/>
                    </a:cubicBezTo>
                    <a:cubicBezTo>
                      <a:pt x="1960" y="1062"/>
                      <a:pt x="1899" y="1033"/>
                      <a:pt x="1835" y="1033"/>
                    </a:cubicBezTo>
                    <a:cubicBezTo>
                      <a:pt x="1770" y="1033"/>
                      <a:pt x="1709" y="1062"/>
                      <a:pt x="1667" y="1111"/>
                    </a:cubicBezTo>
                    <a:cubicBezTo>
                      <a:pt x="1659" y="1120"/>
                      <a:pt x="1660" y="1134"/>
                      <a:pt x="1670" y="1142"/>
                    </a:cubicBezTo>
                    <a:cubicBezTo>
                      <a:pt x="1679" y="1150"/>
                      <a:pt x="1693" y="1149"/>
                      <a:pt x="1701" y="1139"/>
                    </a:cubicBezTo>
                    <a:cubicBezTo>
                      <a:pt x="1734" y="1100"/>
                      <a:pt x="1783" y="1077"/>
                      <a:pt x="1835" y="1077"/>
                    </a:cubicBezTo>
                    <a:cubicBezTo>
                      <a:pt x="1886" y="1077"/>
                      <a:pt x="1935" y="1100"/>
                      <a:pt x="1968" y="1139"/>
                    </a:cubicBezTo>
                    <a:cubicBezTo>
                      <a:pt x="1973" y="1145"/>
                      <a:pt x="1979" y="1147"/>
                      <a:pt x="1985" y="1147"/>
                    </a:cubicBezTo>
                    <a:cubicBezTo>
                      <a:pt x="1990" y="1147"/>
                      <a:pt x="1995" y="1146"/>
                      <a:pt x="1999" y="1142"/>
                    </a:cubicBezTo>
                    <a:close/>
                    <a:moveTo>
                      <a:pt x="340" y="1142"/>
                    </a:moveTo>
                    <a:cubicBezTo>
                      <a:pt x="350" y="1134"/>
                      <a:pt x="351" y="1120"/>
                      <a:pt x="343" y="1111"/>
                    </a:cubicBezTo>
                    <a:cubicBezTo>
                      <a:pt x="301" y="1062"/>
                      <a:pt x="240" y="1033"/>
                      <a:pt x="175" y="1033"/>
                    </a:cubicBezTo>
                    <a:cubicBezTo>
                      <a:pt x="111" y="1033"/>
                      <a:pt x="50" y="1062"/>
                      <a:pt x="8" y="1111"/>
                    </a:cubicBezTo>
                    <a:cubicBezTo>
                      <a:pt x="0" y="1120"/>
                      <a:pt x="1" y="1134"/>
                      <a:pt x="11" y="1142"/>
                    </a:cubicBezTo>
                    <a:cubicBezTo>
                      <a:pt x="20" y="1150"/>
                      <a:pt x="34" y="1149"/>
                      <a:pt x="42" y="1139"/>
                    </a:cubicBezTo>
                    <a:cubicBezTo>
                      <a:pt x="75" y="1100"/>
                      <a:pt x="124" y="1077"/>
                      <a:pt x="175" y="1077"/>
                    </a:cubicBezTo>
                    <a:cubicBezTo>
                      <a:pt x="227" y="1077"/>
                      <a:pt x="276" y="1100"/>
                      <a:pt x="309" y="1139"/>
                    </a:cubicBezTo>
                    <a:cubicBezTo>
                      <a:pt x="314" y="1145"/>
                      <a:pt x="320" y="1147"/>
                      <a:pt x="326" y="1147"/>
                    </a:cubicBezTo>
                    <a:cubicBezTo>
                      <a:pt x="331" y="1147"/>
                      <a:pt x="336" y="1146"/>
                      <a:pt x="340" y="1142"/>
                    </a:cubicBezTo>
                    <a:close/>
                    <a:moveTo>
                      <a:pt x="1170" y="1142"/>
                    </a:moveTo>
                    <a:cubicBezTo>
                      <a:pt x="1179" y="1134"/>
                      <a:pt x="1180" y="1120"/>
                      <a:pt x="1172" y="1111"/>
                    </a:cubicBezTo>
                    <a:cubicBezTo>
                      <a:pt x="1131" y="1062"/>
                      <a:pt x="1070" y="1033"/>
                      <a:pt x="1005" y="1033"/>
                    </a:cubicBezTo>
                    <a:cubicBezTo>
                      <a:pt x="940" y="1033"/>
                      <a:pt x="879" y="1062"/>
                      <a:pt x="838" y="1111"/>
                    </a:cubicBezTo>
                    <a:cubicBezTo>
                      <a:pt x="830" y="1120"/>
                      <a:pt x="831" y="1134"/>
                      <a:pt x="840" y="1142"/>
                    </a:cubicBezTo>
                    <a:cubicBezTo>
                      <a:pt x="850" y="1150"/>
                      <a:pt x="863" y="1149"/>
                      <a:pt x="871" y="1139"/>
                    </a:cubicBezTo>
                    <a:cubicBezTo>
                      <a:pt x="905" y="1100"/>
                      <a:pt x="953" y="1077"/>
                      <a:pt x="1005" y="1077"/>
                    </a:cubicBezTo>
                    <a:cubicBezTo>
                      <a:pt x="1057" y="1077"/>
                      <a:pt x="1105" y="1100"/>
                      <a:pt x="1139" y="1139"/>
                    </a:cubicBezTo>
                    <a:cubicBezTo>
                      <a:pt x="1143" y="1145"/>
                      <a:pt x="1149" y="1147"/>
                      <a:pt x="1156" y="1147"/>
                    </a:cubicBezTo>
                    <a:cubicBezTo>
                      <a:pt x="1161" y="1147"/>
                      <a:pt x="1166" y="1146"/>
                      <a:pt x="1170" y="1142"/>
                    </a:cubicBezTo>
                    <a:close/>
                    <a:moveTo>
                      <a:pt x="755" y="1142"/>
                    </a:moveTo>
                    <a:cubicBezTo>
                      <a:pt x="764" y="1134"/>
                      <a:pt x="766" y="1120"/>
                      <a:pt x="758" y="1111"/>
                    </a:cubicBezTo>
                    <a:cubicBezTo>
                      <a:pt x="716" y="1062"/>
                      <a:pt x="655" y="1033"/>
                      <a:pt x="590" y="1033"/>
                    </a:cubicBezTo>
                    <a:cubicBezTo>
                      <a:pt x="526" y="1033"/>
                      <a:pt x="464" y="1062"/>
                      <a:pt x="423" y="1111"/>
                    </a:cubicBezTo>
                    <a:cubicBezTo>
                      <a:pt x="415" y="1120"/>
                      <a:pt x="416" y="1134"/>
                      <a:pt x="425" y="1142"/>
                    </a:cubicBezTo>
                    <a:cubicBezTo>
                      <a:pt x="435" y="1150"/>
                      <a:pt x="449" y="1149"/>
                      <a:pt x="456" y="1139"/>
                    </a:cubicBezTo>
                    <a:cubicBezTo>
                      <a:pt x="490" y="1100"/>
                      <a:pt x="539" y="1077"/>
                      <a:pt x="590" y="1077"/>
                    </a:cubicBezTo>
                    <a:cubicBezTo>
                      <a:pt x="642" y="1077"/>
                      <a:pt x="691" y="1100"/>
                      <a:pt x="724" y="1139"/>
                    </a:cubicBezTo>
                    <a:cubicBezTo>
                      <a:pt x="728" y="1145"/>
                      <a:pt x="735" y="1147"/>
                      <a:pt x="741" y="1147"/>
                    </a:cubicBezTo>
                    <a:cubicBezTo>
                      <a:pt x="746" y="1147"/>
                      <a:pt x="751" y="1146"/>
                      <a:pt x="755" y="1142"/>
                    </a:cubicBezTo>
                    <a:close/>
                    <a:moveTo>
                      <a:pt x="1585" y="1142"/>
                    </a:moveTo>
                    <a:cubicBezTo>
                      <a:pt x="1594" y="1134"/>
                      <a:pt x="1595" y="1120"/>
                      <a:pt x="1587" y="1111"/>
                    </a:cubicBezTo>
                    <a:cubicBezTo>
                      <a:pt x="1546" y="1062"/>
                      <a:pt x="1485" y="1033"/>
                      <a:pt x="1420" y="1033"/>
                    </a:cubicBezTo>
                    <a:cubicBezTo>
                      <a:pt x="1355" y="1033"/>
                      <a:pt x="1294" y="1062"/>
                      <a:pt x="1252" y="1111"/>
                    </a:cubicBezTo>
                    <a:cubicBezTo>
                      <a:pt x="1244" y="1120"/>
                      <a:pt x="1246" y="1134"/>
                      <a:pt x="1255" y="1142"/>
                    </a:cubicBezTo>
                    <a:cubicBezTo>
                      <a:pt x="1264" y="1150"/>
                      <a:pt x="1278" y="1149"/>
                      <a:pt x="1286" y="1139"/>
                    </a:cubicBezTo>
                    <a:cubicBezTo>
                      <a:pt x="1319" y="1100"/>
                      <a:pt x="1368" y="1077"/>
                      <a:pt x="1420" y="1077"/>
                    </a:cubicBezTo>
                    <a:cubicBezTo>
                      <a:pt x="1471" y="1077"/>
                      <a:pt x="1520" y="1100"/>
                      <a:pt x="1554" y="1139"/>
                    </a:cubicBezTo>
                    <a:cubicBezTo>
                      <a:pt x="1558" y="1145"/>
                      <a:pt x="1564" y="1147"/>
                      <a:pt x="1570" y="1147"/>
                    </a:cubicBezTo>
                    <a:cubicBezTo>
                      <a:pt x="1575" y="1147"/>
                      <a:pt x="1580" y="1146"/>
                      <a:pt x="1585" y="1142"/>
                    </a:cubicBezTo>
                    <a:close/>
                    <a:moveTo>
                      <a:pt x="1500" y="596"/>
                    </a:moveTo>
                    <a:cubicBezTo>
                      <a:pt x="1500" y="22"/>
                      <a:pt x="1500" y="22"/>
                      <a:pt x="1500" y="22"/>
                    </a:cubicBezTo>
                    <a:cubicBezTo>
                      <a:pt x="1500" y="10"/>
                      <a:pt x="1490" y="0"/>
                      <a:pt x="1478" y="0"/>
                    </a:cubicBezTo>
                    <a:cubicBezTo>
                      <a:pt x="532" y="0"/>
                      <a:pt x="532" y="0"/>
                      <a:pt x="532" y="0"/>
                    </a:cubicBezTo>
                    <a:cubicBezTo>
                      <a:pt x="520" y="0"/>
                      <a:pt x="510" y="10"/>
                      <a:pt x="510" y="22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609"/>
                      <a:pt x="520" y="618"/>
                      <a:pt x="532" y="618"/>
                    </a:cubicBezTo>
                    <a:cubicBezTo>
                      <a:pt x="1478" y="618"/>
                      <a:pt x="1478" y="618"/>
                      <a:pt x="1478" y="618"/>
                    </a:cubicBezTo>
                    <a:cubicBezTo>
                      <a:pt x="1490" y="618"/>
                      <a:pt x="1500" y="609"/>
                      <a:pt x="1500" y="596"/>
                    </a:cubicBezTo>
                    <a:close/>
                    <a:moveTo>
                      <a:pt x="554" y="44"/>
                    </a:moveTo>
                    <a:cubicBezTo>
                      <a:pt x="1456" y="44"/>
                      <a:pt x="1456" y="44"/>
                      <a:pt x="1456" y="44"/>
                    </a:cubicBezTo>
                    <a:cubicBezTo>
                      <a:pt x="1456" y="574"/>
                      <a:pt x="1456" y="574"/>
                      <a:pt x="1456" y="574"/>
                    </a:cubicBezTo>
                    <a:cubicBezTo>
                      <a:pt x="554" y="574"/>
                      <a:pt x="554" y="574"/>
                      <a:pt x="554" y="574"/>
                    </a:cubicBezTo>
                    <a:lnTo>
                      <a:pt x="554" y="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41">
                <a:extLst>
                  <a:ext uri="{FF2B5EF4-FFF2-40B4-BE49-F238E27FC236}">
                    <a16:creationId xmlns:a16="http://schemas.microsoft.com/office/drawing/2014/main" id="{098ED5C8-C44D-4134-BD14-50E8EC2CE9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1107" y="2926080"/>
                <a:ext cx="588264" cy="320802"/>
              </a:xfrm>
              <a:custGeom>
                <a:avLst/>
                <a:gdLst>
                  <a:gd name="T0" fmla="*/ 814 w 824"/>
                  <a:gd name="T1" fmla="*/ 0 h 449"/>
                  <a:gd name="T2" fmla="*/ 10 w 824"/>
                  <a:gd name="T3" fmla="*/ 0 h 449"/>
                  <a:gd name="T4" fmla="*/ 0 w 824"/>
                  <a:gd name="T5" fmla="*/ 10 h 449"/>
                  <a:gd name="T6" fmla="*/ 0 w 824"/>
                  <a:gd name="T7" fmla="*/ 439 h 449"/>
                  <a:gd name="T8" fmla="*/ 10 w 824"/>
                  <a:gd name="T9" fmla="*/ 449 h 449"/>
                  <a:gd name="T10" fmla="*/ 814 w 824"/>
                  <a:gd name="T11" fmla="*/ 449 h 449"/>
                  <a:gd name="T12" fmla="*/ 824 w 824"/>
                  <a:gd name="T13" fmla="*/ 439 h 449"/>
                  <a:gd name="T14" fmla="*/ 824 w 824"/>
                  <a:gd name="T15" fmla="*/ 10 h 449"/>
                  <a:gd name="T16" fmla="*/ 814 w 824"/>
                  <a:gd name="T17" fmla="*/ 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4" h="449">
                    <a:moveTo>
                      <a:pt x="81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439"/>
                      <a:pt x="0" y="439"/>
                      <a:pt x="0" y="439"/>
                    </a:cubicBezTo>
                    <a:cubicBezTo>
                      <a:pt x="0" y="444"/>
                      <a:pt x="4" y="449"/>
                      <a:pt x="10" y="449"/>
                    </a:cubicBezTo>
                    <a:cubicBezTo>
                      <a:pt x="814" y="449"/>
                      <a:pt x="814" y="449"/>
                      <a:pt x="814" y="449"/>
                    </a:cubicBezTo>
                    <a:cubicBezTo>
                      <a:pt x="820" y="449"/>
                      <a:pt x="824" y="444"/>
                      <a:pt x="824" y="439"/>
                    </a:cubicBezTo>
                    <a:cubicBezTo>
                      <a:pt x="824" y="10"/>
                      <a:pt x="824" y="10"/>
                      <a:pt x="824" y="10"/>
                    </a:cubicBezTo>
                    <a:cubicBezTo>
                      <a:pt x="824" y="4"/>
                      <a:pt x="820" y="0"/>
                      <a:pt x="81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F089846-309D-4914-A145-07A0F09CAE83}"/>
              </a:ext>
            </a:extLst>
          </p:cNvPr>
          <p:cNvGrpSpPr>
            <a:grpSpLocks noChangeAspect="1"/>
          </p:cNvGrpSpPr>
          <p:nvPr/>
        </p:nvGrpSpPr>
        <p:grpSpPr>
          <a:xfrm>
            <a:off x="4938736" y="5094652"/>
            <a:ext cx="697385" cy="698031"/>
            <a:chOff x="5273802" y="2606040"/>
            <a:chExt cx="1644396" cy="1645920"/>
          </a:xfrm>
        </p:grpSpPr>
        <p:sp>
          <p:nvSpPr>
            <p:cNvPr id="29" name="AutoShape 13">
              <a:extLst>
                <a:ext uri="{FF2B5EF4-FFF2-40B4-BE49-F238E27FC236}">
                  <a16:creationId xmlns:a16="http://schemas.microsoft.com/office/drawing/2014/main" id="{6B52784B-071B-4D11-A8D1-94EB92CF54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2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74842732-39EA-47B4-B7B5-D4A805454CB3}"/>
                </a:ext>
              </a:extLst>
            </p:cNvPr>
            <p:cNvGrpSpPr/>
            <p:nvPr/>
          </p:nvGrpSpPr>
          <p:grpSpPr>
            <a:xfrm>
              <a:off x="5452110" y="2803779"/>
              <a:ext cx="1288923" cy="1200912"/>
              <a:chOff x="5452110" y="2803779"/>
              <a:chExt cx="1288923" cy="1200912"/>
            </a:xfrm>
          </p:grpSpPr>
          <p:sp>
            <p:nvSpPr>
              <p:cNvPr id="31" name="Freeform 15">
                <a:extLst>
                  <a:ext uri="{FF2B5EF4-FFF2-40B4-BE49-F238E27FC236}">
                    <a16:creationId xmlns:a16="http://schemas.microsoft.com/office/drawing/2014/main" id="{38538DBC-1AC9-4EE3-97FA-6166903564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59196" y="2803779"/>
                <a:ext cx="675132" cy="1200912"/>
              </a:xfrm>
              <a:custGeom>
                <a:avLst/>
                <a:gdLst>
                  <a:gd name="T0" fmla="*/ 928 w 946"/>
                  <a:gd name="T1" fmla="*/ 647 h 1681"/>
                  <a:gd name="T2" fmla="*/ 928 w 946"/>
                  <a:gd name="T3" fmla="*/ 646 h 1681"/>
                  <a:gd name="T4" fmla="*/ 874 w 946"/>
                  <a:gd name="T5" fmla="*/ 722 h 1681"/>
                  <a:gd name="T6" fmla="*/ 840 w 946"/>
                  <a:gd name="T7" fmla="*/ 722 h 1681"/>
                  <a:gd name="T8" fmla="*/ 835 w 946"/>
                  <a:gd name="T9" fmla="*/ 366 h 1681"/>
                  <a:gd name="T10" fmla="*/ 214 w 946"/>
                  <a:gd name="T11" fmla="*/ 388 h 1681"/>
                  <a:gd name="T12" fmla="*/ 98 w 946"/>
                  <a:gd name="T13" fmla="*/ 716 h 1681"/>
                  <a:gd name="T14" fmla="*/ 67 w 946"/>
                  <a:gd name="T15" fmla="*/ 713 h 1681"/>
                  <a:gd name="T16" fmla="*/ 20 w 946"/>
                  <a:gd name="T17" fmla="*/ 653 h 1681"/>
                  <a:gd name="T18" fmla="*/ 20 w 946"/>
                  <a:gd name="T19" fmla="*/ 652 h 1681"/>
                  <a:gd name="T20" fmla="*/ 1 w 946"/>
                  <a:gd name="T21" fmla="*/ 483 h 1681"/>
                  <a:gd name="T22" fmla="*/ 473 w 946"/>
                  <a:gd name="T23" fmla="*/ 0 h 1681"/>
                  <a:gd name="T24" fmla="*/ 945 w 946"/>
                  <a:gd name="T25" fmla="*/ 483 h 1681"/>
                  <a:gd name="T26" fmla="*/ 928 w 946"/>
                  <a:gd name="T27" fmla="*/ 647 h 1681"/>
                  <a:gd name="T28" fmla="*/ 583 w 946"/>
                  <a:gd name="T29" fmla="*/ 1667 h 1681"/>
                  <a:gd name="T30" fmla="*/ 514 w 946"/>
                  <a:gd name="T31" fmla="*/ 1465 h 1681"/>
                  <a:gd name="T32" fmla="*/ 515 w 946"/>
                  <a:gd name="T33" fmla="*/ 1457 h 1681"/>
                  <a:gd name="T34" fmla="*/ 579 w 946"/>
                  <a:gd name="T35" fmla="*/ 1356 h 1681"/>
                  <a:gd name="T36" fmla="*/ 573 w 946"/>
                  <a:gd name="T37" fmla="*/ 1342 h 1681"/>
                  <a:gd name="T38" fmla="*/ 476 w 946"/>
                  <a:gd name="T39" fmla="*/ 1329 h 1681"/>
                  <a:gd name="T40" fmla="*/ 374 w 946"/>
                  <a:gd name="T41" fmla="*/ 1342 h 1681"/>
                  <a:gd name="T42" fmla="*/ 368 w 946"/>
                  <a:gd name="T43" fmla="*/ 1357 h 1681"/>
                  <a:gd name="T44" fmla="*/ 432 w 946"/>
                  <a:gd name="T45" fmla="*/ 1457 h 1681"/>
                  <a:gd name="T46" fmla="*/ 433 w 946"/>
                  <a:gd name="T47" fmla="*/ 1465 h 1681"/>
                  <a:gd name="T48" fmla="*/ 358 w 946"/>
                  <a:gd name="T49" fmla="*/ 1667 h 1681"/>
                  <a:gd name="T50" fmla="*/ 368 w 946"/>
                  <a:gd name="T51" fmla="*/ 1681 h 1681"/>
                  <a:gd name="T52" fmla="*/ 574 w 946"/>
                  <a:gd name="T53" fmla="*/ 1681 h 1681"/>
                  <a:gd name="T54" fmla="*/ 583 w 946"/>
                  <a:gd name="T55" fmla="*/ 1667 h 1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46" h="1681">
                    <a:moveTo>
                      <a:pt x="928" y="647"/>
                    </a:moveTo>
                    <a:cubicBezTo>
                      <a:pt x="928" y="647"/>
                      <a:pt x="928" y="647"/>
                      <a:pt x="928" y="646"/>
                    </a:cubicBezTo>
                    <a:cubicBezTo>
                      <a:pt x="926" y="647"/>
                      <a:pt x="919" y="672"/>
                      <a:pt x="874" y="722"/>
                    </a:cubicBezTo>
                    <a:cubicBezTo>
                      <a:pt x="874" y="722"/>
                      <a:pt x="874" y="722"/>
                      <a:pt x="840" y="722"/>
                    </a:cubicBezTo>
                    <a:cubicBezTo>
                      <a:pt x="840" y="722"/>
                      <a:pt x="840" y="704"/>
                      <a:pt x="835" y="366"/>
                    </a:cubicBezTo>
                    <a:cubicBezTo>
                      <a:pt x="782" y="637"/>
                      <a:pt x="214" y="388"/>
                      <a:pt x="214" y="388"/>
                    </a:cubicBezTo>
                    <a:cubicBezTo>
                      <a:pt x="73" y="431"/>
                      <a:pt x="98" y="716"/>
                      <a:pt x="98" y="716"/>
                    </a:cubicBezTo>
                    <a:cubicBezTo>
                      <a:pt x="98" y="716"/>
                      <a:pt x="98" y="716"/>
                      <a:pt x="67" y="713"/>
                    </a:cubicBezTo>
                    <a:cubicBezTo>
                      <a:pt x="67" y="713"/>
                      <a:pt x="67" y="695"/>
                      <a:pt x="20" y="653"/>
                    </a:cubicBezTo>
                    <a:cubicBezTo>
                      <a:pt x="20" y="653"/>
                      <a:pt x="20" y="652"/>
                      <a:pt x="20" y="652"/>
                    </a:cubicBezTo>
                    <a:cubicBezTo>
                      <a:pt x="0" y="600"/>
                      <a:pt x="1" y="543"/>
                      <a:pt x="1" y="483"/>
                    </a:cubicBezTo>
                    <a:cubicBezTo>
                      <a:pt x="1" y="216"/>
                      <a:pt x="206" y="0"/>
                      <a:pt x="473" y="0"/>
                    </a:cubicBezTo>
                    <a:cubicBezTo>
                      <a:pt x="740" y="0"/>
                      <a:pt x="945" y="216"/>
                      <a:pt x="945" y="483"/>
                    </a:cubicBezTo>
                    <a:cubicBezTo>
                      <a:pt x="945" y="541"/>
                      <a:pt x="946" y="596"/>
                      <a:pt x="928" y="647"/>
                    </a:cubicBezTo>
                    <a:close/>
                    <a:moveTo>
                      <a:pt x="583" y="1667"/>
                    </a:moveTo>
                    <a:cubicBezTo>
                      <a:pt x="514" y="1465"/>
                      <a:pt x="514" y="1465"/>
                      <a:pt x="514" y="1465"/>
                    </a:cubicBezTo>
                    <a:cubicBezTo>
                      <a:pt x="513" y="1462"/>
                      <a:pt x="514" y="1459"/>
                      <a:pt x="515" y="1457"/>
                    </a:cubicBezTo>
                    <a:cubicBezTo>
                      <a:pt x="579" y="1356"/>
                      <a:pt x="579" y="1356"/>
                      <a:pt x="579" y="1356"/>
                    </a:cubicBezTo>
                    <a:cubicBezTo>
                      <a:pt x="582" y="1351"/>
                      <a:pt x="579" y="1344"/>
                      <a:pt x="573" y="1342"/>
                    </a:cubicBezTo>
                    <a:cubicBezTo>
                      <a:pt x="552" y="1337"/>
                      <a:pt x="510" y="1329"/>
                      <a:pt x="476" y="1329"/>
                    </a:cubicBezTo>
                    <a:cubicBezTo>
                      <a:pt x="442" y="1329"/>
                      <a:pt x="396" y="1338"/>
                      <a:pt x="374" y="1342"/>
                    </a:cubicBezTo>
                    <a:cubicBezTo>
                      <a:pt x="368" y="1344"/>
                      <a:pt x="365" y="1351"/>
                      <a:pt x="368" y="1357"/>
                    </a:cubicBezTo>
                    <a:cubicBezTo>
                      <a:pt x="432" y="1457"/>
                      <a:pt x="432" y="1457"/>
                      <a:pt x="432" y="1457"/>
                    </a:cubicBezTo>
                    <a:cubicBezTo>
                      <a:pt x="433" y="1460"/>
                      <a:pt x="434" y="1463"/>
                      <a:pt x="433" y="1465"/>
                    </a:cubicBezTo>
                    <a:cubicBezTo>
                      <a:pt x="358" y="1667"/>
                      <a:pt x="358" y="1667"/>
                      <a:pt x="358" y="1667"/>
                    </a:cubicBezTo>
                    <a:cubicBezTo>
                      <a:pt x="356" y="1674"/>
                      <a:pt x="361" y="1681"/>
                      <a:pt x="368" y="1681"/>
                    </a:cubicBezTo>
                    <a:cubicBezTo>
                      <a:pt x="574" y="1681"/>
                      <a:pt x="574" y="1681"/>
                      <a:pt x="574" y="1681"/>
                    </a:cubicBezTo>
                    <a:cubicBezTo>
                      <a:pt x="581" y="1681"/>
                      <a:pt x="585" y="1674"/>
                      <a:pt x="583" y="166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6">
                <a:extLst>
                  <a:ext uri="{FF2B5EF4-FFF2-40B4-BE49-F238E27FC236}">
                    <a16:creationId xmlns:a16="http://schemas.microsoft.com/office/drawing/2014/main" id="{44D388DC-C783-4A9C-B9C0-18AB37AB50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2110" y="3318129"/>
                <a:ext cx="1288923" cy="686562"/>
              </a:xfrm>
              <a:custGeom>
                <a:avLst/>
                <a:gdLst>
                  <a:gd name="T0" fmla="*/ 26 w 1806"/>
                  <a:gd name="T1" fmla="*/ 961 h 961"/>
                  <a:gd name="T2" fmla="*/ 5 w 1806"/>
                  <a:gd name="T3" fmla="*/ 931 h 961"/>
                  <a:gd name="T4" fmla="*/ 223 w 1806"/>
                  <a:gd name="T5" fmla="*/ 614 h 961"/>
                  <a:gd name="T6" fmla="*/ 602 w 1806"/>
                  <a:gd name="T7" fmla="*/ 548 h 961"/>
                  <a:gd name="T8" fmla="*/ 612 w 1806"/>
                  <a:gd name="T9" fmla="*/ 555 h 961"/>
                  <a:gd name="T10" fmla="*/ 703 w 1806"/>
                  <a:gd name="T11" fmla="*/ 948 h 961"/>
                  <a:gd name="T12" fmla="*/ 693 w 1806"/>
                  <a:gd name="T13" fmla="*/ 961 h 961"/>
                  <a:gd name="T14" fmla="*/ 26 w 1806"/>
                  <a:gd name="T15" fmla="*/ 961 h 961"/>
                  <a:gd name="T16" fmla="*/ 1780 w 1806"/>
                  <a:gd name="T17" fmla="*/ 961 h 961"/>
                  <a:gd name="T18" fmla="*/ 1801 w 1806"/>
                  <a:gd name="T19" fmla="*/ 931 h 961"/>
                  <a:gd name="T20" fmla="*/ 1583 w 1806"/>
                  <a:gd name="T21" fmla="*/ 614 h 961"/>
                  <a:gd name="T22" fmla="*/ 1204 w 1806"/>
                  <a:gd name="T23" fmla="*/ 548 h 961"/>
                  <a:gd name="T24" fmla="*/ 1194 w 1806"/>
                  <a:gd name="T25" fmla="*/ 555 h 961"/>
                  <a:gd name="T26" fmla="*/ 1103 w 1806"/>
                  <a:gd name="T27" fmla="*/ 948 h 961"/>
                  <a:gd name="T28" fmla="*/ 1113 w 1806"/>
                  <a:gd name="T29" fmla="*/ 961 h 961"/>
                  <a:gd name="T30" fmla="*/ 1780 w 1806"/>
                  <a:gd name="T31" fmla="*/ 961 h 961"/>
                  <a:gd name="T32" fmla="*/ 1329 w 1806"/>
                  <a:gd name="T33" fmla="*/ 24 h 961"/>
                  <a:gd name="T34" fmla="*/ 1283 w 1806"/>
                  <a:gd name="T35" fmla="*/ 77 h 961"/>
                  <a:gd name="T36" fmla="*/ 1273 w 1806"/>
                  <a:gd name="T37" fmla="*/ 89 h 961"/>
                  <a:gd name="T38" fmla="*/ 1129 w 1806"/>
                  <a:gd name="T39" fmla="*/ 391 h 961"/>
                  <a:gd name="T40" fmla="*/ 903 w 1806"/>
                  <a:gd name="T41" fmla="*/ 504 h 961"/>
                  <a:gd name="T42" fmla="*/ 677 w 1806"/>
                  <a:gd name="T43" fmla="*/ 391 h 961"/>
                  <a:gd name="T44" fmla="*/ 533 w 1806"/>
                  <a:gd name="T45" fmla="*/ 89 h 961"/>
                  <a:gd name="T46" fmla="*/ 523 w 1806"/>
                  <a:gd name="T47" fmla="*/ 77 h 961"/>
                  <a:gd name="T48" fmla="*/ 477 w 1806"/>
                  <a:gd name="T49" fmla="*/ 24 h 961"/>
                  <a:gd name="T50" fmla="*/ 426 w 1806"/>
                  <a:gd name="T51" fmla="*/ 0 h 961"/>
                  <a:gd name="T52" fmla="*/ 426 w 1806"/>
                  <a:gd name="T53" fmla="*/ 5 h 961"/>
                  <a:gd name="T54" fmla="*/ 495 w 1806"/>
                  <a:gd name="T55" fmla="*/ 112 h 961"/>
                  <a:gd name="T56" fmla="*/ 639 w 1806"/>
                  <a:gd name="T57" fmla="*/ 414 h 961"/>
                  <a:gd name="T58" fmla="*/ 639 w 1806"/>
                  <a:gd name="T59" fmla="*/ 512 h 961"/>
                  <a:gd name="T60" fmla="*/ 646 w 1806"/>
                  <a:gd name="T61" fmla="*/ 522 h 961"/>
                  <a:gd name="T62" fmla="*/ 683 w 1806"/>
                  <a:gd name="T63" fmla="*/ 560 h 961"/>
                  <a:gd name="T64" fmla="*/ 683 w 1806"/>
                  <a:gd name="T65" fmla="*/ 451 h 961"/>
                  <a:gd name="T66" fmla="*/ 903 w 1806"/>
                  <a:gd name="T67" fmla="*/ 548 h 961"/>
                  <a:gd name="T68" fmla="*/ 1123 w 1806"/>
                  <a:gd name="T69" fmla="*/ 451 h 961"/>
                  <a:gd name="T70" fmla="*/ 1123 w 1806"/>
                  <a:gd name="T71" fmla="*/ 560 h 961"/>
                  <a:gd name="T72" fmla="*/ 1160 w 1806"/>
                  <a:gd name="T73" fmla="*/ 522 h 961"/>
                  <a:gd name="T74" fmla="*/ 1167 w 1806"/>
                  <a:gd name="T75" fmla="*/ 512 h 961"/>
                  <a:gd name="T76" fmla="*/ 1167 w 1806"/>
                  <a:gd name="T77" fmla="*/ 414 h 961"/>
                  <a:gd name="T78" fmla="*/ 1311 w 1806"/>
                  <a:gd name="T79" fmla="*/ 112 h 961"/>
                  <a:gd name="T80" fmla="*/ 1380 w 1806"/>
                  <a:gd name="T81" fmla="*/ 3 h 961"/>
                  <a:gd name="T82" fmla="*/ 1380 w 1806"/>
                  <a:gd name="T83" fmla="*/ 0 h 961"/>
                  <a:gd name="T84" fmla="*/ 1329 w 1806"/>
                  <a:gd name="T85" fmla="*/ 24 h 9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06" h="961">
                    <a:moveTo>
                      <a:pt x="26" y="961"/>
                    </a:moveTo>
                    <a:cubicBezTo>
                      <a:pt x="10" y="961"/>
                      <a:pt x="0" y="945"/>
                      <a:pt x="5" y="931"/>
                    </a:cubicBezTo>
                    <a:cubicBezTo>
                      <a:pt x="33" y="857"/>
                      <a:pt x="113" y="664"/>
                      <a:pt x="223" y="614"/>
                    </a:cubicBezTo>
                    <a:cubicBezTo>
                      <a:pt x="344" y="557"/>
                      <a:pt x="558" y="549"/>
                      <a:pt x="602" y="548"/>
                    </a:cubicBezTo>
                    <a:cubicBezTo>
                      <a:pt x="607" y="548"/>
                      <a:pt x="611" y="551"/>
                      <a:pt x="612" y="555"/>
                    </a:cubicBezTo>
                    <a:cubicBezTo>
                      <a:pt x="703" y="948"/>
                      <a:pt x="703" y="948"/>
                      <a:pt x="703" y="948"/>
                    </a:cubicBezTo>
                    <a:cubicBezTo>
                      <a:pt x="704" y="955"/>
                      <a:pt x="700" y="961"/>
                      <a:pt x="693" y="961"/>
                    </a:cubicBezTo>
                    <a:lnTo>
                      <a:pt x="26" y="961"/>
                    </a:lnTo>
                    <a:close/>
                    <a:moveTo>
                      <a:pt x="1780" y="961"/>
                    </a:moveTo>
                    <a:cubicBezTo>
                      <a:pt x="1796" y="961"/>
                      <a:pt x="1806" y="945"/>
                      <a:pt x="1801" y="931"/>
                    </a:cubicBezTo>
                    <a:cubicBezTo>
                      <a:pt x="1773" y="857"/>
                      <a:pt x="1693" y="664"/>
                      <a:pt x="1583" y="614"/>
                    </a:cubicBezTo>
                    <a:cubicBezTo>
                      <a:pt x="1462" y="557"/>
                      <a:pt x="1248" y="549"/>
                      <a:pt x="1204" y="548"/>
                    </a:cubicBezTo>
                    <a:cubicBezTo>
                      <a:pt x="1199" y="548"/>
                      <a:pt x="1195" y="551"/>
                      <a:pt x="1194" y="555"/>
                    </a:cubicBezTo>
                    <a:cubicBezTo>
                      <a:pt x="1103" y="948"/>
                      <a:pt x="1103" y="948"/>
                      <a:pt x="1103" y="948"/>
                    </a:cubicBezTo>
                    <a:cubicBezTo>
                      <a:pt x="1102" y="955"/>
                      <a:pt x="1106" y="961"/>
                      <a:pt x="1113" y="961"/>
                    </a:cubicBezTo>
                    <a:lnTo>
                      <a:pt x="1780" y="961"/>
                    </a:lnTo>
                    <a:close/>
                    <a:moveTo>
                      <a:pt x="1329" y="24"/>
                    </a:moveTo>
                    <a:cubicBezTo>
                      <a:pt x="1322" y="43"/>
                      <a:pt x="1308" y="65"/>
                      <a:pt x="1283" y="77"/>
                    </a:cubicBezTo>
                    <a:cubicBezTo>
                      <a:pt x="1278" y="80"/>
                      <a:pt x="1274" y="84"/>
                      <a:pt x="1273" y="89"/>
                    </a:cubicBezTo>
                    <a:cubicBezTo>
                      <a:pt x="1232" y="192"/>
                      <a:pt x="1157" y="365"/>
                      <a:pt x="1129" y="391"/>
                    </a:cubicBezTo>
                    <a:cubicBezTo>
                      <a:pt x="1084" y="430"/>
                      <a:pt x="968" y="504"/>
                      <a:pt x="903" y="504"/>
                    </a:cubicBezTo>
                    <a:cubicBezTo>
                      <a:pt x="838" y="504"/>
                      <a:pt x="722" y="430"/>
                      <a:pt x="677" y="391"/>
                    </a:cubicBezTo>
                    <a:cubicBezTo>
                      <a:pt x="649" y="365"/>
                      <a:pt x="574" y="192"/>
                      <a:pt x="533" y="89"/>
                    </a:cubicBezTo>
                    <a:cubicBezTo>
                      <a:pt x="532" y="84"/>
                      <a:pt x="528" y="80"/>
                      <a:pt x="523" y="77"/>
                    </a:cubicBezTo>
                    <a:cubicBezTo>
                      <a:pt x="498" y="65"/>
                      <a:pt x="484" y="43"/>
                      <a:pt x="477" y="24"/>
                    </a:cubicBezTo>
                    <a:cubicBezTo>
                      <a:pt x="426" y="0"/>
                      <a:pt x="426" y="0"/>
                      <a:pt x="426" y="0"/>
                    </a:cubicBezTo>
                    <a:cubicBezTo>
                      <a:pt x="426" y="2"/>
                      <a:pt x="426" y="4"/>
                      <a:pt x="426" y="5"/>
                    </a:cubicBezTo>
                    <a:cubicBezTo>
                      <a:pt x="431" y="33"/>
                      <a:pt x="446" y="83"/>
                      <a:pt x="495" y="112"/>
                    </a:cubicBezTo>
                    <a:cubicBezTo>
                      <a:pt x="517" y="168"/>
                      <a:pt x="594" y="359"/>
                      <a:pt x="639" y="414"/>
                    </a:cubicBezTo>
                    <a:cubicBezTo>
                      <a:pt x="639" y="512"/>
                      <a:pt x="639" y="512"/>
                      <a:pt x="639" y="512"/>
                    </a:cubicBezTo>
                    <a:cubicBezTo>
                      <a:pt x="646" y="522"/>
                      <a:pt x="646" y="522"/>
                      <a:pt x="646" y="522"/>
                    </a:cubicBezTo>
                    <a:cubicBezTo>
                      <a:pt x="648" y="524"/>
                      <a:pt x="660" y="540"/>
                      <a:pt x="683" y="560"/>
                    </a:cubicBezTo>
                    <a:cubicBezTo>
                      <a:pt x="683" y="451"/>
                      <a:pt x="683" y="451"/>
                      <a:pt x="683" y="451"/>
                    </a:cubicBezTo>
                    <a:cubicBezTo>
                      <a:pt x="742" y="494"/>
                      <a:pt x="838" y="548"/>
                      <a:pt x="903" y="548"/>
                    </a:cubicBezTo>
                    <a:cubicBezTo>
                      <a:pt x="968" y="548"/>
                      <a:pt x="1064" y="494"/>
                      <a:pt x="1123" y="451"/>
                    </a:cubicBezTo>
                    <a:cubicBezTo>
                      <a:pt x="1123" y="560"/>
                      <a:pt x="1123" y="560"/>
                      <a:pt x="1123" y="560"/>
                    </a:cubicBezTo>
                    <a:cubicBezTo>
                      <a:pt x="1146" y="540"/>
                      <a:pt x="1158" y="524"/>
                      <a:pt x="1160" y="522"/>
                    </a:cubicBezTo>
                    <a:cubicBezTo>
                      <a:pt x="1167" y="512"/>
                      <a:pt x="1167" y="512"/>
                      <a:pt x="1167" y="512"/>
                    </a:cubicBezTo>
                    <a:cubicBezTo>
                      <a:pt x="1167" y="414"/>
                      <a:pt x="1167" y="414"/>
                      <a:pt x="1167" y="414"/>
                    </a:cubicBezTo>
                    <a:cubicBezTo>
                      <a:pt x="1212" y="358"/>
                      <a:pt x="1289" y="168"/>
                      <a:pt x="1311" y="112"/>
                    </a:cubicBezTo>
                    <a:cubicBezTo>
                      <a:pt x="1363" y="82"/>
                      <a:pt x="1377" y="26"/>
                      <a:pt x="1380" y="3"/>
                    </a:cubicBezTo>
                    <a:cubicBezTo>
                      <a:pt x="1380" y="2"/>
                      <a:pt x="1380" y="1"/>
                      <a:pt x="1380" y="0"/>
                    </a:cubicBezTo>
                    <a:lnTo>
                      <a:pt x="1329" y="2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FAB1AF06-FEE8-4432-97BF-44BD17C11E82}"/>
              </a:ext>
            </a:extLst>
          </p:cNvPr>
          <p:cNvSpPr txBox="1"/>
          <p:nvPr/>
        </p:nvSpPr>
        <p:spPr>
          <a:xfrm>
            <a:off x="5382229" y="1485167"/>
            <a:ext cx="5034987" cy="338554"/>
          </a:xfrm>
          <a:prstGeom prst="rect">
            <a:avLst/>
          </a:prstGeom>
          <a:noFill/>
        </p:spPr>
        <p:txBody>
          <a:bodyPr wrap="square" lIns="108000" tIns="0" rIns="0" bIns="0" rtlCol="0" anchor="ctr" anchorCtr="0"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en-US" sz="2200" u="sng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list of events (Non-exhaustive)</a:t>
            </a: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2548CE6D-E147-427D-A513-344667F49DF6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CED07C0F-9D82-4E46-B446-78574F8D4D7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5EBF825-9B2B-4F3B-A481-43A70666FCE8}"/>
              </a:ext>
            </a:extLst>
          </p:cNvPr>
          <p:cNvSpPr txBox="1">
            <a:spLocks/>
          </p:cNvSpPr>
          <p:nvPr/>
        </p:nvSpPr>
        <p:spPr>
          <a:xfrm>
            <a:off x="363294" y="304800"/>
            <a:ext cx="10006533" cy="228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role within MassHire workforce system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809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CD0F8C3-644A-45DE-B0A8-629877552C1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/>
                </a:solidFill>
              </a:rPr>
              <a:t>ARPA pipeline training gra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1D9BE32-95B3-44A5-B30A-96CF6B3E67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64">
              <a:solidFill>
                <a:srgbClr val="FFFFFF"/>
              </a:solidFill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0CB8DF31-4065-42F8-A252-B07ECA045737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617025E3-4E24-4545-B48E-953A44DB722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958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1D6D631-45CA-40EF-94BF-731D3DE2FE3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/>
                </a:solidFill>
              </a:rPr>
              <a:t>ARPA workforce strategy, and how Market Makers support i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42FDEFF-94EB-43D2-867E-638C4BA021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64">
              <a:solidFill>
                <a:srgbClr val="FFFFFF"/>
              </a:solidFill>
            </a:endParaRP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ECA32B1-F555-4412-B004-665B06A95B6C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FE02A001-53D3-49F4-B6CA-731D4AC3B9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632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e4pContent1"/>
          <p:cNvSpPr txBox="1"/>
          <p:nvPr/>
        </p:nvSpPr>
        <p:spPr>
          <a:xfrm>
            <a:off x="4389120" y="2119978"/>
            <a:ext cx="7101840" cy="42645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/>
              <a:t>Objective of materials are to equip Market Makers with</a:t>
            </a:r>
          </a:p>
          <a:p>
            <a:pPr lvl="1"/>
            <a:r>
              <a:rPr lang="en-US"/>
              <a:t>Points of contact at CommCorp to reach out to if Market Makers have specific grant questions beyond what is in these materials</a:t>
            </a:r>
          </a:p>
          <a:p>
            <a:pPr lvl="1"/>
            <a:r>
              <a:rPr lang="en-US"/>
              <a:t>Baseline knowledge of ARPA grants</a:t>
            </a:r>
          </a:p>
          <a:p>
            <a:pPr lvl="1"/>
            <a:r>
              <a:rPr lang="en-US"/>
              <a:t>Grant materials to share with various stakeholders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Materials include </a:t>
            </a:r>
          </a:p>
          <a:p>
            <a:pPr lvl="1"/>
            <a:r>
              <a:rPr lang="en-US"/>
              <a:t>CommCorp points of contact for ARPA grants</a:t>
            </a:r>
          </a:p>
          <a:p>
            <a:pPr lvl="1"/>
            <a:r>
              <a:rPr lang="en-US"/>
              <a:t>Grant summaries for various audiences including</a:t>
            </a:r>
          </a:p>
          <a:p>
            <a:pPr lvl="2"/>
            <a:r>
              <a:rPr lang="en-US"/>
              <a:t>Employers</a:t>
            </a:r>
          </a:p>
          <a:p>
            <a:pPr lvl="2"/>
            <a:r>
              <a:rPr lang="en-US"/>
              <a:t>Training partners</a:t>
            </a:r>
          </a:p>
          <a:p>
            <a:pPr lvl="2"/>
            <a:r>
              <a:rPr lang="en-US"/>
              <a:t>Internal stakehold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RPA Grant Summaries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2157936C-D6B7-40B5-AA74-80D7F36C756A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id="{09B042A2-E142-449D-B226-CBBC1FE72E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1633AC0-ED9A-4123-8386-4377E728A4ED}"/>
              </a:ext>
            </a:extLst>
          </p:cNvPr>
          <p:cNvSpPr txBox="1">
            <a:spLocks/>
          </p:cNvSpPr>
          <p:nvPr/>
        </p:nvSpPr>
        <p:spPr>
          <a:xfrm>
            <a:off x="462684" y="304799"/>
            <a:ext cx="2257367" cy="26235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ARPA pipeline training gra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5747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oints of contact for additional question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917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EB5799F-00BC-4FBB-A9B3-CAB137115D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63" progId="TCLayout.ActiveDocument.1">
                  <p:embed/>
                </p:oleObj>
              </mc:Choice>
              <mc:Fallback>
                <p:oleObj name="think-cell Slide" r:id="rId4" imgW="353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EB5799F-00BC-4FBB-A9B3-CAB137115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423140" cy="6858001"/>
          </a:xfrm>
          <a:custGeom>
            <a:avLst/>
            <a:gdLst>
              <a:gd name="connsiteX0" fmla="*/ 0 w 3423140"/>
              <a:gd name="connsiteY0" fmla="*/ 0 h 6858001"/>
              <a:gd name="connsiteX1" fmla="*/ 3423140 w 3423140"/>
              <a:gd name="connsiteY1" fmla="*/ 0 h 6858001"/>
              <a:gd name="connsiteX2" fmla="*/ 3423140 w 3423140"/>
              <a:gd name="connsiteY2" fmla="*/ 6858001 h 6858001"/>
              <a:gd name="connsiteX3" fmla="*/ 0 w 3423140"/>
              <a:gd name="connsiteY3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23140" h="6858001">
                <a:moveTo>
                  <a:pt x="0" y="0"/>
                </a:moveTo>
                <a:lnTo>
                  <a:pt x="3423140" y="0"/>
                </a:lnTo>
                <a:lnTo>
                  <a:pt x="3423140" y="6858001"/>
                </a:lnTo>
                <a:lnTo>
                  <a:pt x="0" y="6858001"/>
                </a:lnTo>
                <a:close/>
              </a:path>
            </a:pathLst>
          </a:custGeom>
        </p:spPr>
      </p:pic>
      <p:sp>
        <p:nvSpPr>
          <p:cNvPr id="67" name="GradientOverlay"/>
          <p:cNvSpPr/>
          <p:nvPr>
            <p:custDataLst>
              <p:tags r:id="rId2"/>
            </p:custDataLst>
          </p:nvPr>
        </p:nvSpPr>
        <p:spPr>
          <a:xfrm>
            <a:off x="-1" y="0"/>
            <a:ext cx="3423140" cy="6858001"/>
          </a:xfrm>
          <a:prstGeom prst="rect">
            <a:avLst/>
          </a:prstGeom>
          <a:solidFill>
            <a:srgbClr val="000000">
              <a:alpha val="5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600">
              <a:solidFill>
                <a:schemeClr val="bg1"/>
              </a:solidFill>
              <a:sym typeface="+mn-lt"/>
            </a:endParaRPr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9DCE0470-C09C-4DB7-9D27-8DD42A312504}"/>
              </a:ext>
            </a:extLst>
          </p:cNvPr>
          <p:cNvSpPr/>
          <p:nvPr/>
        </p:nvSpPr>
        <p:spPr>
          <a:xfrm>
            <a:off x="5925459" y="2044319"/>
            <a:ext cx="2413727" cy="89766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61711172-E286-422C-9000-27BEA0A6E4D7}"/>
              </a:ext>
            </a:extLst>
          </p:cNvPr>
          <p:cNvSpPr/>
          <p:nvPr/>
        </p:nvSpPr>
        <p:spPr>
          <a:xfrm>
            <a:off x="8381104" y="2044319"/>
            <a:ext cx="3106542" cy="89766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06250707-6975-4CF0-83FE-BF1E7699B230}"/>
              </a:ext>
            </a:extLst>
          </p:cNvPr>
          <p:cNvSpPr/>
          <p:nvPr/>
        </p:nvSpPr>
        <p:spPr>
          <a:xfrm>
            <a:off x="3758239" y="2044319"/>
            <a:ext cx="2125302" cy="897665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35" name="Table 9">
            <a:extLst>
              <a:ext uri="{FF2B5EF4-FFF2-40B4-BE49-F238E27FC236}">
                <a16:creationId xmlns:a16="http://schemas.microsoft.com/office/drawing/2014/main" id="{91F2F3AA-12C5-4D53-A86B-B48E7E040249}"/>
              </a:ext>
            </a:extLst>
          </p:cNvPr>
          <p:cNvGraphicFramePr>
            <a:graphicFrameLocks noGrp="1"/>
          </p:cNvGraphicFramePr>
          <p:nvPr/>
        </p:nvGraphicFramePr>
        <p:xfrm>
          <a:off x="3728726" y="2213838"/>
          <a:ext cx="7798666" cy="3544626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400535380"/>
                    </a:ext>
                  </a:extLst>
                </a:gridCol>
                <a:gridCol w="2418074">
                  <a:extLst>
                    <a:ext uri="{9D8B030D-6E8A-4147-A177-3AD203B41FA5}">
                      <a16:colId xmlns:a16="http://schemas.microsoft.com/office/drawing/2014/main" val="3676387659"/>
                    </a:ext>
                  </a:extLst>
                </a:gridCol>
                <a:gridCol w="3186032">
                  <a:extLst>
                    <a:ext uri="{9D8B030D-6E8A-4147-A177-3AD203B41FA5}">
                      <a16:colId xmlns:a16="http://schemas.microsoft.com/office/drawing/2014/main" val="3844477026"/>
                    </a:ext>
                  </a:extLst>
                </a:gridCol>
              </a:tblGrid>
              <a:tr h="552518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2000" b="0" i="0" u="none">
                          <a:solidFill>
                            <a:srgbClr val="FFFFFF"/>
                          </a:solidFill>
                          <a:latin typeface="+mn-lt"/>
                        </a:rPr>
                        <a:t>Grant</a:t>
                      </a:r>
                    </a:p>
                  </a:txBody>
                  <a:tcPr marL="137160" marR="72000" marT="73152" marB="73152" anchor="ctr"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2000" b="0" i="0" u="none">
                          <a:solidFill>
                            <a:srgbClr val="FFFFFF"/>
                          </a:solidFill>
                          <a:latin typeface="+mn-lt"/>
                        </a:rPr>
                        <a:t>Point of contact for Market Makers</a:t>
                      </a:r>
                    </a:p>
                  </a:txBody>
                  <a:tcPr marL="137160" marR="72000" marT="73152" marB="73152" anchor="ctr"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2000" b="0" i="0" u="none">
                          <a:solidFill>
                            <a:srgbClr val="FFFFFF"/>
                          </a:solidFill>
                          <a:latin typeface="+mn-lt"/>
                        </a:rPr>
                        <a:t>Contact information</a:t>
                      </a:r>
                    </a:p>
                  </a:txBody>
                  <a:tcPr marL="137160" marR="72000" marT="73152" marB="73152" anchor="ctr"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425988"/>
                  </a:ext>
                </a:extLst>
              </a:tr>
              <a:tr h="929574">
                <a:tc>
                  <a:txBody>
                    <a:bodyPr/>
                    <a:lstStyle/>
                    <a:p>
                      <a:pPr marL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CTF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2000" marT="73152" marB="73152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resa Rowland</a:t>
                      </a:r>
                    </a:p>
                  </a:txBody>
                  <a:tcPr marL="73152" marR="72000" marT="73152" marB="73152" anchor="ctr"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u="none">
                          <a:solidFill>
                            <a:schemeClr val="tx1"/>
                          </a:solidFill>
                          <a:latin typeface="+mn-lt"/>
                        </a:rPr>
                        <a:t>trowland@commcorp.org</a:t>
                      </a:r>
                    </a:p>
                  </a:txBody>
                  <a:tcPr marL="73152" marR="72000" marT="73152" marB="73152" anchor="ctr"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727322"/>
                  </a:ext>
                </a:extLst>
              </a:tr>
              <a:tr h="9295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NEW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2000" marT="73152" marB="73152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resa Rowland</a:t>
                      </a:r>
                    </a:p>
                  </a:txBody>
                  <a:tcPr marL="73152" marR="72000" marT="73152" marB="73152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i="0" u="none">
                          <a:solidFill>
                            <a:schemeClr val="tx1"/>
                          </a:solidFill>
                          <a:latin typeface="+mn-lt"/>
                        </a:rPr>
                        <a:t>trowland@commcorp.org</a:t>
                      </a:r>
                    </a:p>
                  </a:txBody>
                  <a:tcPr marL="73152" marR="72000" marT="73152" marB="73152" anchor="ctr"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7137345"/>
                  </a:ext>
                </a:extLst>
              </a:tr>
              <a:tr h="9295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TI</a:t>
                      </a:r>
                      <a:endParaRPr lang="en-US" sz="1600" b="0" i="0" u="non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3152" marR="72000" marT="73152" marB="73152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ttie Catlin</a:t>
                      </a:r>
                    </a:p>
                  </a:txBody>
                  <a:tcPr marL="73152" marR="72000" marT="73152" marB="73152" anchor="ctr"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en-US" sz="1600" b="0" i="0" u="none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catlin@commcorp.org</a:t>
                      </a:r>
                      <a:endParaRPr lang="en-US" sz="1600" b="0" i="0" u="none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3152" marR="72000" marT="73152" marB="73152" anchor="ctr"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7741791"/>
                  </a:ext>
                </a:extLst>
              </a:tr>
            </a:tbl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3758238" y="951807"/>
            <a:ext cx="1198000" cy="1198000"/>
            <a:chOff x="3758238" y="1220162"/>
            <a:chExt cx="1198000" cy="1198000"/>
          </a:xfrm>
        </p:grpSpPr>
        <p:sp>
          <p:nvSpPr>
            <p:cNvPr id="22" name="Diamond 21">
              <a:extLst>
                <a:ext uri="{FF2B5EF4-FFF2-40B4-BE49-F238E27FC236}">
                  <a16:creationId xmlns:a16="http://schemas.microsoft.com/office/drawing/2014/main" id="{8D449248-4611-438C-8F96-C5F27430C5E4}"/>
                </a:ext>
              </a:extLst>
            </p:cNvPr>
            <p:cNvSpPr/>
            <p:nvPr/>
          </p:nvSpPr>
          <p:spPr>
            <a:xfrm>
              <a:off x="3758238" y="1220162"/>
              <a:ext cx="1198000" cy="1198000"/>
            </a:xfrm>
            <a:prstGeom prst="diamond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4042062" y="1503694"/>
              <a:ext cx="631545" cy="630936"/>
              <a:chOff x="5273675" y="2606675"/>
              <a:chExt cx="1646238" cy="1644650"/>
            </a:xfrm>
          </p:grpSpPr>
          <p:sp>
            <p:nvSpPr>
              <p:cNvPr id="58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9" name="Group 58"/>
              <p:cNvGrpSpPr/>
              <p:nvPr/>
            </p:nvGrpSpPr>
            <p:grpSpPr>
              <a:xfrm>
                <a:off x="5646738" y="2774950"/>
                <a:ext cx="999551" cy="1346201"/>
                <a:chOff x="5646738" y="2774950"/>
                <a:chExt cx="999551" cy="1346201"/>
              </a:xfrm>
            </p:grpSpPr>
            <p:sp>
              <p:nvSpPr>
                <p:cNvPr id="60" name="Freeform 59"/>
                <p:cNvSpPr>
                  <a:spLocks/>
                </p:cNvSpPr>
                <p:nvPr/>
              </p:nvSpPr>
              <p:spPr bwMode="auto">
                <a:xfrm>
                  <a:off x="5646738" y="2889250"/>
                  <a:ext cx="898525" cy="1192213"/>
                </a:xfrm>
                <a:custGeom>
                  <a:avLst/>
                  <a:gdLst>
                    <a:gd name="connsiteX0" fmla="*/ 625475 w 898525"/>
                    <a:gd name="connsiteY0" fmla="*/ 0 h 1192213"/>
                    <a:gd name="connsiteX1" fmla="*/ 882800 w 898525"/>
                    <a:gd name="connsiteY1" fmla="*/ 0 h 1192213"/>
                    <a:gd name="connsiteX2" fmla="*/ 898525 w 898525"/>
                    <a:gd name="connsiteY2" fmla="*/ 15701 h 1192213"/>
                    <a:gd name="connsiteX3" fmla="*/ 898525 w 898525"/>
                    <a:gd name="connsiteY3" fmla="*/ 835025 h 1192213"/>
                    <a:gd name="connsiteX4" fmla="*/ 867074 w 898525"/>
                    <a:gd name="connsiteY4" fmla="*/ 823606 h 1192213"/>
                    <a:gd name="connsiteX5" fmla="*/ 867074 w 898525"/>
                    <a:gd name="connsiteY5" fmla="*/ 31403 h 1192213"/>
                    <a:gd name="connsiteX6" fmla="*/ 625475 w 898525"/>
                    <a:gd name="connsiteY6" fmla="*/ 31403 h 1192213"/>
                    <a:gd name="connsiteX7" fmla="*/ 625475 w 898525"/>
                    <a:gd name="connsiteY7" fmla="*/ 0 h 1192213"/>
                    <a:gd name="connsiteX8" fmla="*/ 15734 w 898525"/>
                    <a:gd name="connsiteY8" fmla="*/ 0 h 1192213"/>
                    <a:gd name="connsiteX9" fmla="*/ 273195 w 898525"/>
                    <a:gd name="connsiteY9" fmla="*/ 0 h 1192213"/>
                    <a:gd name="connsiteX10" fmla="*/ 273195 w 898525"/>
                    <a:gd name="connsiteY10" fmla="*/ 31412 h 1192213"/>
                    <a:gd name="connsiteX11" fmla="*/ 31468 w 898525"/>
                    <a:gd name="connsiteY11" fmla="*/ 31412 h 1192213"/>
                    <a:gd name="connsiteX12" fmla="*/ 31468 w 898525"/>
                    <a:gd name="connsiteY12" fmla="*/ 1160802 h 1192213"/>
                    <a:gd name="connsiteX13" fmla="*/ 618622 w 898525"/>
                    <a:gd name="connsiteY13" fmla="*/ 1160802 h 1192213"/>
                    <a:gd name="connsiteX14" fmla="*/ 642938 w 898525"/>
                    <a:gd name="connsiteY14" fmla="*/ 1192213 h 1192213"/>
                    <a:gd name="connsiteX15" fmla="*/ 15734 w 898525"/>
                    <a:gd name="connsiteY15" fmla="*/ 1192213 h 1192213"/>
                    <a:gd name="connsiteX16" fmla="*/ 0 w 898525"/>
                    <a:gd name="connsiteY16" fmla="*/ 1176507 h 1192213"/>
                    <a:gd name="connsiteX17" fmla="*/ 0 w 898525"/>
                    <a:gd name="connsiteY17" fmla="*/ 15706 h 1192213"/>
                    <a:gd name="connsiteX18" fmla="*/ 15734 w 898525"/>
                    <a:gd name="connsiteY18" fmla="*/ 0 h 11922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898525" h="1192213">
                      <a:moveTo>
                        <a:pt x="625475" y="0"/>
                      </a:moveTo>
                      <a:cubicBezTo>
                        <a:pt x="625475" y="0"/>
                        <a:pt x="625475" y="0"/>
                        <a:pt x="882800" y="0"/>
                      </a:cubicBezTo>
                      <a:cubicBezTo>
                        <a:pt x="892092" y="0"/>
                        <a:pt x="898525" y="7137"/>
                        <a:pt x="898525" y="15701"/>
                      </a:cubicBezTo>
                      <a:cubicBezTo>
                        <a:pt x="898525" y="15701"/>
                        <a:pt x="898525" y="15701"/>
                        <a:pt x="898525" y="835025"/>
                      </a:cubicBezTo>
                      <a:cubicBezTo>
                        <a:pt x="888518" y="830743"/>
                        <a:pt x="878511" y="826461"/>
                        <a:pt x="867074" y="823606"/>
                      </a:cubicBezTo>
                      <a:cubicBezTo>
                        <a:pt x="867074" y="823606"/>
                        <a:pt x="867074" y="823606"/>
                        <a:pt x="867074" y="31403"/>
                      </a:cubicBezTo>
                      <a:cubicBezTo>
                        <a:pt x="867074" y="31403"/>
                        <a:pt x="867074" y="31403"/>
                        <a:pt x="625475" y="31403"/>
                      </a:cubicBezTo>
                      <a:cubicBezTo>
                        <a:pt x="625475" y="31403"/>
                        <a:pt x="625475" y="31403"/>
                        <a:pt x="625475" y="0"/>
                      </a:cubicBezTo>
                      <a:close/>
                      <a:moveTo>
                        <a:pt x="15734" y="0"/>
                      </a:moveTo>
                      <a:cubicBezTo>
                        <a:pt x="15734" y="0"/>
                        <a:pt x="15734" y="0"/>
                        <a:pt x="273195" y="0"/>
                      </a:cubicBezTo>
                      <a:cubicBezTo>
                        <a:pt x="273195" y="0"/>
                        <a:pt x="273195" y="0"/>
                        <a:pt x="273195" y="31412"/>
                      </a:cubicBezTo>
                      <a:cubicBezTo>
                        <a:pt x="273195" y="31412"/>
                        <a:pt x="273195" y="31412"/>
                        <a:pt x="31468" y="31412"/>
                      </a:cubicBezTo>
                      <a:cubicBezTo>
                        <a:pt x="31468" y="31412"/>
                        <a:pt x="31468" y="31412"/>
                        <a:pt x="31468" y="1160802"/>
                      </a:cubicBezTo>
                      <a:cubicBezTo>
                        <a:pt x="31468" y="1160802"/>
                        <a:pt x="31468" y="1160802"/>
                        <a:pt x="618622" y="1160802"/>
                      </a:cubicBezTo>
                      <a:cubicBezTo>
                        <a:pt x="625774" y="1172224"/>
                        <a:pt x="633641" y="1182932"/>
                        <a:pt x="642938" y="1192213"/>
                      </a:cubicBezTo>
                      <a:cubicBezTo>
                        <a:pt x="642938" y="1192213"/>
                        <a:pt x="642938" y="1192213"/>
                        <a:pt x="15734" y="1192213"/>
                      </a:cubicBezTo>
                      <a:cubicBezTo>
                        <a:pt x="6437" y="1192213"/>
                        <a:pt x="0" y="1185788"/>
                        <a:pt x="0" y="1176507"/>
                      </a:cubicBezTo>
                      <a:cubicBezTo>
                        <a:pt x="0" y="1176507"/>
                        <a:pt x="0" y="1176507"/>
                        <a:pt x="0" y="15706"/>
                      </a:cubicBezTo>
                      <a:cubicBezTo>
                        <a:pt x="0" y="7139"/>
                        <a:pt x="6437" y="0"/>
                        <a:pt x="15734" y="0"/>
                      </a:cubicBez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61" name="Freeform 60"/>
                <p:cNvSpPr>
                  <a:spLocks/>
                </p:cNvSpPr>
                <p:nvPr/>
              </p:nvSpPr>
              <p:spPr bwMode="auto">
                <a:xfrm>
                  <a:off x="5783263" y="2774950"/>
                  <a:ext cx="863026" cy="1346201"/>
                </a:xfrm>
                <a:custGeom>
                  <a:avLst/>
                  <a:gdLst>
                    <a:gd name="connsiteX0" fmla="*/ 789902 w 863026"/>
                    <a:gd name="connsiteY0" fmla="*/ 1074664 h 1346201"/>
                    <a:gd name="connsiteX1" fmla="*/ 778541 w 863026"/>
                    <a:gd name="connsiteY1" fmla="*/ 1078848 h 1346201"/>
                    <a:gd name="connsiteX2" fmla="*/ 762082 w 863026"/>
                    <a:gd name="connsiteY2" fmla="*/ 1094518 h 1346201"/>
                    <a:gd name="connsiteX3" fmla="*/ 730596 w 863026"/>
                    <a:gd name="connsiteY3" fmla="*/ 1124433 h 1346201"/>
                    <a:gd name="connsiteX4" fmla="*/ 627548 w 863026"/>
                    <a:gd name="connsiteY4" fmla="*/ 1223437 h 1346201"/>
                    <a:gd name="connsiteX5" fmla="*/ 558850 w 863026"/>
                    <a:gd name="connsiteY5" fmla="*/ 1155060 h 1346201"/>
                    <a:gd name="connsiteX6" fmla="*/ 536666 w 863026"/>
                    <a:gd name="connsiteY6" fmla="*/ 1155060 h 1346201"/>
                    <a:gd name="connsiteX7" fmla="*/ 536666 w 863026"/>
                    <a:gd name="connsiteY7" fmla="*/ 1177140 h 1346201"/>
                    <a:gd name="connsiteX8" fmla="*/ 616098 w 863026"/>
                    <a:gd name="connsiteY8" fmla="*/ 1256202 h 1346201"/>
                    <a:gd name="connsiteX9" fmla="*/ 626832 w 863026"/>
                    <a:gd name="connsiteY9" fmla="*/ 1260475 h 1346201"/>
                    <a:gd name="connsiteX10" fmla="*/ 637567 w 863026"/>
                    <a:gd name="connsiteY10" fmla="*/ 1256202 h 1346201"/>
                    <a:gd name="connsiteX11" fmla="*/ 730596 w 863026"/>
                    <a:gd name="connsiteY11" fmla="*/ 1167881 h 1346201"/>
                    <a:gd name="connsiteX12" fmla="*/ 762082 w 863026"/>
                    <a:gd name="connsiteY12" fmla="*/ 1137966 h 1346201"/>
                    <a:gd name="connsiteX13" fmla="*/ 800010 w 863026"/>
                    <a:gd name="connsiteY13" fmla="*/ 1101641 h 1346201"/>
                    <a:gd name="connsiteX14" fmla="*/ 800725 w 863026"/>
                    <a:gd name="connsiteY14" fmla="*/ 1079560 h 1346201"/>
                    <a:gd name="connsiteX15" fmla="*/ 789902 w 863026"/>
                    <a:gd name="connsiteY15" fmla="*/ 1074664 h 1346201"/>
                    <a:gd name="connsiteX16" fmla="*/ 15705 w 863026"/>
                    <a:gd name="connsiteY16" fmla="*/ 1057275 h 1346201"/>
                    <a:gd name="connsiteX17" fmla="*/ 468313 w 863026"/>
                    <a:gd name="connsiteY17" fmla="*/ 1057275 h 1346201"/>
                    <a:gd name="connsiteX18" fmla="*/ 456177 w 863026"/>
                    <a:gd name="connsiteY18" fmla="*/ 1089025 h 1346201"/>
                    <a:gd name="connsiteX19" fmla="*/ 15705 w 863026"/>
                    <a:gd name="connsiteY19" fmla="*/ 1089025 h 1346201"/>
                    <a:gd name="connsiteX20" fmla="*/ 0 w 863026"/>
                    <a:gd name="connsiteY20" fmla="*/ 1073150 h 1346201"/>
                    <a:gd name="connsiteX21" fmla="*/ 15705 w 863026"/>
                    <a:gd name="connsiteY21" fmla="*/ 1057275 h 1346201"/>
                    <a:gd name="connsiteX22" fmla="*/ 670322 w 863026"/>
                    <a:gd name="connsiteY22" fmla="*/ 960438 h 1346201"/>
                    <a:gd name="connsiteX23" fmla="*/ 731044 w 863026"/>
                    <a:gd name="connsiteY23" fmla="*/ 970439 h 1346201"/>
                    <a:gd name="connsiteX24" fmla="*/ 762477 w 863026"/>
                    <a:gd name="connsiteY24" fmla="*/ 984013 h 1346201"/>
                    <a:gd name="connsiteX25" fmla="*/ 808911 w 863026"/>
                    <a:gd name="connsiteY25" fmla="*/ 1019731 h 1346201"/>
                    <a:gd name="connsiteX26" fmla="*/ 820341 w 863026"/>
                    <a:gd name="connsiteY26" fmla="*/ 1274764 h 1346201"/>
                    <a:gd name="connsiteX27" fmla="*/ 803911 w 863026"/>
                    <a:gd name="connsiteY27" fmla="*/ 1292623 h 1346201"/>
                    <a:gd name="connsiteX28" fmla="*/ 788194 w 863026"/>
                    <a:gd name="connsiteY28" fmla="*/ 1306196 h 1346201"/>
                    <a:gd name="connsiteX29" fmla="*/ 787480 w 863026"/>
                    <a:gd name="connsiteY29" fmla="*/ 1306196 h 1346201"/>
                    <a:gd name="connsiteX30" fmla="*/ 670322 w 863026"/>
                    <a:gd name="connsiteY30" fmla="*/ 1346201 h 1346201"/>
                    <a:gd name="connsiteX31" fmla="*/ 552450 w 863026"/>
                    <a:gd name="connsiteY31" fmla="*/ 1306196 h 1346201"/>
                    <a:gd name="connsiteX32" fmla="*/ 531019 w 863026"/>
                    <a:gd name="connsiteY32" fmla="*/ 1287622 h 1346201"/>
                    <a:gd name="connsiteX33" fmla="*/ 520303 w 863026"/>
                    <a:gd name="connsiteY33" fmla="*/ 1274764 h 1346201"/>
                    <a:gd name="connsiteX34" fmla="*/ 488871 w 863026"/>
                    <a:gd name="connsiteY34" fmla="*/ 1088311 h 1346201"/>
                    <a:gd name="connsiteX35" fmla="*/ 503158 w 863026"/>
                    <a:gd name="connsiteY35" fmla="*/ 1056879 h 1346201"/>
                    <a:gd name="connsiteX36" fmla="*/ 536734 w 863026"/>
                    <a:gd name="connsiteY36" fmla="*/ 1014731 h 1346201"/>
                    <a:gd name="connsiteX37" fmla="*/ 603885 w 863026"/>
                    <a:gd name="connsiteY37" fmla="*/ 972583 h 1346201"/>
                    <a:gd name="connsiteX38" fmla="*/ 623888 w 863026"/>
                    <a:gd name="connsiteY38" fmla="*/ 966153 h 1346201"/>
                    <a:gd name="connsiteX39" fmla="*/ 670322 w 863026"/>
                    <a:gd name="connsiteY39" fmla="*/ 960438 h 1346201"/>
                    <a:gd name="connsiteX40" fmla="*/ 15693 w 863026"/>
                    <a:gd name="connsiteY40" fmla="*/ 941388 h 1346201"/>
                    <a:gd name="connsiteX41" fmla="*/ 598488 w 863026"/>
                    <a:gd name="connsiteY41" fmla="*/ 941388 h 1346201"/>
                    <a:gd name="connsiteX42" fmla="*/ 537855 w 863026"/>
                    <a:gd name="connsiteY42" fmla="*/ 973138 h 1346201"/>
                    <a:gd name="connsiteX43" fmla="*/ 15693 w 863026"/>
                    <a:gd name="connsiteY43" fmla="*/ 973138 h 1346201"/>
                    <a:gd name="connsiteX44" fmla="*/ 0 w 863026"/>
                    <a:gd name="connsiteY44" fmla="*/ 957263 h 1346201"/>
                    <a:gd name="connsiteX45" fmla="*/ 15693 w 863026"/>
                    <a:gd name="connsiteY45" fmla="*/ 941388 h 1346201"/>
                    <a:gd name="connsiteX46" fmla="*/ 15712 w 863026"/>
                    <a:gd name="connsiteY46" fmla="*/ 825500 h 1346201"/>
                    <a:gd name="connsiteX47" fmla="*/ 611351 w 863026"/>
                    <a:gd name="connsiteY47" fmla="*/ 825500 h 1346201"/>
                    <a:gd name="connsiteX48" fmla="*/ 627063 w 863026"/>
                    <a:gd name="connsiteY48" fmla="*/ 841375 h 1346201"/>
                    <a:gd name="connsiteX49" fmla="*/ 611351 w 863026"/>
                    <a:gd name="connsiteY49" fmla="*/ 857250 h 1346201"/>
                    <a:gd name="connsiteX50" fmla="*/ 15712 w 863026"/>
                    <a:gd name="connsiteY50" fmla="*/ 857250 h 1346201"/>
                    <a:gd name="connsiteX51" fmla="*/ 0 w 863026"/>
                    <a:gd name="connsiteY51" fmla="*/ 841375 h 1346201"/>
                    <a:gd name="connsiteX52" fmla="*/ 15712 w 863026"/>
                    <a:gd name="connsiteY52" fmla="*/ 825500 h 1346201"/>
                    <a:gd name="connsiteX53" fmla="*/ 15712 w 863026"/>
                    <a:gd name="connsiteY53" fmla="*/ 709613 h 1346201"/>
                    <a:gd name="connsiteX54" fmla="*/ 611351 w 863026"/>
                    <a:gd name="connsiteY54" fmla="*/ 709613 h 1346201"/>
                    <a:gd name="connsiteX55" fmla="*/ 627063 w 863026"/>
                    <a:gd name="connsiteY55" fmla="*/ 725488 h 1346201"/>
                    <a:gd name="connsiteX56" fmla="*/ 611351 w 863026"/>
                    <a:gd name="connsiteY56" fmla="*/ 741363 h 1346201"/>
                    <a:gd name="connsiteX57" fmla="*/ 15712 w 863026"/>
                    <a:gd name="connsiteY57" fmla="*/ 741363 h 1346201"/>
                    <a:gd name="connsiteX58" fmla="*/ 0 w 863026"/>
                    <a:gd name="connsiteY58" fmla="*/ 725488 h 1346201"/>
                    <a:gd name="connsiteX59" fmla="*/ 15712 w 863026"/>
                    <a:gd name="connsiteY59" fmla="*/ 709613 h 1346201"/>
                    <a:gd name="connsiteX60" fmla="*/ 15712 w 863026"/>
                    <a:gd name="connsiteY60" fmla="*/ 593725 h 1346201"/>
                    <a:gd name="connsiteX61" fmla="*/ 611351 w 863026"/>
                    <a:gd name="connsiteY61" fmla="*/ 593725 h 1346201"/>
                    <a:gd name="connsiteX62" fmla="*/ 627063 w 863026"/>
                    <a:gd name="connsiteY62" fmla="*/ 609600 h 1346201"/>
                    <a:gd name="connsiteX63" fmla="*/ 611351 w 863026"/>
                    <a:gd name="connsiteY63" fmla="*/ 625475 h 1346201"/>
                    <a:gd name="connsiteX64" fmla="*/ 15712 w 863026"/>
                    <a:gd name="connsiteY64" fmla="*/ 625475 h 1346201"/>
                    <a:gd name="connsiteX65" fmla="*/ 0 w 863026"/>
                    <a:gd name="connsiteY65" fmla="*/ 609600 h 1346201"/>
                    <a:gd name="connsiteX66" fmla="*/ 15712 w 863026"/>
                    <a:gd name="connsiteY66" fmla="*/ 593725 h 1346201"/>
                    <a:gd name="connsiteX67" fmla="*/ 15712 w 863026"/>
                    <a:gd name="connsiteY67" fmla="*/ 477838 h 1346201"/>
                    <a:gd name="connsiteX68" fmla="*/ 611351 w 863026"/>
                    <a:gd name="connsiteY68" fmla="*/ 477838 h 1346201"/>
                    <a:gd name="connsiteX69" fmla="*/ 627063 w 863026"/>
                    <a:gd name="connsiteY69" fmla="*/ 493713 h 1346201"/>
                    <a:gd name="connsiteX70" fmla="*/ 611351 w 863026"/>
                    <a:gd name="connsiteY70" fmla="*/ 509588 h 1346201"/>
                    <a:gd name="connsiteX71" fmla="*/ 15712 w 863026"/>
                    <a:gd name="connsiteY71" fmla="*/ 509588 h 1346201"/>
                    <a:gd name="connsiteX72" fmla="*/ 0 w 863026"/>
                    <a:gd name="connsiteY72" fmla="*/ 493713 h 1346201"/>
                    <a:gd name="connsiteX73" fmla="*/ 15712 w 863026"/>
                    <a:gd name="connsiteY73" fmla="*/ 477838 h 1346201"/>
                    <a:gd name="connsiteX74" fmla="*/ 15712 w 863026"/>
                    <a:gd name="connsiteY74" fmla="*/ 361950 h 1346201"/>
                    <a:gd name="connsiteX75" fmla="*/ 611351 w 863026"/>
                    <a:gd name="connsiteY75" fmla="*/ 361950 h 1346201"/>
                    <a:gd name="connsiteX76" fmla="*/ 627063 w 863026"/>
                    <a:gd name="connsiteY76" fmla="*/ 377825 h 1346201"/>
                    <a:gd name="connsiteX77" fmla="*/ 611351 w 863026"/>
                    <a:gd name="connsiteY77" fmla="*/ 393700 h 1346201"/>
                    <a:gd name="connsiteX78" fmla="*/ 15712 w 863026"/>
                    <a:gd name="connsiteY78" fmla="*/ 393700 h 1346201"/>
                    <a:gd name="connsiteX79" fmla="*/ 0 w 863026"/>
                    <a:gd name="connsiteY79" fmla="*/ 377825 h 1346201"/>
                    <a:gd name="connsiteX80" fmla="*/ 15712 w 863026"/>
                    <a:gd name="connsiteY80" fmla="*/ 361950 h 1346201"/>
                    <a:gd name="connsiteX81" fmla="*/ 312738 w 863026"/>
                    <a:gd name="connsiteY81" fmla="*/ 31750 h 1346201"/>
                    <a:gd name="connsiteX82" fmla="*/ 290655 w 863026"/>
                    <a:gd name="connsiteY82" fmla="*/ 35314 h 1346201"/>
                    <a:gd name="connsiteX83" fmla="*/ 257175 w 863026"/>
                    <a:gd name="connsiteY83" fmla="*/ 66675 h 1346201"/>
                    <a:gd name="connsiteX84" fmla="*/ 368300 w 863026"/>
                    <a:gd name="connsiteY84" fmla="*/ 66675 h 1346201"/>
                    <a:gd name="connsiteX85" fmla="*/ 334820 w 863026"/>
                    <a:gd name="connsiteY85" fmla="*/ 35314 h 1346201"/>
                    <a:gd name="connsiteX86" fmla="*/ 312738 w 863026"/>
                    <a:gd name="connsiteY86" fmla="*/ 31750 h 1346201"/>
                    <a:gd name="connsiteX87" fmla="*/ 312737 w 863026"/>
                    <a:gd name="connsiteY87" fmla="*/ 0 h 1346201"/>
                    <a:gd name="connsiteX88" fmla="*/ 385762 w 863026"/>
                    <a:gd name="connsiteY88" fmla="*/ 34890 h 1346201"/>
                    <a:gd name="connsiteX89" fmla="*/ 402229 w 863026"/>
                    <a:gd name="connsiteY89" fmla="*/ 66220 h 1346201"/>
                    <a:gd name="connsiteX90" fmla="*/ 451628 w 863026"/>
                    <a:gd name="connsiteY90" fmla="*/ 66220 h 1346201"/>
                    <a:gd name="connsiteX91" fmla="*/ 458787 w 863026"/>
                    <a:gd name="connsiteY91" fmla="*/ 73340 h 1346201"/>
                    <a:gd name="connsiteX92" fmla="*/ 458787 w 863026"/>
                    <a:gd name="connsiteY92" fmla="*/ 113927 h 1346201"/>
                    <a:gd name="connsiteX93" fmla="*/ 458787 w 863026"/>
                    <a:gd name="connsiteY93" fmla="*/ 145256 h 1346201"/>
                    <a:gd name="connsiteX94" fmla="*/ 458787 w 863026"/>
                    <a:gd name="connsiteY94" fmla="*/ 178010 h 1346201"/>
                    <a:gd name="connsiteX95" fmla="*/ 443037 w 863026"/>
                    <a:gd name="connsiteY95" fmla="*/ 193675 h 1346201"/>
                    <a:gd name="connsiteX96" fmla="*/ 182438 w 863026"/>
                    <a:gd name="connsiteY96" fmla="*/ 193675 h 1346201"/>
                    <a:gd name="connsiteX97" fmla="*/ 166687 w 863026"/>
                    <a:gd name="connsiteY97" fmla="*/ 178010 h 1346201"/>
                    <a:gd name="connsiteX98" fmla="*/ 166687 w 863026"/>
                    <a:gd name="connsiteY98" fmla="*/ 145256 h 1346201"/>
                    <a:gd name="connsiteX99" fmla="*/ 166687 w 863026"/>
                    <a:gd name="connsiteY99" fmla="*/ 113927 h 1346201"/>
                    <a:gd name="connsiteX100" fmla="*/ 166687 w 863026"/>
                    <a:gd name="connsiteY100" fmla="*/ 73340 h 1346201"/>
                    <a:gd name="connsiteX101" fmla="*/ 173847 w 863026"/>
                    <a:gd name="connsiteY101" fmla="*/ 66220 h 1346201"/>
                    <a:gd name="connsiteX102" fmla="*/ 223246 w 863026"/>
                    <a:gd name="connsiteY102" fmla="*/ 66220 h 1346201"/>
                    <a:gd name="connsiteX103" fmla="*/ 239712 w 863026"/>
                    <a:gd name="connsiteY103" fmla="*/ 34890 h 1346201"/>
                    <a:gd name="connsiteX104" fmla="*/ 312737 w 863026"/>
                    <a:gd name="connsiteY104" fmla="*/ 0 h 13462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</a:cxnLst>
                  <a:rect l="l" t="t" r="r" b="b"/>
                  <a:pathLst>
                    <a:path w="863026" h="1346201">
                      <a:moveTo>
                        <a:pt x="789902" y="1074664"/>
                      </a:moveTo>
                      <a:cubicBezTo>
                        <a:pt x="785876" y="1074575"/>
                        <a:pt x="781761" y="1075999"/>
                        <a:pt x="778541" y="1078848"/>
                      </a:cubicBezTo>
                      <a:cubicBezTo>
                        <a:pt x="778541" y="1078848"/>
                        <a:pt x="778541" y="1078848"/>
                        <a:pt x="762082" y="1094518"/>
                      </a:cubicBezTo>
                      <a:cubicBezTo>
                        <a:pt x="762082" y="1094518"/>
                        <a:pt x="762082" y="1094518"/>
                        <a:pt x="730596" y="1124433"/>
                      </a:cubicBezTo>
                      <a:cubicBezTo>
                        <a:pt x="730596" y="1124433"/>
                        <a:pt x="730596" y="1124433"/>
                        <a:pt x="627548" y="1223437"/>
                      </a:cubicBezTo>
                      <a:cubicBezTo>
                        <a:pt x="627548" y="1223437"/>
                        <a:pt x="627548" y="1223437"/>
                        <a:pt x="558850" y="1155060"/>
                      </a:cubicBezTo>
                      <a:cubicBezTo>
                        <a:pt x="552409" y="1148650"/>
                        <a:pt x="542391" y="1148650"/>
                        <a:pt x="536666" y="1155060"/>
                      </a:cubicBezTo>
                      <a:cubicBezTo>
                        <a:pt x="530225" y="1160758"/>
                        <a:pt x="530225" y="1170730"/>
                        <a:pt x="536666" y="1177140"/>
                      </a:cubicBezTo>
                      <a:cubicBezTo>
                        <a:pt x="536666" y="1177140"/>
                        <a:pt x="536666" y="1177140"/>
                        <a:pt x="616098" y="1256202"/>
                      </a:cubicBezTo>
                      <a:cubicBezTo>
                        <a:pt x="618961" y="1259051"/>
                        <a:pt x="623254" y="1260475"/>
                        <a:pt x="626832" y="1260475"/>
                      </a:cubicBezTo>
                      <a:cubicBezTo>
                        <a:pt x="631126" y="1260475"/>
                        <a:pt x="634704" y="1259051"/>
                        <a:pt x="637567" y="1256202"/>
                      </a:cubicBezTo>
                      <a:cubicBezTo>
                        <a:pt x="637567" y="1256202"/>
                        <a:pt x="637567" y="1256202"/>
                        <a:pt x="730596" y="1167881"/>
                      </a:cubicBezTo>
                      <a:cubicBezTo>
                        <a:pt x="730596" y="1167881"/>
                        <a:pt x="730596" y="1167881"/>
                        <a:pt x="762082" y="1137966"/>
                      </a:cubicBezTo>
                      <a:cubicBezTo>
                        <a:pt x="762082" y="1137966"/>
                        <a:pt x="762082" y="1137966"/>
                        <a:pt x="800010" y="1101641"/>
                      </a:cubicBezTo>
                      <a:cubicBezTo>
                        <a:pt x="806450" y="1095943"/>
                        <a:pt x="806450" y="1085971"/>
                        <a:pt x="800725" y="1079560"/>
                      </a:cubicBezTo>
                      <a:cubicBezTo>
                        <a:pt x="797863" y="1076355"/>
                        <a:pt x="793927" y="1074753"/>
                        <a:pt x="789902" y="1074664"/>
                      </a:cubicBezTo>
                      <a:close/>
                      <a:moveTo>
                        <a:pt x="15705" y="1057275"/>
                      </a:moveTo>
                      <a:cubicBezTo>
                        <a:pt x="15705" y="1057275"/>
                        <a:pt x="15705" y="1057275"/>
                        <a:pt x="468313" y="1057275"/>
                      </a:cubicBezTo>
                      <a:cubicBezTo>
                        <a:pt x="463316" y="1067377"/>
                        <a:pt x="459032" y="1078201"/>
                        <a:pt x="456177" y="1089025"/>
                      </a:cubicBezTo>
                      <a:cubicBezTo>
                        <a:pt x="456177" y="1089025"/>
                        <a:pt x="456177" y="1089025"/>
                        <a:pt x="15705" y="1089025"/>
                      </a:cubicBezTo>
                      <a:cubicBezTo>
                        <a:pt x="6425" y="1089025"/>
                        <a:pt x="0" y="1081809"/>
                        <a:pt x="0" y="1073150"/>
                      </a:cubicBezTo>
                      <a:cubicBezTo>
                        <a:pt x="0" y="1064491"/>
                        <a:pt x="6425" y="1057275"/>
                        <a:pt x="15705" y="1057275"/>
                      </a:cubicBezTo>
                      <a:close/>
                      <a:moveTo>
                        <a:pt x="670322" y="960438"/>
                      </a:moveTo>
                      <a:cubicBezTo>
                        <a:pt x="691039" y="960438"/>
                        <a:pt x="711756" y="964010"/>
                        <a:pt x="731044" y="970439"/>
                      </a:cubicBezTo>
                      <a:cubicBezTo>
                        <a:pt x="742474" y="974011"/>
                        <a:pt x="752476" y="979012"/>
                        <a:pt x="762477" y="984013"/>
                      </a:cubicBezTo>
                      <a:cubicBezTo>
                        <a:pt x="779622" y="993299"/>
                        <a:pt x="795338" y="1005444"/>
                        <a:pt x="808911" y="1019731"/>
                      </a:cubicBezTo>
                      <a:cubicBezTo>
                        <a:pt x="876777" y="1089740"/>
                        <a:pt x="881063" y="1199754"/>
                        <a:pt x="820341" y="1274764"/>
                      </a:cubicBezTo>
                      <a:cubicBezTo>
                        <a:pt x="815341" y="1281193"/>
                        <a:pt x="809626" y="1286908"/>
                        <a:pt x="803911" y="1292623"/>
                      </a:cubicBezTo>
                      <a:cubicBezTo>
                        <a:pt x="797481" y="1298338"/>
                        <a:pt x="793195" y="1302624"/>
                        <a:pt x="788194" y="1306196"/>
                      </a:cubicBezTo>
                      <a:cubicBezTo>
                        <a:pt x="788194" y="1306196"/>
                        <a:pt x="788194" y="1306196"/>
                        <a:pt x="787480" y="1306196"/>
                      </a:cubicBezTo>
                      <a:cubicBezTo>
                        <a:pt x="754619" y="1331914"/>
                        <a:pt x="712471" y="1346201"/>
                        <a:pt x="670322" y="1346201"/>
                      </a:cubicBezTo>
                      <a:cubicBezTo>
                        <a:pt x="626745" y="1346201"/>
                        <a:pt x="586026" y="1332628"/>
                        <a:pt x="552450" y="1306196"/>
                      </a:cubicBezTo>
                      <a:cubicBezTo>
                        <a:pt x="545307" y="1300481"/>
                        <a:pt x="538163" y="1294052"/>
                        <a:pt x="531019" y="1287622"/>
                      </a:cubicBezTo>
                      <a:cubicBezTo>
                        <a:pt x="527447" y="1283336"/>
                        <a:pt x="523875" y="1279050"/>
                        <a:pt x="520303" y="1274764"/>
                      </a:cubicBezTo>
                      <a:cubicBezTo>
                        <a:pt x="476727" y="1221900"/>
                        <a:pt x="466725" y="1150462"/>
                        <a:pt x="488871" y="1088311"/>
                      </a:cubicBezTo>
                      <a:cubicBezTo>
                        <a:pt x="492443" y="1077596"/>
                        <a:pt x="497443" y="1066880"/>
                        <a:pt x="503158" y="1056879"/>
                      </a:cubicBezTo>
                      <a:cubicBezTo>
                        <a:pt x="512445" y="1041877"/>
                        <a:pt x="523161" y="1027589"/>
                        <a:pt x="536734" y="1014731"/>
                      </a:cubicBezTo>
                      <a:cubicBezTo>
                        <a:pt x="556022" y="995443"/>
                        <a:pt x="578882" y="981155"/>
                        <a:pt x="603885" y="972583"/>
                      </a:cubicBezTo>
                      <a:cubicBezTo>
                        <a:pt x="610315" y="969725"/>
                        <a:pt x="616744" y="968296"/>
                        <a:pt x="623888" y="966153"/>
                      </a:cubicBezTo>
                      <a:cubicBezTo>
                        <a:pt x="638890" y="962581"/>
                        <a:pt x="654606" y="960438"/>
                        <a:pt x="670322" y="960438"/>
                      </a:cubicBezTo>
                      <a:close/>
                      <a:moveTo>
                        <a:pt x="15693" y="941388"/>
                      </a:moveTo>
                      <a:cubicBezTo>
                        <a:pt x="15693" y="941388"/>
                        <a:pt x="15693" y="941388"/>
                        <a:pt x="598488" y="941388"/>
                      </a:cubicBezTo>
                      <a:cubicBezTo>
                        <a:pt x="576375" y="948604"/>
                        <a:pt x="556401" y="959428"/>
                        <a:pt x="537855" y="973138"/>
                      </a:cubicBezTo>
                      <a:cubicBezTo>
                        <a:pt x="537855" y="973138"/>
                        <a:pt x="537855" y="973138"/>
                        <a:pt x="15693" y="973138"/>
                      </a:cubicBezTo>
                      <a:cubicBezTo>
                        <a:pt x="6420" y="973138"/>
                        <a:pt x="0" y="965922"/>
                        <a:pt x="0" y="957263"/>
                      </a:cubicBezTo>
                      <a:cubicBezTo>
                        <a:pt x="0" y="948604"/>
                        <a:pt x="6420" y="941388"/>
                        <a:pt x="15693" y="941388"/>
                      </a:cubicBezTo>
                      <a:close/>
                      <a:moveTo>
                        <a:pt x="15712" y="825500"/>
                      </a:moveTo>
                      <a:cubicBezTo>
                        <a:pt x="15712" y="825500"/>
                        <a:pt x="15712" y="825500"/>
                        <a:pt x="611351" y="825500"/>
                      </a:cubicBezTo>
                      <a:cubicBezTo>
                        <a:pt x="620635" y="825500"/>
                        <a:pt x="627063" y="832716"/>
                        <a:pt x="627063" y="841375"/>
                      </a:cubicBezTo>
                      <a:cubicBezTo>
                        <a:pt x="627063" y="850756"/>
                        <a:pt x="620635" y="857250"/>
                        <a:pt x="611351" y="857250"/>
                      </a:cubicBezTo>
                      <a:cubicBezTo>
                        <a:pt x="611351" y="857250"/>
                        <a:pt x="611351" y="857250"/>
                        <a:pt x="15712" y="857250"/>
                      </a:cubicBezTo>
                      <a:cubicBezTo>
                        <a:pt x="6428" y="857250"/>
                        <a:pt x="0" y="850756"/>
                        <a:pt x="0" y="841375"/>
                      </a:cubicBezTo>
                      <a:cubicBezTo>
                        <a:pt x="0" y="832716"/>
                        <a:pt x="6428" y="825500"/>
                        <a:pt x="15712" y="825500"/>
                      </a:cubicBezTo>
                      <a:close/>
                      <a:moveTo>
                        <a:pt x="15712" y="709613"/>
                      </a:moveTo>
                      <a:cubicBezTo>
                        <a:pt x="15712" y="709613"/>
                        <a:pt x="15712" y="709613"/>
                        <a:pt x="611351" y="709613"/>
                      </a:cubicBezTo>
                      <a:cubicBezTo>
                        <a:pt x="620635" y="709613"/>
                        <a:pt x="627063" y="716829"/>
                        <a:pt x="627063" y="725488"/>
                      </a:cubicBezTo>
                      <a:cubicBezTo>
                        <a:pt x="627063" y="734147"/>
                        <a:pt x="620635" y="741363"/>
                        <a:pt x="611351" y="741363"/>
                      </a:cubicBezTo>
                      <a:cubicBezTo>
                        <a:pt x="611351" y="741363"/>
                        <a:pt x="611351" y="741363"/>
                        <a:pt x="15712" y="741363"/>
                      </a:cubicBezTo>
                      <a:cubicBezTo>
                        <a:pt x="6428" y="741363"/>
                        <a:pt x="0" y="734147"/>
                        <a:pt x="0" y="725488"/>
                      </a:cubicBezTo>
                      <a:cubicBezTo>
                        <a:pt x="0" y="716829"/>
                        <a:pt x="6428" y="709613"/>
                        <a:pt x="15712" y="709613"/>
                      </a:cubicBezTo>
                      <a:close/>
                      <a:moveTo>
                        <a:pt x="15712" y="593725"/>
                      </a:moveTo>
                      <a:cubicBezTo>
                        <a:pt x="15712" y="593725"/>
                        <a:pt x="15712" y="593725"/>
                        <a:pt x="611351" y="593725"/>
                      </a:cubicBezTo>
                      <a:cubicBezTo>
                        <a:pt x="620635" y="593725"/>
                        <a:pt x="627063" y="600941"/>
                        <a:pt x="627063" y="609600"/>
                      </a:cubicBezTo>
                      <a:cubicBezTo>
                        <a:pt x="627063" y="618259"/>
                        <a:pt x="620635" y="625475"/>
                        <a:pt x="611351" y="625475"/>
                      </a:cubicBezTo>
                      <a:cubicBezTo>
                        <a:pt x="611351" y="625475"/>
                        <a:pt x="611351" y="625475"/>
                        <a:pt x="15712" y="625475"/>
                      </a:cubicBezTo>
                      <a:cubicBezTo>
                        <a:pt x="6428" y="625475"/>
                        <a:pt x="0" y="618259"/>
                        <a:pt x="0" y="609600"/>
                      </a:cubicBezTo>
                      <a:cubicBezTo>
                        <a:pt x="0" y="600941"/>
                        <a:pt x="6428" y="593725"/>
                        <a:pt x="15712" y="593725"/>
                      </a:cubicBezTo>
                      <a:close/>
                      <a:moveTo>
                        <a:pt x="15712" y="477838"/>
                      </a:moveTo>
                      <a:cubicBezTo>
                        <a:pt x="15712" y="477838"/>
                        <a:pt x="15712" y="477838"/>
                        <a:pt x="611351" y="477838"/>
                      </a:cubicBezTo>
                      <a:cubicBezTo>
                        <a:pt x="620635" y="477838"/>
                        <a:pt x="627063" y="484332"/>
                        <a:pt x="627063" y="493713"/>
                      </a:cubicBezTo>
                      <a:cubicBezTo>
                        <a:pt x="627063" y="502372"/>
                        <a:pt x="620635" y="509588"/>
                        <a:pt x="611351" y="509588"/>
                      </a:cubicBezTo>
                      <a:cubicBezTo>
                        <a:pt x="611351" y="509588"/>
                        <a:pt x="611351" y="509588"/>
                        <a:pt x="15712" y="509588"/>
                      </a:cubicBezTo>
                      <a:cubicBezTo>
                        <a:pt x="6428" y="509588"/>
                        <a:pt x="0" y="502372"/>
                        <a:pt x="0" y="493713"/>
                      </a:cubicBezTo>
                      <a:cubicBezTo>
                        <a:pt x="0" y="484332"/>
                        <a:pt x="6428" y="477838"/>
                        <a:pt x="15712" y="477838"/>
                      </a:cubicBezTo>
                      <a:close/>
                      <a:moveTo>
                        <a:pt x="15712" y="361950"/>
                      </a:moveTo>
                      <a:cubicBezTo>
                        <a:pt x="15712" y="361950"/>
                        <a:pt x="15712" y="361950"/>
                        <a:pt x="611351" y="361950"/>
                      </a:cubicBezTo>
                      <a:cubicBezTo>
                        <a:pt x="620635" y="361950"/>
                        <a:pt x="627063" y="369166"/>
                        <a:pt x="627063" y="377825"/>
                      </a:cubicBezTo>
                      <a:cubicBezTo>
                        <a:pt x="627063" y="386484"/>
                        <a:pt x="620635" y="393700"/>
                        <a:pt x="611351" y="393700"/>
                      </a:cubicBezTo>
                      <a:cubicBezTo>
                        <a:pt x="611351" y="393700"/>
                        <a:pt x="611351" y="393700"/>
                        <a:pt x="15712" y="393700"/>
                      </a:cubicBezTo>
                      <a:cubicBezTo>
                        <a:pt x="6428" y="393700"/>
                        <a:pt x="0" y="386484"/>
                        <a:pt x="0" y="377825"/>
                      </a:cubicBezTo>
                      <a:cubicBezTo>
                        <a:pt x="0" y="369166"/>
                        <a:pt x="6428" y="361950"/>
                        <a:pt x="15712" y="361950"/>
                      </a:cubicBezTo>
                      <a:close/>
                      <a:moveTo>
                        <a:pt x="312738" y="31750"/>
                      </a:moveTo>
                      <a:cubicBezTo>
                        <a:pt x="304902" y="31750"/>
                        <a:pt x="297779" y="33176"/>
                        <a:pt x="290655" y="35314"/>
                      </a:cubicBezTo>
                      <a:cubicBezTo>
                        <a:pt x="276408" y="41016"/>
                        <a:pt x="264299" y="52420"/>
                        <a:pt x="257175" y="66675"/>
                      </a:cubicBezTo>
                      <a:cubicBezTo>
                        <a:pt x="257175" y="66675"/>
                        <a:pt x="257175" y="66675"/>
                        <a:pt x="368300" y="66675"/>
                      </a:cubicBezTo>
                      <a:cubicBezTo>
                        <a:pt x="361177" y="52420"/>
                        <a:pt x="349067" y="41016"/>
                        <a:pt x="334820" y="35314"/>
                      </a:cubicBezTo>
                      <a:cubicBezTo>
                        <a:pt x="327697" y="33176"/>
                        <a:pt x="320573" y="31750"/>
                        <a:pt x="312738" y="31750"/>
                      </a:cubicBezTo>
                      <a:close/>
                      <a:moveTo>
                        <a:pt x="312737" y="0"/>
                      </a:moveTo>
                      <a:cubicBezTo>
                        <a:pt x="342090" y="0"/>
                        <a:pt x="368580" y="13529"/>
                        <a:pt x="385762" y="34890"/>
                      </a:cubicBezTo>
                      <a:cubicBezTo>
                        <a:pt x="392922" y="44147"/>
                        <a:pt x="398649" y="54827"/>
                        <a:pt x="402229" y="66220"/>
                      </a:cubicBezTo>
                      <a:cubicBezTo>
                        <a:pt x="402229" y="66220"/>
                        <a:pt x="402229" y="66220"/>
                        <a:pt x="451628" y="66220"/>
                      </a:cubicBezTo>
                      <a:cubicBezTo>
                        <a:pt x="455208" y="66220"/>
                        <a:pt x="458787" y="69068"/>
                        <a:pt x="458787" y="73340"/>
                      </a:cubicBezTo>
                      <a:cubicBezTo>
                        <a:pt x="458787" y="73340"/>
                        <a:pt x="458787" y="73340"/>
                        <a:pt x="458787" y="113927"/>
                      </a:cubicBezTo>
                      <a:cubicBezTo>
                        <a:pt x="458787" y="113927"/>
                        <a:pt x="458787" y="113927"/>
                        <a:pt x="458787" y="145256"/>
                      </a:cubicBezTo>
                      <a:cubicBezTo>
                        <a:pt x="458787" y="145256"/>
                        <a:pt x="458787" y="145256"/>
                        <a:pt x="458787" y="178010"/>
                      </a:cubicBezTo>
                      <a:cubicBezTo>
                        <a:pt x="458787" y="186555"/>
                        <a:pt x="451628" y="193675"/>
                        <a:pt x="443037" y="193675"/>
                      </a:cubicBezTo>
                      <a:cubicBezTo>
                        <a:pt x="443037" y="193675"/>
                        <a:pt x="443037" y="193675"/>
                        <a:pt x="182438" y="193675"/>
                      </a:cubicBezTo>
                      <a:cubicBezTo>
                        <a:pt x="173847" y="193675"/>
                        <a:pt x="166687" y="186555"/>
                        <a:pt x="166687" y="178010"/>
                      </a:cubicBezTo>
                      <a:cubicBezTo>
                        <a:pt x="166687" y="178010"/>
                        <a:pt x="166687" y="178010"/>
                        <a:pt x="166687" y="145256"/>
                      </a:cubicBezTo>
                      <a:cubicBezTo>
                        <a:pt x="166687" y="145256"/>
                        <a:pt x="166687" y="145256"/>
                        <a:pt x="166687" y="113927"/>
                      </a:cubicBezTo>
                      <a:cubicBezTo>
                        <a:pt x="166687" y="113927"/>
                        <a:pt x="166687" y="113927"/>
                        <a:pt x="166687" y="73340"/>
                      </a:cubicBezTo>
                      <a:cubicBezTo>
                        <a:pt x="166687" y="69068"/>
                        <a:pt x="170267" y="66220"/>
                        <a:pt x="173847" y="66220"/>
                      </a:cubicBezTo>
                      <a:cubicBezTo>
                        <a:pt x="173847" y="66220"/>
                        <a:pt x="173847" y="66220"/>
                        <a:pt x="223246" y="66220"/>
                      </a:cubicBezTo>
                      <a:cubicBezTo>
                        <a:pt x="226825" y="54827"/>
                        <a:pt x="232553" y="44147"/>
                        <a:pt x="239712" y="34890"/>
                      </a:cubicBezTo>
                      <a:cubicBezTo>
                        <a:pt x="256895" y="13529"/>
                        <a:pt x="283384" y="0"/>
                        <a:pt x="312737" y="0"/>
                      </a:cubicBez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" name="Group 7"/>
          <p:cNvGrpSpPr/>
          <p:nvPr/>
        </p:nvGrpSpPr>
        <p:grpSpPr>
          <a:xfrm>
            <a:off x="5925459" y="951807"/>
            <a:ext cx="1198000" cy="1198000"/>
            <a:chOff x="5925459" y="1220162"/>
            <a:chExt cx="1198000" cy="1198000"/>
          </a:xfrm>
        </p:grpSpPr>
        <p:sp>
          <p:nvSpPr>
            <p:cNvPr id="44" name="Diamond 43">
              <a:extLst>
                <a:ext uri="{FF2B5EF4-FFF2-40B4-BE49-F238E27FC236}">
                  <a16:creationId xmlns:a16="http://schemas.microsoft.com/office/drawing/2014/main" id="{215DA3DF-A82C-48FD-AACD-8CB66DE9A08C}"/>
                </a:ext>
              </a:extLst>
            </p:cNvPr>
            <p:cNvSpPr/>
            <p:nvPr/>
          </p:nvSpPr>
          <p:spPr>
            <a:xfrm>
              <a:off x="5925459" y="1220162"/>
              <a:ext cx="1198000" cy="1198000"/>
            </a:xfrm>
            <a:prstGeom prst="diamond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52" name="Group 51"/>
            <p:cNvGrpSpPr>
              <a:grpSpLocks noChangeAspect="1"/>
            </p:cNvGrpSpPr>
            <p:nvPr/>
          </p:nvGrpSpPr>
          <p:grpSpPr>
            <a:xfrm>
              <a:off x="6208686" y="1503694"/>
              <a:ext cx="630352" cy="630936"/>
              <a:chOff x="5273802" y="2606040"/>
              <a:chExt cx="1644396" cy="1645920"/>
            </a:xfrm>
          </p:grpSpPr>
          <p:sp>
            <p:nvSpPr>
              <p:cNvPr id="53" name="AutoShape 13">
                <a:extLst>
                  <a:ext uri="{FF2B5EF4-FFF2-40B4-BE49-F238E27FC236}">
                    <a16:creationId xmlns:a16="http://schemas.microsoft.com/office/drawing/2014/main" id="{3C3D9D18-6789-4A00-8831-91BF38F9763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2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4" name="Group 53"/>
              <p:cNvGrpSpPr/>
              <p:nvPr/>
            </p:nvGrpSpPr>
            <p:grpSpPr>
              <a:xfrm>
                <a:off x="5452110" y="2803779"/>
                <a:ext cx="1288923" cy="1200912"/>
                <a:chOff x="5452110" y="2803779"/>
                <a:chExt cx="1288923" cy="1200912"/>
              </a:xfrm>
            </p:grpSpPr>
            <p:sp>
              <p:nvSpPr>
                <p:cNvPr id="55" name="Freeform 15">
                  <a:extLst>
                    <a:ext uri="{FF2B5EF4-FFF2-40B4-BE49-F238E27FC236}">
                      <a16:creationId xmlns:a16="http://schemas.microsoft.com/office/drawing/2014/main" id="{0F53DE35-7F5E-48B5-B9DD-D84DD59FFC1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759196" y="2803779"/>
                  <a:ext cx="675132" cy="1200912"/>
                </a:xfrm>
                <a:custGeom>
                  <a:avLst/>
                  <a:gdLst>
                    <a:gd name="T0" fmla="*/ 928 w 946"/>
                    <a:gd name="T1" fmla="*/ 647 h 1681"/>
                    <a:gd name="T2" fmla="*/ 928 w 946"/>
                    <a:gd name="T3" fmla="*/ 646 h 1681"/>
                    <a:gd name="T4" fmla="*/ 874 w 946"/>
                    <a:gd name="T5" fmla="*/ 722 h 1681"/>
                    <a:gd name="T6" fmla="*/ 840 w 946"/>
                    <a:gd name="T7" fmla="*/ 722 h 1681"/>
                    <a:gd name="T8" fmla="*/ 835 w 946"/>
                    <a:gd name="T9" fmla="*/ 366 h 1681"/>
                    <a:gd name="T10" fmla="*/ 214 w 946"/>
                    <a:gd name="T11" fmla="*/ 388 h 1681"/>
                    <a:gd name="T12" fmla="*/ 98 w 946"/>
                    <a:gd name="T13" fmla="*/ 716 h 1681"/>
                    <a:gd name="T14" fmla="*/ 67 w 946"/>
                    <a:gd name="T15" fmla="*/ 713 h 1681"/>
                    <a:gd name="T16" fmla="*/ 20 w 946"/>
                    <a:gd name="T17" fmla="*/ 653 h 1681"/>
                    <a:gd name="T18" fmla="*/ 20 w 946"/>
                    <a:gd name="T19" fmla="*/ 652 h 1681"/>
                    <a:gd name="T20" fmla="*/ 1 w 946"/>
                    <a:gd name="T21" fmla="*/ 483 h 1681"/>
                    <a:gd name="T22" fmla="*/ 473 w 946"/>
                    <a:gd name="T23" fmla="*/ 0 h 1681"/>
                    <a:gd name="T24" fmla="*/ 945 w 946"/>
                    <a:gd name="T25" fmla="*/ 483 h 1681"/>
                    <a:gd name="T26" fmla="*/ 928 w 946"/>
                    <a:gd name="T27" fmla="*/ 647 h 1681"/>
                    <a:gd name="T28" fmla="*/ 583 w 946"/>
                    <a:gd name="T29" fmla="*/ 1667 h 1681"/>
                    <a:gd name="T30" fmla="*/ 514 w 946"/>
                    <a:gd name="T31" fmla="*/ 1465 h 1681"/>
                    <a:gd name="T32" fmla="*/ 515 w 946"/>
                    <a:gd name="T33" fmla="*/ 1457 h 1681"/>
                    <a:gd name="T34" fmla="*/ 579 w 946"/>
                    <a:gd name="T35" fmla="*/ 1356 h 1681"/>
                    <a:gd name="T36" fmla="*/ 573 w 946"/>
                    <a:gd name="T37" fmla="*/ 1342 h 1681"/>
                    <a:gd name="T38" fmla="*/ 476 w 946"/>
                    <a:gd name="T39" fmla="*/ 1329 h 1681"/>
                    <a:gd name="T40" fmla="*/ 374 w 946"/>
                    <a:gd name="T41" fmla="*/ 1342 h 1681"/>
                    <a:gd name="T42" fmla="*/ 368 w 946"/>
                    <a:gd name="T43" fmla="*/ 1357 h 1681"/>
                    <a:gd name="T44" fmla="*/ 432 w 946"/>
                    <a:gd name="T45" fmla="*/ 1457 h 1681"/>
                    <a:gd name="T46" fmla="*/ 433 w 946"/>
                    <a:gd name="T47" fmla="*/ 1465 h 1681"/>
                    <a:gd name="T48" fmla="*/ 358 w 946"/>
                    <a:gd name="T49" fmla="*/ 1667 h 1681"/>
                    <a:gd name="T50" fmla="*/ 368 w 946"/>
                    <a:gd name="T51" fmla="*/ 1681 h 1681"/>
                    <a:gd name="T52" fmla="*/ 574 w 946"/>
                    <a:gd name="T53" fmla="*/ 1681 h 1681"/>
                    <a:gd name="T54" fmla="*/ 583 w 946"/>
                    <a:gd name="T55" fmla="*/ 1667 h 16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46" h="1681">
                      <a:moveTo>
                        <a:pt x="928" y="647"/>
                      </a:moveTo>
                      <a:cubicBezTo>
                        <a:pt x="928" y="647"/>
                        <a:pt x="928" y="647"/>
                        <a:pt x="928" y="646"/>
                      </a:cubicBezTo>
                      <a:cubicBezTo>
                        <a:pt x="926" y="647"/>
                        <a:pt x="919" y="672"/>
                        <a:pt x="874" y="722"/>
                      </a:cubicBezTo>
                      <a:cubicBezTo>
                        <a:pt x="874" y="722"/>
                        <a:pt x="874" y="722"/>
                        <a:pt x="840" y="722"/>
                      </a:cubicBezTo>
                      <a:cubicBezTo>
                        <a:pt x="840" y="722"/>
                        <a:pt x="840" y="704"/>
                        <a:pt x="835" y="366"/>
                      </a:cubicBezTo>
                      <a:cubicBezTo>
                        <a:pt x="782" y="637"/>
                        <a:pt x="214" y="388"/>
                        <a:pt x="214" y="388"/>
                      </a:cubicBezTo>
                      <a:cubicBezTo>
                        <a:pt x="73" y="431"/>
                        <a:pt x="98" y="716"/>
                        <a:pt x="98" y="716"/>
                      </a:cubicBezTo>
                      <a:cubicBezTo>
                        <a:pt x="98" y="716"/>
                        <a:pt x="98" y="716"/>
                        <a:pt x="67" y="713"/>
                      </a:cubicBezTo>
                      <a:cubicBezTo>
                        <a:pt x="67" y="713"/>
                        <a:pt x="67" y="695"/>
                        <a:pt x="20" y="653"/>
                      </a:cubicBezTo>
                      <a:cubicBezTo>
                        <a:pt x="20" y="653"/>
                        <a:pt x="20" y="652"/>
                        <a:pt x="20" y="652"/>
                      </a:cubicBezTo>
                      <a:cubicBezTo>
                        <a:pt x="0" y="600"/>
                        <a:pt x="1" y="543"/>
                        <a:pt x="1" y="483"/>
                      </a:cubicBezTo>
                      <a:cubicBezTo>
                        <a:pt x="1" y="216"/>
                        <a:pt x="206" y="0"/>
                        <a:pt x="473" y="0"/>
                      </a:cubicBezTo>
                      <a:cubicBezTo>
                        <a:pt x="740" y="0"/>
                        <a:pt x="945" y="216"/>
                        <a:pt x="945" y="483"/>
                      </a:cubicBezTo>
                      <a:cubicBezTo>
                        <a:pt x="945" y="541"/>
                        <a:pt x="946" y="596"/>
                        <a:pt x="928" y="647"/>
                      </a:cubicBezTo>
                      <a:close/>
                      <a:moveTo>
                        <a:pt x="583" y="1667"/>
                      </a:moveTo>
                      <a:cubicBezTo>
                        <a:pt x="514" y="1465"/>
                        <a:pt x="514" y="1465"/>
                        <a:pt x="514" y="1465"/>
                      </a:cubicBezTo>
                      <a:cubicBezTo>
                        <a:pt x="513" y="1462"/>
                        <a:pt x="514" y="1459"/>
                        <a:pt x="515" y="1457"/>
                      </a:cubicBezTo>
                      <a:cubicBezTo>
                        <a:pt x="579" y="1356"/>
                        <a:pt x="579" y="1356"/>
                        <a:pt x="579" y="1356"/>
                      </a:cubicBezTo>
                      <a:cubicBezTo>
                        <a:pt x="582" y="1351"/>
                        <a:pt x="579" y="1344"/>
                        <a:pt x="573" y="1342"/>
                      </a:cubicBezTo>
                      <a:cubicBezTo>
                        <a:pt x="552" y="1337"/>
                        <a:pt x="510" y="1329"/>
                        <a:pt x="476" y="1329"/>
                      </a:cubicBezTo>
                      <a:cubicBezTo>
                        <a:pt x="442" y="1329"/>
                        <a:pt x="396" y="1338"/>
                        <a:pt x="374" y="1342"/>
                      </a:cubicBezTo>
                      <a:cubicBezTo>
                        <a:pt x="368" y="1344"/>
                        <a:pt x="365" y="1351"/>
                        <a:pt x="368" y="1357"/>
                      </a:cubicBezTo>
                      <a:cubicBezTo>
                        <a:pt x="432" y="1457"/>
                        <a:pt x="432" y="1457"/>
                        <a:pt x="432" y="1457"/>
                      </a:cubicBezTo>
                      <a:cubicBezTo>
                        <a:pt x="433" y="1460"/>
                        <a:pt x="434" y="1463"/>
                        <a:pt x="433" y="1465"/>
                      </a:cubicBezTo>
                      <a:cubicBezTo>
                        <a:pt x="358" y="1667"/>
                        <a:pt x="358" y="1667"/>
                        <a:pt x="358" y="1667"/>
                      </a:cubicBezTo>
                      <a:cubicBezTo>
                        <a:pt x="356" y="1674"/>
                        <a:pt x="361" y="1681"/>
                        <a:pt x="368" y="1681"/>
                      </a:cubicBezTo>
                      <a:cubicBezTo>
                        <a:pt x="574" y="1681"/>
                        <a:pt x="574" y="1681"/>
                        <a:pt x="574" y="1681"/>
                      </a:cubicBezTo>
                      <a:cubicBezTo>
                        <a:pt x="581" y="1681"/>
                        <a:pt x="585" y="1674"/>
                        <a:pt x="583" y="1667"/>
                      </a:cubicBez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" name="Freeform 16">
                  <a:extLst>
                    <a:ext uri="{FF2B5EF4-FFF2-40B4-BE49-F238E27FC236}">
                      <a16:creationId xmlns:a16="http://schemas.microsoft.com/office/drawing/2014/main" id="{D033E5D7-D092-40EC-9EC7-B6BB71F5CC6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52110" y="3318129"/>
                  <a:ext cx="1288923" cy="686562"/>
                </a:xfrm>
                <a:custGeom>
                  <a:avLst/>
                  <a:gdLst>
                    <a:gd name="T0" fmla="*/ 26 w 1806"/>
                    <a:gd name="T1" fmla="*/ 961 h 961"/>
                    <a:gd name="T2" fmla="*/ 5 w 1806"/>
                    <a:gd name="T3" fmla="*/ 931 h 961"/>
                    <a:gd name="T4" fmla="*/ 223 w 1806"/>
                    <a:gd name="T5" fmla="*/ 614 h 961"/>
                    <a:gd name="T6" fmla="*/ 602 w 1806"/>
                    <a:gd name="T7" fmla="*/ 548 h 961"/>
                    <a:gd name="T8" fmla="*/ 612 w 1806"/>
                    <a:gd name="T9" fmla="*/ 555 h 961"/>
                    <a:gd name="T10" fmla="*/ 703 w 1806"/>
                    <a:gd name="T11" fmla="*/ 948 h 961"/>
                    <a:gd name="T12" fmla="*/ 693 w 1806"/>
                    <a:gd name="T13" fmla="*/ 961 h 961"/>
                    <a:gd name="T14" fmla="*/ 26 w 1806"/>
                    <a:gd name="T15" fmla="*/ 961 h 961"/>
                    <a:gd name="T16" fmla="*/ 1780 w 1806"/>
                    <a:gd name="T17" fmla="*/ 961 h 961"/>
                    <a:gd name="T18" fmla="*/ 1801 w 1806"/>
                    <a:gd name="T19" fmla="*/ 931 h 961"/>
                    <a:gd name="T20" fmla="*/ 1583 w 1806"/>
                    <a:gd name="T21" fmla="*/ 614 h 961"/>
                    <a:gd name="T22" fmla="*/ 1204 w 1806"/>
                    <a:gd name="T23" fmla="*/ 548 h 961"/>
                    <a:gd name="T24" fmla="*/ 1194 w 1806"/>
                    <a:gd name="T25" fmla="*/ 555 h 961"/>
                    <a:gd name="T26" fmla="*/ 1103 w 1806"/>
                    <a:gd name="T27" fmla="*/ 948 h 961"/>
                    <a:gd name="T28" fmla="*/ 1113 w 1806"/>
                    <a:gd name="T29" fmla="*/ 961 h 961"/>
                    <a:gd name="T30" fmla="*/ 1780 w 1806"/>
                    <a:gd name="T31" fmla="*/ 961 h 961"/>
                    <a:gd name="T32" fmla="*/ 1329 w 1806"/>
                    <a:gd name="T33" fmla="*/ 24 h 961"/>
                    <a:gd name="T34" fmla="*/ 1283 w 1806"/>
                    <a:gd name="T35" fmla="*/ 77 h 961"/>
                    <a:gd name="T36" fmla="*/ 1273 w 1806"/>
                    <a:gd name="T37" fmla="*/ 89 h 961"/>
                    <a:gd name="T38" fmla="*/ 1129 w 1806"/>
                    <a:gd name="T39" fmla="*/ 391 h 961"/>
                    <a:gd name="T40" fmla="*/ 903 w 1806"/>
                    <a:gd name="T41" fmla="*/ 504 h 961"/>
                    <a:gd name="T42" fmla="*/ 677 w 1806"/>
                    <a:gd name="T43" fmla="*/ 391 h 961"/>
                    <a:gd name="T44" fmla="*/ 533 w 1806"/>
                    <a:gd name="T45" fmla="*/ 89 h 961"/>
                    <a:gd name="T46" fmla="*/ 523 w 1806"/>
                    <a:gd name="T47" fmla="*/ 77 h 961"/>
                    <a:gd name="T48" fmla="*/ 477 w 1806"/>
                    <a:gd name="T49" fmla="*/ 24 h 961"/>
                    <a:gd name="T50" fmla="*/ 426 w 1806"/>
                    <a:gd name="T51" fmla="*/ 0 h 961"/>
                    <a:gd name="T52" fmla="*/ 426 w 1806"/>
                    <a:gd name="T53" fmla="*/ 5 h 961"/>
                    <a:gd name="T54" fmla="*/ 495 w 1806"/>
                    <a:gd name="T55" fmla="*/ 112 h 961"/>
                    <a:gd name="T56" fmla="*/ 639 w 1806"/>
                    <a:gd name="T57" fmla="*/ 414 h 961"/>
                    <a:gd name="T58" fmla="*/ 639 w 1806"/>
                    <a:gd name="T59" fmla="*/ 512 h 961"/>
                    <a:gd name="T60" fmla="*/ 646 w 1806"/>
                    <a:gd name="T61" fmla="*/ 522 h 961"/>
                    <a:gd name="T62" fmla="*/ 683 w 1806"/>
                    <a:gd name="T63" fmla="*/ 560 h 961"/>
                    <a:gd name="T64" fmla="*/ 683 w 1806"/>
                    <a:gd name="T65" fmla="*/ 451 h 961"/>
                    <a:gd name="T66" fmla="*/ 903 w 1806"/>
                    <a:gd name="T67" fmla="*/ 548 h 961"/>
                    <a:gd name="T68" fmla="*/ 1123 w 1806"/>
                    <a:gd name="T69" fmla="*/ 451 h 961"/>
                    <a:gd name="T70" fmla="*/ 1123 w 1806"/>
                    <a:gd name="T71" fmla="*/ 560 h 961"/>
                    <a:gd name="T72" fmla="*/ 1160 w 1806"/>
                    <a:gd name="T73" fmla="*/ 522 h 961"/>
                    <a:gd name="T74" fmla="*/ 1167 w 1806"/>
                    <a:gd name="T75" fmla="*/ 512 h 961"/>
                    <a:gd name="T76" fmla="*/ 1167 w 1806"/>
                    <a:gd name="T77" fmla="*/ 414 h 961"/>
                    <a:gd name="T78" fmla="*/ 1311 w 1806"/>
                    <a:gd name="T79" fmla="*/ 112 h 961"/>
                    <a:gd name="T80" fmla="*/ 1380 w 1806"/>
                    <a:gd name="T81" fmla="*/ 3 h 961"/>
                    <a:gd name="T82" fmla="*/ 1380 w 1806"/>
                    <a:gd name="T83" fmla="*/ 0 h 961"/>
                    <a:gd name="T84" fmla="*/ 1329 w 1806"/>
                    <a:gd name="T85" fmla="*/ 24 h 9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806" h="961">
                      <a:moveTo>
                        <a:pt x="26" y="961"/>
                      </a:moveTo>
                      <a:cubicBezTo>
                        <a:pt x="10" y="961"/>
                        <a:pt x="0" y="945"/>
                        <a:pt x="5" y="931"/>
                      </a:cubicBezTo>
                      <a:cubicBezTo>
                        <a:pt x="33" y="857"/>
                        <a:pt x="113" y="664"/>
                        <a:pt x="223" y="614"/>
                      </a:cubicBezTo>
                      <a:cubicBezTo>
                        <a:pt x="344" y="557"/>
                        <a:pt x="558" y="549"/>
                        <a:pt x="602" y="548"/>
                      </a:cubicBezTo>
                      <a:cubicBezTo>
                        <a:pt x="607" y="548"/>
                        <a:pt x="611" y="551"/>
                        <a:pt x="612" y="555"/>
                      </a:cubicBezTo>
                      <a:cubicBezTo>
                        <a:pt x="703" y="948"/>
                        <a:pt x="703" y="948"/>
                        <a:pt x="703" y="948"/>
                      </a:cubicBezTo>
                      <a:cubicBezTo>
                        <a:pt x="704" y="955"/>
                        <a:pt x="700" y="961"/>
                        <a:pt x="693" y="961"/>
                      </a:cubicBezTo>
                      <a:lnTo>
                        <a:pt x="26" y="961"/>
                      </a:lnTo>
                      <a:close/>
                      <a:moveTo>
                        <a:pt x="1780" y="961"/>
                      </a:moveTo>
                      <a:cubicBezTo>
                        <a:pt x="1796" y="961"/>
                        <a:pt x="1806" y="945"/>
                        <a:pt x="1801" y="931"/>
                      </a:cubicBezTo>
                      <a:cubicBezTo>
                        <a:pt x="1773" y="857"/>
                        <a:pt x="1693" y="664"/>
                        <a:pt x="1583" y="614"/>
                      </a:cubicBezTo>
                      <a:cubicBezTo>
                        <a:pt x="1462" y="557"/>
                        <a:pt x="1248" y="549"/>
                        <a:pt x="1204" y="548"/>
                      </a:cubicBezTo>
                      <a:cubicBezTo>
                        <a:pt x="1199" y="548"/>
                        <a:pt x="1195" y="551"/>
                        <a:pt x="1194" y="555"/>
                      </a:cubicBezTo>
                      <a:cubicBezTo>
                        <a:pt x="1103" y="948"/>
                        <a:pt x="1103" y="948"/>
                        <a:pt x="1103" y="948"/>
                      </a:cubicBezTo>
                      <a:cubicBezTo>
                        <a:pt x="1102" y="955"/>
                        <a:pt x="1106" y="961"/>
                        <a:pt x="1113" y="961"/>
                      </a:cubicBezTo>
                      <a:lnTo>
                        <a:pt x="1780" y="961"/>
                      </a:lnTo>
                      <a:close/>
                      <a:moveTo>
                        <a:pt x="1329" y="24"/>
                      </a:moveTo>
                      <a:cubicBezTo>
                        <a:pt x="1322" y="43"/>
                        <a:pt x="1308" y="65"/>
                        <a:pt x="1283" y="77"/>
                      </a:cubicBezTo>
                      <a:cubicBezTo>
                        <a:pt x="1278" y="80"/>
                        <a:pt x="1274" y="84"/>
                        <a:pt x="1273" y="89"/>
                      </a:cubicBezTo>
                      <a:cubicBezTo>
                        <a:pt x="1232" y="192"/>
                        <a:pt x="1157" y="365"/>
                        <a:pt x="1129" y="391"/>
                      </a:cubicBezTo>
                      <a:cubicBezTo>
                        <a:pt x="1084" y="430"/>
                        <a:pt x="968" y="504"/>
                        <a:pt x="903" y="504"/>
                      </a:cubicBezTo>
                      <a:cubicBezTo>
                        <a:pt x="838" y="504"/>
                        <a:pt x="722" y="430"/>
                        <a:pt x="677" y="391"/>
                      </a:cubicBezTo>
                      <a:cubicBezTo>
                        <a:pt x="649" y="365"/>
                        <a:pt x="574" y="192"/>
                        <a:pt x="533" y="89"/>
                      </a:cubicBezTo>
                      <a:cubicBezTo>
                        <a:pt x="532" y="84"/>
                        <a:pt x="528" y="80"/>
                        <a:pt x="523" y="77"/>
                      </a:cubicBezTo>
                      <a:cubicBezTo>
                        <a:pt x="498" y="65"/>
                        <a:pt x="484" y="43"/>
                        <a:pt x="477" y="24"/>
                      </a:cubicBez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2"/>
                        <a:pt x="426" y="4"/>
                        <a:pt x="426" y="5"/>
                      </a:cubicBezTo>
                      <a:cubicBezTo>
                        <a:pt x="431" y="33"/>
                        <a:pt x="446" y="83"/>
                        <a:pt x="495" y="112"/>
                      </a:cubicBezTo>
                      <a:cubicBezTo>
                        <a:pt x="517" y="168"/>
                        <a:pt x="594" y="359"/>
                        <a:pt x="639" y="414"/>
                      </a:cubicBezTo>
                      <a:cubicBezTo>
                        <a:pt x="639" y="512"/>
                        <a:pt x="639" y="512"/>
                        <a:pt x="639" y="512"/>
                      </a:cubicBezTo>
                      <a:cubicBezTo>
                        <a:pt x="646" y="522"/>
                        <a:pt x="646" y="522"/>
                        <a:pt x="646" y="522"/>
                      </a:cubicBezTo>
                      <a:cubicBezTo>
                        <a:pt x="648" y="524"/>
                        <a:pt x="660" y="540"/>
                        <a:pt x="683" y="560"/>
                      </a:cubicBezTo>
                      <a:cubicBezTo>
                        <a:pt x="683" y="451"/>
                        <a:pt x="683" y="451"/>
                        <a:pt x="683" y="451"/>
                      </a:cubicBezTo>
                      <a:cubicBezTo>
                        <a:pt x="742" y="494"/>
                        <a:pt x="838" y="548"/>
                        <a:pt x="903" y="548"/>
                      </a:cubicBezTo>
                      <a:cubicBezTo>
                        <a:pt x="968" y="548"/>
                        <a:pt x="1064" y="494"/>
                        <a:pt x="1123" y="451"/>
                      </a:cubicBezTo>
                      <a:cubicBezTo>
                        <a:pt x="1123" y="560"/>
                        <a:pt x="1123" y="560"/>
                        <a:pt x="1123" y="560"/>
                      </a:cubicBezTo>
                      <a:cubicBezTo>
                        <a:pt x="1146" y="540"/>
                        <a:pt x="1158" y="524"/>
                        <a:pt x="1160" y="522"/>
                      </a:cubicBezTo>
                      <a:cubicBezTo>
                        <a:pt x="1167" y="512"/>
                        <a:pt x="1167" y="512"/>
                        <a:pt x="1167" y="512"/>
                      </a:cubicBezTo>
                      <a:cubicBezTo>
                        <a:pt x="1167" y="414"/>
                        <a:pt x="1167" y="414"/>
                        <a:pt x="1167" y="414"/>
                      </a:cubicBezTo>
                      <a:cubicBezTo>
                        <a:pt x="1212" y="358"/>
                        <a:pt x="1289" y="168"/>
                        <a:pt x="1311" y="112"/>
                      </a:cubicBezTo>
                      <a:cubicBezTo>
                        <a:pt x="1363" y="82"/>
                        <a:pt x="1377" y="26"/>
                        <a:pt x="1380" y="3"/>
                      </a:cubicBezTo>
                      <a:cubicBezTo>
                        <a:pt x="1380" y="2"/>
                        <a:pt x="1380" y="1"/>
                        <a:pt x="1380" y="0"/>
                      </a:cubicBezTo>
                      <a:lnTo>
                        <a:pt x="1329" y="24"/>
                      </a:ln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9" name="Group 8"/>
          <p:cNvGrpSpPr/>
          <p:nvPr/>
        </p:nvGrpSpPr>
        <p:grpSpPr>
          <a:xfrm>
            <a:off x="8381103" y="951807"/>
            <a:ext cx="1198000" cy="1198000"/>
            <a:chOff x="8381103" y="1220162"/>
            <a:chExt cx="1198000" cy="1198000"/>
          </a:xfrm>
        </p:grpSpPr>
        <p:sp>
          <p:nvSpPr>
            <p:cNvPr id="51" name="Diamond 50">
              <a:extLst>
                <a:ext uri="{FF2B5EF4-FFF2-40B4-BE49-F238E27FC236}">
                  <a16:creationId xmlns:a16="http://schemas.microsoft.com/office/drawing/2014/main" id="{FB7F192C-B2C2-4BAD-ABF1-6475E1AD7B60}"/>
                </a:ext>
              </a:extLst>
            </p:cNvPr>
            <p:cNvSpPr/>
            <p:nvPr/>
          </p:nvSpPr>
          <p:spPr>
            <a:xfrm>
              <a:off x="8381103" y="1220162"/>
              <a:ext cx="1198000" cy="1198000"/>
            </a:xfrm>
            <a:prstGeom prst="diamond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47" name="bcgIcons_Email">
              <a:extLst>
                <a:ext uri="{FF2B5EF4-FFF2-40B4-BE49-F238E27FC236}">
                  <a16:creationId xmlns:a16="http://schemas.microsoft.com/office/drawing/2014/main" id="{14E48010-362D-4F7B-81F1-B234BC46F8C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64329" y="1503694"/>
              <a:ext cx="630352" cy="630936"/>
              <a:chOff x="1682" y="0"/>
              <a:chExt cx="4316" cy="4320"/>
            </a:xfrm>
          </p:grpSpPr>
          <p:sp>
            <p:nvSpPr>
              <p:cNvPr id="48" name="AutoShape 13">
                <a:extLst>
                  <a:ext uri="{FF2B5EF4-FFF2-40B4-BE49-F238E27FC236}">
                    <a16:creationId xmlns:a16="http://schemas.microsoft.com/office/drawing/2014/main" id="{4E99E364-E4F7-4087-BAC7-4C5CC78052C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15">
                <a:extLst>
                  <a:ext uri="{FF2B5EF4-FFF2-40B4-BE49-F238E27FC236}">
                    <a16:creationId xmlns:a16="http://schemas.microsoft.com/office/drawing/2014/main" id="{77D4DAC2-2D63-437A-9EE1-56FD5AE060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6" y="1155"/>
                <a:ext cx="2788" cy="2010"/>
              </a:xfrm>
              <a:custGeom>
                <a:avLst/>
                <a:gdLst>
                  <a:gd name="T0" fmla="*/ 1488 w 1488"/>
                  <a:gd name="T1" fmla="*/ 65 h 1072"/>
                  <a:gd name="T2" fmla="*/ 1488 w 1488"/>
                  <a:gd name="T3" fmla="*/ 1050 h 1072"/>
                  <a:gd name="T4" fmla="*/ 1477 w 1488"/>
                  <a:gd name="T5" fmla="*/ 1055 h 1072"/>
                  <a:gd name="T6" fmla="*/ 978 w 1488"/>
                  <a:gd name="T7" fmla="*/ 494 h 1072"/>
                  <a:gd name="T8" fmla="*/ 978 w 1488"/>
                  <a:gd name="T9" fmla="*/ 484 h 1072"/>
                  <a:gd name="T10" fmla="*/ 1488 w 1488"/>
                  <a:gd name="T11" fmla="*/ 65 h 1072"/>
                  <a:gd name="T12" fmla="*/ 1488 w 1488"/>
                  <a:gd name="T13" fmla="*/ 65 h 1072"/>
                  <a:gd name="T14" fmla="*/ 0 w 1488"/>
                  <a:gd name="T15" fmla="*/ 65 h 1072"/>
                  <a:gd name="T16" fmla="*/ 0 w 1488"/>
                  <a:gd name="T17" fmla="*/ 1050 h 1072"/>
                  <a:gd name="T18" fmla="*/ 11 w 1488"/>
                  <a:gd name="T19" fmla="*/ 1055 h 1072"/>
                  <a:gd name="T20" fmla="*/ 510 w 1488"/>
                  <a:gd name="T21" fmla="*/ 494 h 1072"/>
                  <a:gd name="T22" fmla="*/ 510 w 1488"/>
                  <a:gd name="T23" fmla="*/ 484 h 1072"/>
                  <a:gd name="T24" fmla="*/ 0 w 1488"/>
                  <a:gd name="T25" fmla="*/ 65 h 1072"/>
                  <a:gd name="T26" fmla="*/ 0 w 1488"/>
                  <a:gd name="T27" fmla="*/ 65 h 1072"/>
                  <a:gd name="T28" fmla="*/ 1399 w 1488"/>
                  <a:gd name="T29" fmla="*/ 1072 h 1072"/>
                  <a:gd name="T30" fmla="*/ 1399 w 1488"/>
                  <a:gd name="T31" fmla="*/ 1072 h 1072"/>
                  <a:gd name="T32" fmla="*/ 934 w 1488"/>
                  <a:gd name="T33" fmla="*/ 546 h 1072"/>
                  <a:gd name="T34" fmla="*/ 925 w 1488"/>
                  <a:gd name="T35" fmla="*/ 545 h 1072"/>
                  <a:gd name="T36" fmla="*/ 750 w 1488"/>
                  <a:gd name="T37" fmla="*/ 701 h 1072"/>
                  <a:gd name="T38" fmla="*/ 742 w 1488"/>
                  <a:gd name="T39" fmla="*/ 701 h 1072"/>
                  <a:gd name="T40" fmla="*/ 566 w 1488"/>
                  <a:gd name="T41" fmla="*/ 545 h 1072"/>
                  <a:gd name="T42" fmla="*/ 558 w 1488"/>
                  <a:gd name="T43" fmla="*/ 546 h 1072"/>
                  <a:gd name="T44" fmla="*/ 90 w 1488"/>
                  <a:gd name="T45" fmla="*/ 1061 h 1072"/>
                  <a:gd name="T46" fmla="*/ 95 w 1488"/>
                  <a:gd name="T47" fmla="*/ 1072 h 1072"/>
                  <a:gd name="T48" fmla="*/ 1399 w 1488"/>
                  <a:gd name="T49" fmla="*/ 1072 h 1072"/>
                  <a:gd name="T50" fmla="*/ 1399 w 1488"/>
                  <a:gd name="T51" fmla="*/ 1072 h 1072"/>
                  <a:gd name="T52" fmla="*/ 1461 w 1488"/>
                  <a:gd name="T53" fmla="*/ 0 h 1072"/>
                  <a:gd name="T54" fmla="*/ 27 w 1488"/>
                  <a:gd name="T55" fmla="*/ 0 h 1072"/>
                  <a:gd name="T56" fmla="*/ 23 w 1488"/>
                  <a:gd name="T57" fmla="*/ 11 h 1072"/>
                  <a:gd name="T58" fmla="*/ 738 w 1488"/>
                  <a:gd name="T59" fmla="*/ 605 h 1072"/>
                  <a:gd name="T60" fmla="*/ 746 w 1488"/>
                  <a:gd name="T61" fmla="*/ 605 h 1072"/>
                  <a:gd name="T62" fmla="*/ 1465 w 1488"/>
                  <a:gd name="T63" fmla="*/ 11 h 1072"/>
                  <a:gd name="T64" fmla="*/ 1461 w 1488"/>
                  <a:gd name="T65" fmla="*/ 0 h 10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88" h="1072">
                    <a:moveTo>
                      <a:pt x="1488" y="65"/>
                    </a:moveTo>
                    <a:cubicBezTo>
                      <a:pt x="1488" y="1050"/>
                      <a:pt x="1488" y="1050"/>
                      <a:pt x="1488" y="1050"/>
                    </a:cubicBezTo>
                    <a:cubicBezTo>
                      <a:pt x="1488" y="1056"/>
                      <a:pt x="1481" y="1059"/>
                      <a:pt x="1477" y="1055"/>
                    </a:cubicBezTo>
                    <a:cubicBezTo>
                      <a:pt x="978" y="494"/>
                      <a:pt x="978" y="494"/>
                      <a:pt x="978" y="494"/>
                    </a:cubicBezTo>
                    <a:cubicBezTo>
                      <a:pt x="975" y="491"/>
                      <a:pt x="976" y="487"/>
                      <a:pt x="978" y="484"/>
                    </a:cubicBezTo>
                    <a:cubicBezTo>
                      <a:pt x="1488" y="65"/>
                      <a:pt x="1488" y="65"/>
                      <a:pt x="1488" y="65"/>
                    </a:cubicBezTo>
                    <a:cubicBezTo>
                      <a:pt x="1488" y="65"/>
                      <a:pt x="1488" y="65"/>
                      <a:pt x="1488" y="65"/>
                    </a:cubicBezTo>
                    <a:close/>
                    <a:moveTo>
                      <a:pt x="0" y="65"/>
                    </a:moveTo>
                    <a:cubicBezTo>
                      <a:pt x="0" y="1050"/>
                      <a:pt x="0" y="1050"/>
                      <a:pt x="0" y="1050"/>
                    </a:cubicBezTo>
                    <a:cubicBezTo>
                      <a:pt x="0" y="1056"/>
                      <a:pt x="7" y="1059"/>
                      <a:pt x="11" y="1055"/>
                    </a:cubicBezTo>
                    <a:cubicBezTo>
                      <a:pt x="510" y="494"/>
                      <a:pt x="510" y="494"/>
                      <a:pt x="510" y="494"/>
                    </a:cubicBezTo>
                    <a:cubicBezTo>
                      <a:pt x="513" y="491"/>
                      <a:pt x="512" y="487"/>
                      <a:pt x="510" y="484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65"/>
                      <a:pt x="0" y="65"/>
                      <a:pt x="0" y="65"/>
                    </a:cubicBezTo>
                    <a:close/>
                    <a:moveTo>
                      <a:pt x="1399" y="1072"/>
                    </a:moveTo>
                    <a:cubicBezTo>
                      <a:pt x="1399" y="1072"/>
                      <a:pt x="1399" y="1072"/>
                      <a:pt x="1399" y="1072"/>
                    </a:cubicBezTo>
                    <a:cubicBezTo>
                      <a:pt x="934" y="546"/>
                      <a:pt x="934" y="546"/>
                      <a:pt x="934" y="546"/>
                    </a:cubicBezTo>
                    <a:cubicBezTo>
                      <a:pt x="931" y="543"/>
                      <a:pt x="928" y="542"/>
                      <a:pt x="925" y="545"/>
                    </a:cubicBezTo>
                    <a:cubicBezTo>
                      <a:pt x="750" y="701"/>
                      <a:pt x="750" y="701"/>
                      <a:pt x="750" y="701"/>
                    </a:cubicBezTo>
                    <a:cubicBezTo>
                      <a:pt x="748" y="703"/>
                      <a:pt x="744" y="703"/>
                      <a:pt x="742" y="701"/>
                    </a:cubicBezTo>
                    <a:cubicBezTo>
                      <a:pt x="566" y="545"/>
                      <a:pt x="566" y="545"/>
                      <a:pt x="566" y="545"/>
                    </a:cubicBezTo>
                    <a:cubicBezTo>
                      <a:pt x="564" y="542"/>
                      <a:pt x="560" y="542"/>
                      <a:pt x="558" y="546"/>
                    </a:cubicBezTo>
                    <a:cubicBezTo>
                      <a:pt x="90" y="1061"/>
                      <a:pt x="90" y="1061"/>
                      <a:pt x="90" y="1061"/>
                    </a:cubicBezTo>
                    <a:cubicBezTo>
                      <a:pt x="86" y="1065"/>
                      <a:pt x="89" y="1072"/>
                      <a:pt x="95" y="1072"/>
                    </a:cubicBezTo>
                    <a:cubicBezTo>
                      <a:pt x="1399" y="1072"/>
                      <a:pt x="1399" y="1072"/>
                      <a:pt x="1399" y="1072"/>
                    </a:cubicBezTo>
                    <a:cubicBezTo>
                      <a:pt x="1399" y="1072"/>
                      <a:pt x="1399" y="1072"/>
                      <a:pt x="1399" y="1072"/>
                    </a:cubicBezTo>
                    <a:close/>
                    <a:moveTo>
                      <a:pt x="1461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21" y="0"/>
                      <a:pt x="19" y="8"/>
                      <a:pt x="23" y="11"/>
                    </a:cubicBezTo>
                    <a:cubicBezTo>
                      <a:pt x="738" y="605"/>
                      <a:pt x="738" y="605"/>
                      <a:pt x="738" y="605"/>
                    </a:cubicBezTo>
                    <a:cubicBezTo>
                      <a:pt x="740" y="607"/>
                      <a:pt x="743" y="607"/>
                      <a:pt x="746" y="605"/>
                    </a:cubicBezTo>
                    <a:cubicBezTo>
                      <a:pt x="1465" y="11"/>
                      <a:pt x="1465" y="11"/>
                      <a:pt x="1465" y="11"/>
                    </a:cubicBezTo>
                    <a:cubicBezTo>
                      <a:pt x="1469" y="8"/>
                      <a:pt x="1466" y="0"/>
                      <a:pt x="1461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6">
                <a:extLst>
                  <a:ext uri="{FF2B5EF4-FFF2-40B4-BE49-F238E27FC236}">
                    <a16:creationId xmlns:a16="http://schemas.microsoft.com/office/drawing/2014/main" id="{8A7CBF1E-CF5A-4A55-B118-1F8C4DA0FE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57" y="988"/>
                <a:ext cx="3166" cy="2344"/>
              </a:xfrm>
              <a:custGeom>
                <a:avLst/>
                <a:gdLst>
                  <a:gd name="T0" fmla="*/ 1668 w 1690"/>
                  <a:gd name="T1" fmla="*/ 1250 h 1250"/>
                  <a:gd name="T2" fmla="*/ 22 w 1690"/>
                  <a:gd name="T3" fmla="*/ 1250 h 1250"/>
                  <a:gd name="T4" fmla="*/ 0 w 1690"/>
                  <a:gd name="T5" fmla="*/ 1228 h 1250"/>
                  <a:gd name="T6" fmla="*/ 0 w 1690"/>
                  <a:gd name="T7" fmla="*/ 22 h 1250"/>
                  <a:gd name="T8" fmla="*/ 22 w 1690"/>
                  <a:gd name="T9" fmla="*/ 0 h 1250"/>
                  <a:gd name="T10" fmla="*/ 1668 w 1690"/>
                  <a:gd name="T11" fmla="*/ 0 h 1250"/>
                  <a:gd name="T12" fmla="*/ 1690 w 1690"/>
                  <a:gd name="T13" fmla="*/ 22 h 1250"/>
                  <a:gd name="T14" fmla="*/ 1690 w 1690"/>
                  <a:gd name="T15" fmla="*/ 1228 h 1250"/>
                  <a:gd name="T16" fmla="*/ 1668 w 1690"/>
                  <a:gd name="T17" fmla="*/ 1250 h 1250"/>
                  <a:gd name="T18" fmla="*/ 44 w 1690"/>
                  <a:gd name="T19" fmla="*/ 1206 h 1250"/>
                  <a:gd name="T20" fmla="*/ 1646 w 1690"/>
                  <a:gd name="T21" fmla="*/ 1206 h 1250"/>
                  <a:gd name="T22" fmla="*/ 1646 w 1690"/>
                  <a:gd name="T23" fmla="*/ 44 h 1250"/>
                  <a:gd name="T24" fmla="*/ 44 w 1690"/>
                  <a:gd name="T25" fmla="*/ 44 h 1250"/>
                  <a:gd name="T26" fmla="*/ 44 w 1690"/>
                  <a:gd name="T27" fmla="*/ 1206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90" h="1250">
                    <a:moveTo>
                      <a:pt x="1668" y="1250"/>
                    </a:moveTo>
                    <a:cubicBezTo>
                      <a:pt x="22" y="1250"/>
                      <a:pt x="22" y="1250"/>
                      <a:pt x="22" y="1250"/>
                    </a:cubicBezTo>
                    <a:cubicBezTo>
                      <a:pt x="10" y="1250"/>
                      <a:pt x="0" y="1240"/>
                      <a:pt x="0" y="1228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2" y="0"/>
                    </a:cubicBezTo>
                    <a:cubicBezTo>
                      <a:pt x="1668" y="0"/>
                      <a:pt x="1668" y="0"/>
                      <a:pt x="1668" y="0"/>
                    </a:cubicBezTo>
                    <a:cubicBezTo>
                      <a:pt x="1680" y="0"/>
                      <a:pt x="1690" y="10"/>
                      <a:pt x="1690" y="22"/>
                    </a:cubicBezTo>
                    <a:cubicBezTo>
                      <a:pt x="1690" y="1228"/>
                      <a:pt x="1690" y="1228"/>
                      <a:pt x="1690" y="1228"/>
                    </a:cubicBezTo>
                    <a:cubicBezTo>
                      <a:pt x="1690" y="1240"/>
                      <a:pt x="1680" y="1250"/>
                      <a:pt x="1668" y="1250"/>
                    </a:cubicBezTo>
                    <a:close/>
                    <a:moveTo>
                      <a:pt x="44" y="1206"/>
                    </a:moveTo>
                    <a:cubicBezTo>
                      <a:pt x="1646" y="1206"/>
                      <a:pt x="1646" y="1206"/>
                      <a:pt x="1646" y="1206"/>
                    </a:cubicBezTo>
                    <a:cubicBezTo>
                      <a:pt x="1646" y="44"/>
                      <a:pt x="1646" y="44"/>
                      <a:pt x="1646" y="44"/>
                    </a:cubicBezTo>
                    <a:cubicBezTo>
                      <a:pt x="44" y="44"/>
                      <a:pt x="44" y="44"/>
                      <a:pt x="44" y="44"/>
                    </a:cubicBezTo>
                    <a:lnTo>
                      <a:pt x="44" y="1206"/>
                    </a:ln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" name="Title 1">
            <a:extLst>
              <a:ext uri="{FF2B5EF4-FFF2-40B4-BE49-F238E27FC236}">
                <a16:creationId xmlns:a16="http://schemas.microsoft.com/office/drawing/2014/main" id="{8CB6999C-049F-4A9B-A6F1-7E6DE0B2AB93}"/>
              </a:ext>
            </a:extLst>
          </p:cNvPr>
          <p:cNvSpPr txBox="1">
            <a:spLocks/>
          </p:cNvSpPr>
          <p:nvPr/>
        </p:nvSpPr>
        <p:spPr>
          <a:xfrm>
            <a:off x="353136" y="2042655"/>
            <a:ext cx="2500389" cy="207749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/>
            <a:r>
              <a:rPr lang="en-US" sz="3400" err="1"/>
              <a:t>ARPA</a:t>
            </a:r>
            <a:r>
              <a:rPr lang="en-US" sz="3400"/>
              <a:t> grant points of contact</a:t>
            </a:r>
            <a:endParaRPr lang="en-US" i="1"/>
          </a:p>
          <a:p>
            <a:pPr algn="ctr"/>
            <a:endParaRPr lang="en-US" i="1"/>
          </a:p>
          <a:p>
            <a:pPr algn="ctr"/>
            <a:r>
              <a:rPr lang="en-US" i="1"/>
              <a:t>(as of 3/302022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790160-B36F-4BD4-A85B-374BCB11D708}"/>
              </a:ext>
            </a:extLst>
          </p:cNvPr>
          <p:cNvSpPr txBox="1"/>
          <p:nvPr/>
        </p:nvSpPr>
        <p:spPr>
          <a:xfrm>
            <a:off x="3728726" y="6095396"/>
            <a:ext cx="7618343" cy="584775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sym typeface="Trebuchet MS" panose="020B0603020202020204" pitchFamily="34" charset="0"/>
              </a:rPr>
              <a:t>If school/training provider has procurement question for application, they need to reach out to names on RFP</a:t>
            </a:r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00E05F45-1A41-4187-B75C-BF5D3525D8EB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0" name="Oval 20">
            <a:extLst>
              <a:ext uri="{FF2B5EF4-FFF2-40B4-BE49-F238E27FC236}">
                <a16:creationId xmlns:a16="http://schemas.microsoft.com/office/drawing/2014/main" id="{53BDE334-EB84-4774-A7A3-EACDE8359E7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3718093-6801-4032-8A16-4F79C5871B16}"/>
              </a:ext>
            </a:extLst>
          </p:cNvPr>
          <p:cNvSpPr txBox="1">
            <a:spLocks/>
          </p:cNvSpPr>
          <p:nvPr/>
        </p:nvSpPr>
        <p:spPr>
          <a:xfrm>
            <a:off x="462684" y="304799"/>
            <a:ext cx="2257367" cy="26235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ARPA pipeline training grants</a:t>
            </a:r>
          </a:p>
        </p:txBody>
      </p:sp>
    </p:spTree>
    <p:extLst>
      <p:ext uri="{BB962C8B-B14F-4D97-AF65-F5344CB8AC3E}">
        <p14:creationId xmlns:p14="http://schemas.microsoft.com/office/powerpoint/2010/main" val="291077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mployer-facing grant summ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3435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9" name="Picture 78" descr="A group of people walking through a building&#10;&#10;Description automatically generated with medium confidence">
            <a:extLst>
              <a:ext uri="{FF2B5EF4-FFF2-40B4-BE49-F238E27FC236}">
                <a16:creationId xmlns:a16="http://schemas.microsoft.com/office/drawing/2014/main" id="{8C3EC328-A011-4944-AB52-2871D3661C4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1999" cy="1665363"/>
          </a:xfrm>
          <a:prstGeom prst="rect">
            <a:avLst/>
          </a:prstGeom>
        </p:spPr>
      </p:pic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713445" y="1817297"/>
            <a:ext cx="3978424" cy="33701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The Workforce Skills Cabinet and Commonwealth Corporation have launched WCTF to supply employers and training providers with the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funding to develop programs that will train new workers to address employers’ hiring needs</a:t>
            </a: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The program is designed to match employers with local training providers with the goal of establishing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sustainable talent development pipelines</a:t>
            </a: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. Within these partnerships employers will give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input into curriculum design</a:t>
            </a:r>
            <a:r>
              <a:rPr lang="en-US" sz="1200">
                <a:solidFill>
                  <a:srgbClr val="00269E"/>
                </a:solidFill>
                <a:cs typeface="Henderson BCG Sans" panose="020B0502030402020204" pitchFamily="34" charset="0"/>
              </a:rPr>
              <a:t> </a:t>
            </a: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and the types of workers they need help recruiting</a:t>
            </a:r>
          </a:p>
          <a:p>
            <a:pPr>
              <a:spcAft>
                <a:spcPts val="600"/>
              </a:spcAft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In addition to program funding, employer/training provider partnerships will receive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technical assistance and recruiting support</a:t>
            </a:r>
            <a:r>
              <a:rPr lang="en-US" sz="1200">
                <a:solidFill>
                  <a:srgbClr val="00269E"/>
                </a:solidFill>
                <a:cs typeface="Henderson BCG Sans" panose="020B0502030402020204" pitchFamily="34" charset="0"/>
              </a:rPr>
              <a:t> </a:t>
            </a: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from MassHire Career Centers and regional workforce boards</a:t>
            </a:r>
          </a:p>
          <a:p>
            <a:pPr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Awardees can apply for up to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$500k in funding</a:t>
            </a:r>
            <a:r>
              <a:rPr lang="en-US" sz="1200">
                <a:solidFill>
                  <a:srgbClr val="00269E"/>
                </a:solidFill>
                <a:cs typeface="Henderson BCG Sans" panose="020B0502030402020204" pitchFamily="34" charset="0"/>
              </a:rPr>
              <a:t>, </a:t>
            </a: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with the potential for higher amounts subject to consideration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D53AFE9-5161-4534-A466-F27332331FFD}"/>
              </a:ext>
            </a:extLst>
          </p:cNvPr>
          <p:cNvSpPr txBox="1"/>
          <p:nvPr/>
        </p:nvSpPr>
        <p:spPr>
          <a:xfrm>
            <a:off x="5016572" y="1817297"/>
            <a:ext cx="6546776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00269E"/>
                </a:solidFill>
                <a:cs typeface="Henderson BCG Sans" panose="020B0502030402020204" pitchFamily="34" charset="0"/>
              </a:rPr>
              <a:t>The state of Massachusetts has identified five priority industries*</a:t>
            </a:r>
          </a:p>
        </p:txBody>
      </p:sp>
      <p:cxnSp>
        <p:nvCxnSpPr>
          <p:cNvPr id="70" name="Straight Connector 69"/>
          <p:cNvCxnSpPr/>
          <p:nvPr/>
        </p:nvCxnSpPr>
        <p:spPr>
          <a:xfrm>
            <a:off x="4854221" y="1817297"/>
            <a:ext cx="0" cy="460067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439" y="2152591"/>
            <a:ext cx="2818358" cy="150810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777240" fontAlgn="b"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Healthcare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ertified Nursing Assistant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ome Health Aid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Pharmacy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Medical Clinical Lab Tech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Medical Records/Health Info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Substance Abuse &amp; Behavioral </a:t>
            </a:r>
            <a:b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</a:b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Disorder Counselor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549" y="3737660"/>
            <a:ext cx="2919158" cy="113877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Information Technology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Web Develope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omputer User Support Specialist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omputer Network Support Administrato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Information Security Analyst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550" y="4953396"/>
            <a:ext cx="2818358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Transportation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eavy and Tractor-Trailer Truck Drive</a:t>
            </a:r>
            <a:r>
              <a:rPr lang="en-US" sz="1200">
                <a:solidFill>
                  <a:srgbClr val="160E38"/>
                </a:solidFill>
                <a:cs typeface="Henderson BCG Sans" panose="020B0502030402020204" pitchFamily="34" charset="0"/>
              </a:rPr>
              <a:t>r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8744989" y="2152591"/>
            <a:ext cx="2818358" cy="132343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Finance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ustomer Service Agent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Telle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Loan Officers (</a:t>
            </a:r>
            <a:r>
              <a:rPr lang="en-US" sz="1200" err="1">
                <a:solidFill>
                  <a:srgbClr val="403393"/>
                </a:solidFill>
                <a:cs typeface="Henderson BCG Sans" panose="020B0502030402020204" pitchFamily="34" charset="0"/>
              </a:rPr>
              <a:t>incld</a:t>
            </a: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., Mortgage)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Loan Interviewer and Clerk</a:t>
            </a:r>
            <a:b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</a:b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(Loan Processor, Specialist, etc.)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redit Analyst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8744989" y="3732683"/>
            <a:ext cx="2818358" cy="9541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Construction/Skilled Trade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VAC Mechanics and Installer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Automotive Service Tech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Electrician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Plumbers</a:t>
            </a:r>
          </a:p>
        </p:txBody>
      </p:sp>
      <p:sp>
        <p:nvSpPr>
          <p:cNvPr id="30" name="GradientOverlay"/>
          <p:cNvSpPr/>
          <p:nvPr>
            <p:custDataLst>
              <p:tags r:id="rId3"/>
            </p:custDataLst>
          </p:nvPr>
        </p:nvSpPr>
        <p:spPr>
          <a:xfrm flipH="1">
            <a:off x="0" y="-1"/>
            <a:ext cx="12192000" cy="1665363"/>
          </a:xfrm>
          <a:prstGeom prst="rect">
            <a:avLst/>
          </a:prstGeom>
          <a:solidFill>
            <a:srgbClr val="000000">
              <a:alpha val="57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r>
              <a:rPr lang="en-US" sz="1600">
                <a:solidFill>
                  <a:schemeClr val="bg1"/>
                </a:solidFill>
                <a:sym typeface="+mn-lt"/>
              </a:rPr>
              <a:t>c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bg1"/>
                </a:solidFill>
                <a:latin typeface="+mn-lt"/>
                <a:cs typeface="Henderson BCG Sans" panose="020B0502030402020204" pitchFamily="34" charset="0"/>
              </a:rPr>
              <a:t>Workforce Competitiveness Trust Fund (WCTF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7A738CC-2037-4B21-87C9-B1C7A5CA5ED1}"/>
              </a:ext>
            </a:extLst>
          </p:cNvPr>
          <p:cNvSpPr/>
          <p:nvPr/>
        </p:nvSpPr>
        <p:spPr>
          <a:xfrm>
            <a:off x="8461960" y="1211748"/>
            <a:ext cx="3101388" cy="367166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b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chemeClr val="bg1"/>
                </a:solidFill>
                <a:cs typeface="Henderson BCG Sans" panose="020B0502030402020204" pitchFamily="34" charset="0"/>
              </a:rPr>
              <a:t>RELEASE DATE: OCTOBER 18th</a:t>
            </a:r>
            <a:br>
              <a:rPr lang="en-US" sz="1200" baseline="30000">
                <a:solidFill>
                  <a:schemeClr val="bg1"/>
                </a:solidFill>
                <a:cs typeface="Henderson BCG Sans" panose="020B0502030402020204" pitchFamily="34" charset="0"/>
              </a:rPr>
            </a:br>
            <a:r>
              <a:rPr lang="en-US" sz="1200">
                <a:solidFill>
                  <a:schemeClr val="bg1"/>
                </a:solidFill>
                <a:cs typeface="Henderson BCG Sans" panose="020B0502030402020204" pitchFamily="34" charset="0"/>
              </a:rPr>
              <a:t>RESPONSES DUE: ONGOING</a:t>
            </a: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016572" y="2152591"/>
            <a:ext cx="362227" cy="362562"/>
            <a:chOff x="5273801" y="2606040"/>
            <a:chExt cx="1644397" cy="1645920"/>
          </a:xfrm>
        </p:grpSpPr>
        <p:sp>
          <p:nvSpPr>
            <p:cNvPr id="25" name="AutoShape 80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39917" y="2787396"/>
              <a:ext cx="1310641" cy="1281684"/>
              <a:chOff x="5439917" y="2787396"/>
              <a:chExt cx="1310641" cy="1281684"/>
            </a:xfrm>
          </p:grpSpPr>
          <p:sp>
            <p:nvSpPr>
              <p:cNvPr id="27" name="Freeform 82"/>
              <p:cNvSpPr>
                <a:spLocks noEditPoints="1"/>
              </p:cNvSpPr>
              <p:nvPr/>
            </p:nvSpPr>
            <p:spPr bwMode="auto">
              <a:xfrm>
                <a:off x="5439917" y="2787396"/>
                <a:ext cx="1310641" cy="1281684"/>
              </a:xfrm>
              <a:custGeom>
                <a:avLst/>
                <a:gdLst>
                  <a:gd name="T0" fmla="*/ 1178 w 1836"/>
                  <a:gd name="T1" fmla="*/ 409 h 1794"/>
                  <a:gd name="T2" fmla="*/ 1211 w 1836"/>
                  <a:gd name="T3" fmla="*/ 428 h 1794"/>
                  <a:gd name="T4" fmla="*/ 1786 w 1836"/>
                  <a:gd name="T5" fmla="*/ 695 h 1794"/>
                  <a:gd name="T6" fmla="*/ 1470 w 1836"/>
                  <a:gd name="T7" fmla="*/ 916 h 1794"/>
                  <a:gd name="T8" fmla="*/ 1527 w 1836"/>
                  <a:gd name="T9" fmla="*/ 1548 h 1794"/>
                  <a:gd name="T10" fmla="*/ 1200 w 1836"/>
                  <a:gd name="T11" fmla="*/ 1363 h 1794"/>
                  <a:gd name="T12" fmla="*/ 1177 w 1836"/>
                  <a:gd name="T13" fmla="*/ 1750 h 1794"/>
                  <a:gd name="T14" fmla="*/ 658 w 1836"/>
                  <a:gd name="T15" fmla="*/ 1385 h 1794"/>
                  <a:gd name="T16" fmla="*/ 625 w 1836"/>
                  <a:gd name="T17" fmla="*/ 1366 h 1794"/>
                  <a:gd name="T18" fmla="*/ 50 w 1836"/>
                  <a:gd name="T19" fmla="*/ 1099 h 1794"/>
                  <a:gd name="T20" fmla="*/ 366 w 1836"/>
                  <a:gd name="T21" fmla="*/ 878 h 1794"/>
                  <a:gd name="T22" fmla="*/ 309 w 1836"/>
                  <a:gd name="T23" fmla="*/ 246 h 1794"/>
                  <a:gd name="T24" fmla="*/ 636 w 1836"/>
                  <a:gd name="T25" fmla="*/ 431 h 1794"/>
                  <a:gd name="T26" fmla="*/ 659 w 1836"/>
                  <a:gd name="T27" fmla="*/ 44 h 1794"/>
                  <a:gd name="T28" fmla="*/ 1177 w 1836"/>
                  <a:gd name="T29" fmla="*/ 0 h 1794"/>
                  <a:gd name="T30" fmla="*/ 615 w 1836"/>
                  <a:gd name="T31" fmla="*/ 44 h 1794"/>
                  <a:gd name="T32" fmla="*/ 331 w 1836"/>
                  <a:gd name="T33" fmla="*/ 208 h 1794"/>
                  <a:gd name="T34" fmla="*/ 271 w 1836"/>
                  <a:gd name="T35" fmla="*/ 224 h 1794"/>
                  <a:gd name="T36" fmla="*/ 28 w 1836"/>
                  <a:gd name="T37" fmla="*/ 733 h 1794"/>
                  <a:gd name="T38" fmla="*/ 28 w 1836"/>
                  <a:gd name="T39" fmla="*/ 1061 h 1794"/>
                  <a:gd name="T40" fmla="*/ 271 w 1836"/>
                  <a:gd name="T41" fmla="*/ 1570 h 1794"/>
                  <a:gd name="T42" fmla="*/ 331 w 1836"/>
                  <a:gd name="T43" fmla="*/ 1586 h 1794"/>
                  <a:gd name="T44" fmla="*/ 615 w 1836"/>
                  <a:gd name="T45" fmla="*/ 1750 h 1794"/>
                  <a:gd name="T46" fmla="*/ 1177 w 1836"/>
                  <a:gd name="T47" fmla="*/ 1794 h 1794"/>
                  <a:gd name="T48" fmla="*/ 1222 w 1836"/>
                  <a:gd name="T49" fmla="*/ 1423 h 1794"/>
                  <a:gd name="T50" fmla="*/ 1527 w 1836"/>
                  <a:gd name="T51" fmla="*/ 1592 h 1794"/>
                  <a:gd name="T52" fmla="*/ 1824 w 1836"/>
                  <a:gd name="T53" fmla="*/ 1121 h 1794"/>
                  <a:gd name="T54" fmla="*/ 1525 w 1836"/>
                  <a:gd name="T55" fmla="*/ 897 h 1794"/>
                  <a:gd name="T56" fmla="*/ 1824 w 1836"/>
                  <a:gd name="T57" fmla="*/ 673 h 1794"/>
                  <a:gd name="T58" fmla="*/ 1527 w 1836"/>
                  <a:gd name="T59" fmla="*/ 202 h 1794"/>
                  <a:gd name="T60" fmla="*/ 1222 w 1836"/>
                  <a:gd name="T61" fmla="*/ 371 h 1794"/>
                  <a:gd name="T62" fmla="*/ 1177 w 1836"/>
                  <a:gd name="T63" fmla="*/ 0 h 1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36" h="1794">
                    <a:moveTo>
                      <a:pt x="1177" y="44"/>
                    </a:moveTo>
                    <a:cubicBezTo>
                      <a:pt x="1177" y="44"/>
                      <a:pt x="1178" y="309"/>
                      <a:pt x="1178" y="409"/>
                    </a:cubicBezTo>
                    <a:cubicBezTo>
                      <a:pt x="1178" y="422"/>
                      <a:pt x="1188" y="431"/>
                      <a:pt x="1200" y="431"/>
                    </a:cubicBezTo>
                    <a:cubicBezTo>
                      <a:pt x="1203" y="431"/>
                      <a:pt x="1207" y="430"/>
                      <a:pt x="1211" y="428"/>
                    </a:cubicBezTo>
                    <a:cubicBezTo>
                      <a:pt x="1298" y="378"/>
                      <a:pt x="1527" y="246"/>
                      <a:pt x="1527" y="246"/>
                    </a:cubicBezTo>
                    <a:cubicBezTo>
                      <a:pt x="1786" y="695"/>
                      <a:pt x="1786" y="695"/>
                      <a:pt x="1786" y="695"/>
                    </a:cubicBezTo>
                    <a:cubicBezTo>
                      <a:pt x="1786" y="695"/>
                      <a:pt x="1557" y="828"/>
                      <a:pt x="1470" y="878"/>
                    </a:cubicBezTo>
                    <a:cubicBezTo>
                      <a:pt x="1456" y="886"/>
                      <a:pt x="1456" y="908"/>
                      <a:pt x="1470" y="916"/>
                    </a:cubicBezTo>
                    <a:cubicBezTo>
                      <a:pt x="1557" y="966"/>
                      <a:pt x="1786" y="1099"/>
                      <a:pt x="1786" y="1099"/>
                    </a:cubicBezTo>
                    <a:cubicBezTo>
                      <a:pt x="1527" y="1548"/>
                      <a:pt x="1527" y="1548"/>
                      <a:pt x="1527" y="1548"/>
                    </a:cubicBezTo>
                    <a:cubicBezTo>
                      <a:pt x="1527" y="1548"/>
                      <a:pt x="1298" y="1416"/>
                      <a:pt x="1211" y="1366"/>
                    </a:cubicBezTo>
                    <a:cubicBezTo>
                      <a:pt x="1207" y="1364"/>
                      <a:pt x="1203" y="1363"/>
                      <a:pt x="1200" y="1363"/>
                    </a:cubicBezTo>
                    <a:cubicBezTo>
                      <a:pt x="1188" y="1363"/>
                      <a:pt x="1178" y="1372"/>
                      <a:pt x="1178" y="1385"/>
                    </a:cubicBezTo>
                    <a:cubicBezTo>
                      <a:pt x="1178" y="1485"/>
                      <a:pt x="1177" y="1750"/>
                      <a:pt x="1177" y="1750"/>
                    </a:cubicBezTo>
                    <a:cubicBezTo>
                      <a:pt x="659" y="1750"/>
                      <a:pt x="659" y="1750"/>
                      <a:pt x="659" y="1750"/>
                    </a:cubicBezTo>
                    <a:cubicBezTo>
                      <a:pt x="659" y="1750"/>
                      <a:pt x="658" y="1485"/>
                      <a:pt x="658" y="1385"/>
                    </a:cubicBezTo>
                    <a:cubicBezTo>
                      <a:pt x="658" y="1372"/>
                      <a:pt x="648" y="1363"/>
                      <a:pt x="636" y="1363"/>
                    </a:cubicBezTo>
                    <a:cubicBezTo>
                      <a:pt x="633" y="1363"/>
                      <a:pt x="629" y="1364"/>
                      <a:pt x="625" y="1366"/>
                    </a:cubicBezTo>
                    <a:cubicBezTo>
                      <a:pt x="538" y="1416"/>
                      <a:pt x="309" y="1548"/>
                      <a:pt x="309" y="1548"/>
                    </a:cubicBezTo>
                    <a:cubicBezTo>
                      <a:pt x="50" y="1099"/>
                      <a:pt x="50" y="1099"/>
                      <a:pt x="50" y="1099"/>
                    </a:cubicBezTo>
                    <a:cubicBezTo>
                      <a:pt x="50" y="1099"/>
                      <a:pt x="279" y="966"/>
                      <a:pt x="366" y="916"/>
                    </a:cubicBezTo>
                    <a:cubicBezTo>
                      <a:pt x="380" y="908"/>
                      <a:pt x="380" y="886"/>
                      <a:pt x="366" y="878"/>
                    </a:cubicBezTo>
                    <a:cubicBezTo>
                      <a:pt x="279" y="828"/>
                      <a:pt x="50" y="695"/>
                      <a:pt x="50" y="695"/>
                    </a:cubicBezTo>
                    <a:cubicBezTo>
                      <a:pt x="309" y="246"/>
                      <a:pt x="309" y="246"/>
                      <a:pt x="309" y="246"/>
                    </a:cubicBezTo>
                    <a:cubicBezTo>
                      <a:pt x="309" y="246"/>
                      <a:pt x="538" y="378"/>
                      <a:pt x="625" y="428"/>
                    </a:cubicBezTo>
                    <a:cubicBezTo>
                      <a:pt x="629" y="430"/>
                      <a:pt x="633" y="431"/>
                      <a:pt x="636" y="431"/>
                    </a:cubicBezTo>
                    <a:cubicBezTo>
                      <a:pt x="648" y="431"/>
                      <a:pt x="658" y="422"/>
                      <a:pt x="658" y="409"/>
                    </a:cubicBezTo>
                    <a:cubicBezTo>
                      <a:pt x="658" y="309"/>
                      <a:pt x="659" y="44"/>
                      <a:pt x="659" y="44"/>
                    </a:cubicBezTo>
                    <a:cubicBezTo>
                      <a:pt x="1177" y="44"/>
                      <a:pt x="1177" y="44"/>
                      <a:pt x="1177" y="44"/>
                    </a:cubicBezTo>
                    <a:moveTo>
                      <a:pt x="1177" y="0"/>
                    </a:moveTo>
                    <a:cubicBezTo>
                      <a:pt x="659" y="0"/>
                      <a:pt x="659" y="0"/>
                      <a:pt x="659" y="0"/>
                    </a:cubicBezTo>
                    <a:cubicBezTo>
                      <a:pt x="634" y="0"/>
                      <a:pt x="615" y="20"/>
                      <a:pt x="615" y="44"/>
                    </a:cubicBezTo>
                    <a:cubicBezTo>
                      <a:pt x="615" y="47"/>
                      <a:pt x="615" y="255"/>
                      <a:pt x="614" y="371"/>
                    </a:cubicBezTo>
                    <a:cubicBezTo>
                      <a:pt x="514" y="313"/>
                      <a:pt x="333" y="209"/>
                      <a:pt x="331" y="208"/>
                    </a:cubicBezTo>
                    <a:cubicBezTo>
                      <a:pt x="324" y="204"/>
                      <a:pt x="317" y="202"/>
                      <a:pt x="309" y="202"/>
                    </a:cubicBezTo>
                    <a:cubicBezTo>
                      <a:pt x="294" y="202"/>
                      <a:pt x="279" y="210"/>
                      <a:pt x="271" y="224"/>
                    </a:cubicBezTo>
                    <a:cubicBezTo>
                      <a:pt x="12" y="673"/>
                      <a:pt x="12" y="673"/>
                      <a:pt x="12" y="673"/>
                    </a:cubicBezTo>
                    <a:cubicBezTo>
                      <a:pt x="0" y="694"/>
                      <a:pt x="7" y="721"/>
                      <a:pt x="28" y="733"/>
                    </a:cubicBezTo>
                    <a:cubicBezTo>
                      <a:pt x="30" y="735"/>
                      <a:pt x="211" y="839"/>
                      <a:pt x="311" y="897"/>
                    </a:cubicBezTo>
                    <a:cubicBezTo>
                      <a:pt x="211" y="955"/>
                      <a:pt x="30" y="1059"/>
                      <a:pt x="28" y="1061"/>
                    </a:cubicBezTo>
                    <a:cubicBezTo>
                      <a:pt x="7" y="1073"/>
                      <a:pt x="0" y="1100"/>
                      <a:pt x="12" y="1121"/>
                    </a:cubicBezTo>
                    <a:cubicBezTo>
                      <a:pt x="271" y="1570"/>
                      <a:pt x="271" y="1570"/>
                      <a:pt x="271" y="1570"/>
                    </a:cubicBezTo>
                    <a:cubicBezTo>
                      <a:pt x="279" y="1584"/>
                      <a:pt x="294" y="1592"/>
                      <a:pt x="309" y="1592"/>
                    </a:cubicBezTo>
                    <a:cubicBezTo>
                      <a:pt x="317" y="1592"/>
                      <a:pt x="324" y="1590"/>
                      <a:pt x="331" y="1586"/>
                    </a:cubicBezTo>
                    <a:cubicBezTo>
                      <a:pt x="333" y="1585"/>
                      <a:pt x="514" y="1481"/>
                      <a:pt x="614" y="1423"/>
                    </a:cubicBezTo>
                    <a:cubicBezTo>
                      <a:pt x="615" y="1539"/>
                      <a:pt x="615" y="1747"/>
                      <a:pt x="615" y="1750"/>
                    </a:cubicBezTo>
                    <a:cubicBezTo>
                      <a:pt x="615" y="1774"/>
                      <a:pt x="634" y="1794"/>
                      <a:pt x="659" y="1794"/>
                    </a:cubicBezTo>
                    <a:cubicBezTo>
                      <a:pt x="1177" y="1794"/>
                      <a:pt x="1177" y="1794"/>
                      <a:pt x="1177" y="1794"/>
                    </a:cubicBezTo>
                    <a:cubicBezTo>
                      <a:pt x="1202" y="1794"/>
                      <a:pt x="1221" y="1774"/>
                      <a:pt x="1221" y="1750"/>
                    </a:cubicBezTo>
                    <a:cubicBezTo>
                      <a:pt x="1221" y="1747"/>
                      <a:pt x="1221" y="1539"/>
                      <a:pt x="1222" y="1423"/>
                    </a:cubicBezTo>
                    <a:cubicBezTo>
                      <a:pt x="1322" y="1481"/>
                      <a:pt x="1503" y="1585"/>
                      <a:pt x="1505" y="1586"/>
                    </a:cubicBezTo>
                    <a:cubicBezTo>
                      <a:pt x="1512" y="1590"/>
                      <a:pt x="1519" y="1592"/>
                      <a:pt x="1527" y="1592"/>
                    </a:cubicBezTo>
                    <a:cubicBezTo>
                      <a:pt x="1542" y="1592"/>
                      <a:pt x="1557" y="1584"/>
                      <a:pt x="1565" y="1570"/>
                    </a:cubicBezTo>
                    <a:cubicBezTo>
                      <a:pt x="1824" y="1121"/>
                      <a:pt x="1824" y="1121"/>
                      <a:pt x="1824" y="1121"/>
                    </a:cubicBezTo>
                    <a:cubicBezTo>
                      <a:pt x="1836" y="1100"/>
                      <a:pt x="1829" y="1073"/>
                      <a:pt x="1808" y="1061"/>
                    </a:cubicBezTo>
                    <a:cubicBezTo>
                      <a:pt x="1806" y="1059"/>
                      <a:pt x="1625" y="955"/>
                      <a:pt x="1525" y="897"/>
                    </a:cubicBezTo>
                    <a:cubicBezTo>
                      <a:pt x="1625" y="839"/>
                      <a:pt x="1806" y="735"/>
                      <a:pt x="1808" y="733"/>
                    </a:cubicBezTo>
                    <a:cubicBezTo>
                      <a:pt x="1829" y="721"/>
                      <a:pt x="1836" y="694"/>
                      <a:pt x="1824" y="673"/>
                    </a:cubicBezTo>
                    <a:cubicBezTo>
                      <a:pt x="1565" y="224"/>
                      <a:pt x="1565" y="224"/>
                      <a:pt x="1565" y="224"/>
                    </a:cubicBezTo>
                    <a:cubicBezTo>
                      <a:pt x="1557" y="210"/>
                      <a:pt x="1542" y="202"/>
                      <a:pt x="1527" y="202"/>
                    </a:cubicBezTo>
                    <a:cubicBezTo>
                      <a:pt x="1519" y="202"/>
                      <a:pt x="1512" y="204"/>
                      <a:pt x="1505" y="208"/>
                    </a:cubicBezTo>
                    <a:cubicBezTo>
                      <a:pt x="1503" y="209"/>
                      <a:pt x="1322" y="313"/>
                      <a:pt x="1222" y="371"/>
                    </a:cubicBezTo>
                    <a:cubicBezTo>
                      <a:pt x="1221" y="255"/>
                      <a:pt x="1221" y="47"/>
                      <a:pt x="1221" y="44"/>
                    </a:cubicBezTo>
                    <a:cubicBezTo>
                      <a:pt x="1221" y="20"/>
                      <a:pt x="1202" y="0"/>
                      <a:pt x="1177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3"/>
              <p:cNvSpPr>
                <a:spLocks/>
              </p:cNvSpPr>
              <p:nvPr/>
            </p:nvSpPr>
            <p:spPr bwMode="auto">
              <a:xfrm>
                <a:off x="5519927" y="2850261"/>
                <a:ext cx="1150621" cy="1155954"/>
              </a:xfrm>
              <a:custGeom>
                <a:avLst/>
                <a:gdLst>
                  <a:gd name="T0" fmla="*/ 1309 w 1612"/>
                  <a:gd name="T1" fmla="*/ 767 h 1618"/>
                  <a:gd name="T2" fmla="*/ 1609 w 1612"/>
                  <a:gd name="T3" fmla="*/ 583 h 1618"/>
                  <a:gd name="T4" fmla="*/ 1441 w 1612"/>
                  <a:gd name="T5" fmla="*/ 291 h 1618"/>
                  <a:gd name="T6" fmla="*/ 1404 w 1612"/>
                  <a:gd name="T7" fmla="*/ 227 h 1618"/>
                  <a:gd name="T8" fmla="*/ 1326 w 1612"/>
                  <a:gd name="T9" fmla="*/ 260 h 1618"/>
                  <a:gd name="T10" fmla="*/ 1094 w 1612"/>
                  <a:gd name="T11" fmla="*/ 394 h 1618"/>
                  <a:gd name="T12" fmla="*/ 1021 w 1612"/>
                  <a:gd name="T13" fmla="*/ 84 h 1618"/>
                  <a:gd name="T14" fmla="*/ 1011 w 1612"/>
                  <a:gd name="T15" fmla="*/ 0 h 1618"/>
                  <a:gd name="T16" fmla="*/ 591 w 1612"/>
                  <a:gd name="T17" fmla="*/ 10 h 1618"/>
                  <a:gd name="T18" fmla="*/ 591 w 1612"/>
                  <a:gd name="T19" fmla="*/ 352 h 1618"/>
                  <a:gd name="T20" fmla="*/ 286 w 1612"/>
                  <a:gd name="T21" fmla="*/ 260 h 1618"/>
                  <a:gd name="T22" fmla="*/ 222 w 1612"/>
                  <a:gd name="T23" fmla="*/ 223 h 1618"/>
                  <a:gd name="T24" fmla="*/ 171 w 1612"/>
                  <a:gd name="T25" fmla="*/ 291 h 1618"/>
                  <a:gd name="T26" fmla="*/ 40 w 1612"/>
                  <a:gd name="T27" fmla="*/ 518 h 1618"/>
                  <a:gd name="T28" fmla="*/ 3 w 1612"/>
                  <a:gd name="T29" fmla="*/ 583 h 1618"/>
                  <a:gd name="T30" fmla="*/ 237 w 1612"/>
                  <a:gd name="T31" fmla="*/ 729 h 1618"/>
                  <a:gd name="T32" fmla="*/ 303 w 1612"/>
                  <a:gd name="T33" fmla="*/ 851 h 1618"/>
                  <a:gd name="T34" fmla="*/ 71 w 1612"/>
                  <a:gd name="T35" fmla="*/ 985 h 1618"/>
                  <a:gd name="T36" fmla="*/ 7 w 1612"/>
                  <a:gd name="T37" fmla="*/ 1022 h 1618"/>
                  <a:gd name="T38" fmla="*/ 40 w 1612"/>
                  <a:gd name="T39" fmla="*/ 1100 h 1618"/>
                  <a:gd name="T40" fmla="*/ 171 w 1612"/>
                  <a:gd name="T41" fmla="*/ 1327 h 1618"/>
                  <a:gd name="T42" fmla="*/ 208 w 1612"/>
                  <a:gd name="T43" fmla="*/ 1391 h 1618"/>
                  <a:gd name="T44" fmla="*/ 337 w 1612"/>
                  <a:gd name="T45" fmla="*/ 1329 h 1618"/>
                  <a:gd name="T46" fmla="*/ 591 w 1612"/>
                  <a:gd name="T47" fmla="*/ 1266 h 1618"/>
                  <a:gd name="T48" fmla="*/ 591 w 1612"/>
                  <a:gd name="T49" fmla="*/ 1608 h 1618"/>
                  <a:gd name="T50" fmla="*/ 675 w 1612"/>
                  <a:gd name="T51" fmla="*/ 1618 h 1618"/>
                  <a:gd name="T52" fmla="*/ 1011 w 1612"/>
                  <a:gd name="T53" fmla="*/ 1618 h 1618"/>
                  <a:gd name="T54" fmla="*/ 1021 w 1612"/>
                  <a:gd name="T55" fmla="*/ 1534 h 1618"/>
                  <a:gd name="T56" fmla="*/ 1094 w 1612"/>
                  <a:gd name="T57" fmla="*/ 1224 h 1618"/>
                  <a:gd name="T58" fmla="*/ 1390 w 1612"/>
                  <a:gd name="T59" fmla="*/ 1395 h 1618"/>
                  <a:gd name="T60" fmla="*/ 1441 w 1612"/>
                  <a:gd name="T61" fmla="*/ 1327 h 1618"/>
                  <a:gd name="T62" fmla="*/ 1446 w 1612"/>
                  <a:gd name="T63" fmla="*/ 1318 h 1618"/>
                  <a:gd name="T64" fmla="*/ 1605 w 1612"/>
                  <a:gd name="T65" fmla="*/ 1022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2" h="1618">
                    <a:moveTo>
                      <a:pt x="1309" y="851"/>
                    </a:moveTo>
                    <a:cubicBezTo>
                      <a:pt x="1269" y="828"/>
                      <a:pt x="1269" y="790"/>
                      <a:pt x="1309" y="767"/>
                    </a:cubicBezTo>
                    <a:cubicBezTo>
                      <a:pt x="1605" y="596"/>
                      <a:pt x="1605" y="596"/>
                      <a:pt x="1605" y="596"/>
                    </a:cubicBezTo>
                    <a:cubicBezTo>
                      <a:pt x="1610" y="593"/>
                      <a:pt x="1612" y="587"/>
                      <a:pt x="1609" y="583"/>
                    </a:cubicBezTo>
                    <a:cubicBezTo>
                      <a:pt x="1516" y="421"/>
                      <a:pt x="1516" y="421"/>
                      <a:pt x="1516" y="421"/>
                    </a:cubicBezTo>
                    <a:cubicBezTo>
                      <a:pt x="1441" y="291"/>
                      <a:pt x="1441" y="291"/>
                      <a:pt x="1441" y="291"/>
                    </a:cubicBezTo>
                    <a:cubicBezTo>
                      <a:pt x="1441" y="291"/>
                      <a:pt x="1441" y="291"/>
                      <a:pt x="1441" y="291"/>
                    </a:cubicBezTo>
                    <a:cubicBezTo>
                      <a:pt x="1404" y="227"/>
                      <a:pt x="1404" y="227"/>
                      <a:pt x="1404" y="227"/>
                    </a:cubicBezTo>
                    <a:cubicBezTo>
                      <a:pt x="1401" y="222"/>
                      <a:pt x="1395" y="220"/>
                      <a:pt x="1390" y="223"/>
                    </a:cubicBezTo>
                    <a:cubicBezTo>
                      <a:pt x="1326" y="260"/>
                      <a:pt x="1326" y="260"/>
                      <a:pt x="1326" y="260"/>
                    </a:cubicBezTo>
                    <a:cubicBezTo>
                      <a:pt x="1326" y="260"/>
                      <a:pt x="1326" y="260"/>
                      <a:pt x="1326" y="260"/>
                    </a:cubicBezTo>
                    <a:cubicBezTo>
                      <a:pt x="1094" y="394"/>
                      <a:pt x="1094" y="394"/>
                      <a:pt x="1094" y="394"/>
                    </a:cubicBezTo>
                    <a:cubicBezTo>
                      <a:pt x="1054" y="417"/>
                      <a:pt x="1021" y="398"/>
                      <a:pt x="1021" y="352"/>
                    </a:cubicBezTo>
                    <a:cubicBezTo>
                      <a:pt x="1021" y="84"/>
                      <a:pt x="1021" y="84"/>
                      <a:pt x="1021" y="84"/>
                    </a:cubicBezTo>
                    <a:cubicBezTo>
                      <a:pt x="1021" y="10"/>
                      <a:pt x="1021" y="10"/>
                      <a:pt x="1021" y="10"/>
                    </a:cubicBezTo>
                    <a:cubicBezTo>
                      <a:pt x="1021" y="5"/>
                      <a:pt x="1017" y="0"/>
                      <a:pt x="1011" y="0"/>
                    </a:cubicBezTo>
                    <a:cubicBezTo>
                      <a:pt x="601" y="0"/>
                      <a:pt x="601" y="0"/>
                      <a:pt x="601" y="0"/>
                    </a:cubicBezTo>
                    <a:cubicBezTo>
                      <a:pt x="595" y="0"/>
                      <a:pt x="591" y="5"/>
                      <a:pt x="591" y="10"/>
                    </a:cubicBezTo>
                    <a:cubicBezTo>
                      <a:pt x="591" y="84"/>
                      <a:pt x="591" y="84"/>
                      <a:pt x="591" y="84"/>
                    </a:cubicBezTo>
                    <a:cubicBezTo>
                      <a:pt x="591" y="352"/>
                      <a:pt x="591" y="352"/>
                      <a:pt x="591" y="352"/>
                    </a:cubicBezTo>
                    <a:cubicBezTo>
                      <a:pt x="591" y="398"/>
                      <a:pt x="558" y="417"/>
                      <a:pt x="518" y="394"/>
                    </a:cubicBezTo>
                    <a:cubicBezTo>
                      <a:pt x="286" y="260"/>
                      <a:pt x="286" y="260"/>
                      <a:pt x="286" y="260"/>
                    </a:cubicBezTo>
                    <a:cubicBezTo>
                      <a:pt x="286" y="260"/>
                      <a:pt x="286" y="260"/>
                      <a:pt x="286" y="260"/>
                    </a:cubicBezTo>
                    <a:cubicBezTo>
                      <a:pt x="222" y="223"/>
                      <a:pt x="222" y="223"/>
                      <a:pt x="222" y="223"/>
                    </a:cubicBezTo>
                    <a:cubicBezTo>
                      <a:pt x="217" y="220"/>
                      <a:pt x="211" y="222"/>
                      <a:pt x="208" y="227"/>
                    </a:cubicBezTo>
                    <a:cubicBezTo>
                      <a:pt x="171" y="291"/>
                      <a:pt x="171" y="291"/>
                      <a:pt x="171" y="291"/>
                    </a:cubicBezTo>
                    <a:cubicBezTo>
                      <a:pt x="171" y="291"/>
                      <a:pt x="171" y="291"/>
                      <a:pt x="171" y="291"/>
                    </a:cubicBezTo>
                    <a:cubicBezTo>
                      <a:pt x="40" y="518"/>
                      <a:pt x="40" y="518"/>
                      <a:pt x="40" y="518"/>
                    </a:cubicBezTo>
                    <a:cubicBezTo>
                      <a:pt x="40" y="518"/>
                      <a:pt x="40" y="518"/>
                      <a:pt x="40" y="518"/>
                    </a:cubicBezTo>
                    <a:cubicBezTo>
                      <a:pt x="3" y="583"/>
                      <a:pt x="3" y="583"/>
                      <a:pt x="3" y="583"/>
                    </a:cubicBezTo>
                    <a:cubicBezTo>
                      <a:pt x="0" y="587"/>
                      <a:pt x="2" y="593"/>
                      <a:pt x="7" y="596"/>
                    </a:cubicBezTo>
                    <a:cubicBezTo>
                      <a:pt x="237" y="729"/>
                      <a:pt x="237" y="729"/>
                      <a:pt x="237" y="729"/>
                    </a:cubicBezTo>
                    <a:cubicBezTo>
                      <a:pt x="303" y="767"/>
                      <a:pt x="303" y="767"/>
                      <a:pt x="303" y="767"/>
                    </a:cubicBezTo>
                    <a:cubicBezTo>
                      <a:pt x="343" y="790"/>
                      <a:pt x="343" y="828"/>
                      <a:pt x="303" y="851"/>
                    </a:cubicBezTo>
                    <a:cubicBezTo>
                      <a:pt x="171" y="927"/>
                      <a:pt x="171" y="927"/>
                      <a:pt x="171" y="927"/>
                    </a:cubicBezTo>
                    <a:cubicBezTo>
                      <a:pt x="71" y="985"/>
                      <a:pt x="71" y="985"/>
                      <a:pt x="71" y="985"/>
                    </a:cubicBezTo>
                    <a:cubicBezTo>
                      <a:pt x="71" y="985"/>
                      <a:pt x="71" y="985"/>
                      <a:pt x="71" y="985"/>
                    </a:cubicBezTo>
                    <a:cubicBezTo>
                      <a:pt x="7" y="1022"/>
                      <a:pt x="7" y="1022"/>
                      <a:pt x="7" y="1022"/>
                    </a:cubicBezTo>
                    <a:cubicBezTo>
                      <a:pt x="2" y="1025"/>
                      <a:pt x="0" y="1031"/>
                      <a:pt x="3" y="1035"/>
                    </a:cubicBezTo>
                    <a:cubicBezTo>
                      <a:pt x="40" y="1100"/>
                      <a:pt x="40" y="1100"/>
                      <a:pt x="40" y="1100"/>
                    </a:cubicBezTo>
                    <a:cubicBezTo>
                      <a:pt x="40" y="1100"/>
                      <a:pt x="40" y="1100"/>
                      <a:pt x="40" y="1100"/>
                    </a:cubicBezTo>
                    <a:cubicBezTo>
                      <a:pt x="171" y="1327"/>
                      <a:pt x="171" y="1327"/>
                      <a:pt x="171" y="1327"/>
                    </a:cubicBezTo>
                    <a:cubicBezTo>
                      <a:pt x="171" y="1327"/>
                      <a:pt x="171" y="1327"/>
                      <a:pt x="171" y="1327"/>
                    </a:cubicBezTo>
                    <a:cubicBezTo>
                      <a:pt x="208" y="1391"/>
                      <a:pt x="208" y="1391"/>
                      <a:pt x="208" y="1391"/>
                    </a:cubicBezTo>
                    <a:cubicBezTo>
                      <a:pt x="211" y="1396"/>
                      <a:pt x="217" y="1398"/>
                      <a:pt x="222" y="1395"/>
                    </a:cubicBezTo>
                    <a:cubicBezTo>
                      <a:pt x="337" y="1329"/>
                      <a:pt x="337" y="1329"/>
                      <a:pt x="337" y="1329"/>
                    </a:cubicBezTo>
                    <a:cubicBezTo>
                      <a:pt x="518" y="1224"/>
                      <a:pt x="518" y="1224"/>
                      <a:pt x="518" y="1224"/>
                    </a:cubicBezTo>
                    <a:cubicBezTo>
                      <a:pt x="558" y="1201"/>
                      <a:pt x="591" y="1220"/>
                      <a:pt x="591" y="1266"/>
                    </a:cubicBezTo>
                    <a:cubicBezTo>
                      <a:pt x="591" y="1534"/>
                      <a:pt x="591" y="1534"/>
                      <a:pt x="591" y="1534"/>
                    </a:cubicBezTo>
                    <a:cubicBezTo>
                      <a:pt x="591" y="1608"/>
                      <a:pt x="591" y="1608"/>
                      <a:pt x="591" y="1608"/>
                    </a:cubicBezTo>
                    <a:cubicBezTo>
                      <a:pt x="591" y="1613"/>
                      <a:pt x="595" y="1618"/>
                      <a:pt x="601" y="1618"/>
                    </a:cubicBezTo>
                    <a:cubicBezTo>
                      <a:pt x="675" y="1618"/>
                      <a:pt x="675" y="1618"/>
                      <a:pt x="675" y="1618"/>
                    </a:cubicBezTo>
                    <a:cubicBezTo>
                      <a:pt x="937" y="1618"/>
                      <a:pt x="937" y="1618"/>
                      <a:pt x="937" y="1618"/>
                    </a:cubicBezTo>
                    <a:cubicBezTo>
                      <a:pt x="1011" y="1618"/>
                      <a:pt x="1011" y="1618"/>
                      <a:pt x="1011" y="1618"/>
                    </a:cubicBezTo>
                    <a:cubicBezTo>
                      <a:pt x="1017" y="1618"/>
                      <a:pt x="1021" y="1613"/>
                      <a:pt x="1021" y="1608"/>
                    </a:cubicBezTo>
                    <a:cubicBezTo>
                      <a:pt x="1021" y="1534"/>
                      <a:pt x="1021" y="1534"/>
                      <a:pt x="1021" y="1534"/>
                    </a:cubicBezTo>
                    <a:cubicBezTo>
                      <a:pt x="1021" y="1266"/>
                      <a:pt x="1021" y="1266"/>
                      <a:pt x="1021" y="1266"/>
                    </a:cubicBezTo>
                    <a:cubicBezTo>
                      <a:pt x="1021" y="1220"/>
                      <a:pt x="1054" y="1201"/>
                      <a:pt x="1094" y="1224"/>
                    </a:cubicBezTo>
                    <a:cubicBezTo>
                      <a:pt x="1275" y="1329"/>
                      <a:pt x="1275" y="1329"/>
                      <a:pt x="1275" y="1329"/>
                    </a:cubicBezTo>
                    <a:cubicBezTo>
                      <a:pt x="1390" y="1395"/>
                      <a:pt x="1390" y="1395"/>
                      <a:pt x="1390" y="1395"/>
                    </a:cubicBezTo>
                    <a:cubicBezTo>
                      <a:pt x="1395" y="1398"/>
                      <a:pt x="1401" y="1396"/>
                      <a:pt x="1404" y="1391"/>
                    </a:cubicBezTo>
                    <a:cubicBezTo>
                      <a:pt x="1441" y="1327"/>
                      <a:pt x="1441" y="1327"/>
                      <a:pt x="1441" y="1327"/>
                    </a:cubicBezTo>
                    <a:cubicBezTo>
                      <a:pt x="1441" y="1327"/>
                      <a:pt x="1441" y="1327"/>
                      <a:pt x="1441" y="1327"/>
                    </a:cubicBezTo>
                    <a:cubicBezTo>
                      <a:pt x="1446" y="1318"/>
                      <a:pt x="1446" y="1318"/>
                      <a:pt x="1446" y="1318"/>
                    </a:cubicBezTo>
                    <a:cubicBezTo>
                      <a:pt x="1609" y="1035"/>
                      <a:pt x="1609" y="1035"/>
                      <a:pt x="1609" y="1035"/>
                    </a:cubicBezTo>
                    <a:cubicBezTo>
                      <a:pt x="1612" y="1031"/>
                      <a:pt x="1610" y="1025"/>
                      <a:pt x="1605" y="1022"/>
                    </a:cubicBezTo>
                    <a:lnTo>
                      <a:pt x="1309" y="851"/>
                    </a:ln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" name="Group 28"/>
          <p:cNvGrpSpPr>
            <a:grpSpLocks noChangeAspect="1"/>
          </p:cNvGrpSpPr>
          <p:nvPr/>
        </p:nvGrpSpPr>
        <p:grpSpPr>
          <a:xfrm>
            <a:off x="8320437" y="2152591"/>
            <a:ext cx="362912" cy="362562"/>
            <a:chOff x="6464300" y="2606675"/>
            <a:chExt cx="1646238" cy="1644650"/>
          </a:xfrm>
        </p:grpSpPr>
        <p:sp>
          <p:nvSpPr>
            <p:cNvPr id="3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729413" y="2881312"/>
              <a:ext cx="1146175" cy="1125538"/>
              <a:chOff x="6729413" y="2881312"/>
              <a:chExt cx="1146175" cy="1125538"/>
            </a:xfrm>
          </p:grpSpPr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6989763" y="2944813"/>
                <a:ext cx="822325" cy="336550"/>
              </a:xfrm>
              <a:custGeom>
                <a:avLst/>
                <a:gdLst>
                  <a:gd name="connsiteX0" fmla="*/ 485775 w 822325"/>
                  <a:gd name="connsiteY0" fmla="*/ 0 h 336550"/>
                  <a:gd name="connsiteX1" fmla="*/ 779453 w 822325"/>
                  <a:gd name="connsiteY1" fmla="*/ 0 h 336550"/>
                  <a:gd name="connsiteX2" fmla="*/ 822325 w 822325"/>
                  <a:gd name="connsiteY2" fmla="*/ 39134 h 336550"/>
                  <a:gd name="connsiteX3" fmla="*/ 822325 w 822325"/>
                  <a:gd name="connsiteY3" fmla="*/ 300974 h 336550"/>
                  <a:gd name="connsiteX4" fmla="*/ 780167 w 822325"/>
                  <a:gd name="connsiteY4" fmla="*/ 336550 h 336550"/>
                  <a:gd name="connsiteX5" fmla="*/ 487919 w 822325"/>
                  <a:gd name="connsiteY5" fmla="*/ 336550 h 336550"/>
                  <a:gd name="connsiteX6" fmla="*/ 552228 w 822325"/>
                  <a:gd name="connsiteY6" fmla="*/ 169342 h 336550"/>
                  <a:gd name="connsiteX7" fmla="*/ 485775 w 822325"/>
                  <a:gd name="connsiteY7" fmla="*/ 0 h 336550"/>
                  <a:gd name="connsiteX8" fmla="*/ 41444 w 822325"/>
                  <a:gd name="connsiteY8" fmla="*/ 0 h 336550"/>
                  <a:gd name="connsiteX9" fmla="*/ 336550 w 822325"/>
                  <a:gd name="connsiteY9" fmla="*/ 0 h 336550"/>
                  <a:gd name="connsiteX10" fmla="*/ 269383 w 822325"/>
                  <a:gd name="connsiteY10" fmla="*/ 169342 h 336550"/>
                  <a:gd name="connsiteX11" fmla="*/ 334407 w 822325"/>
                  <a:gd name="connsiteY11" fmla="*/ 336550 h 336550"/>
                  <a:gd name="connsiteX12" fmla="*/ 40729 w 822325"/>
                  <a:gd name="connsiteY12" fmla="*/ 336550 h 336550"/>
                  <a:gd name="connsiteX13" fmla="*/ 0 w 822325"/>
                  <a:gd name="connsiteY13" fmla="*/ 301686 h 336550"/>
                  <a:gd name="connsiteX14" fmla="*/ 0 w 822325"/>
                  <a:gd name="connsiteY14" fmla="*/ 39134 h 336550"/>
                  <a:gd name="connsiteX15" fmla="*/ 41444 w 822325"/>
                  <a:gd name="connsiteY15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22325" h="336550">
                    <a:moveTo>
                      <a:pt x="485775" y="0"/>
                    </a:moveTo>
                    <a:cubicBezTo>
                      <a:pt x="485775" y="0"/>
                      <a:pt x="485775" y="0"/>
                      <a:pt x="779453" y="0"/>
                    </a:cubicBezTo>
                    <a:cubicBezTo>
                      <a:pt x="782311" y="21346"/>
                      <a:pt x="800174" y="38422"/>
                      <a:pt x="822325" y="39134"/>
                    </a:cubicBezTo>
                    <a:cubicBezTo>
                      <a:pt x="822325" y="39134"/>
                      <a:pt x="822325" y="39134"/>
                      <a:pt x="822325" y="300974"/>
                    </a:cubicBezTo>
                    <a:cubicBezTo>
                      <a:pt x="801603" y="301686"/>
                      <a:pt x="784454" y="316628"/>
                      <a:pt x="780167" y="336550"/>
                    </a:cubicBezTo>
                    <a:cubicBezTo>
                      <a:pt x="780167" y="336550"/>
                      <a:pt x="780167" y="336550"/>
                      <a:pt x="487919" y="336550"/>
                    </a:cubicBezTo>
                    <a:cubicBezTo>
                      <a:pt x="522932" y="298839"/>
                      <a:pt x="552228" y="237649"/>
                      <a:pt x="552228" y="169342"/>
                    </a:cubicBezTo>
                    <a:cubicBezTo>
                      <a:pt x="552228" y="99613"/>
                      <a:pt x="522217" y="37711"/>
                      <a:pt x="485775" y="0"/>
                    </a:cubicBezTo>
                    <a:close/>
                    <a:moveTo>
                      <a:pt x="41444" y="0"/>
                    </a:moveTo>
                    <a:lnTo>
                      <a:pt x="336550" y="0"/>
                    </a:lnTo>
                    <a:cubicBezTo>
                      <a:pt x="300109" y="37711"/>
                      <a:pt x="269383" y="99613"/>
                      <a:pt x="269383" y="169342"/>
                    </a:cubicBezTo>
                    <a:cubicBezTo>
                      <a:pt x="269383" y="237649"/>
                      <a:pt x="299394" y="298839"/>
                      <a:pt x="334407" y="336550"/>
                    </a:cubicBezTo>
                    <a:cubicBezTo>
                      <a:pt x="334407" y="336550"/>
                      <a:pt x="334407" y="336550"/>
                      <a:pt x="40729" y="336550"/>
                    </a:cubicBezTo>
                    <a:cubicBezTo>
                      <a:pt x="37157" y="317339"/>
                      <a:pt x="20007" y="303109"/>
                      <a:pt x="0" y="301686"/>
                    </a:cubicBezTo>
                    <a:cubicBezTo>
                      <a:pt x="0" y="301686"/>
                      <a:pt x="0" y="301686"/>
                      <a:pt x="0" y="39134"/>
                    </a:cubicBezTo>
                    <a:cubicBezTo>
                      <a:pt x="21437" y="37711"/>
                      <a:pt x="38586" y="20634"/>
                      <a:pt x="41444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6729413" y="2881312"/>
                <a:ext cx="1146175" cy="1125538"/>
              </a:xfrm>
              <a:custGeom>
                <a:avLst/>
                <a:gdLst>
                  <a:gd name="connsiteX0" fmla="*/ 409739 w 1146175"/>
                  <a:gd name="connsiteY0" fmla="*/ 615791 h 1125538"/>
                  <a:gd name="connsiteX1" fmla="*/ 326138 w 1146175"/>
                  <a:gd name="connsiteY1" fmla="*/ 635801 h 1125538"/>
                  <a:gd name="connsiteX2" fmla="*/ 31750 w 1146175"/>
                  <a:gd name="connsiteY2" fmla="*/ 803020 h 1125538"/>
                  <a:gd name="connsiteX3" fmla="*/ 31750 w 1146175"/>
                  <a:gd name="connsiteY3" fmla="*/ 1087437 h 1125538"/>
                  <a:gd name="connsiteX4" fmla="*/ 368296 w 1146175"/>
                  <a:gd name="connsiteY4" fmla="*/ 957377 h 1125538"/>
                  <a:gd name="connsiteX5" fmla="*/ 419028 w 1146175"/>
                  <a:gd name="connsiteY5" fmla="*/ 949516 h 1125538"/>
                  <a:gd name="connsiteX6" fmla="*/ 568366 w 1146175"/>
                  <a:gd name="connsiteY6" fmla="*/ 960236 h 1125538"/>
                  <a:gd name="connsiteX7" fmla="*/ 797017 w 1146175"/>
                  <a:gd name="connsiteY7" fmla="*/ 933795 h 1125538"/>
                  <a:gd name="connsiteX8" fmla="*/ 1047818 w 1146175"/>
                  <a:gd name="connsiteY8" fmla="*/ 767290 h 1125538"/>
                  <a:gd name="connsiteX9" fmla="*/ 1079972 w 1146175"/>
                  <a:gd name="connsiteY9" fmla="*/ 730130 h 1125538"/>
                  <a:gd name="connsiteX10" fmla="*/ 1074971 w 1146175"/>
                  <a:gd name="connsiteY10" fmla="*/ 655810 h 1125538"/>
                  <a:gd name="connsiteX11" fmla="*/ 1036386 w 1146175"/>
                  <a:gd name="connsiteY11" fmla="*/ 642232 h 1125538"/>
                  <a:gd name="connsiteX12" fmla="*/ 999230 w 1146175"/>
                  <a:gd name="connsiteY12" fmla="*/ 660097 h 1125538"/>
                  <a:gd name="connsiteX13" fmla="*/ 951356 w 1146175"/>
                  <a:gd name="connsiteY13" fmla="*/ 713694 h 1125538"/>
                  <a:gd name="connsiteX14" fmla="*/ 805591 w 1146175"/>
                  <a:gd name="connsiteY14" fmla="*/ 805164 h 1125538"/>
                  <a:gd name="connsiteX15" fmla="*/ 608380 w 1146175"/>
                  <a:gd name="connsiteY15" fmla="*/ 794445 h 1125538"/>
                  <a:gd name="connsiteX16" fmla="*/ 553360 w 1146175"/>
                  <a:gd name="connsiteY16" fmla="*/ 772292 h 1125538"/>
                  <a:gd name="connsiteX17" fmla="*/ 544071 w 1146175"/>
                  <a:gd name="connsiteY17" fmla="*/ 755856 h 1125538"/>
                  <a:gd name="connsiteX18" fmla="*/ 557648 w 1146175"/>
                  <a:gd name="connsiteY18" fmla="*/ 742278 h 1125538"/>
                  <a:gd name="connsiteX19" fmla="*/ 715560 w 1146175"/>
                  <a:gd name="connsiteY19" fmla="*/ 726557 h 1125538"/>
                  <a:gd name="connsiteX20" fmla="*/ 759146 w 1146175"/>
                  <a:gd name="connsiteY20" fmla="*/ 679392 h 1125538"/>
                  <a:gd name="connsiteX21" fmla="*/ 713416 w 1146175"/>
                  <a:gd name="connsiteY21" fmla="*/ 631513 h 1125538"/>
                  <a:gd name="connsiteX22" fmla="*/ 409739 w 1146175"/>
                  <a:gd name="connsiteY22" fmla="*/ 615791 h 1125538"/>
                  <a:gd name="connsiteX23" fmla="*/ 390213 w 1146175"/>
                  <a:gd name="connsiteY23" fmla="*/ 584200 h 1125538"/>
                  <a:gd name="connsiteX24" fmla="*/ 393786 w 1146175"/>
                  <a:gd name="connsiteY24" fmla="*/ 584200 h 1125538"/>
                  <a:gd name="connsiteX25" fmla="*/ 396645 w 1146175"/>
                  <a:gd name="connsiteY25" fmla="*/ 584200 h 1125538"/>
                  <a:gd name="connsiteX26" fmla="*/ 399504 w 1146175"/>
                  <a:gd name="connsiteY26" fmla="*/ 584200 h 1125538"/>
                  <a:gd name="connsiteX27" fmla="*/ 403077 w 1146175"/>
                  <a:gd name="connsiteY27" fmla="*/ 584200 h 1125538"/>
                  <a:gd name="connsiteX28" fmla="*/ 410939 w 1146175"/>
                  <a:gd name="connsiteY28" fmla="*/ 584200 h 1125538"/>
                  <a:gd name="connsiteX29" fmla="*/ 715390 w 1146175"/>
                  <a:gd name="connsiteY29" fmla="*/ 599912 h 1125538"/>
                  <a:gd name="connsiteX30" fmla="*/ 780426 w 1146175"/>
                  <a:gd name="connsiteY30" fmla="*/ 640619 h 1125538"/>
                  <a:gd name="connsiteX31" fmla="*/ 782570 w 1146175"/>
                  <a:gd name="connsiteY31" fmla="*/ 644904 h 1125538"/>
                  <a:gd name="connsiteX32" fmla="*/ 789002 w 1146175"/>
                  <a:gd name="connsiteY32" fmla="*/ 663473 h 1125538"/>
                  <a:gd name="connsiteX33" fmla="*/ 790431 w 1146175"/>
                  <a:gd name="connsiteY33" fmla="*/ 679184 h 1125538"/>
                  <a:gd name="connsiteX34" fmla="*/ 789716 w 1146175"/>
                  <a:gd name="connsiteY34" fmla="*/ 684898 h 1125538"/>
                  <a:gd name="connsiteX35" fmla="*/ 789716 w 1146175"/>
                  <a:gd name="connsiteY35" fmla="*/ 685612 h 1125538"/>
                  <a:gd name="connsiteX36" fmla="*/ 789002 w 1146175"/>
                  <a:gd name="connsiteY36" fmla="*/ 691325 h 1125538"/>
                  <a:gd name="connsiteX37" fmla="*/ 763988 w 1146175"/>
                  <a:gd name="connsiteY37" fmla="*/ 738460 h 1125538"/>
                  <a:gd name="connsiteX38" fmla="*/ 763273 w 1146175"/>
                  <a:gd name="connsiteY38" fmla="*/ 738460 h 1125538"/>
                  <a:gd name="connsiteX39" fmla="*/ 758985 w 1146175"/>
                  <a:gd name="connsiteY39" fmla="*/ 742031 h 1125538"/>
                  <a:gd name="connsiteX40" fmla="*/ 754697 w 1146175"/>
                  <a:gd name="connsiteY40" fmla="*/ 744888 h 1125538"/>
                  <a:gd name="connsiteX41" fmla="*/ 753983 w 1146175"/>
                  <a:gd name="connsiteY41" fmla="*/ 745602 h 1125538"/>
                  <a:gd name="connsiteX42" fmla="*/ 749695 w 1146175"/>
                  <a:gd name="connsiteY42" fmla="*/ 748458 h 1125538"/>
                  <a:gd name="connsiteX43" fmla="*/ 748265 w 1146175"/>
                  <a:gd name="connsiteY43" fmla="*/ 749173 h 1125538"/>
                  <a:gd name="connsiteX44" fmla="*/ 743263 w 1146175"/>
                  <a:gd name="connsiteY44" fmla="*/ 751315 h 1125538"/>
                  <a:gd name="connsiteX45" fmla="*/ 742548 w 1146175"/>
                  <a:gd name="connsiteY45" fmla="*/ 752029 h 1125538"/>
                  <a:gd name="connsiteX46" fmla="*/ 738260 w 1146175"/>
                  <a:gd name="connsiteY46" fmla="*/ 753458 h 1125538"/>
                  <a:gd name="connsiteX47" fmla="*/ 718964 w 1146175"/>
                  <a:gd name="connsiteY47" fmla="*/ 757743 h 1125538"/>
                  <a:gd name="connsiteX48" fmla="*/ 624626 w 1146175"/>
                  <a:gd name="connsiteY48" fmla="*/ 767027 h 1125538"/>
                  <a:gd name="connsiteX49" fmla="*/ 743263 w 1146175"/>
                  <a:gd name="connsiteY49" fmla="*/ 784167 h 1125538"/>
                  <a:gd name="connsiteX50" fmla="*/ 775423 w 1146175"/>
                  <a:gd name="connsiteY50" fmla="*/ 779882 h 1125538"/>
                  <a:gd name="connsiteX51" fmla="*/ 785428 w 1146175"/>
                  <a:gd name="connsiteY51" fmla="*/ 777739 h 1125538"/>
                  <a:gd name="connsiteX52" fmla="*/ 786858 w 1146175"/>
                  <a:gd name="connsiteY52" fmla="*/ 777025 h 1125538"/>
                  <a:gd name="connsiteX53" fmla="*/ 796863 w 1146175"/>
                  <a:gd name="connsiteY53" fmla="*/ 774883 h 1125538"/>
                  <a:gd name="connsiteX54" fmla="*/ 826880 w 1146175"/>
                  <a:gd name="connsiteY54" fmla="*/ 764170 h 1125538"/>
                  <a:gd name="connsiteX55" fmla="*/ 909782 w 1146175"/>
                  <a:gd name="connsiteY55" fmla="*/ 711322 h 1125538"/>
                  <a:gd name="connsiteX56" fmla="*/ 928363 w 1146175"/>
                  <a:gd name="connsiteY56" fmla="*/ 692753 h 1125538"/>
                  <a:gd name="connsiteX57" fmla="*/ 975532 w 1146175"/>
                  <a:gd name="connsiteY57" fmla="*/ 639191 h 1125538"/>
                  <a:gd name="connsiteX58" fmla="*/ 978391 w 1146175"/>
                  <a:gd name="connsiteY58" fmla="*/ 635620 h 1125538"/>
                  <a:gd name="connsiteX59" fmla="*/ 979105 w 1146175"/>
                  <a:gd name="connsiteY59" fmla="*/ 635620 h 1125538"/>
                  <a:gd name="connsiteX60" fmla="*/ 1034135 w 1146175"/>
                  <a:gd name="connsiteY60" fmla="*/ 610624 h 1125538"/>
                  <a:gd name="connsiteX61" fmla="*/ 1034850 w 1146175"/>
                  <a:gd name="connsiteY61" fmla="*/ 610624 h 1125538"/>
                  <a:gd name="connsiteX62" fmla="*/ 1039138 w 1146175"/>
                  <a:gd name="connsiteY62" fmla="*/ 610624 h 1125538"/>
                  <a:gd name="connsiteX63" fmla="*/ 1040567 w 1146175"/>
                  <a:gd name="connsiteY63" fmla="*/ 610624 h 1125538"/>
                  <a:gd name="connsiteX64" fmla="*/ 1079875 w 1146175"/>
                  <a:gd name="connsiteY64" fmla="*/ 621337 h 1125538"/>
                  <a:gd name="connsiteX65" fmla="*/ 1083448 w 1146175"/>
                  <a:gd name="connsiteY65" fmla="*/ 623479 h 1125538"/>
                  <a:gd name="connsiteX66" fmla="*/ 1086307 w 1146175"/>
                  <a:gd name="connsiteY66" fmla="*/ 624908 h 1125538"/>
                  <a:gd name="connsiteX67" fmla="*/ 1087021 w 1146175"/>
                  <a:gd name="connsiteY67" fmla="*/ 625622 h 1125538"/>
                  <a:gd name="connsiteX68" fmla="*/ 1089880 w 1146175"/>
                  <a:gd name="connsiteY68" fmla="*/ 627764 h 1125538"/>
                  <a:gd name="connsiteX69" fmla="*/ 1090595 w 1146175"/>
                  <a:gd name="connsiteY69" fmla="*/ 628478 h 1125538"/>
                  <a:gd name="connsiteX70" fmla="*/ 1092739 w 1146175"/>
                  <a:gd name="connsiteY70" fmla="*/ 629907 h 1125538"/>
                  <a:gd name="connsiteX71" fmla="*/ 1095597 w 1146175"/>
                  <a:gd name="connsiteY71" fmla="*/ 632049 h 1125538"/>
                  <a:gd name="connsiteX72" fmla="*/ 1095597 w 1146175"/>
                  <a:gd name="connsiteY72" fmla="*/ 632763 h 1125538"/>
                  <a:gd name="connsiteX73" fmla="*/ 1103459 w 1146175"/>
                  <a:gd name="connsiteY73" fmla="*/ 749887 h 1125538"/>
                  <a:gd name="connsiteX74" fmla="*/ 1072013 w 1146175"/>
                  <a:gd name="connsiteY74" fmla="*/ 787738 h 1125538"/>
                  <a:gd name="connsiteX75" fmla="*/ 966241 w 1146175"/>
                  <a:gd name="connsiteY75" fmla="*/ 884150 h 1125538"/>
                  <a:gd name="connsiteX76" fmla="*/ 956950 w 1146175"/>
                  <a:gd name="connsiteY76" fmla="*/ 890577 h 1125538"/>
                  <a:gd name="connsiteX77" fmla="*/ 948374 w 1146175"/>
                  <a:gd name="connsiteY77" fmla="*/ 896291 h 1125538"/>
                  <a:gd name="connsiteX78" fmla="*/ 806154 w 1146175"/>
                  <a:gd name="connsiteY78" fmla="*/ 963422 h 1125538"/>
                  <a:gd name="connsiteX79" fmla="*/ 792575 w 1146175"/>
                  <a:gd name="connsiteY79" fmla="*/ 967707 h 1125538"/>
                  <a:gd name="connsiteX80" fmla="*/ 788287 w 1146175"/>
                  <a:gd name="connsiteY80" fmla="*/ 968422 h 1125538"/>
                  <a:gd name="connsiteX81" fmla="*/ 779711 w 1146175"/>
                  <a:gd name="connsiteY81" fmla="*/ 971278 h 1125538"/>
                  <a:gd name="connsiteX82" fmla="*/ 773994 w 1146175"/>
                  <a:gd name="connsiteY82" fmla="*/ 972707 h 1125538"/>
                  <a:gd name="connsiteX83" fmla="*/ 766132 w 1146175"/>
                  <a:gd name="connsiteY83" fmla="*/ 974135 h 1125538"/>
                  <a:gd name="connsiteX84" fmla="*/ 759700 w 1146175"/>
                  <a:gd name="connsiteY84" fmla="*/ 976277 h 1125538"/>
                  <a:gd name="connsiteX85" fmla="*/ 753983 w 1146175"/>
                  <a:gd name="connsiteY85" fmla="*/ 976992 h 1125538"/>
                  <a:gd name="connsiteX86" fmla="*/ 724681 w 1146175"/>
                  <a:gd name="connsiteY86" fmla="*/ 983419 h 1125538"/>
                  <a:gd name="connsiteX87" fmla="*/ 721822 w 1146175"/>
                  <a:gd name="connsiteY87" fmla="*/ 983419 h 1125538"/>
                  <a:gd name="connsiteX88" fmla="*/ 711102 w 1146175"/>
                  <a:gd name="connsiteY88" fmla="*/ 985562 h 1125538"/>
                  <a:gd name="connsiteX89" fmla="*/ 709673 w 1146175"/>
                  <a:gd name="connsiteY89" fmla="*/ 985562 h 1125538"/>
                  <a:gd name="connsiteX90" fmla="*/ 650355 w 1146175"/>
                  <a:gd name="connsiteY90" fmla="*/ 991989 h 1125538"/>
                  <a:gd name="connsiteX91" fmla="*/ 648211 w 1146175"/>
                  <a:gd name="connsiteY91" fmla="*/ 991989 h 1125538"/>
                  <a:gd name="connsiteX92" fmla="*/ 637491 w 1146175"/>
                  <a:gd name="connsiteY92" fmla="*/ 992703 h 1125538"/>
                  <a:gd name="connsiteX93" fmla="*/ 635347 w 1146175"/>
                  <a:gd name="connsiteY93" fmla="*/ 992703 h 1125538"/>
                  <a:gd name="connsiteX94" fmla="*/ 621053 w 1146175"/>
                  <a:gd name="connsiteY94" fmla="*/ 992703 h 1125538"/>
                  <a:gd name="connsiteX95" fmla="*/ 620338 w 1146175"/>
                  <a:gd name="connsiteY95" fmla="*/ 992703 h 1125538"/>
                  <a:gd name="connsiteX96" fmla="*/ 612477 w 1146175"/>
                  <a:gd name="connsiteY96" fmla="*/ 992703 h 1125538"/>
                  <a:gd name="connsiteX97" fmla="*/ 606045 w 1146175"/>
                  <a:gd name="connsiteY97" fmla="*/ 992703 h 1125538"/>
                  <a:gd name="connsiteX98" fmla="*/ 598898 w 1146175"/>
                  <a:gd name="connsiteY98" fmla="*/ 992703 h 1125538"/>
                  <a:gd name="connsiteX99" fmla="*/ 592466 w 1146175"/>
                  <a:gd name="connsiteY99" fmla="*/ 992703 h 1125538"/>
                  <a:gd name="connsiteX100" fmla="*/ 584605 w 1146175"/>
                  <a:gd name="connsiteY100" fmla="*/ 991989 h 1125538"/>
                  <a:gd name="connsiteX101" fmla="*/ 578887 w 1146175"/>
                  <a:gd name="connsiteY101" fmla="*/ 991989 h 1125538"/>
                  <a:gd name="connsiteX102" fmla="*/ 566738 w 1146175"/>
                  <a:gd name="connsiteY102" fmla="*/ 991275 h 1125538"/>
                  <a:gd name="connsiteX103" fmla="*/ 566023 w 1146175"/>
                  <a:gd name="connsiteY103" fmla="*/ 991275 h 1125538"/>
                  <a:gd name="connsiteX104" fmla="*/ 485265 w 1146175"/>
                  <a:gd name="connsiteY104" fmla="*/ 985562 h 1125538"/>
                  <a:gd name="connsiteX105" fmla="*/ 416656 w 1146175"/>
                  <a:gd name="connsiteY105" fmla="*/ 980562 h 1125538"/>
                  <a:gd name="connsiteX106" fmla="*/ 410939 w 1146175"/>
                  <a:gd name="connsiteY106" fmla="*/ 980562 h 1125538"/>
                  <a:gd name="connsiteX107" fmla="*/ 407365 w 1146175"/>
                  <a:gd name="connsiteY107" fmla="*/ 980562 h 1125538"/>
                  <a:gd name="connsiteX108" fmla="*/ 393072 w 1146175"/>
                  <a:gd name="connsiteY108" fmla="*/ 981991 h 1125538"/>
                  <a:gd name="connsiteX109" fmla="*/ 388784 w 1146175"/>
                  <a:gd name="connsiteY109" fmla="*/ 982705 h 1125538"/>
                  <a:gd name="connsiteX110" fmla="*/ 388784 w 1146175"/>
                  <a:gd name="connsiteY110" fmla="*/ 983419 h 1125538"/>
                  <a:gd name="connsiteX111" fmla="*/ 384496 w 1146175"/>
                  <a:gd name="connsiteY111" fmla="*/ 984133 h 1125538"/>
                  <a:gd name="connsiteX112" fmla="*/ 383781 w 1146175"/>
                  <a:gd name="connsiteY112" fmla="*/ 984847 h 1125538"/>
                  <a:gd name="connsiteX113" fmla="*/ 379493 w 1146175"/>
                  <a:gd name="connsiteY113" fmla="*/ 986276 h 1125538"/>
                  <a:gd name="connsiteX114" fmla="*/ 21441 w 1146175"/>
                  <a:gd name="connsiteY114" fmla="*/ 1124824 h 1125538"/>
                  <a:gd name="connsiteX115" fmla="*/ 15723 w 1146175"/>
                  <a:gd name="connsiteY115" fmla="*/ 1125538 h 1125538"/>
                  <a:gd name="connsiteX116" fmla="*/ 7147 w 1146175"/>
                  <a:gd name="connsiteY116" fmla="*/ 1122681 h 1125538"/>
                  <a:gd name="connsiteX117" fmla="*/ 0 w 1146175"/>
                  <a:gd name="connsiteY117" fmla="*/ 1109826 h 1125538"/>
                  <a:gd name="connsiteX118" fmla="*/ 0 w 1146175"/>
                  <a:gd name="connsiteY118" fmla="*/ 793451 h 1125538"/>
                  <a:gd name="connsiteX119" fmla="*/ 7862 w 1146175"/>
                  <a:gd name="connsiteY119" fmla="*/ 779882 h 1125538"/>
                  <a:gd name="connsiteX120" fmla="*/ 310169 w 1146175"/>
                  <a:gd name="connsiteY120" fmla="*/ 608482 h 1125538"/>
                  <a:gd name="connsiteX121" fmla="*/ 315887 w 1146175"/>
                  <a:gd name="connsiteY121" fmla="*/ 605625 h 1125538"/>
                  <a:gd name="connsiteX122" fmla="*/ 318031 w 1146175"/>
                  <a:gd name="connsiteY122" fmla="*/ 604197 h 1125538"/>
                  <a:gd name="connsiteX123" fmla="*/ 320889 w 1146175"/>
                  <a:gd name="connsiteY123" fmla="*/ 602768 h 1125538"/>
                  <a:gd name="connsiteX124" fmla="*/ 324463 w 1146175"/>
                  <a:gd name="connsiteY124" fmla="*/ 601340 h 1125538"/>
                  <a:gd name="connsiteX125" fmla="*/ 326607 w 1146175"/>
                  <a:gd name="connsiteY125" fmla="*/ 599912 h 1125538"/>
                  <a:gd name="connsiteX126" fmla="*/ 330180 w 1146175"/>
                  <a:gd name="connsiteY126" fmla="*/ 598483 h 1125538"/>
                  <a:gd name="connsiteX127" fmla="*/ 332324 w 1146175"/>
                  <a:gd name="connsiteY127" fmla="*/ 597769 h 1125538"/>
                  <a:gd name="connsiteX128" fmla="*/ 336612 w 1146175"/>
                  <a:gd name="connsiteY128" fmla="*/ 596341 h 1125538"/>
                  <a:gd name="connsiteX129" fmla="*/ 338042 w 1146175"/>
                  <a:gd name="connsiteY129" fmla="*/ 595627 h 1125538"/>
                  <a:gd name="connsiteX130" fmla="*/ 342330 w 1146175"/>
                  <a:gd name="connsiteY130" fmla="*/ 594198 h 1125538"/>
                  <a:gd name="connsiteX131" fmla="*/ 343044 w 1146175"/>
                  <a:gd name="connsiteY131" fmla="*/ 593484 h 1125538"/>
                  <a:gd name="connsiteX132" fmla="*/ 348047 w 1146175"/>
                  <a:gd name="connsiteY132" fmla="*/ 592056 h 1125538"/>
                  <a:gd name="connsiteX133" fmla="*/ 348762 w 1146175"/>
                  <a:gd name="connsiteY133" fmla="*/ 592056 h 1125538"/>
                  <a:gd name="connsiteX134" fmla="*/ 382352 w 1146175"/>
                  <a:gd name="connsiteY134" fmla="*/ 584914 h 1125538"/>
                  <a:gd name="connsiteX135" fmla="*/ 383781 w 1146175"/>
                  <a:gd name="connsiteY135" fmla="*/ 584914 h 1125538"/>
                  <a:gd name="connsiteX136" fmla="*/ 387354 w 1146175"/>
                  <a:gd name="connsiteY136" fmla="*/ 584914 h 1125538"/>
                  <a:gd name="connsiteX137" fmla="*/ 390213 w 1146175"/>
                  <a:gd name="connsiteY137" fmla="*/ 584200 h 1125538"/>
                  <a:gd name="connsiteX138" fmla="*/ 654433 w 1146175"/>
                  <a:gd name="connsiteY138" fmla="*/ 103187 h 1125538"/>
                  <a:gd name="connsiteX139" fmla="*/ 686457 w 1146175"/>
                  <a:gd name="connsiteY139" fmla="*/ 103187 h 1125538"/>
                  <a:gd name="connsiteX140" fmla="*/ 686457 w 1146175"/>
                  <a:gd name="connsiteY140" fmla="*/ 126776 h 1125538"/>
                  <a:gd name="connsiteX141" fmla="*/ 724174 w 1146175"/>
                  <a:gd name="connsiteY141" fmla="*/ 139643 h 1125538"/>
                  <a:gd name="connsiteX142" fmla="*/ 714211 w 1146175"/>
                  <a:gd name="connsiteY142" fmla="*/ 169665 h 1125538"/>
                  <a:gd name="connsiteX143" fmla="*/ 672936 w 1146175"/>
                  <a:gd name="connsiteY143" fmla="*/ 156083 h 1125538"/>
                  <a:gd name="connsiteX144" fmla="*/ 653722 w 1146175"/>
                  <a:gd name="connsiteY144" fmla="*/ 162517 h 1125538"/>
                  <a:gd name="connsiteX145" fmla="*/ 646605 w 1146175"/>
                  <a:gd name="connsiteY145" fmla="*/ 179672 h 1125538"/>
                  <a:gd name="connsiteX146" fmla="*/ 685034 w 1146175"/>
                  <a:gd name="connsiteY146" fmla="*/ 215413 h 1125538"/>
                  <a:gd name="connsiteX147" fmla="*/ 715634 w 1146175"/>
                  <a:gd name="connsiteY147" fmla="*/ 233998 h 1125538"/>
                  <a:gd name="connsiteX148" fmla="*/ 729155 w 1146175"/>
                  <a:gd name="connsiteY148" fmla="*/ 253298 h 1125538"/>
                  <a:gd name="connsiteX149" fmla="*/ 733425 w 1146175"/>
                  <a:gd name="connsiteY149" fmla="*/ 278317 h 1125538"/>
                  <a:gd name="connsiteX150" fmla="*/ 721327 w 1146175"/>
                  <a:gd name="connsiteY150" fmla="*/ 311198 h 1125538"/>
                  <a:gd name="connsiteX151" fmla="*/ 686457 w 1146175"/>
                  <a:gd name="connsiteY151" fmla="*/ 331213 h 1125538"/>
                  <a:gd name="connsiteX152" fmla="*/ 686457 w 1146175"/>
                  <a:gd name="connsiteY152" fmla="*/ 361950 h 1125538"/>
                  <a:gd name="connsiteX153" fmla="*/ 654433 w 1146175"/>
                  <a:gd name="connsiteY153" fmla="*/ 361950 h 1125538"/>
                  <a:gd name="connsiteX154" fmla="*/ 654433 w 1146175"/>
                  <a:gd name="connsiteY154" fmla="*/ 332643 h 1125538"/>
                  <a:gd name="connsiteX155" fmla="*/ 609600 w 1146175"/>
                  <a:gd name="connsiteY155" fmla="*/ 319061 h 1125538"/>
                  <a:gd name="connsiteX156" fmla="*/ 623833 w 1146175"/>
                  <a:gd name="connsiteY156" fmla="*/ 287609 h 1125538"/>
                  <a:gd name="connsiteX157" fmla="*/ 665820 w 1146175"/>
                  <a:gd name="connsiteY157" fmla="*/ 301906 h 1125538"/>
                  <a:gd name="connsiteX158" fmla="*/ 697132 w 1146175"/>
                  <a:gd name="connsiteY158" fmla="*/ 280461 h 1125538"/>
                  <a:gd name="connsiteX159" fmla="*/ 689304 w 1146175"/>
                  <a:gd name="connsiteY159" fmla="*/ 259732 h 1125538"/>
                  <a:gd name="connsiteX160" fmla="*/ 658703 w 1146175"/>
                  <a:gd name="connsiteY160" fmla="*/ 239002 h 1125538"/>
                  <a:gd name="connsiteX161" fmla="*/ 627391 w 1146175"/>
                  <a:gd name="connsiteY161" fmla="*/ 220417 h 1125538"/>
                  <a:gd name="connsiteX162" fmla="*/ 613870 w 1146175"/>
                  <a:gd name="connsiteY162" fmla="*/ 202546 h 1125538"/>
                  <a:gd name="connsiteX163" fmla="*/ 610312 w 1146175"/>
                  <a:gd name="connsiteY163" fmla="*/ 179672 h 1125538"/>
                  <a:gd name="connsiteX164" fmla="*/ 623121 w 1146175"/>
                  <a:gd name="connsiteY164" fmla="*/ 147506 h 1125538"/>
                  <a:gd name="connsiteX165" fmla="*/ 654433 w 1146175"/>
                  <a:gd name="connsiteY165" fmla="*/ 128920 h 1125538"/>
                  <a:gd name="connsiteX166" fmla="*/ 654433 w 1146175"/>
                  <a:gd name="connsiteY166" fmla="*/ 103187 h 1125538"/>
                  <a:gd name="connsiteX167" fmla="*/ 228600 w 1146175"/>
                  <a:gd name="connsiteY167" fmla="*/ 31750 h 1125538"/>
                  <a:gd name="connsiteX168" fmla="*/ 228600 w 1146175"/>
                  <a:gd name="connsiteY168" fmla="*/ 431800 h 1125538"/>
                  <a:gd name="connsiteX169" fmla="*/ 1114425 w 1146175"/>
                  <a:gd name="connsiteY169" fmla="*/ 431800 h 1125538"/>
                  <a:gd name="connsiteX170" fmla="*/ 1114425 w 1146175"/>
                  <a:gd name="connsiteY170" fmla="*/ 31750 h 1125538"/>
                  <a:gd name="connsiteX171" fmla="*/ 209003 w 1146175"/>
                  <a:gd name="connsiteY171" fmla="*/ 0 h 1125538"/>
                  <a:gd name="connsiteX172" fmla="*/ 1134023 w 1146175"/>
                  <a:gd name="connsiteY172" fmla="*/ 0 h 1125538"/>
                  <a:gd name="connsiteX173" fmla="*/ 1146175 w 1146175"/>
                  <a:gd name="connsiteY173" fmla="*/ 11428 h 1125538"/>
                  <a:gd name="connsiteX174" fmla="*/ 1146175 w 1146175"/>
                  <a:gd name="connsiteY174" fmla="*/ 451408 h 1125538"/>
                  <a:gd name="connsiteX175" fmla="*/ 1134023 w 1146175"/>
                  <a:gd name="connsiteY175" fmla="*/ 463550 h 1125538"/>
                  <a:gd name="connsiteX176" fmla="*/ 209003 w 1146175"/>
                  <a:gd name="connsiteY176" fmla="*/ 463550 h 1125538"/>
                  <a:gd name="connsiteX177" fmla="*/ 196850 w 1146175"/>
                  <a:gd name="connsiteY177" fmla="*/ 451408 h 1125538"/>
                  <a:gd name="connsiteX178" fmla="*/ 196850 w 1146175"/>
                  <a:gd name="connsiteY178" fmla="*/ 11428 h 1125538"/>
                  <a:gd name="connsiteX179" fmla="*/ 209003 w 1146175"/>
                  <a:gd name="connsiteY179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46175" h="1125538">
                    <a:moveTo>
                      <a:pt x="409739" y="615791"/>
                    </a:moveTo>
                    <a:cubicBezTo>
                      <a:pt x="380443" y="614362"/>
                      <a:pt x="351147" y="621508"/>
                      <a:pt x="326138" y="635801"/>
                    </a:cubicBezTo>
                    <a:cubicBezTo>
                      <a:pt x="326138" y="635801"/>
                      <a:pt x="326138" y="635801"/>
                      <a:pt x="31750" y="803020"/>
                    </a:cubicBezTo>
                    <a:cubicBezTo>
                      <a:pt x="31750" y="803020"/>
                      <a:pt x="31750" y="803020"/>
                      <a:pt x="31750" y="1087437"/>
                    </a:cubicBezTo>
                    <a:cubicBezTo>
                      <a:pt x="31750" y="1087437"/>
                      <a:pt x="31750" y="1087437"/>
                      <a:pt x="368296" y="957377"/>
                    </a:cubicBezTo>
                    <a:cubicBezTo>
                      <a:pt x="384730" y="950946"/>
                      <a:pt x="401879" y="948087"/>
                      <a:pt x="419028" y="949516"/>
                    </a:cubicBezTo>
                    <a:cubicBezTo>
                      <a:pt x="419028" y="949516"/>
                      <a:pt x="419028" y="949516"/>
                      <a:pt x="568366" y="960236"/>
                    </a:cubicBezTo>
                    <a:cubicBezTo>
                      <a:pt x="645535" y="965953"/>
                      <a:pt x="722705" y="956663"/>
                      <a:pt x="797017" y="933795"/>
                    </a:cubicBezTo>
                    <a:cubicBezTo>
                      <a:pt x="894908" y="903067"/>
                      <a:pt x="981367" y="845897"/>
                      <a:pt x="1047818" y="767290"/>
                    </a:cubicBezTo>
                    <a:cubicBezTo>
                      <a:pt x="1047818" y="767290"/>
                      <a:pt x="1047818" y="767290"/>
                      <a:pt x="1079972" y="730130"/>
                    </a:cubicBezTo>
                    <a:cubicBezTo>
                      <a:pt x="1098550" y="707977"/>
                      <a:pt x="1096407" y="675104"/>
                      <a:pt x="1074971" y="655810"/>
                    </a:cubicBezTo>
                    <a:cubicBezTo>
                      <a:pt x="1064253" y="646520"/>
                      <a:pt x="1050676" y="641517"/>
                      <a:pt x="1036386" y="642232"/>
                    </a:cubicBezTo>
                    <a:cubicBezTo>
                      <a:pt x="1022095" y="642947"/>
                      <a:pt x="1008519" y="649378"/>
                      <a:pt x="999230" y="660097"/>
                    </a:cubicBezTo>
                    <a:cubicBezTo>
                      <a:pt x="999230" y="660097"/>
                      <a:pt x="999230" y="660097"/>
                      <a:pt x="951356" y="713694"/>
                    </a:cubicBezTo>
                    <a:cubicBezTo>
                      <a:pt x="912771" y="758000"/>
                      <a:pt x="862039" y="789443"/>
                      <a:pt x="805591" y="805164"/>
                    </a:cubicBezTo>
                    <a:cubicBezTo>
                      <a:pt x="740568" y="823744"/>
                      <a:pt x="670544" y="819457"/>
                      <a:pt x="608380" y="794445"/>
                    </a:cubicBezTo>
                    <a:cubicBezTo>
                      <a:pt x="608380" y="794445"/>
                      <a:pt x="608380" y="794445"/>
                      <a:pt x="553360" y="772292"/>
                    </a:cubicBezTo>
                    <a:cubicBezTo>
                      <a:pt x="546930" y="769434"/>
                      <a:pt x="542642" y="763002"/>
                      <a:pt x="544071" y="755856"/>
                    </a:cubicBezTo>
                    <a:cubicBezTo>
                      <a:pt x="544786" y="748710"/>
                      <a:pt x="550502" y="742993"/>
                      <a:pt x="557648" y="742278"/>
                    </a:cubicBezTo>
                    <a:cubicBezTo>
                      <a:pt x="557648" y="742278"/>
                      <a:pt x="557648" y="742278"/>
                      <a:pt x="715560" y="726557"/>
                    </a:cubicBezTo>
                    <a:cubicBezTo>
                      <a:pt x="740568" y="724413"/>
                      <a:pt x="759146" y="703689"/>
                      <a:pt x="759146" y="679392"/>
                    </a:cubicBezTo>
                    <a:cubicBezTo>
                      <a:pt x="759146" y="653666"/>
                      <a:pt x="739139" y="632942"/>
                      <a:pt x="713416" y="631513"/>
                    </a:cubicBezTo>
                    <a:cubicBezTo>
                      <a:pt x="713416" y="631513"/>
                      <a:pt x="713416" y="631513"/>
                      <a:pt x="409739" y="615791"/>
                    </a:cubicBezTo>
                    <a:close/>
                    <a:moveTo>
                      <a:pt x="390213" y="584200"/>
                    </a:moveTo>
                    <a:cubicBezTo>
                      <a:pt x="391642" y="584200"/>
                      <a:pt x="392357" y="584200"/>
                      <a:pt x="393786" y="584200"/>
                    </a:cubicBezTo>
                    <a:cubicBezTo>
                      <a:pt x="394501" y="584200"/>
                      <a:pt x="395930" y="584200"/>
                      <a:pt x="396645" y="584200"/>
                    </a:cubicBezTo>
                    <a:cubicBezTo>
                      <a:pt x="398074" y="584200"/>
                      <a:pt x="398789" y="584200"/>
                      <a:pt x="399504" y="584200"/>
                    </a:cubicBezTo>
                    <a:cubicBezTo>
                      <a:pt x="400933" y="584200"/>
                      <a:pt x="401648" y="584200"/>
                      <a:pt x="403077" y="584200"/>
                    </a:cubicBezTo>
                    <a:cubicBezTo>
                      <a:pt x="405221" y="584200"/>
                      <a:pt x="408080" y="584200"/>
                      <a:pt x="410939" y="584200"/>
                    </a:cubicBezTo>
                    <a:cubicBezTo>
                      <a:pt x="410939" y="584200"/>
                      <a:pt x="410939" y="584200"/>
                      <a:pt x="715390" y="599912"/>
                    </a:cubicBezTo>
                    <a:cubicBezTo>
                      <a:pt x="743263" y="601340"/>
                      <a:pt x="766847" y="617766"/>
                      <a:pt x="780426" y="640619"/>
                    </a:cubicBezTo>
                    <a:cubicBezTo>
                      <a:pt x="781140" y="642048"/>
                      <a:pt x="781855" y="643476"/>
                      <a:pt x="782570" y="644904"/>
                    </a:cubicBezTo>
                    <a:cubicBezTo>
                      <a:pt x="785428" y="650618"/>
                      <a:pt x="787572" y="657045"/>
                      <a:pt x="789002" y="663473"/>
                    </a:cubicBezTo>
                    <a:cubicBezTo>
                      <a:pt x="789716" y="668472"/>
                      <a:pt x="790431" y="673471"/>
                      <a:pt x="790431" y="679184"/>
                    </a:cubicBezTo>
                    <a:cubicBezTo>
                      <a:pt x="790431" y="681327"/>
                      <a:pt x="790431" y="682755"/>
                      <a:pt x="789716" y="684898"/>
                    </a:cubicBezTo>
                    <a:cubicBezTo>
                      <a:pt x="789716" y="684898"/>
                      <a:pt x="789716" y="685612"/>
                      <a:pt x="789716" y="685612"/>
                    </a:cubicBezTo>
                    <a:cubicBezTo>
                      <a:pt x="789716" y="687754"/>
                      <a:pt x="789716" y="689183"/>
                      <a:pt x="789002" y="691325"/>
                    </a:cubicBezTo>
                    <a:cubicBezTo>
                      <a:pt x="786143" y="709893"/>
                      <a:pt x="776852" y="726319"/>
                      <a:pt x="763988" y="738460"/>
                    </a:cubicBezTo>
                    <a:cubicBezTo>
                      <a:pt x="763988" y="738460"/>
                      <a:pt x="763273" y="738460"/>
                      <a:pt x="763273" y="738460"/>
                    </a:cubicBezTo>
                    <a:cubicBezTo>
                      <a:pt x="761844" y="739888"/>
                      <a:pt x="760415" y="740603"/>
                      <a:pt x="758985" y="742031"/>
                    </a:cubicBezTo>
                    <a:cubicBezTo>
                      <a:pt x="757556" y="743459"/>
                      <a:pt x="756127" y="744173"/>
                      <a:pt x="754697" y="744888"/>
                    </a:cubicBezTo>
                    <a:cubicBezTo>
                      <a:pt x="753983" y="745602"/>
                      <a:pt x="753983" y="745602"/>
                      <a:pt x="753983" y="745602"/>
                    </a:cubicBezTo>
                    <a:cubicBezTo>
                      <a:pt x="752553" y="746316"/>
                      <a:pt x="751124" y="747744"/>
                      <a:pt x="749695" y="748458"/>
                    </a:cubicBezTo>
                    <a:cubicBezTo>
                      <a:pt x="748980" y="748458"/>
                      <a:pt x="748265" y="748458"/>
                      <a:pt x="748265" y="749173"/>
                    </a:cubicBezTo>
                    <a:cubicBezTo>
                      <a:pt x="746836" y="749887"/>
                      <a:pt x="745407" y="750601"/>
                      <a:pt x="743263" y="751315"/>
                    </a:cubicBezTo>
                    <a:cubicBezTo>
                      <a:pt x="743263" y="751315"/>
                      <a:pt x="742548" y="751315"/>
                      <a:pt x="742548" y="752029"/>
                    </a:cubicBezTo>
                    <a:cubicBezTo>
                      <a:pt x="741118" y="752029"/>
                      <a:pt x="739689" y="752743"/>
                      <a:pt x="738260" y="753458"/>
                    </a:cubicBezTo>
                    <a:cubicBezTo>
                      <a:pt x="731828" y="755600"/>
                      <a:pt x="725396" y="757028"/>
                      <a:pt x="718964" y="757743"/>
                    </a:cubicBezTo>
                    <a:cubicBezTo>
                      <a:pt x="718964" y="757743"/>
                      <a:pt x="718964" y="757743"/>
                      <a:pt x="624626" y="767027"/>
                    </a:cubicBezTo>
                    <a:cubicBezTo>
                      <a:pt x="662504" y="781310"/>
                      <a:pt x="703241" y="787023"/>
                      <a:pt x="743263" y="784167"/>
                    </a:cubicBezTo>
                    <a:cubicBezTo>
                      <a:pt x="753983" y="783453"/>
                      <a:pt x="764703" y="782024"/>
                      <a:pt x="775423" y="779882"/>
                    </a:cubicBezTo>
                    <a:cubicBezTo>
                      <a:pt x="778996" y="779168"/>
                      <a:pt x="781855" y="778453"/>
                      <a:pt x="785428" y="777739"/>
                    </a:cubicBezTo>
                    <a:cubicBezTo>
                      <a:pt x="786143" y="777739"/>
                      <a:pt x="786143" y="777739"/>
                      <a:pt x="786858" y="777025"/>
                    </a:cubicBezTo>
                    <a:cubicBezTo>
                      <a:pt x="790431" y="776311"/>
                      <a:pt x="793290" y="775597"/>
                      <a:pt x="796863" y="774883"/>
                    </a:cubicBezTo>
                    <a:cubicBezTo>
                      <a:pt x="806869" y="772026"/>
                      <a:pt x="816874" y="768455"/>
                      <a:pt x="826880" y="764170"/>
                    </a:cubicBezTo>
                    <a:cubicBezTo>
                      <a:pt x="857611" y="752029"/>
                      <a:pt x="885483" y="734175"/>
                      <a:pt x="909782" y="711322"/>
                    </a:cubicBezTo>
                    <a:cubicBezTo>
                      <a:pt x="916214" y="705608"/>
                      <a:pt x="921931" y="699181"/>
                      <a:pt x="928363" y="692753"/>
                    </a:cubicBezTo>
                    <a:cubicBezTo>
                      <a:pt x="928363" y="692753"/>
                      <a:pt x="928363" y="692753"/>
                      <a:pt x="975532" y="639191"/>
                    </a:cubicBezTo>
                    <a:cubicBezTo>
                      <a:pt x="976961" y="637763"/>
                      <a:pt x="977676" y="637048"/>
                      <a:pt x="978391" y="635620"/>
                    </a:cubicBezTo>
                    <a:cubicBezTo>
                      <a:pt x="979105" y="635620"/>
                      <a:pt x="979105" y="635620"/>
                      <a:pt x="979105" y="635620"/>
                    </a:cubicBezTo>
                    <a:cubicBezTo>
                      <a:pt x="994114" y="620623"/>
                      <a:pt x="1013410" y="612053"/>
                      <a:pt x="1034135" y="610624"/>
                    </a:cubicBezTo>
                    <a:cubicBezTo>
                      <a:pt x="1034850" y="610624"/>
                      <a:pt x="1034850" y="610624"/>
                      <a:pt x="1034850" y="610624"/>
                    </a:cubicBezTo>
                    <a:cubicBezTo>
                      <a:pt x="1036279" y="610624"/>
                      <a:pt x="1037709" y="610624"/>
                      <a:pt x="1039138" y="610624"/>
                    </a:cubicBezTo>
                    <a:cubicBezTo>
                      <a:pt x="1039138" y="610624"/>
                      <a:pt x="1039853" y="610624"/>
                      <a:pt x="1040567" y="610624"/>
                    </a:cubicBezTo>
                    <a:cubicBezTo>
                      <a:pt x="1054146" y="610624"/>
                      <a:pt x="1067725" y="614909"/>
                      <a:pt x="1079875" y="621337"/>
                    </a:cubicBezTo>
                    <a:cubicBezTo>
                      <a:pt x="1081304" y="622051"/>
                      <a:pt x="1082019" y="622765"/>
                      <a:pt x="1083448" y="623479"/>
                    </a:cubicBezTo>
                    <a:cubicBezTo>
                      <a:pt x="1084877" y="624193"/>
                      <a:pt x="1085592" y="624908"/>
                      <a:pt x="1086307" y="624908"/>
                    </a:cubicBezTo>
                    <a:cubicBezTo>
                      <a:pt x="1087021" y="625622"/>
                      <a:pt x="1087021" y="625622"/>
                      <a:pt x="1087021" y="625622"/>
                    </a:cubicBezTo>
                    <a:cubicBezTo>
                      <a:pt x="1087736" y="626336"/>
                      <a:pt x="1089165" y="627050"/>
                      <a:pt x="1089880" y="627764"/>
                    </a:cubicBezTo>
                    <a:cubicBezTo>
                      <a:pt x="1089880" y="627764"/>
                      <a:pt x="1090595" y="628478"/>
                      <a:pt x="1090595" y="628478"/>
                    </a:cubicBezTo>
                    <a:cubicBezTo>
                      <a:pt x="1091309" y="629193"/>
                      <a:pt x="1092024" y="629193"/>
                      <a:pt x="1092739" y="629907"/>
                    </a:cubicBezTo>
                    <a:cubicBezTo>
                      <a:pt x="1093453" y="630621"/>
                      <a:pt x="1094168" y="631335"/>
                      <a:pt x="1095597" y="632049"/>
                    </a:cubicBezTo>
                    <a:cubicBezTo>
                      <a:pt x="1095597" y="632049"/>
                      <a:pt x="1095597" y="632763"/>
                      <a:pt x="1095597" y="632763"/>
                    </a:cubicBezTo>
                    <a:cubicBezTo>
                      <a:pt x="1129902" y="663473"/>
                      <a:pt x="1133475" y="714893"/>
                      <a:pt x="1103459" y="749887"/>
                    </a:cubicBezTo>
                    <a:cubicBezTo>
                      <a:pt x="1103459" y="749887"/>
                      <a:pt x="1103459" y="749887"/>
                      <a:pt x="1072013" y="787738"/>
                    </a:cubicBezTo>
                    <a:cubicBezTo>
                      <a:pt x="1040567" y="824160"/>
                      <a:pt x="1004834" y="857012"/>
                      <a:pt x="966241" y="884150"/>
                    </a:cubicBezTo>
                    <a:cubicBezTo>
                      <a:pt x="963383" y="886292"/>
                      <a:pt x="959809" y="888435"/>
                      <a:pt x="956950" y="890577"/>
                    </a:cubicBezTo>
                    <a:cubicBezTo>
                      <a:pt x="954092" y="892720"/>
                      <a:pt x="951233" y="894862"/>
                      <a:pt x="948374" y="896291"/>
                    </a:cubicBezTo>
                    <a:cubicBezTo>
                      <a:pt x="904779" y="924857"/>
                      <a:pt x="856896" y="947711"/>
                      <a:pt x="806154" y="963422"/>
                    </a:cubicBezTo>
                    <a:cubicBezTo>
                      <a:pt x="801866" y="964851"/>
                      <a:pt x="797578" y="966279"/>
                      <a:pt x="792575" y="967707"/>
                    </a:cubicBezTo>
                    <a:cubicBezTo>
                      <a:pt x="791146" y="967707"/>
                      <a:pt x="789716" y="968422"/>
                      <a:pt x="788287" y="968422"/>
                    </a:cubicBezTo>
                    <a:cubicBezTo>
                      <a:pt x="785428" y="969136"/>
                      <a:pt x="782570" y="970564"/>
                      <a:pt x="779711" y="971278"/>
                    </a:cubicBezTo>
                    <a:cubicBezTo>
                      <a:pt x="777567" y="971278"/>
                      <a:pt x="775423" y="971992"/>
                      <a:pt x="773994" y="972707"/>
                    </a:cubicBezTo>
                    <a:cubicBezTo>
                      <a:pt x="771135" y="973421"/>
                      <a:pt x="768991" y="973421"/>
                      <a:pt x="766132" y="974135"/>
                    </a:cubicBezTo>
                    <a:cubicBezTo>
                      <a:pt x="763988" y="974849"/>
                      <a:pt x="761844" y="975563"/>
                      <a:pt x="759700" y="976277"/>
                    </a:cubicBezTo>
                    <a:cubicBezTo>
                      <a:pt x="757556" y="976277"/>
                      <a:pt x="756127" y="976992"/>
                      <a:pt x="753983" y="976992"/>
                    </a:cubicBezTo>
                    <a:cubicBezTo>
                      <a:pt x="743977" y="979134"/>
                      <a:pt x="733972" y="981277"/>
                      <a:pt x="724681" y="983419"/>
                    </a:cubicBezTo>
                    <a:cubicBezTo>
                      <a:pt x="723252" y="983419"/>
                      <a:pt x="722537" y="983419"/>
                      <a:pt x="721822" y="983419"/>
                    </a:cubicBezTo>
                    <a:cubicBezTo>
                      <a:pt x="718249" y="984133"/>
                      <a:pt x="714676" y="984847"/>
                      <a:pt x="711102" y="985562"/>
                    </a:cubicBezTo>
                    <a:cubicBezTo>
                      <a:pt x="710387" y="985562"/>
                      <a:pt x="710387" y="985562"/>
                      <a:pt x="709673" y="985562"/>
                    </a:cubicBezTo>
                    <a:cubicBezTo>
                      <a:pt x="689662" y="988418"/>
                      <a:pt x="670366" y="990561"/>
                      <a:pt x="650355" y="991989"/>
                    </a:cubicBezTo>
                    <a:cubicBezTo>
                      <a:pt x="649640" y="991989"/>
                      <a:pt x="648925" y="991989"/>
                      <a:pt x="648211" y="991989"/>
                    </a:cubicBezTo>
                    <a:cubicBezTo>
                      <a:pt x="644637" y="991989"/>
                      <a:pt x="641064" y="991989"/>
                      <a:pt x="637491" y="992703"/>
                    </a:cubicBezTo>
                    <a:cubicBezTo>
                      <a:pt x="636776" y="992703"/>
                      <a:pt x="636061" y="992703"/>
                      <a:pt x="635347" y="992703"/>
                    </a:cubicBezTo>
                    <a:cubicBezTo>
                      <a:pt x="630344" y="992703"/>
                      <a:pt x="626056" y="992703"/>
                      <a:pt x="621053" y="992703"/>
                    </a:cubicBezTo>
                    <a:cubicBezTo>
                      <a:pt x="621053" y="992703"/>
                      <a:pt x="620338" y="992703"/>
                      <a:pt x="620338" y="992703"/>
                    </a:cubicBezTo>
                    <a:cubicBezTo>
                      <a:pt x="617480" y="992703"/>
                      <a:pt x="614621" y="992703"/>
                      <a:pt x="612477" y="992703"/>
                    </a:cubicBezTo>
                    <a:cubicBezTo>
                      <a:pt x="610333" y="992703"/>
                      <a:pt x="608189" y="992703"/>
                      <a:pt x="606045" y="992703"/>
                    </a:cubicBezTo>
                    <a:cubicBezTo>
                      <a:pt x="603901" y="992703"/>
                      <a:pt x="601042" y="992703"/>
                      <a:pt x="598898" y="992703"/>
                    </a:cubicBezTo>
                    <a:cubicBezTo>
                      <a:pt x="596754" y="992703"/>
                      <a:pt x="594610" y="992703"/>
                      <a:pt x="592466" y="992703"/>
                    </a:cubicBezTo>
                    <a:cubicBezTo>
                      <a:pt x="589607" y="992703"/>
                      <a:pt x="587463" y="992703"/>
                      <a:pt x="584605" y="991989"/>
                    </a:cubicBezTo>
                    <a:cubicBezTo>
                      <a:pt x="582461" y="991989"/>
                      <a:pt x="581031" y="991989"/>
                      <a:pt x="578887" y="991989"/>
                    </a:cubicBezTo>
                    <a:cubicBezTo>
                      <a:pt x="575314" y="991989"/>
                      <a:pt x="571026" y="991275"/>
                      <a:pt x="566738" y="991275"/>
                    </a:cubicBezTo>
                    <a:cubicBezTo>
                      <a:pt x="566738" y="991275"/>
                      <a:pt x="566023" y="991275"/>
                      <a:pt x="566023" y="991275"/>
                    </a:cubicBezTo>
                    <a:cubicBezTo>
                      <a:pt x="566023" y="991275"/>
                      <a:pt x="566023" y="991275"/>
                      <a:pt x="485265" y="985562"/>
                    </a:cubicBezTo>
                    <a:cubicBezTo>
                      <a:pt x="485265" y="985562"/>
                      <a:pt x="485265" y="985562"/>
                      <a:pt x="416656" y="980562"/>
                    </a:cubicBezTo>
                    <a:cubicBezTo>
                      <a:pt x="415227" y="980562"/>
                      <a:pt x="413083" y="980562"/>
                      <a:pt x="410939" y="980562"/>
                    </a:cubicBezTo>
                    <a:cubicBezTo>
                      <a:pt x="410224" y="980562"/>
                      <a:pt x="408794" y="980562"/>
                      <a:pt x="407365" y="980562"/>
                    </a:cubicBezTo>
                    <a:cubicBezTo>
                      <a:pt x="402362" y="980562"/>
                      <a:pt x="398074" y="981277"/>
                      <a:pt x="393072" y="981991"/>
                    </a:cubicBezTo>
                    <a:cubicBezTo>
                      <a:pt x="391642" y="982705"/>
                      <a:pt x="390213" y="982705"/>
                      <a:pt x="388784" y="982705"/>
                    </a:cubicBezTo>
                    <a:cubicBezTo>
                      <a:pt x="388784" y="983419"/>
                      <a:pt x="388784" y="983419"/>
                      <a:pt x="388784" y="983419"/>
                    </a:cubicBezTo>
                    <a:cubicBezTo>
                      <a:pt x="387354" y="983419"/>
                      <a:pt x="385925" y="984133"/>
                      <a:pt x="384496" y="984133"/>
                    </a:cubicBezTo>
                    <a:cubicBezTo>
                      <a:pt x="384496" y="984133"/>
                      <a:pt x="384496" y="984133"/>
                      <a:pt x="383781" y="984847"/>
                    </a:cubicBezTo>
                    <a:cubicBezTo>
                      <a:pt x="382352" y="984847"/>
                      <a:pt x="380922" y="985562"/>
                      <a:pt x="379493" y="986276"/>
                    </a:cubicBezTo>
                    <a:cubicBezTo>
                      <a:pt x="379493" y="986276"/>
                      <a:pt x="379493" y="986276"/>
                      <a:pt x="21441" y="1124824"/>
                    </a:cubicBezTo>
                    <a:cubicBezTo>
                      <a:pt x="20011" y="1125538"/>
                      <a:pt x="17867" y="1125538"/>
                      <a:pt x="15723" y="1125538"/>
                    </a:cubicBezTo>
                    <a:cubicBezTo>
                      <a:pt x="12864" y="1125538"/>
                      <a:pt x="10006" y="1124824"/>
                      <a:pt x="7147" y="1122681"/>
                    </a:cubicBezTo>
                    <a:cubicBezTo>
                      <a:pt x="2859" y="1119825"/>
                      <a:pt x="0" y="1114826"/>
                      <a:pt x="0" y="1109826"/>
                    </a:cubicBezTo>
                    <a:cubicBezTo>
                      <a:pt x="0" y="1109826"/>
                      <a:pt x="0" y="1109826"/>
                      <a:pt x="0" y="793451"/>
                    </a:cubicBezTo>
                    <a:cubicBezTo>
                      <a:pt x="0" y="787738"/>
                      <a:pt x="3574" y="782738"/>
                      <a:pt x="7862" y="779882"/>
                    </a:cubicBezTo>
                    <a:cubicBezTo>
                      <a:pt x="7862" y="779882"/>
                      <a:pt x="7862" y="779882"/>
                      <a:pt x="310169" y="608482"/>
                    </a:cubicBezTo>
                    <a:cubicBezTo>
                      <a:pt x="311599" y="607053"/>
                      <a:pt x="313743" y="606339"/>
                      <a:pt x="315887" y="605625"/>
                    </a:cubicBezTo>
                    <a:cubicBezTo>
                      <a:pt x="316601" y="604911"/>
                      <a:pt x="317316" y="604911"/>
                      <a:pt x="318031" y="604197"/>
                    </a:cubicBezTo>
                    <a:cubicBezTo>
                      <a:pt x="318745" y="603483"/>
                      <a:pt x="320175" y="602768"/>
                      <a:pt x="320889" y="602768"/>
                    </a:cubicBezTo>
                    <a:cubicBezTo>
                      <a:pt x="322319" y="602054"/>
                      <a:pt x="323033" y="601340"/>
                      <a:pt x="324463" y="601340"/>
                    </a:cubicBezTo>
                    <a:cubicBezTo>
                      <a:pt x="325177" y="600626"/>
                      <a:pt x="325892" y="600626"/>
                      <a:pt x="326607" y="599912"/>
                    </a:cubicBezTo>
                    <a:cubicBezTo>
                      <a:pt x="328036" y="599198"/>
                      <a:pt x="329466" y="599198"/>
                      <a:pt x="330180" y="598483"/>
                    </a:cubicBezTo>
                    <a:cubicBezTo>
                      <a:pt x="330895" y="598483"/>
                      <a:pt x="331610" y="597769"/>
                      <a:pt x="332324" y="597769"/>
                    </a:cubicBezTo>
                    <a:cubicBezTo>
                      <a:pt x="333754" y="597055"/>
                      <a:pt x="335183" y="596341"/>
                      <a:pt x="336612" y="596341"/>
                    </a:cubicBezTo>
                    <a:cubicBezTo>
                      <a:pt x="336612" y="595627"/>
                      <a:pt x="337327" y="595627"/>
                      <a:pt x="338042" y="595627"/>
                    </a:cubicBezTo>
                    <a:cubicBezTo>
                      <a:pt x="339471" y="594913"/>
                      <a:pt x="340900" y="594198"/>
                      <a:pt x="342330" y="594198"/>
                    </a:cubicBezTo>
                    <a:cubicBezTo>
                      <a:pt x="343044" y="593484"/>
                      <a:pt x="343044" y="593484"/>
                      <a:pt x="343044" y="593484"/>
                    </a:cubicBezTo>
                    <a:cubicBezTo>
                      <a:pt x="345188" y="592770"/>
                      <a:pt x="346618" y="592770"/>
                      <a:pt x="348047" y="592056"/>
                    </a:cubicBezTo>
                    <a:cubicBezTo>
                      <a:pt x="348762" y="592056"/>
                      <a:pt x="348762" y="592056"/>
                      <a:pt x="348762" y="592056"/>
                    </a:cubicBezTo>
                    <a:cubicBezTo>
                      <a:pt x="360197" y="588485"/>
                      <a:pt x="370917" y="586343"/>
                      <a:pt x="382352" y="584914"/>
                    </a:cubicBezTo>
                    <a:cubicBezTo>
                      <a:pt x="383066" y="584914"/>
                      <a:pt x="383781" y="584914"/>
                      <a:pt x="383781" y="584914"/>
                    </a:cubicBezTo>
                    <a:cubicBezTo>
                      <a:pt x="385210" y="584914"/>
                      <a:pt x="386640" y="584914"/>
                      <a:pt x="387354" y="584914"/>
                    </a:cubicBezTo>
                    <a:cubicBezTo>
                      <a:pt x="388784" y="584914"/>
                      <a:pt x="389498" y="584914"/>
                      <a:pt x="390213" y="584200"/>
                    </a:cubicBezTo>
                    <a:close/>
                    <a:moveTo>
                      <a:pt x="654433" y="103187"/>
                    </a:moveTo>
                    <a:cubicBezTo>
                      <a:pt x="686457" y="103187"/>
                      <a:pt x="686457" y="103187"/>
                      <a:pt x="686457" y="103187"/>
                    </a:cubicBezTo>
                    <a:cubicBezTo>
                      <a:pt x="686457" y="126776"/>
                      <a:pt x="686457" y="126776"/>
                      <a:pt x="686457" y="126776"/>
                    </a:cubicBezTo>
                    <a:cubicBezTo>
                      <a:pt x="702825" y="128920"/>
                      <a:pt x="716346" y="132495"/>
                      <a:pt x="724174" y="139643"/>
                    </a:cubicBezTo>
                    <a:cubicBezTo>
                      <a:pt x="714211" y="169665"/>
                      <a:pt x="714211" y="169665"/>
                      <a:pt x="714211" y="169665"/>
                    </a:cubicBezTo>
                    <a:cubicBezTo>
                      <a:pt x="700690" y="161087"/>
                      <a:pt x="687169" y="156083"/>
                      <a:pt x="672936" y="156083"/>
                    </a:cubicBezTo>
                    <a:cubicBezTo>
                      <a:pt x="665108" y="156083"/>
                      <a:pt x="658703" y="158228"/>
                      <a:pt x="653722" y="162517"/>
                    </a:cubicBezTo>
                    <a:cubicBezTo>
                      <a:pt x="648740" y="167520"/>
                      <a:pt x="646605" y="172524"/>
                      <a:pt x="646605" y="179672"/>
                    </a:cubicBezTo>
                    <a:cubicBezTo>
                      <a:pt x="646605" y="191109"/>
                      <a:pt x="659415" y="203261"/>
                      <a:pt x="685034" y="215413"/>
                    </a:cubicBezTo>
                    <a:cubicBezTo>
                      <a:pt x="698555" y="222561"/>
                      <a:pt x="709230" y="228280"/>
                      <a:pt x="715634" y="233998"/>
                    </a:cubicBezTo>
                    <a:cubicBezTo>
                      <a:pt x="722039" y="239717"/>
                      <a:pt x="725597" y="246150"/>
                      <a:pt x="729155" y="253298"/>
                    </a:cubicBezTo>
                    <a:cubicBezTo>
                      <a:pt x="732002" y="261161"/>
                      <a:pt x="733425" y="269024"/>
                      <a:pt x="733425" y="278317"/>
                    </a:cubicBezTo>
                    <a:cubicBezTo>
                      <a:pt x="733425" y="290469"/>
                      <a:pt x="729867" y="301906"/>
                      <a:pt x="721327" y="311198"/>
                    </a:cubicBezTo>
                    <a:cubicBezTo>
                      <a:pt x="712788" y="320491"/>
                      <a:pt x="700690" y="327639"/>
                      <a:pt x="686457" y="331213"/>
                    </a:cubicBezTo>
                    <a:cubicBezTo>
                      <a:pt x="686457" y="361950"/>
                      <a:pt x="686457" y="361950"/>
                      <a:pt x="686457" y="361950"/>
                    </a:cubicBezTo>
                    <a:cubicBezTo>
                      <a:pt x="654433" y="361950"/>
                      <a:pt x="654433" y="361950"/>
                      <a:pt x="654433" y="361950"/>
                    </a:cubicBezTo>
                    <a:cubicBezTo>
                      <a:pt x="654433" y="332643"/>
                      <a:pt x="654433" y="332643"/>
                      <a:pt x="654433" y="332643"/>
                    </a:cubicBezTo>
                    <a:cubicBezTo>
                      <a:pt x="638777" y="332643"/>
                      <a:pt x="623833" y="327639"/>
                      <a:pt x="609600" y="319061"/>
                    </a:cubicBezTo>
                    <a:cubicBezTo>
                      <a:pt x="623833" y="287609"/>
                      <a:pt x="623833" y="287609"/>
                      <a:pt x="623833" y="287609"/>
                    </a:cubicBezTo>
                    <a:cubicBezTo>
                      <a:pt x="638066" y="296902"/>
                      <a:pt x="652299" y="301906"/>
                      <a:pt x="665820" y="301906"/>
                    </a:cubicBezTo>
                    <a:cubicBezTo>
                      <a:pt x="687169" y="301906"/>
                      <a:pt x="697132" y="294758"/>
                      <a:pt x="697132" y="280461"/>
                    </a:cubicBezTo>
                    <a:cubicBezTo>
                      <a:pt x="697132" y="273313"/>
                      <a:pt x="694997" y="266165"/>
                      <a:pt x="689304" y="259732"/>
                    </a:cubicBezTo>
                    <a:cubicBezTo>
                      <a:pt x="683611" y="254013"/>
                      <a:pt x="673648" y="246865"/>
                      <a:pt x="658703" y="239002"/>
                    </a:cubicBezTo>
                    <a:cubicBezTo>
                      <a:pt x="643047" y="231854"/>
                      <a:pt x="633084" y="225420"/>
                      <a:pt x="627391" y="220417"/>
                    </a:cubicBezTo>
                    <a:cubicBezTo>
                      <a:pt x="621698" y="215413"/>
                      <a:pt x="618140" y="209695"/>
                      <a:pt x="613870" y="202546"/>
                    </a:cubicBezTo>
                    <a:cubicBezTo>
                      <a:pt x="611735" y="195398"/>
                      <a:pt x="610312" y="188250"/>
                      <a:pt x="610312" y="179672"/>
                    </a:cubicBezTo>
                    <a:cubicBezTo>
                      <a:pt x="610312" y="167520"/>
                      <a:pt x="613870" y="156083"/>
                      <a:pt x="623121" y="147506"/>
                    </a:cubicBezTo>
                    <a:cubicBezTo>
                      <a:pt x="630949" y="138213"/>
                      <a:pt x="640912" y="131780"/>
                      <a:pt x="654433" y="128920"/>
                    </a:cubicBezTo>
                    <a:cubicBezTo>
                      <a:pt x="654433" y="103187"/>
                      <a:pt x="654433" y="103187"/>
                      <a:pt x="654433" y="103187"/>
                    </a:cubicBezTo>
                    <a:close/>
                    <a:moveTo>
                      <a:pt x="228600" y="31750"/>
                    </a:moveTo>
                    <a:lnTo>
                      <a:pt x="228600" y="431800"/>
                    </a:lnTo>
                    <a:lnTo>
                      <a:pt x="1114425" y="431800"/>
                    </a:lnTo>
                    <a:lnTo>
                      <a:pt x="1114425" y="31750"/>
                    </a:lnTo>
                    <a:close/>
                    <a:moveTo>
                      <a:pt x="209003" y="0"/>
                    </a:moveTo>
                    <a:cubicBezTo>
                      <a:pt x="1134023" y="0"/>
                      <a:pt x="1134023" y="0"/>
                      <a:pt x="1134023" y="0"/>
                    </a:cubicBezTo>
                    <a:cubicBezTo>
                      <a:pt x="1141171" y="0"/>
                      <a:pt x="1146175" y="5000"/>
                      <a:pt x="1146175" y="11428"/>
                    </a:cubicBezTo>
                    <a:cubicBezTo>
                      <a:pt x="1146175" y="451408"/>
                      <a:pt x="1146175" y="451408"/>
                      <a:pt x="1146175" y="451408"/>
                    </a:cubicBezTo>
                    <a:cubicBezTo>
                      <a:pt x="1146175" y="457836"/>
                      <a:pt x="1141171" y="463550"/>
                      <a:pt x="1134023" y="463550"/>
                    </a:cubicBezTo>
                    <a:cubicBezTo>
                      <a:pt x="209003" y="463550"/>
                      <a:pt x="209003" y="463550"/>
                      <a:pt x="209003" y="463550"/>
                    </a:cubicBezTo>
                    <a:cubicBezTo>
                      <a:pt x="202569" y="463550"/>
                      <a:pt x="196850" y="457836"/>
                      <a:pt x="196850" y="451408"/>
                    </a:cubicBezTo>
                    <a:cubicBezTo>
                      <a:pt x="196850" y="11428"/>
                      <a:pt x="196850" y="11428"/>
                      <a:pt x="196850" y="11428"/>
                    </a:cubicBezTo>
                    <a:cubicBezTo>
                      <a:pt x="196850" y="5000"/>
                      <a:pt x="202569" y="0"/>
                      <a:pt x="209003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" name="Group 34"/>
          <p:cNvGrpSpPr>
            <a:grpSpLocks noChangeAspect="1"/>
          </p:cNvGrpSpPr>
          <p:nvPr/>
        </p:nvGrpSpPr>
        <p:grpSpPr>
          <a:xfrm>
            <a:off x="5016572" y="3737659"/>
            <a:ext cx="362562" cy="362562"/>
            <a:chOff x="5272088" y="2605088"/>
            <a:chExt cx="1647825" cy="1647825"/>
          </a:xfrm>
        </p:grpSpPr>
        <p:sp>
          <p:nvSpPr>
            <p:cNvPr id="36" name="AutoShape 75"/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7825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443538" y="2757488"/>
              <a:ext cx="1306513" cy="1322388"/>
              <a:chOff x="5443538" y="2757488"/>
              <a:chExt cx="1306513" cy="1322388"/>
            </a:xfrm>
          </p:grpSpPr>
          <p:sp>
            <p:nvSpPr>
              <p:cNvPr id="38" name="Freeform 37"/>
              <p:cNvSpPr>
                <a:spLocks noChangeArrowheads="1"/>
              </p:cNvSpPr>
              <p:nvPr/>
            </p:nvSpPr>
            <p:spPr bwMode="auto">
              <a:xfrm>
                <a:off x="5443538" y="2757488"/>
                <a:ext cx="1306513" cy="1322388"/>
              </a:xfrm>
              <a:custGeom>
                <a:avLst/>
                <a:gdLst>
                  <a:gd name="connsiteX0" fmla="*/ 1221581 w 1306513"/>
                  <a:gd name="connsiteY0" fmla="*/ 1185863 h 1322388"/>
                  <a:gd name="connsiteX1" fmla="*/ 1168399 w 1306513"/>
                  <a:gd name="connsiteY1" fmla="*/ 1239045 h 1322388"/>
                  <a:gd name="connsiteX2" fmla="*/ 1221581 w 1306513"/>
                  <a:gd name="connsiteY2" fmla="*/ 1292227 h 1322388"/>
                  <a:gd name="connsiteX3" fmla="*/ 1274763 w 1306513"/>
                  <a:gd name="connsiteY3" fmla="*/ 1239045 h 1322388"/>
                  <a:gd name="connsiteX4" fmla="*/ 1221581 w 1306513"/>
                  <a:gd name="connsiteY4" fmla="*/ 1185863 h 1322388"/>
                  <a:gd name="connsiteX5" fmla="*/ 541338 w 1306513"/>
                  <a:gd name="connsiteY5" fmla="*/ 1185863 h 1322388"/>
                  <a:gd name="connsiteX6" fmla="*/ 488950 w 1306513"/>
                  <a:gd name="connsiteY6" fmla="*/ 1239045 h 1322388"/>
                  <a:gd name="connsiteX7" fmla="*/ 541338 w 1306513"/>
                  <a:gd name="connsiteY7" fmla="*/ 1292227 h 1322388"/>
                  <a:gd name="connsiteX8" fmla="*/ 593726 w 1306513"/>
                  <a:gd name="connsiteY8" fmla="*/ 1239045 h 1322388"/>
                  <a:gd name="connsiteX9" fmla="*/ 541338 w 1306513"/>
                  <a:gd name="connsiteY9" fmla="*/ 1185863 h 1322388"/>
                  <a:gd name="connsiteX10" fmla="*/ 86520 w 1306513"/>
                  <a:gd name="connsiteY10" fmla="*/ 1185863 h 1322388"/>
                  <a:gd name="connsiteX11" fmla="*/ 33338 w 1306513"/>
                  <a:gd name="connsiteY11" fmla="*/ 1239045 h 1322388"/>
                  <a:gd name="connsiteX12" fmla="*/ 86520 w 1306513"/>
                  <a:gd name="connsiteY12" fmla="*/ 1292227 h 1322388"/>
                  <a:gd name="connsiteX13" fmla="*/ 139702 w 1306513"/>
                  <a:gd name="connsiteY13" fmla="*/ 1239045 h 1322388"/>
                  <a:gd name="connsiteX14" fmla="*/ 86520 w 1306513"/>
                  <a:gd name="connsiteY14" fmla="*/ 1185863 h 1322388"/>
                  <a:gd name="connsiteX15" fmla="*/ 1221581 w 1306513"/>
                  <a:gd name="connsiteY15" fmla="*/ 1155700 h 1322388"/>
                  <a:gd name="connsiteX16" fmla="*/ 1306513 w 1306513"/>
                  <a:gd name="connsiteY16" fmla="*/ 1239044 h 1322388"/>
                  <a:gd name="connsiteX17" fmla="*/ 1221581 w 1306513"/>
                  <a:gd name="connsiteY17" fmla="*/ 1322388 h 1322388"/>
                  <a:gd name="connsiteX18" fmla="*/ 1136649 w 1306513"/>
                  <a:gd name="connsiteY18" fmla="*/ 1239044 h 1322388"/>
                  <a:gd name="connsiteX19" fmla="*/ 1221581 w 1306513"/>
                  <a:gd name="connsiteY19" fmla="*/ 1155700 h 1322388"/>
                  <a:gd name="connsiteX20" fmla="*/ 540544 w 1306513"/>
                  <a:gd name="connsiteY20" fmla="*/ 1155700 h 1322388"/>
                  <a:gd name="connsiteX21" fmla="*/ 623888 w 1306513"/>
                  <a:gd name="connsiteY21" fmla="*/ 1239044 h 1322388"/>
                  <a:gd name="connsiteX22" fmla="*/ 540544 w 1306513"/>
                  <a:gd name="connsiteY22" fmla="*/ 1322388 h 1322388"/>
                  <a:gd name="connsiteX23" fmla="*/ 457200 w 1306513"/>
                  <a:gd name="connsiteY23" fmla="*/ 1239044 h 1322388"/>
                  <a:gd name="connsiteX24" fmla="*/ 540544 w 1306513"/>
                  <a:gd name="connsiteY24" fmla="*/ 1155700 h 1322388"/>
                  <a:gd name="connsiteX25" fmla="*/ 314769 w 1306513"/>
                  <a:gd name="connsiteY25" fmla="*/ 1155700 h 1322388"/>
                  <a:gd name="connsiteX26" fmla="*/ 330201 w 1306513"/>
                  <a:gd name="connsiteY26" fmla="*/ 1171372 h 1322388"/>
                  <a:gd name="connsiteX27" fmla="*/ 330201 w 1306513"/>
                  <a:gd name="connsiteY27" fmla="*/ 1306717 h 1322388"/>
                  <a:gd name="connsiteX28" fmla="*/ 314769 w 1306513"/>
                  <a:gd name="connsiteY28" fmla="*/ 1322388 h 1322388"/>
                  <a:gd name="connsiteX29" fmla="*/ 300038 w 1306513"/>
                  <a:gd name="connsiteY29" fmla="*/ 1306717 h 1322388"/>
                  <a:gd name="connsiteX30" fmla="*/ 300038 w 1306513"/>
                  <a:gd name="connsiteY30" fmla="*/ 1171372 h 1322388"/>
                  <a:gd name="connsiteX31" fmla="*/ 314769 w 1306513"/>
                  <a:gd name="connsiteY31" fmla="*/ 1155700 h 1322388"/>
                  <a:gd name="connsiteX32" fmla="*/ 86519 w 1306513"/>
                  <a:gd name="connsiteY32" fmla="*/ 1155700 h 1322388"/>
                  <a:gd name="connsiteX33" fmla="*/ 169863 w 1306513"/>
                  <a:gd name="connsiteY33" fmla="*/ 1239044 h 1322388"/>
                  <a:gd name="connsiteX34" fmla="*/ 86519 w 1306513"/>
                  <a:gd name="connsiteY34" fmla="*/ 1322388 h 1322388"/>
                  <a:gd name="connsiteX35" fmla="*/ 3175 w 1306513"/>
                  <a:gd name="connsiteY35" fmla="*/ 1239044 h 1322388"/>
                  <a:gd name="connsiteX36" fmla="*/ 86519 w 1306513"/>
                  <a:gd name="connsiteY36" fmla="*/ 1155700 h 1322388"/>
                  <a:gd name="connsiteX37" fmla="*/ 1221581 w 1306513"/>
                  <a:gd name="connsiteY37" fmla="*/ 960438 h 1322388"/>
                  <a:gd name="connsiteX38" fmla="*/ 1168399 w 1306513"/>
                  <a:gd name="connsiteY38" fmla="*/ 1012032 h 1322388"/>
                  <a:gd name="connsiteX39" fmla="*/ 1221581 w 1306513"/>
                  <a:gd name="connsiteY39" fmla="*/ 1063626 h 1322388"/>
                  <a:gd name="connsiteX40" fmla="*/ 1274763 w 1306513"/>
                  <a:gd name="connsiteY40" fmla="*/ 1012032 h 1322388"/>
                  <a:gd name="connsiteX41" fmla="*/ 1221581 w 1306513"/>
                  <a:gd name="connsiteY41" fmla="*/ 960438 h 1322388"/>
                  <a:gd name="connsiteX42" fmla="*/ 541338 w 1306513"/>
                  <a:gd name="connsiteY42" fmla="*/ 960438 h 1322388"/>
                  <a:gd name="connsiteX43" fmla="*/ 488950 w 1306513"/>
                  <a:gd name="connsiteY43" fmla="*/ 1012032 h 1322388"/>
                  <a:gd name="connsiteX44" fmla="*/ 541338 w 1306513"/>
                  <a:gd name="connsiteY44" fmla="*/ 1063626 h 1322388"/>
                  <a:gd name="connsiteX45" fmla="*/ 593726 w 1306513"/>
                  <a:gd name="connsiteY45" fmla="*/ 1012032 h 1322388"/>
                  <a:gd name="connsiteX46" fmla="*/ 541338 w 1306513"/>
                  <a:gd name="connsiteY46" fmla="*/ 960438 h 1322388"/>
                  <a:gd name="connsiteX47" fmla="*/ 86520 w 1306513"/>
                  <a:gd name="connsiteY47" fmla="*/ 960438 h 1322388"/>
                  <a:gd name="connsiteX48" fmla="*/ 33338 w 1306513"/>
                  <a:gd name="connsiteY48" fmla="*/ 1012032 h 1322388"/>
                  <a:gd name="connsiteX49" fmla="*/ 86520 w 1306513"/>
                  <a:gd name="connsiteY49" fmla="*/ 1063626 h 1322388"/>
                  <a:gd name="connsiteX50" fmla="*/ 139702 w 1306513"/>
                  <a:gd name="connsiteY50" fmla="*/ 1012032 h 1322388"/>
                  <a:gd name="connsiteX51" fmla="*/ 86520 w 1306513"/>
                  <a:gd name="connsiteY51" fmla="*/ 960438 h 1322388"/>
                  <a:gd name="connsiteX52" fmla="*/ 1221581 w 1306513"/>
                  <a:gd name="connsiteY52" fmla="*/ 928688 h 1322388"/>
                  <a:gd name="connsiteX53" fmla="*/ 1306513 w 1306513"/>
                  <a:gd name="connsiteY53" fmla="*/ 1012032 h 1322388"/>
                  <a:gd name="connsiteX54" fmla="*/ 1221581 w 1306513"/>
                  <a:gd name="connsiteY54" fmla="*/ 1095376 h 1322388"/>
                  <a:gd name="connsiteX55" fmla="*/ 1136649 w 1306513"/>
                  <a:gd name="connsiteY55" fmla="*/ 1012032 h 1322388"/>
                  <a:gd name="connsiteX56" fmla="*/ 1221581 w 1306513"/>
                  <a:gd name="connsiteY56" fmla="*/ 928688 h 1322388"/>
                  <a:gd name="connsiteX57" fmla="*/ 540544 w 1306513"/>
                  <a:gd name="connsiteY57" fmla="*/ 928688 h 1322388"/>
                  <a:gd name="connsiteX58" fmla="*/ 623888 w 1306513"/>
                  <a:gd name="connsiteY58" fmla="*/ 1012032 h 1322388"/>
                  <a:gd name="connsiteX59" fmla="*/ 540544 w 1306513"/>
                  <a:gd name="connsiteY59" fmla="*/ 1095376 h 1322388"/>
                  <a:gd name="connsiteX60" fmla="*/ 457200 w 1306513"/>
                  <a:gd name="connsiteY60" fmla="*/ 1012032 h 1322388"/>
                  <a:gd name="connsiteX61" fmla="*/ 540544 w 1306513"/>
                  <a:gd name="connsiteY61" fmla="*/ 928688 h 1322388"/>
                  <a:gd name="connsiteX62" fmla="*/ 314769 w 1306513"/>
                  <a:gd name="connsiteY62" fmla="*/ 928688 h 1322388"/>
                  <a:gd name="connsiteX63" fmla="*/ 330201 w 1306513"/>
                  <a:gd name="connsiteY63" fmla="*/ 944359 h 1322388"/>
                  <a:gd name="connsiteX64" fmla="*/ 330201 w 1306513"/>
                  <a:gd name="connsiteY64" fmla="*/ 1079704 h 1322388"/>
                  <a:gd name="connsiteX65" fmla="*/ 314769 w 1306513"/>
                  <a:gd name="connsiteY65" fmla="*/ 1095376 h 1322388"/>
                  <a:gd name="connsiteX66" fmla="*/ 300038 w 1306513"/>
                  <a:gd name="connsiteY66" fmla="*/ 1079704 h 1322388"/>
                  <a:gd name="connsiteX67" fmla="*/ 300038 w 1306513"/>
                  <a:gd name="connsiteY67" fmla="*/ 944359 h 1322388"/>
                  <a:gd name="connsiteX68" fmla="*/ 314769 w 1306513"/>
                  <a:gd name="connsiteY68" fmla="*/ 928688 h 1322388"/>
                  <a:gd name="connsiteX69" fmla="*/ 86519 w 1306513"/>
                  <a:gd name="connsiteY69" fmla="*/ 928688 h 1322388"/>
                  <a:gd name="connsiteX70" fmla="*/ 169863 w 1306513"/>
                  <a:gd name="connsiteY70" fmla="*/ 1012032 h 1322388"/>
                  <a:gd name="connsiteX71" fmla="*/ 86519 w 1306513"/>
                  <a:gd name="connsiteY71" fmla="*/ 1095376 h 1322388"/>
                  <a:gd name="connsiteX72" fmla="*/ 3175 w 1306513"/>
                  <a:gd name="connsiteY72" fmla="*/ 1012032 h 1322388"/>
                  <a:gd name="connsiteX73" fmla="*/ 86519 w 1306513"/>
                  <a:gd name="connsiteY73" fmla="*/ 928688 h 1322388"/>
                  <a:gd name="connsiteX74" fmla="*/ 957350 w 1306513"/>
                  <a:gd name="connsiteY74" fmla="*/ 731838 h 1322388"/>
                  <a:gd name="connsiteX75" fmla="*/ 906463 w 1306513"/>
                  <a:gd name="connsiteY75" fmla="*/ 783864 h 1322388"/>
                  <a:gd name="connsiteX76" fmla="*/ 957350 w 1306513"/>
                  <a:gd name="connsiteY76" fmla="*/ 836613 h 1322388"/>
                  <a:gd name="connsiteX77" fmla="*/ 1009651 w 1306513"/>
                  <a:gd name="connsiteY77" fmla="*/ 783864 h 1322388"/>
                  <a:gd name="connsiteX78" fmla="*/ 957350 w 1306513"/>
                  <a:gd name="connsiteY78" fmla="*/ 731838 h 1322388"/>
                  <a:gd name="connsiteX79" fmla="*/ 319444 w 1306513"/>
                  <a:gd name="connsiteY79" fmla="*/ 731838 h 1322388"/>
                  <a:gd name="connsiteX80" fmla="*/ 266700 w 1306513"/>
                  <a:gd name="connsiteY80" fmla="*/ 783864 h 1322388"/>
                  <a:gd name="connsiteX81" fmla="*/ 319444 w 1306513"/>
                  <a:gd name="connsiteY81" fmla="*/ 836613 h 1322388"/>
                  <a:gd name="connsiteX82" fmla="*/ 371475 w 1306513"/>
                  <a:gd name="connsiteY82" fmla="*/ 783864 h 1322388"/>
                  <a:gd name="connsiteX83" fmla="*/ 319444 w 1306513"/>
                  <a:gd name="connsiteY83" fmla="*/ 731838 h 1322388"/>
                  <a:gd name="connsiteX84" fmla="*/ 1169988 w 1306513"/>
                  <a:gd name="connsiteY84" fmla="*/ 701675 h 1322388"/>
                  <a:gd name="connsiteX85" fmla="*/ 1185863 w 1306513"/>
                  <a:gd name="connsiteY85" fmla="*/ 716619 h 1322388"/>
                  <a:gd name="connsiteX86" fmla="*/ 1185863 w 1306513"/>
                  <a:gd name="connsiteY86" fmla="*/ 851119 h 1322388"/>
                  <a:gd name="connsiteX87" fmla="*/ 1169988 w 1306513"/>
                  <a:gd name="connsiteY87" fmla="*/ 866775 h 1322388"/>
                  <a:gd name="connsiteX88" fmla="*/ 1154113 w 1306513"/>
                  <a:gd name="connsiteY88" fmla="*/ 851119 h 1322388"/>
                  <a:gd name="connsiteX89" fmla="*/ 1154113 w 1306513"/>
                  <a:gd name="connsiteY89" fmla="*/ 716619 h 1322388"/>
                  <a:gd name="connsiteX90" fmla="*/ 1169988 w 1306513"/>
                  <a:gd name="connsiteY90" fmla="*/ 701675 h 1322388"/>
                  <a:gd name="connsiteX91" fmla="*/ 958057 w 1306513"/>
                  <a:gd name="connsiteY91" fmla="*/ 701675 h 1322388"/>
                  <a:gd name="connsiteX92" fmla="*/ 1041401 w 1306513"/>
                  <a:gd name="connsiteY92" fmla="*/ 784225 h 1322388"/>
                  <a:gd name="connsiteX93" fmla="*/ 958057 w 1306513"/>
                  <a:gd name="connsiteY93" fmla="*/ 866775 h 1322388"/>
                  <a:gd name="connsiteX94" fmla="*/ 874713 w 1306513"/>
                  <a:gd name="connsiteY94" fmla="*/ 784225 h 1322388"/>
                  <a:gd name="connsiteX95" fmla="*/ 958057 w 1306513"/>
                  <a:gd name="connsiteY95" fmla="*/ 701675 h 1322388"/>
                  <a:gd name="connsiteX96" fmla="*/ 745702 w 1306513"/>
                  <a:gd name="connsiteY96" fmla="*/ 701675 h 1322388"/>
                  <a:gd name="connsiteX97" fmla="*/ 762001 w 1306513"/>
                  <a:gd name="connsiteY97" fmla="*/ 716619 h 1322388"/>
                  <a:gd name="connsiteX98" fmla="*/ 762001 w 1306513"/>
                  <a:gd name="connsiteY98" fmla="*/ 851119 h 1322388"/>
                  <a:gd name="connsiteX99" fmla="*/ 745702 w 1306513"/>
                  <a:gd name="connsiteY99" fmla="*/ 866775 h 1322388"/>
                  <a:gd name="connsiteX100" fmla="*/ 728663 w 1306513"/>
                  <a:gd name="connsiteY100" fmla="*/ 851119 h 1322388"/>
                  <a:gd name="connsiteX101" fmla="*/ 728663 w 1306513"/>
                  <a:gd name="connsiteY101" fmla="*/ 716619 h 1322388"/>
                  <a:gd name="connsiteX102" fmla="*/ 745702 w 1306513"/>
                  <a:gd name="connsiteY102" fmla="*/ 701675 h 1322388"/>
                  <a:gd name="connsiteX103" fmla="*/ 547688 w 1306513"/>
                  <a:gd name="connsiteY103" fmla="*/ 701675 h 1322388"/>
                  <a:gd name="connsiteX104" fmla="*/ 563563 w 1306513"/>
                  <a:gd name="connsiteY104" fmla="*/ 716619 h 1322388"/>
                  <a:gd name="connsiteX105" fmla="*/ 563563 w 1306513"/>
                  <a:gd name="connsiteY105" fmla="*/ 851119 h 1322388"/>
                  <a:gd name="connsiteX106" fmla="*/ 547688 w 1306513"/>
                  <a:gd name="connsiteY106" fmla="*/ 866775 h 1322388"/>
                  <a:gd name="connsiteX107" fmla="*/ 531813 w 1306513"/>
                  <a:gd name="connsiteY107" fmla="*/ 851119 h 1322388"/>
                  <a:gd name="connsiteX108" fmla="*/ 531813 w 1306513"/>
                  <a:gd name="connsiteY108" fmla="*/ 716619 h 1322388"/>
                  <a:gd name="connsiteX109" fmla="*/ 547688 w 1306513"/>
                  <a:gd name="connsiteY109" fmla="*/ 701675 h 1322388"/>
                  <a:gd name="connsiteX110" fmla="*/ 319882 w 1306513"/>
                  <a:gd name="connsiteY110" fmla="*/ 701675 h 1322388"/>
                  <a:gd name="connsiteX111" fmla="*/ 403226 w 1306513"/>
                  <a:gd name="connsiteY111" fmla="*/ 784225 h 1322388"/>
                  <a:gd name="connsiteX112" fmla="*/ 319882 w 1306513"/>
                  <a:gd name="connsiteY112" fmla="*/ 866775 h 1322388"/>
                  <a:gd name="connsiteX113" fmla="*/ 236538 w 1306513"/>
                  <a:gd name="connsiteY113" fmla="*/ 784225 h 1322388"/>
                  <a:gd name="connsiteX114" fmla="*/ 319882 w 1306513"/>
                  <a:gd name="connsiteY114" fmla="*/ 701675 h 1322388"/>
                  <a:gd name="connsiteX115" fmla="*/ 139347 w 1306513"/>
                  <a:gd name="connsiteY115" fmla="*/ 701675 h 1322388"/>
                  <a:gd name="connsiteX116" fmla="*/ 155575 w 1306513"/>
                  <a:gd name="connsiteY116" fmla="*/ 716619 h 1322388"/>
                  <a:gd name="connsiteX117" fmla="*/ 155575 w 1306513"/>
                  <a:gd name="connsiteY117" fmla="*/ 851119 h 1322388"/>
                  <a:gd name="connsiteX118" fmla="*/ 139347 w 1306513"/>
                  <a:gd name="connsiteY118" fmla="*/ 866775 h 1322388"/>
                  <a:gd name="connsiteX119" fmla="*/ 123825 w 1306513"/>
                  <a:gd name="connsiteY119" fmla="*/ 851119 h 1322388"/>
                  <a:gd name="connsiteX120" fmla="*/ 123825 w 1306513"/>
                  <a:gd name="connsiteY120" fmla="*/ 716619 h 1322388"/>
                  <a:gd name="connsiteX121" fmla="*/ 139347 w 1306513"/>
                  <a:gd name="connsiteY121" fmla="*/ 701675 h 1322388"/>
                  <a:gd name="connsiteX122" fmla="*/ 15724 w 1306513"/>
                  <a:gd name="connsiteY122" fmla="*/ 0 h 1322388"/>
                  <a:gd name="connsiteX123" fmla="*/ 1290789 w 1306513"/>
                  <a:gd name="connsiteY123" fmla="*/ 0 h 1322388"/>
                  <a:gd name="connsiteX124" fmla="*/ 1306513 w 1306513"/>
                  <a:gd name="connsiteY124" fmla="*/ 15733 h 1322388"/>
                  <a:gd name="connsiteX125" fmla="*/ 1306513 w 1306513"/>
                  <a:gd name="connsiteY125" fmla="*/ 851041 h 1322388"/>
                  <a:gd name="connsiteX126" fmla="*/ 1290789 w 1306513"/>
                  <a:gd name="connsiteY126" fmla="*/ 866775 h 1322388"/>
                  <a:gd name="connsiteX127" fmla="*/ 1275065 w 1306513"/>
                  <a:gd name="connsiteY127" fmla="*/ 851041 h 1322388"/>
                  <a:gd name="connsiteX128" fmla="*/ 1275065 w 1306513"/>
                  <a:gd name="connsiteY128" fmla="*/ 31467 h 1322388"/>
                  <a:gd name="connsiteX129" fmla="*/ 31448 w 1306513"/>
                  <a:gd name="connsiteY129" fmla="*/ 31467 h 1322388"/>
                  <a:gd name="connsiteX130" fmla="*/ 31448 w 1306513"/>
                  <a:gd name="connsiteY130" fmla="*/ 851041 h 1322388"/>
                  <a:gd name="connsiteX131" fmla="*/ 15724 w 1306513"/>
                  <a:gd name="connsiteY131" fmla="*/ 866775 h 1322388"/>
                  <a:gd name="connsiteX132" fmla="*/ 0 w 1306513"/>
                  <a:gd name="connsiteY132" fmla="*/ 851041 h 1322388"/>
                  <a:gd name="connsiteX133" fmla="*/ 0 w 1306513"/>
                  <a:gd name="connsiteY133" fmla="*/ 15733 h 1322388"/>
                  <a:gd name="connsiteX134" fmla="*/ 15724 w 1306513"/>
                  <a:gd name="connsiteY134" fmla="*/ 0 h 132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306513" h="1322388">
                    <a:moveTo>
                      <a:pt x="1221581" y="1185863"/>
                    </a:moveTo>
                    <a:cubicBezTo>
                      <a:pt x="1192209" y="1185863"/>
                      <a:pt x="1168399" y="1209673"/>
                      <a:pt x="1168399" y="1239045"/>
                    </a:cubicBezTo>
                    <a:cubicBezTo>
                      <a:pt x="1168399" y="1268417"/>
                      <a:pt x="1192209" y="1292227"/>
                      <a:pt x="1221581" y="1292227"/>
                    </a:cubicBezTo>
                    <a:cubicBezTo>
                      <a:pt x="1250953" y="1292227"/>
                      <a:pt x="1274763" y="1268417"/>
                      <a:pt x="1274763" y="1239045"/>
                    </a:cubicBezTo>
                    <a:cubicBezTo>
                      <a:pt x="1274763" y="1209673"/>
                      <a:pt x="1250953" y="1185863"/>
                      <a:pt x="1221581" y="1185863"/>
                    </a:cubicBezTo>
                    <a:close/>
                    <a:moveTo>
                      <a:pt x="541338" y="1185863"/>
                    </a:moveTo>
                    <a:cubicBezTo>
                      <a:pt x="512405" y="1185863"/>
                      <a:pt x="488950" y="1209673"/>
                      <a:pt x="488950" y="1239045"/>
                    </a:cubicBezTo>
                    <a:cubicBezTo>
                      <a:pt x="488950" y="1268417"/>
                      <a:pt x="512405" y="1292227"/>
                      <a:pt x="541338" y="1292227"/>
                    </a:cubicBezTo>
                    <a:cubicBezTo>
                      <a:pt x="570271" y="1292227"/>
                      <a:pt x="593726" y="1268417"/>
                      <a:pt x="593726" y="1239045"/>
                    </a:cubicBezTo>
                    <a:cubicBezTo>
                      <a:pt x="593726" y="1209673"/>
                      <a:pt x="570271" y="1185863"/>
                      <a:pt x="541338" y="1185863"/>
                    </a:cubicBezTo>
                    <a:close/>
                    <a:moveTo>
                      <a:pt x="86520" y="1185863"/>
                    </a:moveTo>
                    <a:cubicBezTo>
                      <a:pt x="57148" y="1185863"/>
                      <a:pt x="33338" y="1209673"/>
                      <a:pt x="33338" y="1239045"/>
                    </a:cubicBezTo>
                    <a:cubicBezTo>
                      <a:pt x="33338" y="1268417"/>
                      <a:pt x="57148" y="1292227"/>
                      <a:pt x="86520" y="1292227"/>
                    </a:cubicBezTo>
                    <a:cubicBezTo>
                      <a:pt x="115892" y="1292227"/>
                      <a:pt x="139702" y="1268417"/>
                      <a:pt x="139702" y="1239045"/>
                    </a:cubicBezTo>
                    <a:cubicBezTo>
                      <a:pt x="139702" y="1209673"/>
                      <a:pt x="115892" y="1185863"/>
                      <a:pt x="86520" y="1185863"/>
                    </a:cubicBezTo>
                    <a:close/>
                    <a:moveTo>
                      <a:pt x="1221581" y="1155700"/>
                    </a:moveTo>
                    <a:cubicBezTo>
                      <a:pt x="1268488" y="1155700"/>
                      <a:pt x="1306513" y="1193014"/>
                      <a:pt x="1306513" y="1239044"/>
                    </a:cubicBezTo>
                    <a:cubicBezTo>
                      <a:pt x="1306513" y="1285074"/>
                      <a:pt x="1268488" y="1322388"/>
                      <a:pt x="1221581" y="1322388"/>
                    </a:cubicBezTo>
                    <a:cubicBezTo>
                      <a:pt x="1174674" y="1322388"/>
                      <a:pt x="1136649" y="1285074"/>
                      <a:pt x="1136649" y="1239044"/>
                    </a:cubicBezTo>
                    <a:cubicBezTo>
                      <a:pt x="1136649" y="1193014"/>
                      <a:pt x="1174674" y="1155700"/>
                      <a:pt x="1221581" y="1155700"/>
                    </a:cubicBezTo>
                    <a:close/>
                    <a:moveTo>
                      <a:pt x="540544" y="1155700"/>
                    </a:moveTo>
                    <a:cubicBezTo>
                      <a:pt x="586574" y="1155700"/>
                      <a:pt x="623888" y="1193014"/>
                      <a:pt x="623888" y="1239044"/>
                    </a:cubicBezTo>
                    <a:cubicBezTo>
                      <a:pt x="623888" y="1285074"/>
                      <a:pt x="586574" y="1322388"/>
                      <a:pt x="540544" y="1322388"/>
                    </a:cubicBezTo>
                    <a:cubicBezTo>
                      <a:pt x="494514" y="1322388"/>
                      <a:pt x="457200" y="1285074"/>
                      <a:pt x="457200" y="1239044"/>
                    </a:cubicBezTo>
                    <a:cubicBezTo>
                      <a:pt x="457200" y="1193014"/>
                      <a:pt x="494514" y="1155700"/>
                      <a:pt x="540544" y="1155700"/>
                    </a:cubicBezTo>
                    <a:close/>
                    <a:moveTo>
                      <a:pt x="314769" y="1155700"/>
                    </a:moveTo>
                    <a:cubicBezTo>
                      <a:pt x="323186" y="1155700"/>
                      <a:pt x="330201" y="1162824"/>
                      <a:pt x="330201" y="1171372"/>
                    </a:cubicBezTo>
                    <a:cubicBezTo>
                      <a:pt x="330201" y="1171372"/>
                      <a:pt x="330201" y="1171372"/>
                      <a:pt x="330201" y="1306717"/>
                    </a:cubicBezTo>
                    <a:cubicBezTo>
                      <a:pt x="330201" y="1315265"/>
                      <a:pt x="323186" y="1322388"/>
                      <a:pt x="314769" y="1322388"/>
                    </a:cubicBezTo>
                    <a:cubicBezTo>
                      <a:pt x="307052" y="1322388"/>
                      <a:pt x="300038" y="1315265"/>
                      <a:pt x="300038" y="1306717"/>
                    </a:cubicBezTo>
                    <a:cubicBezTo>
                      <a:pt x="300038" y="1306717"/>
                      <a:pt x="300038" y="1306717"/>
                      <a:pt x="300038" y="1171372"/>
                    </a:cubicBezTo>
                    <a:cubicBezTo>
                      <a:pt x="300038" y="1162824"/>
                      <a:pt x="307052" y="1155700"/>
                      <a:pt x="314769" y="1155700"/>
                    </a:cubicBezTo>
                    <a:close/>
                    <a:moveTo>
                      <a:pt x="86519" y="1155700"/>
                    </a:moveTo>
                    <a:cubicBezTo>
                      <a:pt x="132549" y="1155700"/>
                      <a:pt x="169863" y="1193014"/>
                      <a:pt x="169863" y="1239044"/>
                    </a:cubicBezTo>
                    <a:cubicBezTo>
                      <a:pt x="169863" y="1285074"/>
                      <a:pt x="132549" y="1322388"/>
                      <a:pt x="86519" y="1322388"/>
                    </a:cubicBezTo>
                    <a:cubicBezTo>
                      <a:pt x="40489" y="1322388"/>
                      <a:pt x="3175" y="1285074"/>
                      <a:pt x="3175" y="1239044"/>
                    </a:cubicBezTo>
                    <a:cubicBezTo>
                      <a:pt x="3175" y="1193014"/>
                      <a:pt x="40489" y="1155700"/>
                      <a:pt x="86519" y="1155700"/>
                    </a:cubicBezTo>
                    <a:close/>
                    <a:moveTo>
                      <a:pt x="1221581" y="960438"/>
                    </a:moveTo>
                    <a:cubicBezTo>
                      <a:pt x="1192209" y="960438"/>
                      <a:pt x="1168399" y="983537"/>
                      <a:pt x="1168399" y="1012032"/>
                    </a:cubicBezTo>
                    <a:cubicBezTo>
                      <a:pt x="1168399" y="1040527"/>
                      <a:pt x="1192209" y="1063626"/>
                      <a:pt x="1221581" y="1063626"/>
                    </a:cubicBezTo>
                    <a:cubicBezTo>
                      <a:pt x="1250953" y="1063626"/>
                      <a:pt x="1274763" y="1040527"/>
                      <a:pt x="1274763" y="1012032"/>
                    </a:cubicBezTo>
                    <a:cubicBezTo>
                      <a:pt x="1274763" y="983537"/>
                      <a:pt x="1250953" y="960438"/>
                      <a:pt x="1221581" y="960438"/>
                    </a:cubicBezTo>
                    <a:close/>
                    <a:moveTo>
                      <a:pt x="541338" y="960438"/>
                    </a:moveTo>
                    <a:cubicBezTo>
                      <a:pt x="512405" y="960438"/>
                      <a:pt x="488950" y="983537"/>
                      <a:pt x="488950" y="1012032"/>
                    </a:cubicBezTo>
                    <a:cubicBezTo>
                      <a:pt x="488950" y="1040527"/>
                      <a:pt x="512405" y="1063626"/>
                      <a:pt x="541338" y="1063626"/>
                    </a:cubicBezTo>
                    <a:cubicBezTo>
                      <a:pt x="570271" y="1063626"/>
                      <a:pt x="593726" y="1040527"/>
                      <a:pt x="593726" y="1012032"/>
                    </a:cubicBezTo>
                    <a:cubicBezTo>
                      <a:pt x="593726" y="983537"/>
                      <a:pt x="570271" y="960438"/>
                      <a:pt x="541338" y="960438"/>
                    </a:cubicBezTo>
                    <a:close/>
                    <a:moveTo>
                      <a:pt x="86520" y="960438"/>
                    </a:moveTo>
                    <a:cubicBezTo>
                      <a:pt x="57148" y="960438"/>
                      <a:pt x="33338" y="983537"/>
                      <a:pt x="33338" y="1012032"/>
                    </a:cubicBezTo>
                    <a:cubicBezTo>
                      <a:pt x="33338" y="1040527"/>
                      <a:pt x="57148" y="1063626"/>
                      <a:pt x="86520" y="1063626"/>
                    </a:cubicBezTo>
                    <a:cubicBezTo>
                      <a:pt x="115892" y="1063626"/>
                      <a:pt x="139702" y="1040527"/>
                      <a:pt x="139702" y="1012032"/>
                    </a:cubicBezTo>
                    <a:cubicBezTo>
                      <a:pt x="139702" y="983537"/>
                      <a:pt x="115892" y="960438"/>
                      <a:pt x="86520" y="960438"/>
                    </a:cubicBezTo>
                    <a:close/>
                    <a:moveTo>
                      <a:pt x="1221581" y="928688"/>
                    </a:moveTo>
                    <a:cubicBezTo>
                      <a:pt x="1268488" y="928688"/>
                      <a:pt x="1306513" y="966002"/>
                      <a:pt x="1306513" y="1012032"/>
                    </a:cubicBezTo>
                    <a:cubicBezTo>
                      <a:pt x="1306513" y="1058062"/>
                      <a:pt x="1268488" y="1095376"/>
                      <a:pt x="1221581" y="1095376"/>
                    </a:cubicBezTo>
                    <a:cubicBezTo>
                      <a:pt x="1174674" y="1095376"/>
                      <a:pt x="1136649" y="1058062"/>
                      <a:pt x="1136649" y="1012032"/>
                    </a:cubicBezTo>
                    <a:cubicBezTo>
                      <a:pt x="1136649" y="966002"/>
                      <a:pt x="1174674" y="928688"/>
                      <a:pt x="1221581" y="928688"/>
                    </a:cubicBezTo>
                    <a:close/>
                    <a:moveTo>
                      <a:pt x="540544" y="928688"/>
                    </a:moveTo>
                    <a:cubicBezTo>
                      <a:pt x="586574" y="928688"/>
                      <a:pt x="623888" y="966002"/>
                      <a:pt x="623888" y="1012032"/>
                    </a:cubicBezTo>
                    <a:cubicBezTo>
                      <a:pt x="623888" y="1058062"/>
                      <a:pt x="586574" y="1095376"/>
                      <a:pt x="540544" y="1095376"/>
                    </a:cubicBezTo>
                    <a:cubicBezTo>
                      <a:pt x="494514" y="1095376"/>
                      <a:pt x="457200" y="1058062"/>
                      <a:pt x="457200" y="1012032"/>
                    </a:cubicBezTo>
                    <a:cubicBezTo>
                      <a:pt x="457200" y="966002"/>
                      <a:pt x="494514" y="928688"/>
                      <a:pt x="540544" y="928688"/>
                    </a:cubicBezTo>
                    <a:close/>
                    <a:moveTo>
                      <a:pt x="314769" y="928688"/>
                    </a:moveTo>
                    <a:cubicBezTo>
                      <a:pt x="323186" y="928688"/>
                      <a:pt x="330201" y="935811"/>
                      <a:pt x="330201" y="944359"/>
                    </a:cubicBezTo>
                    <a:cubicBezTo>
                      <a:pt x="330201" y="944359"/>
                      <a:pt x="330201" y="944359"/>
                      <a:pt x="330201" y="1079704"/>
                    </a:cubicBezTo>
                    <a:cubicBezTo>
                      <a:pt x="330201" y="1088965"/>
                      <a:pt x="323186" y="1095376"/>
                      <a:pt x="314769" y="1095376"/>
                    </a:cubicBezTo>
                    <a:cubicBezTo>
                      <a:pt x="307052" y="1095376"/>
                      <a:pt x="300038" y="1088965"/>
                      <a:pt x="300038" y="1079704"/>
                    </a:cubicBezTo>
                    <a:cubicBezTo>
                      <a:pt x="300038" y="1079704"/>
                      <a:pt x="300038" y="1079704"/>
                      <a:pt x="300038" y="944359"/>
                    </a:cubicBezTo>
                    <a:cubicBezTo>
                      <a:pt x="300038" y="935811"/>
                      <a:pt x="307052" y="928688"/>
                      <a:pt x="314769" y="928688"/>
                    </a:cubicBezTo>
                    <a:close/>
                    <a:moveTo>
                      <a:pt x="86519" y="928688"/>
                    </a:moveTo>
                    <a:cubicBezTo>
                      <a:pt x="132549" y="928688"/>
                      <a:pt x="169863" y="966002"/>
                      <a:pt x="169863" y="1012032"/>
                    </a:cubicBezTo>
                    <a:cubicBezTo>
                      <a:pt x="169863" y="1058062"/>
                      <a:pt x="132549" y="1095376"/>
                      <a:pt x="86519" y="1095376"/>
                    </a:cubicBezTo>
                    <a:cubicBezTo>
                      <a:pt x="40489" y="1095376"/>
                      <a:pt x="3175" y="1058062"/>
                      <a:pt x="3175" y="1012032"/>
                    </a:cubicBezTo>
                    <a:cubicBezTo>
                      <a:pt x="3175" y="966002"/>
                      <a:pt x="40489" y="928688"/>
                      <a:pt x="86519" y="928688"/>
                    </a:cubicBezTo>
                    <a:close/>
                    <a:moveTo>
                      <a:pt x="957350" y="731838"/>
                    </a:moveTo>
                    <a:cubicBezTo>
                      <a:pt x="929787" y="731838"/>
                      <a:pt x="906463" y="755683"/>
                      <a:pt x="906463" y="783864"/>
                    </a:cubicBezTo>
                    <a:cubicBezTo>
                      <a:pt x="906463" y="813490"/>
                      <a:pt x="929787" y="836613"/>
                      <a:pt x="957350" y="836613"/>
                    </a:cubicBezTo>
                    <a:cubicBezTo>
                      <a:pt x="986328" y="836613"/>
                      <a:pt x="1009651" y="813490"/>
                      <a:pt x="1009651" y="783864"/>
                    </a:cubicBezTo>
                    <a:cubicBezTo>
                      <a:pt x="1009651" y="755683"/>
                      <a:pt x="986328" y="731838"/>
                      <a:pt x="957350" y="731838"/>
                    </a:cubicBezTo>
                    <a:close/>
                    <a:moveTo>
                      <a:pt x="319444" y="731838"/>
                    </a:moveTo>
                    <a:cubicBezTo>
                      <a:pt x="290221" y="731838"/>
                      <a:pt x="266700" y="755683"/>
                      <a:pt x="266700" y="783864"/>
                    </a:cubicBezTo>
                    <a:cubicBezTo>
                      <a:pt x="266700" y="813490"/>
                      <a:pt x="290221" y="836613"/>
                      <a:pt x="319444" y="836613"/>
                    </a:cubicBezTo>
                    <a:cubicBezTo>
                      <a:pt x="347954" y="836613"/>
                      <a:pt x="371475" y="813490"/>
                      <a:pt x="371475" y="783864"/>
                    </a:cubicBezTo>
                    <a:cubicBezTo>
                      <a:pt x="371475" y="755683"/>
                      <a:pt x="347954" y="731838"/>
                      <a:pt x="319444" y="731838"/>
                    </a:cubicBezTo>
                    <a:close/>
                    <a:moveTo>
                      <a:pt x="1169988" y="701675"/>
                    </a:moveTo>
                    <a:cubicBezTo>
                      <a:pt x="1178647" y="701675"/>
                      <a:pt x="1185863" y="707368"/>
                      <a:pt x="1185863" y="716619"/>
                    </a:cubicBezTo>
                    <a:cubicBezTo>
                      <a:pt x="1185863" y="716619"/>
                      <a:pt x="1185863" y="716619"/>
                      <a:pt x="1185863" y="851119"/>
                    </a:cubicBezTo>
                    <a:cubicBezTo>
                      <a:pt x="1185863" y="859658"/>
                      <a:pt x="1178647" y="866775"/>
                      <a:pt x="1169988" y="866775"/>
                    </a:cubicBezTo>
                    <a:cubicBezTo>
                      <a:pt x="1161329" y="866775"/>
                      <a:pt x="1154113" y="859658"/>
                      <a:pt x="1154113" y="851119"/>
                    </a:cubicBezTo>
                    <a:cubicBezTo>
                      <a:pt x="1154113" y="851119"/>
                      <a:pt x="1154113" y="851119"/>
                      <a:pt x="1154113" y="716619"/>
                    </a:cubicBezTo>
                    <a:cubicBezTo>
                      <a:pt x="1154113" y="707368"/>
                      <a:pt x="1161329" y="701675"/>
                      <a:pt x="1169988" y="701675"/>
                    </a:cubicBezTo>
                    <a:close/>
                    <a:moveTo>
                      <a:pt x="958057" y="701675"/>
                    </a:moveTo>
                    <a:cubicBezTo>
                      <a:pt x="1004087" y="701675"/>
                      <a:pt x="1041401" y="738634"/>
                      <a:pt x="1041401" y="784225"/>
                    </a:cubicBezTo>
                    <a:cubicBezTo>
                      <a:pt x="1041401" y="829816"/>
                      <a:pt x="1004087" y="866775"/>
                      <a:pt x="958057" y="866775"/>
                    </a:cubicBezTo>
                    <a:cubicBezTo>
                      <a:pt x="912027" y="866775"/>
                      <a:pt x="874713" y="829816"/>
                      <a:pt x="874713" y="784225"/>
                    </a:cubicBezTo>
                    <a:cubicBezTo>
                      <a:pt x="874713" y="738634"/>
                      <a:pt x="912027" y="701675"/>
                      <a:pt x="958057" y="701675"/>
                    </a:cubicBezTo>
                    <a:close/>
                    <a:moveTo>
                      <a:pt x="745702" y="701675"/>
                    </a:moveTo>
                    <a:cubicBezTo>
                      <a:pt x="754592" y="701675"/>
                      <a:pt x="762001" y="707368"/>
                      <a:pt x="762001" y="716619"/>
                    </a:cubicBezTo>
                    <a:cubicBezTo>
                      <a:pt x="762001" y="716619"/>
                      <a:pt x="762001" y="716619"/>
                      <a:pt x="762001" y="851119"/>
                    </a:cubicBezTo>
                    <a:cubicBezTo>
                      <a:pt x="762001" y="859658"/>
                      <a:pt x="754592" y="866775"/>
                      <a:pt x="745702" y="866775"/>
                    </a:cubicBezTo>
                    <a:cubicBezTo>
                      <a:pt x="736812" y="866775"/>
                      <a:pt x="728663" y="859658"/>
                      <a:pt x="728663" y="851119"/>
                    </a:cubicBezTo>
                    <a:cubicBezTo>
                      <a:pt x="728663" y="851119"/>
                      <a:pt x="728663" y="851119"/>
                      <a:pt x="728663" y="716619"/>
                    </a:cubicBezTo>
                    <a:cubicBezTo>
                      <a:pt x="728663" y="707368"/>
                      <a:pt x="736812" y="701675"/>
                      <a:pt x="745702" y="701675"/>
                    </a:cubicBezTo>
                    <a:close/>
                    <a:moveTo>
                      <a:pt x="547688" y="701675"/>
                    </a:moveTo>
                    <a:cubicBezTo>
                      <a:pt x="556347" y="701675"/>
                      <a:pt x="563563" y="707368"/>
                      <a:pt x="563563" y="716619"/>
                    </a:cubicBezTo>
                    <a:cubicBezTo>
                      <a:pt x="563563" y="716619"/>
                      <a:pt x="563563" y="716619"/>
                      <a:pt x="563563" y="851119"/>
                    </a:cubicBezTo>
                    <a:cubicBezTo>
                      <a:pt x="563563" y="859658"/>
                      <a:pt x="556347" y="866775"/>
                      <a:pt x="547688" y="866775"/>
                    </a:cubicBezTo>
                    <a:cubicBezTo>
                      <a:pt x="539029" y="866775"/>
                      <a:pt x="531813" y="859658"/>
                      <a:pt x="531813" y="851119"/>
                    </a:cubicBezTo>
                    <a:cubicBezTo>
                      <a:pt x="531813" y="851119"/>
                      <a:pt x="531813" y="851119"/>
                      <a:pt x="531813" y="716619"/>
                    </a:cubicBezTo>
                    <a:cubicBezTo>
                      <a:pt x="531813" y="707368"/>
                      <a:pt x="539029" y="701675"/>
                      <a:pt x="547688" y="701675"/>
                    </a:cubicBezTo>
                    <a:close/>
                    <a:moveTo>
                      <a:pt x="319882" y="701675"/>
                    </a:moveTo>
                    <a:cubicBezTo>
                      <a:pt x="365912" y="701675"/>
                      <a:pt x="403226" y="738634"/>
                      <a:pt x="403226" y="784225"/>
                    </a:cubicBezTo>
                    <a:cubicBezTo>
                      <a:pt x="403226" y="829816"/>
                      <a:pt x="365912" y="866775"/>
                      <a:pt x="319882" y="866775"/>
                    </a:cubicBezTo>
                    <a:cubicBezTo>
                      <a:pt x="273852" y="866775"/>
                      <a:pt x="236538" y="829816"/>
                      <a:pt x="236538" y="784225"/>
                    </a:cubicBezTo>
                    <a:cubicBezTo>
                      <a:pt x="236538" y="738634"/>
                      <a:pt x="273852" y="701675"/>
                      <a:pt x="319882" y="701675"/>
                    </a:cubicBezTo>
                    <a:close/>
                    <a:moveTo>
                      <a:pt x="139347" y="701675"/>
                    </a:moveTo>
                    <a:cubicBezTo>
                      <a:pt x="148519" y="701675"/>
                      <a:pt x="155575" y="707368"/>
                      <a:pt x="155575" y="716619"/>
                    </a:cubicBezTo>
                    <a:cubicBezTo>
                      <a:pt x="155575" y="716619"/>
                      <a:pt x="155575" y="716619"/>
                      <a:pt x="155575" y="851119"/>
                    </a:cubicBezTo>
                    <a:cubicBezTo>
                      <a:pt x="155575" y="859658"/>
                      <a:pt x="148519" y="866775"/>
                      <a:pt x="139347" y="866775"/>
                    </a:cubicBezTo>
                    <a:cubicBezTo>
                      <a:pt x="130880" y="866775"/>
                      <a:pt x="123825" y="859658"/>
                      <a:pt x="123825" y="851119"/>
                    </a:cubicBezTo>
                    <a:cubicBezTo>
                      <a:pt x="123825" y="851119"/>
                      <a:pt x="123825" y="851119"/>
                      <a:pt x="123825" y="716619"/>
                    </a:cubicBezTo>
                    <a:cubicBezTo>
                      <a:pt x="123825" y="707368"/>
                      <a:pt x="130880" y="701675"/>
                      <a:pt x="139347" y="701675"/>
                    </a:cubicBezTo>
                    <a:close/>
                    <a:moveTo>
                      <a:pt x="15724" y="0"/>
                    </a:moveTo>
                    <a:cubicBezTo>
                      <a:pt x="15724" y="0"/>
                      <a:pt x="15724" y="0"/>
                      <a:pt x="1290789" y="0"/>
                    </a:cubicBezTo>
                    <a:cubicBezTo>
                      <a:pt x="1299366" y="0"/>
                      <a:pt x="1306513" y="7151"/>
                      <a:pt x="1306513" y="15733"/>
                    </a:cubicBezTo>
                    <a:cubicBezTo>
                      <a:pt x="1306513" y="15733"/>
                      <a:pt x="1306513" y="15733"/>
                      <a:pt x="1306513" y="851041"/>
                    </a:cubicBezTo>
                    <a:cubicBezTo>
                      <a:pt x="1306513" y="859623"/>
                      <a:pt x="1299366" y="866775"/>
                      <a:pt x="1290789" y="866775"/>
                    </a:cubicBezTo>
                    <a:cubicBezTo>
                      <a:pt x="1282213" y="866775"/>
                      <a:pt x="1275065" y="859623"/>
                      <a:pt x="1275065" y="851041"/>
                    </a:cubicBezTo>
                    <a:cubicBezTo>
                      <a:pt x="1275065" y="851041"/>
                      <a:pt x="1275065" y="851041"/>
                      <a:pt x="1275065" y="31467"/>
                    </a:cubicBezTo>
                    <a:cubicBezTo>
                      <a:pt x="1275065" y="31467"/>
                      <a:pt x="1275065" y="31467"/>
                      <a:pt x="31448" y="31467"/>
                    </a:cubicBezTo>
                    <a:cubicBezTo>
                      <a:pt x="31448" y="31467"/>
                      <a:pt x="31448" y="31467"/>
                      <a:pt x="31448" y="851041"/>
                    </a:cubicBezTo>
                    <a:cubicBezTo>
                      <a:pt x="31448" y="859623"/>
                      <a:pt x="24300" y="866775"/>
                      <a:pt x="15724" y="866775"/>
                    </a:cubicBezTo>
                    <a:cubicBezTo>
                      <a:pt x="7147" y="866775"/>
                      <a:pt x="0" y="859623"/>
                      <a:pt x="0" y="851041"/>
                    </a:cubicBezTo>
                    <a:cubicBezTo>
                      <a:pt x="0" y="851041"/>
                      <a:pt x="0" y="851041"/>
                      <a:pt x="0" y="15733"/>
                    </a:cubicBezTo>
                    <a:cubicBezTo>
                      <a:pt x="0" y="7151"/>
                      <a:pt x="7147" y="0"/>
                      <a:pt x="15724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5548313" y="2867026"/>
                <a:ext cx="1096963" cy="1209675"/>
              </a:xfrm>
              <a:custGeom>
                <a:avLst/>
                <a:gdLst>
                  <a:gd name="connsiteX0" fmla="*/ 775402 w 1096963"/>
                  <a:gd name="connsiteY0" fmla="*/ 928120 h 1209675"/>
                  <a:gd name="connsiteX1" fmla="*/ 741805 w 1096963"/>
                  <a:gd name="connsiteY1" fmla="*/ 935400 h 1209675"/>
                  <a:gd name="connsiteX2" fmla="*/ 697262 w 1096963"/>
                  <a:gd name="connsiteY2" fmla="*/ 1049717 h 1209675"/>
                  <a:gd name="connsiteX3" fmla="*/ 810774 w 1096963"/>
                  <a:gd name="connsiteY3" fmla="*/ 1095013 h 1209675"/>
                  <a:gd name="connsiteX4" fmla="*/ 855317 w 1096963"/>
                  <a:gd name="connsiteY4" fmla="*/ 980695 h 1209675"/>
                  <a:gd name="connsiteX5" fmla="*/ 775402 w 1096963"/>
                  <a:gd name="connsiteY5" fmla="*/ 928120 h 1209675"/>
                  <a:gd name="connsiteX6" fmla="*/ 739556 w 1096963"/>
                  <a:gd name="connsiteY6" fmla="*/ 820737 h 1209675"/>
                  <a:gd name="connsiteX7" fmla="*/ 763859 w 1096963"/>
                  <a:gd name="connsiteY7" fmla="*/ 842860 h 1209675"/>
                  <a:gd name="connsiteX8" fmla="*/ 827477 w 1096963"/>
                  <a:gd name="connsiteY8" fmla="*/ 850710 h 1209675"/>
                  <a:gd name="connsiteX9" fmla="*/ 856069 w 1096963"/>
                  <a:gd name="connsiteY9" fmla="*/ 834296 h 1209675"/>
                  <a:gd name="connsiteX10" fmla="*/ 923261 w 1096963"/>
                  <a:gd name="connsiteY10" fmla="*/ 883538 h 1209675"/>
                  <a:gd name="connsiteX11" fmla="*/ 916828 w 1096963"/>
                  <a:gd name="connsiteY11" fmla="*/ 915652 h 1209675"/>
                  <a:gd name="connsiteX12" fmla="*/ 933983 w 1096963"/>
                  <a:gd name="connsiteY12" fmla="*/ 947053 h 1209675"/>
                  <a:gd name="connsiteX13" fmla="*/ 943991 w 1096963"/>
                  <a:gd name="connsiteY13" fmla="*/ 978453 h 1209675"/>
                  <a:gd name="connsiteX14" fmla="*/ 971868 w 1096963"/>
                  <a:gd name="connsiteY14" fmla="*/ 995581 h 1209675"/>
                  <a:gd name="connsiteX15" fmla="*/ 963290 w 1096963"/>
                  <a:gd name="connsiteY15" fmla="*/ 1076937 h 1209675"/>
                  <a:gd name="connsiteX16" fmla="*/ 932554 w 1096963"/>
                  <a:gd name="connsiteY16" fmla="*/ 1086214 h 1209675"/>
                  <a:gd name="connsiteX17" fmla="*/ 890380 w 1096963"/>
                  <a:gd name="connsiteY17" fmla="*/ 1144733 h 1209675"/>
                  <a:gd name="connsiteX18" fmla="*/ 890380 w 1096963"/>
                  <a:gd name="connsiteY18" fmla="*/ 1177561 h 1209675"/>
                  <a:gd name="connsiteX19" fmla="*/ 854640 w 1096963"/>
                  <a:gd name="connsiteY19" fmla="*/ 1197543 h 1209675"/>
                  <a:gd name="connsiteX20" fmla="*/ 816755 w 1096963"/>
                  <a:gd name="connsiteY20" fmla="*/ 1209675 h 1209675"/>
                  <a:gd name="connsiteX21" fmla="*/ 791737 w 1096963"/>
                  <a:gd name="connsiteY21" fmla="*/ 1187552 h 1209675"/>
                  <a:gd name="connsiteX22" fmla="*/ 720971 w 1096963"/>
                  <a:gd name="connsiteY22" fmla="*/ 1178275 h 1209675"/>
                  <a:gd name="connsiteX23" fmla="*/ 693093 w 1096963"/>
                  <a:gd name="connsiteY23" fmla="*/ 1194689 h 1209675"/>
                  <a:gd name="connsiteX24" fmla="*/ 628761 w 1096963"/>
                  <a:gd name="connsiteY24" fmla="*/ 1144733 h 1209675"/>
                  <a:gd name="connsiteX25" fmla="*/ 636624 w 1096963"/>
                  <a:gd name="connsiteY25" fmla="*/ 1112619 h 1209675"/>
                  <a:gd name="connsiteX26" fmla="*/ 620898 w 1096963"/>
                  <a:gd name="connsiteY26" fmla="*/ 1083359 h 1209675"/>
                  <a:gd name="connsiteX27" fmla="*/ 609461 w 1096963"/>
                  <a:gd name="connsiteY27" fmla="*/ 1049818 h 1209675"/>
                  <a:gd name="connsiteX28" fmla="*/ 581584 w 1096963"/>
                  <a:gd name="connsiteY28" fmla="*/ 1034118 h 1209675"/>
                  <a:gd name="connsiteX29" fmla="*/ 593021 w 1096963"/>
                  <a:gd name="connsiteY29" fmla="*/ 949907 h 1209675"/>
                  <a:gd name="connsiteX30" fmla="*/ 623757 w 1096963"/>
                  <a:gd name="connsiteY30" fmla="*/ 939916 h 1209675"/>
                  <a:gd name="connsiteX31" fmla="*/ 663072 w 1096963"/>
                  <a:gd name="connsiteY31" fmla="*/ 887820 h 1209675"/>
                  <a:gd name="connsiteX32" fmla="*/ 663072 w 1096963"/>
                  <a:gd name="connsiteY32" fmla="*/ 854279 h 1209675"/>
                  <a:gd name="connsiteX33" fmla="*/ 698812 w 1096963"/>
                  <a:gd name="connsiteY33" fmla="*/ 832869 h 1209675"/>
                  <a:gd name="connsiteX34" fmla="*/ 739556 w 1096963"/>
                  <a:gd name="connsiteY34" fmla="*/ 820737 h 1209675"/>
                  <a:gd name="connsiteX35" fmla="*/ 15732 w 1096963"/>
                  <a:gd name="connsiteY35" fmla="*/ 469900 h 1209675"/>
                  <a:gd name="connsiteX36" fmla="*/ 1081231 w 1096963"/>
                  <a:gd name="connsiteY36" fmla="*/ 469900 h 1209675"/>
                  <a:gd name="connsiteX37" fmla="*/ 1096963 w 1096963"/>
                  <a:gd name="connsiteY37" fmla="*/ 485332 h 1209675"/>
                  <a:gd name="connsiteX38" fmla="*/ 1081231 w 1096963"/>
                  <a:gd name="connsiteY38" fmla="*/ 500063 h 1209675"/>
                  <a:gd name="connsiteX39" fmla="*/ 15732 w 1096963"/>
                  <a:gd name="connsiteY39" fmla="*/ 500063 h 1209675"/>
                  <a:gd name="connsiteX40" fmla="*/ 0 w 1096963"/>
                  <a:gd name="connsiteY40" fmla="*/ 485332 h 1209675"/>
                  <a:gd name="connsiteX41" fmla="*/ 15732 w 1096963"/>
                  <a:gd name="connsiteY41" fmla="*/ 469900 h 1209675"/>
                  <a:gd name="connsiteX42" fmla="*/ 15732 w 1096963"/>
                  <a:gd name="connsiteY42" fmla="*/ 352425 h 1209675"/>
                  <a:gd name="connsiteX43" fmla="*/ 1081231 w 1096963"/>
                  <a:gd name="connsiteY43" fmla="*/ 352425 h 1209675"/>
                  <a:gd name="connsiteX44" fmla="*/ 1096963 w 1096963"/>
                  <a:gd name="connsiteY44" fmla="*/ 367857 h 1209675"/>
                  <a:gd name="connsiteX45" fmla="*/ 1081231 w 1096963"/>
                  <a:gd name="connsiteY45" fmla="*/ 382588 h 1209675"/>
                  <a:gd name="connsiteX46" fmla="*/ 15732 w 1096963"/>
                  <a:gd name="connsiteY46" fmla="*/ 382588 h 1209675"/>
                  <a:gd name="connsiteX47" fmla="*/ 0 w 1096963"/>
                  <a:gd name="connsiteY47" fmla="*/ 367857 h 1209675"/>
                  <a:gd name="connsiteX48" fmla="*/ 15732 w 1096963"/>
                  <a:gd name="connsiteY48" fmla="*/ 352425 h 1209675"/>
                  <a:gd name="connsiteX49" fmla="*/ 15732 w 1096963"/>
                  <a:gd name="connsiteY49" fmla="*/ 234950 h 1209675"/>
                  <a:gd name="connsiteX50" fmla="*/ 1081231 w 1096963"/>
                  <a:gd name="connsiteY50" fmla="*/ 234950 h 1209675"/>
                  <a:gd name="connsiteX51" fmla="*/ 1096963 w 1096963"/>
                  <a:gd name="connsiteY51" fmla="*/ 251194 h 1209675"/>
                  <a:gd name="connsiteX52" fmla="*/ 1081231 w 1096963"/>
                  <a:gd name="connsiteY52" fmla="*/ 266700 h 1209675"/>
                  <a:gd name="connsiteX53" fmla="*/ 15732 w 1096963"/>
                  <a:gd name="connsiteY53" fmla="*/ 266700 h 1209675"/>
                  <a:gd name="connsiteX54" fmla="*/ 0 w 1096963"/>
                  <a:gd name="connsiteY54" fmla="*/ 251194 h 1209675"/>
                  <a:gd name="connsiteX55" fmla="*/ 15732 w 1096963"/>
                  <a:gd name="connsiteY55" fmla="*/ 234950 h 1209675"/>
                  <a:gd name="connsiteX56" fmla="*/ 15732 w 1096963"/>
                  <a:gd name="connsiteY56" fmla="*/ 117475 h 1209675"/>
                  <a:gd name="connsiteX57" fmla="*/ 1081231 w 1096963"/>
                  <a:gd name="connsiteY57" fmla="*/ 117475 h 1209675"/>
                  <a:gd name="connsiteX58" fmla="*/ 1096963 w 1096963"/>
                  <a:gd name="connsiteY58" fmla="*/ 134514 h 1209675"/>
                  <a:gd name="connsiteX59" fmla="*/ 1081231 w 1096963"/>
                  <a:gd name="connsiteY59" fmla="*/ 150813 h 1209675"/>
                  <a:gd name="connsiteX60" fmla="*/ 15732 w 1096963"/>
                  <a:gd name="connsiteY60" fmla="*/ 150813 h 1209675"/>
                  <a:gd name="connsiteX61" fmla="*/ 0 w 1096963"/>
                  <a:gd name="connsiteY61" fmla="*/ 134514 h 1209675"/>
                  <a:gd name="connsiteX62" fmla="*/ 15732 w 1096963"/>
                  <a:gd name="connsiteY62" fmla="*/ 117475 h 1209675"/>
                  <a:gd name="connsiteX63" fmla="*/ 15732 w 1096963"/>
                  <a:gd name="connsiteY63" fmla="*/ 0 h 1209675"/>
                  <a:gd name="connsiteX64" fmla="*/ 1081231 w 1096963"/>
                  <a:gd name="connsiteY64" fmla="*/ 0 h 1209675"/>
                  <a:gd name="connsiteX65" fmla="*/ 1096963 w 1096963"/>
                  <a:gd name="connsiteY65" fmla="*/ 17039 h 1209675"/>
                  <a:gd name="connsiteX66" fmla="*/ 1081231 w 1096963"/>
                  <a:gd name="connsiteY66" fmla="*/ 33338 h 1209675"/>
                  <a:gd name="connsiteX67" fmla="*/ 15732 w 1096963"/>
                  <a:gd name="connsiteY67" fmla="*/ 33338 h 1209675"/>
                  <a:gd name="connsiteX68" fmla="*/ 0 w 1096963"/>
                  <a:gd name="connsiteY68" fmla="*/ 17039 h 1209675"/>
                  <a:gd name="connsiteX69" fmla="*/ 15732 w 1096963"/>
                  <a:gd name="connsiteY69" fmla="*/ 0 h 12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096963" h="1209675">
                    <a:moveTo>
                      <a:pt x="775402" y="928120"/>
                    </a:moveTo>
                    <a:cubicBezTo>
                      <a:pt x="764166" y="928210"/>
                      <a:pt x="752761" y="930547"/>
                      <a:pt x="741805" y="935400"/>
                    </a:cubicBezTo>
                    <a:cubicBezTo>
                      <a:pt x="697980" y="954093"/>
                      <a:pt x="677864" y="1005859"/>
                      <a:pt x="697262" y="1049717"/>
                    </a:cubicBezTo>
                    <a:cubicBezTo>
                      <a:pt x="715941" y="1093575"/>
                      <a:pt x="766950" y="1114425"/>
                      <a:pt x="810774" y="1095013"/>
                    </a:cubicBezTo>
                    <a:cubicBezTo>
                      <a:pt x="854598" y="1076319"/>
                      <a:pt x="874714" y="1025272"/>
                      <a:pt x="855317" y="980695"/>
                    </a:cubicBezTo>
                    <a:cubicBezTo>
                      <a:pt x="841307" y="947802"/>
                      <a:pt x="809112" y="927850"/>
                      <a:pt x="775402" y="928120"/>
                    </a:cubicBezTo>
                    <a:close/>
                    <a:moveTo>
                      <a:pt x="739556" y="820737"/>
                    </a:moveTo>
                    <a:cubicBezTo>
                      <a:pt x="739556" y="820737"/>
                      <a:pt x="739556" y="820737"/>
                      <a:pt x="763859" y="842860"/>
                    </a:cubicBezTo>
                    <a:cubicBezTo>
                      <a:pt x="785304" y="841433"/>
                      <a:pt x="806748" y="843574"/>
                      <a:pt x="827477" y="850710"/>
                    </a:cubicBezTo>
                    <a:cubicBezTo>
                      <a:pt x="827477" y="850710"/>
                      <a:pt x="827477" y="850710"/>
                      <a:pt x="856069" y="834296"/>
                    </a:cubicBezTo>
                    <a:cubicBezTo>
                      <a:pt x="881088" y="845001"/>
                      <a:pt x="904676" y="862129"/>
                      <a:pt x="923261" y="883538"/>
                    </a:cubicBezTo>
                    <a:cubicBezTo>
                      <a:pt x="923261" y="883538"/>
                      <a:pt x="923261" y="883538"/>
                      <a:pt x="916828" y="915652"/>
                    </a:cubicBezTo>
                    <a:cubicBezTo>
                      <a:pt x="923261" y="925643"/>
                      <a:pt x="929694" y="936348"/>
                      <a:pt x="933983" y="947053"/>
                    </a:cubicBezTo>
                    <a:cubicBezTo>
                      <a:pt x="938272" y="957757"/>
                      <a:pt x="941846" y="968462"/>
                      <a:pt x="943991" y="978453"/>
                    </a:cubicBezTo>
                    <a:cubicBezTo>
                      <a:pt x="943991" y="978453"/>
                      <a:pt x="943991" y="978453"/>
                      <a:pt x="971868" y="995581"/>
                    </a:cubicBezTo>
                    <a:cubicBezTo>
                      <a:pt x="974727" y="1023413"/>
                      <a:pt x="971868" y="1051245"/>
                      <a:pt x="963290" y="1076937"/>
                    </a:cubicBezTo>
                    <a:cubicBezTo>
                      <a:pt x="963290" y="1076937"/>
                      <a:pt x="963290" y="1076937"/>
                      <a:pt x="932554" y="1086214"/>
                    </a:cubicBezTo>
                    <a:cubicBezTo>
                      <a:pt x="922546" y="1108337"/>
                      <a:pt x="908250" y="1128319"/>
                      <a:pt x="890380" y="1144733"/>
                    </a:cubicBezTo>
                    <a:cubicBezTo>
                      <a:pt x="890380" y="1144733"/>
                      <a:pt x="890380" y="1144733"/>
                      <a:pt x="890380" y="1177561"/>
                    </a:cubicBezTo>
                    <a:cubicBezTo>
                      <a:pt x="878943" y="1184697"/>
                      <a:pt x="866791" y="1191834"/>
                      <a:pt x="854640" y="1197543"/>
                    </a:cubicBezTo>
                    <a:cubicBezTo>
                      <a:pt x="841773" y="1202539"/>
                      <a:pt x="828907" y="1206821"/>
                      <a:pt x="816755" y="1209675"/>
                    </a:cubicBezTo>
                    <a:cubicBezTo>
                      <a:pt x="816755" y="1209675"/>
                      <a:pt x="816755" y="1209675"/>
                      <a:pt x="791737" y="1187552"/>
                    </a:cubicBezTo>
                    <a:cubicBezTo>
                      <a:pt x="767433" y="1188979"/>
                      <a:pt x="743845" y="1186125"/>
                      <a:pt x="720971" y="1178275"/>
                    </a:cubicBezTo>
                    <a:cubicBezTo>
                      <a:pt x="720971" y="1178275"/>
                      <a:pt x="720971" y="1178275"/>
                      <a:pt x="693093" y="1194689"/>
                    </a:cubicBezTo>
                    <a:cubicBezTo>
                      <a:pt x="669505" y="1182557"/>
                      <a:pt x="647346" y="1166143"/>
                      <a:pt x="628761" y="1144733"/>
                    </a:cubicBezTo>
                    <a:cubicBezTo>
                      <a:pt x="628761" y="1144733"/>
                      <a:pt x="628761" y="1144733"/>
                      <a:pt x="636624" y="1112619"/>
                    </a:cubicBezTo>
                    <a:cubicBezTo>
                      <a:pt x="630191" y="1104055"/>
                      <a:pt x="625187" y="1094064"/>
                      <a:pt x="620898" y="1083359"/>
                    </a:cubicBezTo>
                    <a:cubicBezTo>
                      <a:pt x="615180" y="1072655"/>
                      <a:pt x="611606" y="1060523"/>
                      <a:pt x="609461" y="1049818"/>
                    </a:cubicBezTo>
                    <a:cubicBezTo>
                      <a:pt x="609461" y="1049818"/>
                      <a:pt x="609461" y="1049818"/>
                      <a:pt x="581584" y="1034118"/>
                    </a:cubicBezTo>
                    <a:cubicBezTo>
                      <a:pt x="579439" y="1004145"/>
                      <a:pt x="583013" y="976312"/>
                      <a:pt x="593021" y="949907"/>
                    </a:cubicBezTo>
                    <a:cubicBezTo>
                      <a:pt x="593021" y="949907"/>
                      <a:pt x="593021" y="949907"/>
                      <a:pt x="623757" y="939916"/>
                    </a:cubicBezTo>
                    <a:cubicBezTo>
                      <a:pt x="633050" y="920648"/>
                      <a:pt x="646631" y="902807"/>
                      <a:pt x="663072" y="887820"/>
                    </a:cubicBezTo>
                    <a:cubicBezTo>
                      <a:pt x="663072" y="887820"/>
                      <a:pt x="663072" y="887820"/>
                      <a:pt x="663072" y="854279"/>
                    </a:cubicBezTo>
                    <a:cubicBezTo>
                      <a:pt x="673794" y="845715"/>
                      <a:pt x="685945" y="839292"/>
                      <a:pt x="698812" y="832869"/>
                    </a:cubicBezTo>
                    <a:cubicBezTo>
                      <a:pt x="712393" y="827160"/>
                      <a:pt x="725975" y="823592"/>
                      <a:pt x="739556" y="820737"/>
                    </a:cubicBezTo>
                    <a:close/>
                    <a:moveTo>
                      <a:pt x="15732" y="469900"/>
                    </a:moveTo>
                    <a:cubicBezTo>
                      <a:pt x="15732" y="469900"/>
                      <a:pt x="15732" y="469900"/>
                      <a:pt x="1081231" y="469900"/>
                    </a:cubicBezTo>
                    <a:cubicBezTo>
                      <a:pt x="1089812" y="469900"/>
                      <a:pt x="1096963" y="476915"/>
                      <a:pt x="1096963" y="485332"/>
                    </a:cubicBezTo>
                    <a:cubicBezTo>
                      <a:pt x="1096963" y="493048"/>
                      <a:pt x="1089812" y="500063"/>
                      <a:pt x="1081231" y="500063"/>
                    </a:cubicBezTo>
                    <a:cubicBezTo>
                      <a:pt x="1081231" y="500063"/>
                      <a:pt x="1081231" y="500063"/>
                      <a:pt x="15732" y="500063"/>
                    </a:cubicBezTo>
                    <a:cubicBezTo>
                      <a:pt x="7151" y="500063"/>
                      <a:pt x="0" y="493048"/>
                      <a:pt x="0" y="485332"/>
                    </a:cubicBezTo>
                    <a:cubicBezTo>
                      <a:pt x="0" y="476915"/>
                      <a:pt x="7151" y="469900"/>
                      <a:pt x="15732" y="469900"/>
                    </a:cubicBezTo>
                    <a:close/>
                    <a:moveTo>
                      <a:pt x="15732" y="352425"/>
                    </a:moveTo>
                    <a:cubicBezTo>
                      <a:pt x="15732" y="352425"/>
                      <a:pt x="15732" y="352425"/>
                      <a:pt x="1081231" y="352425"/>
                    </a:cubicBezTo>
                    <a:cubicBezTo>
                      <a:pt x="1089812" y="352425"/>
                      <a:pt x="1096963" y="359440"/>
                      <a:pt x="1096963" y="367857"/>
                    </a:cubicBezTo>
                    <a:cubicBezTo>
                      <a:pt x="1096963" y="375573"/>
                      <a:pt x="1089812" y="382588"/>
                      <a:pt x="1081231" y="382588"/>
                    </a:cubicBezTo>
                    <a:cubicBezTo>
                      <a:pt x="1081231" y="382588"/>
                      <a:pt x="1081231" y="382588"/>
                      <a:pt x="15732" y="382588"/>
                    </a:cubicBezTo>
                    <a:cubicBezTo>
                      <a:pt x="7151" y="382588"/>
                      <a:pt x="0" y="375573"/>
                      <a:pt x="0" y="367857"/>
                    </a:cubicBezTo>
                    <a:cubicBezTo>
                      <a:pt x="0" y="359440"/>
                      <a:pt x="7151" y="352425"/>
                      <a:pt x="15732" y="352425"/>
                    </a:cubicBezTo>
                    <a:close/>
                    <a:moveTo>
                      <a:pt x="15732" y="234950"/>
                    </a:moveTo>
                    <a:cubicBezTo>
                      <a:pt x="15732" y="234950"/>
                      <a:pt x="15732" y="234950"/>
                      <a:pt x="1081231" y="234950"/>
                    </a:cubicBezTo>
                    <a:cubicBezTo>
                      <a:pt x="1089812" y="234950"/>
                      <a:pt x="1096963" y="242334"/>
                      <a:pt x="1096963" y="251194"/>
                    </a:cubicBezTo>
                    <a:cubicBezTo>
                      <a:pt x="1096963" y="259316"/>
                      <a:pt x="1089812" y="266700"/>
                      <a:pt x="1081231" y="266700"/>
                    </a:cubicBezTo>
                    <a:cubicBezTo>
                      <a:pt x="1081231" y="266700"/>
                      <a:pt x="1081231" y="266700"/>
                      <a:pt x="15732" y="266700"/>
                    </a:cubicBezTo>
                    <a:cubicBezTo>
                      <a:pt x="7151" y="266700"/>
                      <a:pt x="0" y="259316"/>
                      <a:pt x="0" y="251194"/>
                    </a:cubicBezTo>
                    <a:cubicBezTo>
                      <a:pt x="0" y="242334"/>
                      <a:pt x="7151" y="234950"/>
                      <a:pt x="15732" y="234950"/>
                    </a:cubicBezTo>
                    <a:close/>
                    <a:moveTo>
                      <a:pt x="15732" y="117475"/>
                    </a:moveTo>
                    <a:cubicBezTo>
                      <a:pt x="15732" y="117475"/>
                      <a:pt x="15732" y="117475"/>
                      <a:pt x="1081231" y="117475"/>
                    </a:cubicBezTo>
                    <a:cubicBezTo>
                      <a:pt x="1089812" y="117475"/>
                      <a:pt x="1096963" y="125624"/>
                      <a:pt x="1096963" y="134514"/>
                    </a:cubicBezTo>
                    <a:cubicBezTo>
                      <a:pt x="1096963" y="143404"/>
                      <a:pt x="1089812" y="150813"/>
                      <a:pt x="1081231" y="150813"/>
                    </a:cubicBezTo>
                    <a:cubicBezTo>
                      <a:pt x="1081231" y="150813"/>
                      <a:pt x="1081231" y="150813"/>
                      <a:pt x="15732" y="150813"/>
                    </a:cubicBezTo>
                    <a:cubicBezTo>
                      <a:pt x="7151" y="150813"/>
                      <a:pt x="0" y="143404"/>
                      <a:pt x="0" y="134514"/>
                    </a:cubicBezTo>
                    <a:cubicBezTo>
                      <a:pt x="0" y="125624"/>
                      <a:pt x="7151" y="117475"/>
                      <a:pt x="15732" y="117475"/>
                    </a:cubicBezTo>
                    <a:close/>
                    <a:moveTo>
                      <a:pt x="15732" y="0"/>
                    </a:moveTo>
                    <a:cubicBezTo>
                      <a:pt x="15732" y="0"/>
                      <a:pt x="15732" y="0"/>
                      <a:pt x="1081231" y="0"/>
                    </a:cubicBezTo>
                    <a:cubicBezTo>
                      <a:pt x="1089812" y="0"/>
                      <a:pt x="1096963" y="8149"/>
                      <a:pt x="1096963" y="17039"/>
                    </a:cubicBezTo>
                    <a:cubicBezTo>
                      <a:pt x="1096963" y="25929"/>
                      <a:pt x="1089812" y="33338"/>
                      <a:pt x="1081231" y="33338"/>
                    </a:cubicBezTo>
                    <a:cubicBezTo>
                      <a:pt x="1081231" y="33338"/>
                      <a:pt x="1081231" y="33338"/>
                      <a:pt x="15732" y="33338"/>
                    </a:cubicBezTo>
                    <a:cubicBezTo>
                      <a:pt x="7151" y="33338"/>
                      <a:pt x="0" y="25929"/>
                      <a:pt x="0" y="17039"/>
                    </a:cubicBezTo>
                    <a:cubicBezTo>
                      <a:pt x="0" y="8149"/>
                      <a:pt x="7151" y="0"/>
                      <a:pt x="15732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8320492" y="3732683"/>
            <a:ext cx="362912" cy="362562"/>
            <a:chOff x="6464300" y="2606675"/>
            <a:chExt cx="1646238" cy="1644650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6729414" y="2881313"/>
              <a:ext cx="1122265" cy="1125538"/>
              <a:chOff x="6729414" y="2881313"/>
              <a:chExt cx="1122265" cy="1125538"/>
            </a:xfrm>
          </p:grpSpPr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7235824" y="2881313"/>
                <a:ext cx="528638" cy="582613"/>
              </a:xfrm>
              <a:custGeom>
                <a:avLst/>
                <a:gdLst>
                  <a:gd name="connsiteX0" fmla="*/ 514350 w 528638"/>
                  <a:gd name="connsiteY0" fmla="*/ 484187 h 582613"/>
                  <a:gd name="connsiteX1" fmla="*/ 390525 w 528638"/>
                  <a:gd name="connsiteY1" fmla="*/ 579437 h 582613"/>
                  <a:gd name="connsiteX2" fmla="*/ 423641 w 528638"/>
                  <a:gd name="connsiteY2" fmla="*/ 509066 h 582613"/>
                  <a:gd name="connsiteX3" fmla="*/ 514350 w 528638"/>
                  <a:gd name="connsiteY3" fmla="*/ 484187 h 582613"/>
                  <a:gd name="connsiteX4" fmla="*/ 198438 w 528638"/>
                  <a:gd name="connsiteY4" fmla="*/ 425450 h 582613"/>
                  <a:gd name="connsiteX5" fmla="*/ 266990 w 528638"/>
                  <a:gd name="connsiteY5" fmla="*/ 475457 h 582613"/>
                  <a:gd name="connsiteX6" fmla="*/ 390526 w 528638"/>
                  <a:gd name="connsiteY6" fmla="*/ 510461 h 582613"/>
                  <a:gd name="connsiteX7" fmla="*/ 352680 w 528638"/>
                  <a:gd name="connsiteY7" fmla="*/ 582613 h 582613"/>
                  <a:gd name="connsiteX8" fmla="*/ 198438 w 528638"/>
                  <a:gd name="connsiteY8" fmla="*/ 425450 h 582613"/>
                  <a:gd name="connsiteX9" fmla="*/ 382588 w 528638"/>
                  <a:gd name="connsiteY9" fmla="*/ 254000 h 582613"/>
                  <a:gd name="connsiteX10" fmla="*/ 528638 w 528638"/>
                  <a:gd name="connsiteY10" fmla="*/ 417126 h 582613"/>
                  <a:gd name="connsiteX11" fmla="*/ 526480 w 528638"/>
                  <a:gd name="connsiteY11" fmla="*/ 443483 h 582613"/>
                  <a:gd name="connsiteX12" fmla="*/ 432231 w 528638"/>
                  <a:gd name="connsiteY12" fmla="*/ 476250 h 582613"/>
                  <a:gd name="connsiteX13" fmla="*/ 382588 w 528638"/>
                  <a:gd name="connsiteY13" fmla="*/ 254000 h 582613"/>
                  <a:gd name="connsiteX14" fmla="*/ 342906 w 528638"/>
                  <a:gd name="connsiteY14" fmla="*/ 254000 h 582613"/>
                  <a:gd name="connsiteX15" fmla="*/ 399280 w 528638"/>
                  <a:gd name="connsiteY15" fmla="*/ 479425 h 582613"/>
                  <a:gd name="connsiteX16" fmla="*/ 282964 w 528638"/>
                  <a:gd name="connsiteY16" fmla="*/ 448037 h 582613"/>
                  <a:gd name="connsiteX17" fmla="*/ 201613 w 528638"/>
                  <a:gd name="connsiteY17" fmla="*/ 384547 h 582613"/>
                  <a:gd name="connsiteX18" fmla="*/ 342906 w 528638"/>
                  <a:gd name="connsiteY18" fmla="*/ 254000 h 582613"/>
                  <a:gd name="connsiteX19" fmla="*/ 63445 w 528638"/>
                  <a:gd name="connsiteY19" fmla="*/ 139700 h 582613"/>
                  <a:gd name="connsiteX20" fmla="*/ 144463 w 528638"/>
                  <a:gd name="connsiteY20" fmla="*/ 258046 h 582613"/>
                  <a:gd name="connsiteX21" fmla="*/ 128828 w 528638"/>
                  <a:gd name="connsiteY21" fmla="*/ 258763 h 582613"/>
                  <a:gd name="connsiteX22" fmla="*/ 22225 w 528638"/>
                  <a:gd name="connsiteY22" fmla="*/ 201383 h 582613"/>
                  <a:gd name="connsiteX23" fmla="*/ 63445 w 528638"/>
                  <a:gd name="connsiteY23" fmla="*/ 139700 h 582613"/>
                  <a:gd name="connsiteX24" fmla="*/ 194334 w 528638"/>
                  <a:gd name="connsiteY24" fmla="*/ 90557 h 582613"/>
                  <a:gd name="connsiteX25" fmla="*/ 255198 w 528638"/>
                  <a:gd name="connsiteY25" fmla="*/ 98609 h 582613"/>
                  <a:gd name="connsiteX26" fmla="*/ 258763 w 528638"/>
                  <a:gd name="connsiteY26" fmla="*/ 129388 h 582613"/>
                  <a:gd name="connsiteX27" fmla="*/ 185321 w 528638"/>
                  <a:gd name="connsiteY27" fmla="*/ 246063 h 582613"/>
                  <a:gd name="connsiteX28" fmla="*/ 90488 w 528638"/>
                  <a:gd name="connsiteY28" fmla="*/ 117936 h 582613"/>
                  <a:gd name="connsiteX29" fmla="*/ 159652 w 528638"/>
                  <a:gd name="connsiteY29" fmla="*/ 92883 h 582613"/>
                  <a:gd name="connsiteX30" fmla="*/ 194334 w 528638"/>
                  <a:gd name="connsiteY30" fmla="*/ 90557 h 582613"/>
                  <a:gd name="connsiteX31" fmla="*/ 65088 w 528638"/>
                  <a:gd name="connsiteY31" fmla="*/ 15875 h 582613"/>
                  <a:gd name="connsiteX32" fmla="*/ 57305 w 528638"/>
                  <a:gd name="connsiteY32" fmla="*/ 102268 h 582613"/>
                  <a:gd name="connsiteX33" fmla="*/ 4952 w 528638"/>
                  <a:gd name="connsiteY33" fmla="*/ 165100 h 582613"/>
                  <a:gd name="connsiteX34" fmla="*/ 0 w 528638"/>
                  <a:gd name="connsiteY34" fmla="*/ 128686 h 582613"/>
                  <a:gd name="connsiteX35" fmla="*/ 65088 w 528638"/>
                  <a:gd name="connsiteY35" fmla="*/ 15875 h 582613"/>
                  <a:gd name="connsiteX36" fmla="*/ 128096 w 528638"/>
                  <a:gd name="connsiteY36" fmla="*/ 0 h 582613"/>
                  <a:gd name="connsiteX37" fmla="*/ 239713 w 528638"/>
                  <a:gd name="connsiteY37" fmla="*/ 62794 h 582613"/>
                  <a:gd name="connsiteX38" fmla="*/ 155285 w 528638"/>
                  <a:gd name="connsiteY38" fmla="*/ 61383 h 582613"/>
                  <a:gd name="connsiteX39" fmla="*/ 87313 w 528638"/>
                  <a:gd name="connsiteY39" fmla="*/ 82550 h 582613"/>
                  <a:gd name="connsiteX40" fmla="*/ 98761 w 528638"/>
                  <a:gd name="connsiteY40" fmla="*/ 10583 h 582613"/>
                  <a:gd name="connsiteX41" fmla="*/ 100192 w 528638"/>
                  <a:gd name="connsiteY41" fmla="*/ 3528 h 582613"/>
                  <a:gd name="connsiteX42" fmla="*/ 128096 w 528638"/>
                  <a:gd name="connsiteY42" fmla="*/ 0 h 582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28638" h="582613">
                    <a:moveTo>
                      <a:pt x="514350" y="484187"/>
                    </a:moveTo>
                    <a:cubicBezTo>
                      <a:pt x="492033" y="533945"/>
                      <a:pt x="445959" y="570196"/>
                      <a:pt x="390525" y="579437"/>
                    </a:cubicBezTo>
                    <a:cubicBezTo>
                      <a:pt x="401324" y="560956"/>
                      <a:pt x="414282" y="536788"/>
                      <a:pt x="423641" y="509066"/>
                    </a:cubicBezTo>
                    <a:cubicBezTo>
                      <a:pt x="451718" y="506223"/>
                      <a:pt x="481954" y="498404"/>
                      <a:pt x="514350" y="484187"/>
                    </a:cubicBezTo>
                    <a:close/>
                    <a:moveTo>
                      <a:pt x="198438" y="425450"/>
                    </a:moveTo>
                    <a:cubicBezTo>
                      <a:pt x="216290" y="441881"/>
                      <a:pt x="239141" y="460455"/>
                      <a:pt x="266990" y="475457"/>
                    </a:cubicBezTo>
                    <a:cubicBezTo>
                      <a:pt x="299124" y="493316"/>
                      <a:pt x="341255" y="509032"/>
                      <a:pt x="390526" y="510461"/>
                    </a:cubicBezTo>
                    <a:cubicBezTo>
                      <a:pt x="378387" y="541894"/>
                      <a:pt x="363391" y="566897"/>
                      <a:pt x="352680" y="582613"/>
                    </a:cubicBezTo>
                    <a:cubicBezTo>
                      <a:pt x="269132" y="576898"/>
                      <a:pt x="202723" y="509747"/>
                      <a:pt x="198438" y="425450"/>
                    </a:cubicBezTo>
                    <a:close/>
                    <a:moveTo>
                      <a:pt x="382588" y="254000"/>
                    </a:moveTo>
                    <a:cubicBezTo>
                      <a:pt x="465326" y="263973"/>
                      <a:pt x="528638" y="333070"/>
                      <a:pt x="528638" y="417126"/>
                    </a:cubicBezTo>
                    <a:cubicBezTo>
                      <a:pt x="528638" y="426386"/>
                      <a:pt x="527919" y="434934"/>
                      <a:pt x="526480" y="443483"/>
                    </a:cubicBezTo>
                    <a:cubicBezTo>
                      <a:pt x="494824" y="460579"/>
                      <a:pt x="463887" y="471264"/>
                      <a:pt x="432231" y="476250"/>
                    </a:cubicBezTo>
                    <a:cubicBezTo>
                      <a:pt x="445901" y="416414"/>
                      <a:pt x="443742" y="335207"/>
                      <a:pt x="382588" y="254000"/>
                    </a:cubicBezTo>
                    <a:close/>
                    <a:moveTo>
                      <a:pt x="342906" y="254000"/>
                    </a:moveTo>
                    <a:cubicBezTo>
                      <a:pt x="401421" y="321057"/>
                      <a:pt x="420688" y="397388"/>
                      <a:pt x="399280" y="479425"/>
                    </a:cubicBezTo>
                    <a:cubicBezTo>
                      <a:pt x="360032" y="479425"/>
                      <a:pt x="320784" y="469438"/>
                      <a:pt x="282964" y="448037"/>
                    </a:cubicBezTo>
                    <a:cubicBezTo>
                      <a:pt x="245856" y="428062"/>
                      <a:pt x="218026" y="402381"/>
                      <a:pt x="201613" y="384547"/>
                    </a:cubicBezTo>
                    <a:cubicBezTo>
                      <a:pt x="215172" y="315350"/>
                      <a:pt x="272260" y="262561"/>
                      <a:pt x="342906" y="254000"/>
                    </a:cubicBezTo>
                    <a:close/>
                    <a:moveTo>
                      <a:pt x="63445" y="139700"/>
                    </a:moveTo>
                    <a:cubicBezTo>
                      <a:pt x="72683" y="179148"/>
                      <a:pt x="95425" y="222901"/>
                      <a:pt x="144463" y="258046"/>
                    </a:cubicBezTo>
                    <a:cubicBezTo>
                      <a:pt x="139488" y="258763"/>
                      <a:pt x="134513" y="258763"/>
                      <a:pt x="128828" y="258763"/>
                    </a:cubicBezTo>
                    <a:cubicBezTo>
                      <a:pt x="84765" y="258763"/>
                      <a:pt x="44967" y="236528"/>
                      <a:pt x="22225" y="201383"/>
                    </a:cubicBezTo>
                    <a:cubicBezTo>
                      <a:pt x="32885" y="176997"/>
                      <a:pt x="46388" y="156197"/>
                      <a:pt x="63445" y="139700"/>
                    </a:cubicBezTo>
                    <a:close/>
                    <a:moveTo>
                      <a:pt x="194334" y="90557"/>
                    </a:moveTo>
                    <a:cubicBezTo>
                      <a:pt x="226855" y="90825"/>
                      <a:pt x="251455" y="97536"/>
                      <a:pt x="255198" y="98609"/>
                    </a:cubicBezTo>
                    <a:cubicBezTo>
                      <a:pt x="257337" y="108630"/>
                      <a:pt x="258763" y="118651"/>
                      <a:pt x="258763" y="129388"/>
                    </a:cubicBezTo>
                    <a:cubicBezTo>
                      <a:pt x="258763" y="180926"/>
                      <a:pt x="228816" y="225305"/>
                      <a:pt x="185321" y="246063"/>
                    </a:cubicBezTo>
                    <a:cubicBezTo>
                      <a:pt x="131130" y="217431"/>
                      <a:pt x="99757" y="173768"/>
                      <a:pt x="90488" y="117936"/>
                    </a:cubicBezTo>
                    <a:cubicBezTo>
                      <a:pt x="110453" y="105051"/>
                      <a:pt x="133270" y="96462"/>
                      <a:pt x="159652" y="92883"/>
                    </a:cubicBezTo>
                    <a:cubicBezTo>
                      <a:pt x="171773" y="91093"/>
                      <a:pt x="183494" y="90467"/>
                      <a:pt x="194334" y="90557"/>
                    </a:cubicBezTo>
                    <a:close/>
                    <a:moveTo>
                      <a:pt x="65088" y="15875"/>
                    </a:moveTo>
                    <a:cubicBezTo>
                      <a:pt x="60135" y="34439"/>
                      <a:pt x="54476" y="65855"/>
                      <a:pt x="57305" y="102268"/>
                    </a:cubicBezTo>
                    <a:cubicBezTo>
                      <a:pt x="38204" y="117976"/>
                      <a:pt x="19809" y="137968"/>
                      <a:pt x="4952" y="165100"/>
                    </a:cubicBezTo>
                    <a:cubicBezTo>
                      <a:pt x="1415" y="153676"/>
                      <a:pt x="0" y="140824"/>
                      <a:pt x="0" y="128686"/>
                    </a:cubicBezTo>
                    <a:cubicBezTo>
                      <a:pt x="0" y="80134"/>
                      <a:pt x="26176" y="38009"/>
                      <a:pt x="65088" y="15875"/>
                    </a:cubicBezTo>
                    <a:close/>
                    <a:moveTo>
                      <a:pt x="128096" y="0"/>
                    </a:moveTo>
                    <a:cubicBezTo>
                      <a:pt x="176034" y="0"/>
                      <a:pt x="217533" y="25400"/>
                      <a:pt x="239713" y="62794"/>
                    </a:cubicBezTo>
                    <a:cubicBezTo>
                      <a:pt x="219679" y="59267"/>
                      <a:pt x="188913" y="56444"/>
                      <a:pt x="155285" y="61383"/>
                    </a:cubicBezTo>
                    <a:cubicBezTo>
                      <a:pt x="134535" y="64205"/>
                      <a:pt x="110209" y="70555"/>
                      <a:pt x="87313" y="82550"/>
                    </a:cubicBezTo>
                    <a:cubicBezTo>
                      <a:pt x="87313" y="41628"/>
                      <a:pt x="98761" y="10583"/>
                      <a:pt x="98761" y="10583"/>
                    </a:cubicBezTo>
                    <a:cubicBezTo>
                      <a:pt x="100192" y="7761"/>
                      <a:pt x="100192" y="5644"/>
                      <a:pt x="100192" y="3528"/>
                    </a:cubicBezTo>
                    <a:cubicBezTo>
                      <a:pt x="108778" y="1411"/>
                      <a:pt x="118794" y="0"/>
                      <a:pt x="128096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6729414" y="3465513"/>
                <a:ext cx="1122265" cy="541338"/>
              </a:xfrm>
              <a:custGeom>
                <a:avLst/>
                <a:gdLst>
                  <a:gd name="connsiteX0" fmla="*/ 408151 w 1122265"/>
                  <a:gd name="connsiteY0" fmla="*/ 31591 h 541338"/>
                  <a:gd name="connsiteX1" fmla="*/ 324550 w 1122265"/>
                  <a:gd name="connsiteY1" fmla="*/ 51601 h 541338"/>
                  <a:gd name="connsiteX2" fmla="*/ 30162 w 1122265"/>
                  <a:gd name="connsiteY2" fmla="*/ 218820 h 541338"/>
                  <a:gd name="connsiteX3" fmla="*/ 30162 w 1122265"/>
                  <a:gd name="connsiteY3" fmla="*/ 503237 h 541338"/>
                  <a:gd name="connsiteX4" fmla="*/ 366708 w 1122265"/>
                  <a:gd name="connsiteY4" fmla="*/ 373177 h 541338"/>
                  <a:gd name="connsiteX5" fmla="*/ 417440 w 1122265"/>
                  <a:gd name="connsiteY5" fmla="*/ 365316 h 541338"/>
                  <a:gd name="connsiteX6" fmla="*/ 566778 w 1122265"/>
                  <a:gd name="connsiteY6" fmla="*/ 376036 h 541338"/>
                  <a:gd name="connsiteX7" fmla="*/ 795429 w 1122265"/>
                  <a:gd name="connsiteY7" fmla="*/ 349595 h 541338"/>
                  <a:gd name="connsiteX8" fmla="*/ 1046230 w 1122265"/>
                  <a:gd name="connsiteY8" fmla="*/ 183090 h 541338"/>
                  <a:gd name="connsiteX9" fmla="*/ 1078384 w 1122265"/>
                  <a:gd name="connsiteY9" fmla="*/ 145930 h 541338"/>
                  <a:gd name="connsiteX10" fmla="*/ 1073383 w 1122265"/>
                  <a:gd name="connsiteY10" fmla="*/ 71610 h 541338"/>
                  <a:gd name="connsiteX11" fmla="*/ 1034798 w 1122265"/>
                  <a:gd name="connsiteY11" fmla="*/ 58032 h 541338"/>
                  <a:gd name="connsiteX12" fmla="*/ 997642 w 1122265"/>
                  <a:gd name="connsiteY12" fmla="*/ 75897 h 541338"/>
                  <a:gd name="connsiteX13" fmla="*/ 949768 w 1122265"/>
                  <a:gd name="connsiteY13" fmla="*/ 129494 h 541338"/>
                  <a:gd name="connsiteX14" fmla="*/ 804003 w 1122265"/>
                  <a:gd name="connsiteY14" fmla="*/ 220964 h 541338"/>
                  <a:gd name="connsiteX15" fmla="*/ 606792 w 1122265"/>
                  <a:gd name="connsiteY15" fmla="*/ 210245 h 541338"/>
                  <a:gd name="connsiteX16" fmla="*/ 551772 w 1122265"/>
                  <a:gd name="connsiteY16" fmla="*/ 188092 h 541338"/>
                  <a:gd name="connsiteX17" fmla="*/ 542483 w 1122265"/>
                  <a:gd name="connsiteY17" fmla="*/ 171656 h 541338"/>
                  <a:gd name="connsiteX18" fmla="*/ 556060 w 1122265"/>
                  <a:gd name="connsiteY18" fmla="*/ 158078 h 541338"/>
                  <a:gd name="connsiteX19" fmla="*/ 713972 w 1122265"/>
                  <a:gd name="connsiteY19" fmla="*/ 142357 h 541338"/>
                  <a:gd name="connsiteX20" fmla="*/ 757558 w 1122265"/>
                  <a:gd name="connsiteY20" fmla="*/ 95192 h 541338"/>
                  <a:gd name="connsiteX21" fmla="*/ 711828 w 1122265"/>
                  <a:gd name="connsiteY21" fmla="*/ 47313 h 541338"/>
                  <a:gd name="connsiteX22" fmla="*/ 408151 w 1122265"/>
                  <a:gd name="connsiteY22" fmla="*/ 31591 h 541338"/>
                  <a:gd name="connsiteX23" fmla="*/ 389667 w 1122265"/>
                  <a:gd name="connsiteY23" fmla="*/ 0 h 541338"/>
                  <a:gd name="connsiteX24" fmla="*/ 393235 w 1122265"/>
                  <a:gd name="connsiteY24" fmla="*/ 0 h 541338"/>
                  <a:gd name="connsiteX25" fmla="*/ 396090 w 1122265"/>
                  <a:gd name="connsiteY25" fmla="*/ 0 h 541338"/>
                  <a:gd name="connsiteX26" fmla="*/ 398944 w 1122265"/>
                  <a:gd name="connsiteY26" fmla="*/ 0 h 541338"/>
                  <a:gd name="connsiteX27" fmla="*/ 402513 w 1122265"/>
                  <a:gd name="connsiteY27" fmla="*/ 0 h 541338"/>
                  <a:gd name="connsiteX28" fmla="*/ 410363 w 1122265"/>
                  <a:gd name="connsiteY28" fmla="*/ 0 h 541338"/>
                  <a:gd name="connsiteX29" fmla="*/ 714389 w 1122265"/>
                  <a:gd name="connsiteY29" fmla="*/ 15712 h 541338"/>
                  <a:gd name="connsiteX30" fmla="*/ 779333 w 1122265"/>
                  <a:gd name="connsiteY30" fmla="*/ 56419 h 541338"/>
                  <a:gd name="connsiteX31" fmla="*/ 781474 w 1122265"/>
                  <a:gd name="connsiteY31" fmla="*/ 60704 h 541338"/>
                  <a:gd name="connsiteX32" fmla="*/ 787897 w 1122265"/>
                  <a:gd name="connsiteY32" fmla="*/ 79273 h 541338"/>
                  <a:gd name="connsiteX33" fmla="*/ 789324 w 1122265"/>
                  <a:gd name="connsiteY33" fmla="*/ 94984 h 541338"/>
                  <a:gd name="connsiteX34" fmla="*/ 788611 w 1122265"/>
                  <a:gd name="connsiteY34" fmla="*/ 100698 h 541338"/>
                  <a:gd name="connsiteX35" fmla="*/ 788611 w 1122265"/>
                  <a:gd name="connsiteY35" fmla="*/ 101412 h 541338"/>
                  <a:gd name="connsiteX36" fmla="*/ 787897 w 1122265"/>
                  <a:gd name="connsiteY36" fmla="*/ 107125 h 541338"/>
                  <a:gd name="connsiteX37" fmla="*/ 762918 w 1122265"/>
                  <a:gd name="connsiteY37" fmla="*/ 154260 h 541338"/>
                  <a:gd name="connsiteX38" fmla="*/ 762205 w 1122265"/>
                  <a:gd name="connsiteY38" fmla="*/ 154260 h 541338"/>
                  <a:gd name="connsiteX39" fmla="*/ 757923 w 1122265"/>
                  <a:gd name="connsiteY39" fmla="*/ 157831 h 541338"/>
                  <a:gd name="connsiteX40" fmla="*/ 753641 w 1122265"/>
                  <a:gd name="connsiteY40" fmla="*/ 160688 h 541338"/>
                  <a:gd name="connsiteX41" fmla="*/ 752927 w 1122265"/>
                  <a:gd name="connsiteY41" fmla="*/ 161402 h 541338"/>
                  <a:gd name="connsiteX42" fmla="*/ 748645 w 1122265"/>
                  <a:gd name="connsiteY42" fmla="*/ 164258 h 541338"/>
                  <a:gd name="connsiteX43" fmla="*/ 747218 w 1122265"/>
                  <a:gd name="connsiteY43" fmla="*/ 164973 h 541338"/>
                  <a:gd name="connsiteX44" fmla="*/ 742222 w 1122265"/>
                  <a:gd name="connsiteY44" fmla="*/ 167115 h 541338"/>
                  <a:gd name="connsiteX45" fmla="*/ 741508 w 1122265"/>
                  <a:gd name="connsiteY45" fmla="*/ 167829 h 541338"/>
                  <a:gd name="connsiteX46" fmla="*/ 737226 w 1122265"/>
                  <a:gd name="connsiteY46" fmla="*/ 169258 h 541338"/>
                  <a:gd name="connsiteX47" fmla="*/ 717957 w 1122265"/>
                  <a:gd name="connsiteY47" fmla="*/ 173543 h 541338"/>
                  <a:gd name="connsiteX48" fmla="*/ 623752 w 1122265"/>
                  <a:gd name="connsiteY48" fmla="*/ 182827 h 541338"/>
                  <a:gd name="connsiteX49" fmla="*/ 742222 w 1122265"/>
                  <a:gd name="connsiteY49" fmla="*/ 199967 h 541338"/>
                  <a:gd name="connsiteX50" fmla="*/ 774337 w 1122265"/>
                  <a:gd name="connsiteY50" fmla="*/ 195682 h 541338"/>
                  <a:gd name="connsiteX51" fmla="*/ 784329 w 1122265"/>
                  <a:gd name="connsiteY51" fmla="*/ 193539 h 541338"/>
                  <a:gd name="connsiteX52" fmla="*/ 785756 w 1122265"/>
                  <a:gd name="connsiteY52" fmla="*/ 192825 h 541338"/>
                  <a:gd name="connsiteX53" fmla="*/ 795747 w 1122265"/>
                  <a:gd name="connsiteY53" fmla="*/ 190683 h 541338"/>
                  <a:gd name="connsiteX54" fmla="*/ 825722 w 1122265"/>
                  <a:gd name="connsiteY54" fmla="*/ 179970 h 541338"/>
                  <a:gd name="connsiteX55" fmla="*/ 908508 w 1122265"/>
                  <a:gd name="connsiteY55" fmla="*/ 127122 h 541338"/>
                  <a:gd name="connsiteX56" fmla="*/ 927064 w 1122265"/>
                  <a:gd name="connsiteY56" fmla="*/ 108553 h 541338"/>
                  <a:gd name="connsiteX57" fmla="*/ 974166 w 1122265"/>
                  <a:gd name="connsiteY57" fmla="*/ 54991 h 541338"/>
                  <a:gd name="connsiteX58" fmla="*/ 977021 w 1122265"/>
                  <a:gd name="connsiteY58" fmla="*/ 51420 h 541338"/>
                  <a:gd name="connsiteX59" fmla="*/ 977734 w 1122265"/>
                  <a:gd name="connsiteY59" fmla="*/ 51420 h 541338"/>
                  <a:gd name="connsiteX60" fmla="*/ 1032687 w 1122265"/>
                  <a:gd name="connsiteY60" fmla="*/ 26424 h 541338"/>
                  <a:gd name="connsiteX61" fmla="*/ 1033401 w 1122265"/>
                  <a:gd name="connsiteY61" fmla="*/ 26424 h 541338"/>
                  <a:gd name="connsiteX62" fmla="*/ 1037683 w 1122265"/>
                  <a:gd name="connsiteY62" fmla="*/ 26424 h 541338"/>
                  <a:gd name="connsiteX63" fmla="*/ 1039111 w 1122265"/>
                  <a:gd name="connsiteY63" fmla="*/ 26424 h 541338"/>
                  <a:gd name="connsiteX64" fmla="*/ 1078363 w 1122265"/>
                  <a:gd name="connsiteY64" fmla="*/ 37137 h 541338"/>
                  <a:gd name="connsiteX65" fmla="*/ 1081931 w 1122265"/>
                  <a:gd name="connsiteY65" fmla="*/ 39279 h 541338"/>
                  <a:gd name="connsiteX66" fmla="*/ 1084786 w 1122265"/>
                  <a:gd name="connsiteY66" fmla="*/ 40708 h 541338"/>
                  <a:gd name="connsiteX67" fmla="*/ 1085499 w 1122265"/>
                  <a:gd name="connsiteY67" fmla="*/ 41422 h 541338"/>
                  <a:gd name="connsiteX68" fmla="*/ 1088354 w 1122265"/>
                  <a:gd name="connsiteY68" fmla="*/ 43564 h 541338"/>
                  <a:gd name="connsiteX69" fmla="*/ 1089068 w 1122265"/>
                  <a:gd name="connsiteY69" fmla="*/ 44278 h 541338"/>
                  <a:gd name="connsiteX70" fmla="*/ 1091209 w 1122265"/>
                  <a:gd name="connsiteY70" fmla="*/ 45707 h 541338"/>
                  <a:gd name="connsiteX71" fmla="*/ 1094063 w 1122265"/>
                  <a:gd name="connsiteY71" fmla="*/ 47849 h 541338"/>
                  <a:gd name="connsiteX72" fmla="*/ 1094063 w 1122265"/>
                  <a:gd name="connsiteY72" fmla="*/ 48563 h 541338"/>
                  <a:gd name="connsiteX73" fmla="*/ 1101914 w 1122265"/>
                  <a:gd name="connsiteY73" fmla="*/ 165687 h 541338"/>
                  <a:gd name="connsiteX74" fmla="*/ 1070512 w 1122265"/>
                  <a:gd name="connsiteY74" fmla="*/ 203538 h 541338"/>
                  <a:gd name="connsiteX75" fmla="*/ 964888 w 1122265"/>
                  <a:gd name="connsiteY75" fmla="*/ 299950 h 541338"/>
                  <a:gd name="connsiteX76" fmla="*/ 955611 w 1122265"/>
                  <a:gd name="connsiteY76" fmla="*/ 306377 h 541338"/>
                  <a:gd name="connsiteX77" fmla="*/ 947046 w 1122265"/>
                  <a:gd name="connsiteY77" fmla="*/ 312091 h 541338"/>
                  <a:gd name="connsiteX78" fmla="*/ 805025 w 1122265"/>
                  <a:gd name="connsiteY78" fmla="*/ 379222 h 541338"/>
                  <a:gd name="connsiteX79" fmla="*/ 791465 w 1122265"/>
                  <a:gd name="connsiteY79" fmla="*/ 383507 h 541338"/>
                  <a:gd name="connsiteX80" fmla="*/ 787183 w 1122265"/>
                  <a:gd name="connsiteY80" fmla="*/ 384222 h 541338"/>
                  <a:gd name="connsiteX81" fmla="*/ 778619 w 1122265"/>
                  <a:gd name="connsiteY81" fmla="*/ 387078 h 541338"/>
                  <a:gd name="connsiteX82" fmla="*/ 772910 w 1122265"/>
                  <a:gd name="connsiteY82" fmla="*/ 388507 h 541338"/>
                  <a:gd name="connsiteX83" fmla="*/ 765059 w 1122265"/>
                  <a:gd name="connsiteY83" fmla="*/ 389935 h 541338"/>
                  <a:gd name="connsiteX84" fmla="*/ 758636 w 1122265"/>
                  <a:gd name="connsiteY84" fmla="*/ 392077 h 541338"/>
                  <a:gd name="connsiteX85" fmla="*/ 752927 w 1122265"/>
                  <a:gd name="connsiteY85" fmla="*/ 392792 h 541338"/>
                  <a:gd name="connsiteX86" fmla="*/ 723666 w 1122265"/>
                  <a:gd name="connsiteY86" fmla="*/ 399219 h 541338"/>
                  <a:gd name="connsiteX87" fmla="*/ 720812 w 1122265"/>
                  <a:gd name="connsiteY87" fmla="*/ 399219 h 541338"/>
                  <a:gd name="connsiteX88" fmla="*/ 710106 w 1122265"/>
                  <a:gd name="connsiteY88" fmla="*/ 401362 h 541338"/>
                  <a:gd name="connsiteX89" fmla="*/ 708679 w 1122265"/>
                  <a:gd name="connsiteY89" fmla="*/ 401362 h 541338"/>
                  <a:gd name="connsiteX90" fmla="*/ 649444 w 1122265"/>
                  <a:gd name="connsiteY90" fmla="*/ 407789 h 541338"/>
                  <a:gd name="connsiteX91" fmla="*/ 647303 w 1122265"/>
                  <a:gd name="connsiteY91" fmla="*/ 407789 h 541338"/>
                  <a:gd name="connsiteX92" fmla="*/ 636598 w 1122265"/>
                  <a:gd name="connsiteY92" fmla="*/ 408503 h 541338"/>
                  <a:gd name="connsiteX93" fmla="*/ 634457 w 1122265"/>
                  <a:gd name="connsiteY93" fmla="*/ 408503 h 541338"/>
                  <a:gd name="connsiteX94" fmla="*/ 620183 w 1122265"/>
                  <a:gd name="connsiteY94" fmla="*/ 408503 h 541338"/>
                  <a:gd name="connsiteX95" fmla="*/ 619470 w 1122265"/>
                  <a:gd name="connsiteY95" fmla="*/ 408503 h 541338"/>
                  <a:gd name="connsiteX96" fmla="*/ 611619 w 1122265"/>
                  <a:gd name="connsiteY96" fmla="*/ 408503 h 541338"/>
                  <a:gd name="connsiteX97" fmla="*/ 605196 w 1122265"/>
                  <a:gd name="connsiteY97" fmla="*/ 408503 h 541338"/>
                  <a:gd name="connsiteX98" fmla="*/ 598060 w 1122265"/>
                  <a:gd name="connsiteY98" fmla="*/ 408503 h 541338"/>
                  <a:gd name="connsiteX99" fmla="*/ 591637 w 1122265"/>
                  <a:gd name="connsiteY99" fmla="*/ 408503 h 541338"/>
                  <a:gd name="connsiteX100" fmla="*/ 583786 w 1122265"/>
                  <a:gd name="connsiteY100" fmla="*/ 407789 h 541338"/>
                  <a:gd name="connsiteX101" fmla="*/ 578077 w 1122265"/>
                  <a:gd name="connsiteY101" fmla="*/ 407789 h 541338"/>
                  <a:gd name="connsiteX102" fmla="*/ 565944 w 1122265"/>
                  <a:gd name="connsiteY102" fmla="*/ 407075 h 541338"/>
                  <a:gd name="connsiteX103" fmla="*/ 565231 w 1122265"/>
                  <a:gd name="connsiteY103" fmla="*/ 407075 h 541338"/>
                  <a:gd name="connsiteX104" fmla="*/ 484585 w 1122265"/>
                  <a:gd name="connsiteY104" fmla="*/ 401362 h 541338"/>
                  <a:gd name="connsiteX105" fmla="*/ 416073 w 1122265"/>
                  <a:gd name="connsiteY105" fmla="*/ 396362 h 541338"/>
                  <a:gd name="connsiteX106" fmla="*/ 410363 w 1122265"/>
                  <a:gd name="connsiteY106" fmla="*/ 396362 h 541338"/>
                  <a:gd name="connsiteX107" fmla="*/ 406795 w 1122265"/>
                  <a:gd name="connsiteY107" fmla="*/ 396362 h 541338"/>
                  <a:gd name="connsiteX108" fmla="*/ 392521 w 1122265"/>
                  <a:gd name="connsiteY108" fmla="*/ 397791 h 541338"/>
                  <a:gd name="connsiteX109" fmla="*/ 388239 w 1122265"/>
                  <a:gd name="connsiteY109" fmla="*/ 398505 h 541338"/>
                  <a:gd name="connsiteX110" fmla="*/ 388239 w 1122265"/>
                  <a:gd name="connsiteY110" fmla="*/ 399219 h 541338"/>
                  <a:gd name="connsiteX111" fmla="*/ 383957 w 1122265"/>
                  <a:gd name="connsiteY111" fmla="*/ 399933 h 541338"/>
                  <a:gd name="connsiteX112" fmla="*/ 383244 w 1122265"/>
                  <a:gd name="connsiteY112" fmla="*/ 400647 h 541338"/>
                  <a:gd name="connsiteX113" fmla="*/ 378961 w 1122265"/>
                  <a:gd name="connsiteY113" fmla="*/ 402076 h 541338"/>
                  <a:gd name="connsiteX114" fmla="*/ 21410 w 1122265"/>
                  <a:gd name="connsiteY114" fmla="*/ 540624 h 541338"/>
                  <a:gd name="connsiteX115" fmla="*/ 15701 w 1122265"/>
                  <a:gd name="connsiteY115" fmla="*/ 541338 h 541338"/>
                  <a:gd name="connsiteX116" fmla="*/ 7137 w 1122265"/>
                  <a:gd name="connsiteY116" fmla="*/ 538481 h 541338"/>
                  <a:gd name="connsiteX117" fmla="*/ 0 w 1122265"/>
                  <a:gd name="connsiteY117" fmla="*/ 525626 h 541338"/>
                  <a:gd name="connsiteX118" fmla="*/ 0 w 1122265"/>
                  <a:gd name="connsiteY118" fmla="*/ 209251 h 541338"/>
                  <a:gd name="connsiteX119" fmla="*/ 7851 w 1122265"/>
                  <a:gd name="connsiteY119" fmla="*/ 195682 h 541338"/>
                  <a:gd name="connsiteX120" fmla="*/ 309735 w 1122265"/>
                  <a:gd name="connsiteY120" fmla="*/ 24282 h 541338"/>
                  <a:gd name="connsiteX121" fmla="*/ 315444 w 1122265"/>
                  <a:gd name="connsiteY121" fmla="*/ 21425 h 541338"/>
                  <a:gd name="connsiteX122" fmla="*/ 317585 w 1122265"/>
                  <a:gd name="connsiteY122" fmla="*/ 19997 h 541338"/>
                  <a:gd name="connsiteX123" fmla="*/ 320440 w 1122265"/>
                  <a:gd name="connsiteY123" fmla="*/ 18568 h 541338"/>
                  <a:gd name="connsiteX124" fmla="*/ 324009 w 1122265"/>
                  <a:gd name="connsiteY124" fmla="*/ 17140 h 541338"/>
                  <a:gd name="connsiteX125" fmla="*/ 326150 w 1122265"/>
                  <a:gd name="connsiteY125" fmla="*/ 15712 h 541338"/>
                  <a:gd name="connsiteX126" fmla="*/ 329718 w 1122265"/>
                  <a:gd name="connsiteY126" fmla="*/ 14283 h 541338"/>
                  <a:gd name="connsiteX127" fmla="*/ 331859 w 1122265"/>
                  <a:gd name="connsiteY127" fmla="*/ 13569 h 541338"/>
                  <a:gd name="connsiteX128" fmla="*/ 336141 w 1122265"/>
                  <a:gd name="connsiteY128" fmla="*/ 12141 h 541338"/>
                  <a:gd name="connsiteX129" fmla="*/ 337568 w 1122265"/>
                  <a:gd name="connsiteY129" fmla="*/ 11427 h 541338"/>
                  <a:gd name="connsiteX130" fmla="*/ 341850 w 1122265"/>
                  <a:gd name="connsiteY130" fmla="*/ 9998 h 541338"/>
                  <a:gd name="connsiteX131" fmla="*/ 342564 w 1122265"/>
                  <a:gd name="connsiteY131" fmla="*/ 9284 h 541338"/>
                  <a:gd name="connsiteX132" fmla="*/ 347560 w 1122265"/>
                  <a:gd name="connsiteY132" fmla="*/ 7856 h 541338"/>
                  <a:gd name="connsiteX133" fmla="*/ 348273 w 1122265"/>
                  <a:gd name="connsiteY133" fmla="*/ 7856 h 541338"/>
                  <a:gd name="connsiteX134" fmla="*/ 381816 w 1122265"/>
                  <a:gd name="connsiteY134" fmla="*/ 714 h 541338"/>
                  <a:gd name="connsiteX135" fmla="*/ 383244 w 1122265"/>
                  <a:gd name="connsiteY135" fmla="*/ 714 h 541338"/>
                  <a:gd name="connsiteX136" fmla="*/ 386812 w 1122265"/>
                  <a:gd name="connsiteY136" fmla="*/ 714 h 541338"/>
                  <a:gd name="connsiteX137" fmla="*/ 389667 w 1122265"/>
                  <a:gd name="connsiteY137" fmla="*/ 0 h 5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1122265" h="541338">
                    <a:moveTo>
                      <a:pt x="408151" y="31591"/>
                    </a:moveTo>
                    <a:cubicBezTo>
                      <a:pt x="378855" y="30162"/>
                      <a:pt x="349559" y="37308"/>
                      <a:pt x="324550" y="51601"/>
                    </a:cubicBezTo>
                    <a:cubicBezTo>
                      <a:pt x="324550" y="51601"/>
                      <a:pt x="324550" y="51601"/>
                      <a:pt x="30162" y="218820"/>
                    </a:cubicBezTo>
                    <a:cubicBezTo>
                      <a:pt x="30162" y="218820"/>
                      <a:pt x="30162" y="218820"/>
                      <a:pt x="30162" y="503237"/>
                    </a:cubicBezTo>
                    <a:cubicBezTo>
                      <a:pt x="30162" y="503237"/>
                      <a:pt x="30162" y="503237"/>
                      <a:pt x="366708" y="373177"/>
                    </a:cubicBezTo>
                    <a:cubicBezTo>
                      <a:pt x="383142" y="366746"/>
                      <a:pt x="400291" y="363887"/>
                      <a:pt x="417440" y="365316"/>
                    </a:cubicBezTo>
                    <a:cubicBezTo>
                      <a:pt x="417440" y="365316"/>
                      <a:pt x="417440" y="365316"/>
                      <a:pt x="566778" y="376036"/>
                    </a:cubicBezTo>
                    <a:cubicBezTo>
                      <a:pt x="643947" y="381753"/>
                      <a:pt x="721117" y="372463"/>
                      <a:pt x="795429" y="349595"/>
                    </a:cubicBezTo>
                    <a:cubicBezTo>
                      <a:pt x="893320" y="318867"/>
                      <a:pt x="979779" y="261697"/>
                      <a:pt x="1046230" y="183090"/>
                    </a:cubicBezTo>
                    <a:cubicBezTo>
                      <a:pt x="1046230" y="183090"/>
                      <a:pt x="1046230" y="183090"/>
                      <a:pt x="1078384" y="145930"/>
                    </a:cubicBezTo>
                    <a:cubicBezTo>
                      <a:pt x="1096962" y="123777"/>
                      <a:pt x="1094819" y="90904"/>
                      <a:pt x="1073383" y="71610"/>
                    </a:cubicBezTo>
                    <a:cubicBezTo>
                      <a:pt x="1062665" y="62320"/>
                      <a:pt x="1049088" y="57317"/>
                      <a:pt x="1034798" y="58032"/>
                    </a:cubicBezTo>
                    <a:cubicBezTo>
                      <a:pt x="1020507" y="58747"/>
                      <a:pt x="1006931" y="65178"/>
                      <a:pt x="997642" y="75897"/>
                    </a:cubicBezTo>
                    <a:cubicBezTo>
                      <a:pt x="997642" y="75897"/>
                      <a:pt x="997642" y="75897"/>
                      <a:pt x="949768" y="129494"/>
                    </a:cubicBezTo>
                    <a:cubicBezTo>
                      <a:pt x="911183" y="173800"/>
                      <a:pt x="860451" y="205243"/>
                      <a:pt x="804003" y="220964"/>
                    </a:cubicBezTo>
                    <a:cubicBezTo>
                      <a:pt x="738980" y="239544"/>
                      <a:pt x="668956" y="235257"/>
                      <a:pt x="606792" y="210245"/>
                    </a:cubicBezTo>
                    <a:cubicBezTo>
                      <a:pt x="606792" y="210245"/>
                      <a:pt x="606792" y="210245"/>
                      <a:pt x="551772" y="188092"/>
                    </a:cubicBezTo>
                    <a:cubicBezTo>
                      <a:pt x="545342" y="185234"/>
                      <a:pt x="541054" y="178802"/>
                      <a:pt x="542483" y="171656"/>
                    </a:cubicBezTo>
                    <a:cubicBezTo>
                      <a:pt x="543198" y="164510"/>
                      <a:pt x="548914" y="158793"/>
                      <a:pt x="556060" y="158078"/>
                    </a:cubicBezTo>
                    <a:cubicBezTo>
                      <a:pt x="556060" y="158078"/>
                      <a:pt x="556060" y="158078"/>
                      <a:pt x="713972" y="142357"/>
                    </a:cubicBezTo>
                    <a:cubicBezTo>
                      <a:pt x="738980" y="140213"/>
                      <a:pt x="757558" y="119489"/>
                      <a:pt x="757558" y="95192"/>
                    </a:cubicBezTo>
                    <a:cubicBezTo>
                      <a:pt x="757558" y="69466"/>
                      <a:pt x="737551" y="48742"/>
                      <a:pt x="711828" y="47313"/>
                    </a:cubicBezTo>
                    <a:cubicBezTo>
                      <a:pt x="711828" y="47313"/>
                      <a:pt x="711828" y="47313"/>
                      <a:pt x="408151" y="31591"/>
                    </a:cubicBezTo>
                    <a:close/>
                    <a:moveTo>
                      <a:pt x="389667" y="0"/>
                    </a:moveTo>
                    <a:cubicBezTo>
                      <a:pt x="391094" y="0"/>
                      <a:pt x="391808" y="0"/>
                      <a:pt x="393235" y="0"/>
                    </a:cubicBezTo>
                    <a:cubicBezTo>
                      <a:pt x="393949" y="0"/>
                      <a:pt x="395376" y="0"/>
                      <a:pt x="396090" y="0"/>
                    </a:cubicBezTo>
                    <a:cubicBezTo>
                      <a:pt x="397517" y="0"/>
                      <a:pt x="398231" y="0"/>
                      <a:pt x="398944" y="0"/>
                    </a:cubicBezTo>
                    <a:cubicBezTo>
                      <a:pt x="400372" y="0"/>
                      <a:pt x="401085" y="0"/>
                      <a:pt x="402513" y="0"/>
                    </a:cubicBezTo>
                    <a:cubicBezTo>
                      <a:pt x="404654" y="0"/>
                      <a:pt x="407508" y="0"/>
                      <a:pt x="410363" y="0"/>
                    </a:cubicBezTo>
                    <a:cubicBezTo>
                      <a:pt x="410363" y="0"/>
                      <a:pt x="410363" y="0"/>
                      <a:pt x="714389" y="15712"/>
                    </a:cubicBezTo>
                    <a:cubicBezTo>
                      <a:pt x="742222" y="17140"/>
                      <a:pt x="765773" y="33566"/>
                      <a:pt x="779333" y="56419"/>
                    </a:cubicBezTo>
                    <a:cubicBezTo>
                      <a:pt x="780047" y="57848"/>
                      <a:pt x="780760" y="59276"/>
                      <a:pt x="781474" y="60704"/>
                    </a:cubicBezTo>
                    <a:cubicBezTo>
                      <a:pt x="784329" y="66418"/>
                      <a:pt x="786470" y="72845"/>
                      <a:pt x="787897" y="79273"/>
                    </a:cubicBezTo>
                    <a:cubicBezTo>
                      <a:pt x="788611" y="84272"/>
                      <a:pt x="789324" y="89271"/>
                      <a:pt x="789324" y="94984"/>
                    </a:cubicBezTo>
                    <a:cubicBezTo>
                      <a:pt x="789324" y="97127"/>
                      <a:pt x="789324" y="98555"/>
                      <a:pt x="788611" y="100698"/>
                    </a:cubicBezTo>
                    <a:cubicBezTo>
                      <a:pt x="788611" y="100698"/>
                      <a:pt x="788611" y="101412"/>
                      <a:pt x="788611" y="101412"/>
                    </a:cubicBezTo>
                    <a:cubicBezTo>
                      <a:pt x="788611" y="103554"/>
                      <a:pt x="788611" y="104983"/>
                      <a:pt x="787897" y="107125"/>
                    </a:cubicBezTo>
                    <a:cubicBezTo>
                      <a:pt x="785042" y="125693"/>
                      <a:pt x="775765" y="142119"/>
                      <a:pt x="762918" y="154260"/>
                    </a:cubicBezTo>
                    <a:cubicBezTo>
                      <a:pt x="762918" y="154260"/>
                      <a:pt x="762205" y="154260"/>
                      <a:pt x="762205" y="154260"/>
                    </a:cubicBezTo>
                    <a:cubicBezTo>
                      <a:pt x="760777" y="155688"/>
                      <a:pt x="759350" y="156403"/>
                      <a:pt x="757923" y="157831"/>
                    </a:cubicBezTo>
                    <a:cubicBezTo>
                      <a:pt x="756495" y="159259"/>
                      <a:pt x="755068" y="159973"/>
                      <a:pt x="753641" y="160688"/>
                    </a:cubicBezTo>
                    <a:cubicBezTo>
                      <a:pt x="752927" y="161402"/>
                      <a:pt x="752927" y="161402"/>
                      <a:pt x="752927" y="161402"/>
                    </a:cubicBezTo>
                    <a:cubicBezTo>
                      <a:pt x="751500" y="162116"/>
                      <a:pt x="750072" y="163544"/>
                      <a:pt x="748645" y="164258"/>
                    </a:cubicBezTo>
                    <a:cubicBezTo>
                      <a:pt x="747931" y="164258"/>
                      <a:pt x="747218" y="164258"/>
                      <a:pt x="747218" y="164973"/>
                    </a:cubicBezTo>
                    <a:cubicBezTo>
                      <a:pt x="745790" y="165687"/>
                      <a:pt x="744363" y="166401"/>
                      <a:pt x="742222" y="167115"/>
                    </a:cubicBezTo>
                    <a:cubicBezTo>
                      <a:pt x="742222" y="167115"/>
                      <a:pt x="741508" y="167115"/>
                      <a:pt x="741508" y="167829"/>
                    </a:cubicBezTo>
                    <a:cubicBezTo>
                      <a:pt x="740081" y="167829"/>
                      <a:pt x="738653" y="168543"/>
                      <a:pt x="737226" y="169258"/>
                    </a:cubicBezTo>
                    <a:cubicBezTo>
                      <a:pt x="730803" y="171400"/>
                      <a:pt x="724380" y="172828"/>
                      <a:pt x="717957" y="173543"/>
                    </a:cubicBezTo>
                    <a:cubicBezTo>
                      <a:pt x="717957" y="173543"/>
                      <a:pt x="717957" y="173543"/>
                      <a:pt x="623752" y="182827"/>
                    </a:cubicBezTo>
                    <a:cubicBezTo>
                      <a:pt x="661577" y="197110"/>
                      <a:pt x="702256" y="202823"/>
                      <a:pt x="742222" y="199967"/>
                    </a:cubicBezTo>
                    <a:cubicBezTo>
                      <a:pt x="752927" y="199253"/>
                      <a:pt x="763632" y="197824"/>
                      <a:pt x="774337" y="195682"/>
                    </a:cubicBezTo>
                    <a:cubicBezTo>
                      <a:pt x="777906" y="194968"/>
                      <a:pt x="780760" y="194253"/>
                      <a:pt x="784329" y="193539"/>
                    </a:cubicBezTo>
                    <a:cubicBezTo>
                      <a:pt x="785042" y="193539"/>
                      <a:pt x="785042" y="193539"/>
                      <a:pt x="785756" y="192825"/>
                    </a:cubicBezTo>
                    <a:cubicBezTo>
                      <a:pt x="789324" y="192111"/>
                      <a:pt x="792179" y="191397"/>
                      <a:pt x="795747" y="190683"/>
                    </a:cubicBezTo>
                    <a:cubicBezTo>
                      <a:pt x="805739" y="187826"/>
                      <a:pt x="815730" y="184255"/>
                      <a:pt x="825722" y="179970"/>
                    </a:cubicBezTo>
                    <a:cubicBezTo>
                      <a:pt x="856410" y="167829"/>
                      <a:pt x="884243" y="149975"/>
                      <a:pt x="908508" y="127122"/>
                    </a:cubicBezTo>
                    <a:cubicBezTo>
                      <a:pt x="914931" y="121408"/>
                      <a:pt x="920641" y="114981"/>
                      <a:pt x="927064" y="108553"/>
                    </a:cubicBezTo>
                    <a:cubicBezTo>
                      <a:pt x="927064" y="108553"/>
                      <a:pt x="927064" y="108553"/>
                      <a:pt x="974166" y="54991"/>
                    </a:cubicBezTo>
                    <a:cubicBezTo>
                      <a:pt x="975593" y="53563"/>
                      <a:pt x="976307" y="52848"/>
                      <a:pt x="977021" y="51420"/>
                    </a:cubicBezTo>
                    <a:cubicBezTo>
                      <a:pt x="977734" y="51420"/>
                      <a:pt x="977734" y="51420"/>
                      <a:pt x="977734" y="51420"/>
                    </a:cubicBezTo>
                    <a:cubicBezTo>
                      <a:pt x="992722" y="36423"/>
                      <a:pt x="1011991" y="27853"/>
                      <a:pt x="1032687" y="26424"/>
                    </a:cubicBezTo>
                    <a:cubicBezTo>
                      <a:pt x="1033401" y="26424"/>
                      <a:pt x="1033401" y="26424"/>
                      <a:pt x="1033401" y="26424"/>
                    </a:cubicBezTo>
                    <a:cubicBezTo>
                      <a:pt x="1034828" y="26424"/>
                      <a:pt x="1036256" y="26424"/>
                      <a:pt x="1037683" y="26424"/>
                    </a:cubicBezTo>
                    <a:cubicBezTo>
                      <a:pt x="1037683" y="26424"/>
                      <a:pt x="1038397" y="26424"/>
                      <a:pt x="1039111" y="26424"/>
                    </a:cubicBezTo>
                    <a:cubicBezTo>
                      <a:pt x="1052670" y="26424"/>
                      <a:pt x="1066230" y="30709"/>
                      <a:pt x="1078363" y="37137"/>
                    </a:cubicBezTo>
                    <a:cubicBezTo>
                      <a:pt x="1079790" y="37851"/>
                      <a:pt x="1080504" y="38565"/>
                      <a:pt x="1081931" y="39279"/>
                    </a:cubicBezTo>
                    <a:cubicBezTo>
                      <a:pt x="1083358" y="39993"/>
                      <a:pt x="1084072" y="40708"/>
                      <a:pt x="1084786" y="40708"/>
                    </a:cubicBezTo>
                    <a:cubicBezTo>
                      <a:pt x="1085499" y="41422"/>
                      <a:pt x="1085499" y="41422"/>
                      <a:pt x="1085499" y="41422"/>
                    </a:cubicBezTo>
                    <a:cubicBezTo>
                      <a:pt x="1086213" y="42136"/>
                      <a:pt x="1087640" y="42850"/>
                      <a:pt x="1088354" y="43564"/>
                    </a:cubicBezTo>
                    <a:cubicBezTo>
                      <a:pt x="1088354" y="43564"/>
                      <a:pt x="1089068" y="44278"/>
                      <a:pt x="1089068" y="44278"/>
                    </a:cubicBezTo>
                    <a:cubicBezTo>
                      <a:pt x="1089781" y="44993"/>
                      <a:pt x="1090495" y="44993"/>
                      <a:pt x="1091209" y="45707"/>
                    </a:cubicBezTo>
                    <a:cubicBezTo>
                      <a:pt x="1091922" y="46421"/>
                      <a:pt x="1092636" y="47135"/>
                      <a:pt x="1094063" y="47849"/>
                    </a:cubicBezTo>
                    <a:cubicBezTo>
                      <a:pt x="1094063" y="47849"/>
                      <a:pt x="1094063" y="48563"/>
                      <a:pt x="1094063" y="48563"/>
                    </a:cubicBezTo>
                    <a:cubicBezTo>
                      <a:pt x="1128320" y="79273"/>
                      <a:pt x="1131888" y="130693"/>
                      <a:pt x="1101914" y="165687"/>
                    </a:cubicBezTo>
                    <a:cubicBezTo>
                      <a:pt x="1101914" y="165687"/>
                      <a:pt x="1101914" y="165687"/>
                      <a:pt x="1070512" y="203538"/>
                    </a:cubicBezTo>
                    <a:cubicBezTo>
                      <a:pt x="1039111" y="239960"/>
                      <a:pt x="1003427" y="272812"/>
                      <a:pt x="964888" y="299950"/>
                    </a:cubicBezTo>
                    <a:cubicBezTo>
                      <a:pt x="962034" y="302092"/>
                      <a:pt x="958465" y="304235"/>
                      <a:pt x="955611" y="306377"/>
                    </a:cubicBezTo>
                    <a:cubicBezTo>
                      <a:pt x="952756" y="308520"/>
                      <a:pt x="949901" y="310662"/>
                      <a:pt x="947046" y="312091"/>
                    </a:cubicBezTo>
                    <a:cubicBezTo>
                      <a:pt x="903512" y="340657"/>
                      <a:pt x="855696" y="363511"/>
                      <a:pt x="805025" y="379222"/>
                    </a:cubicBezTo>
                    <a:cubicBezTo>
                      <a:pt x="800743" y="380651"/>
                      <a:pt x="796461" y="382079"/>
                      <a:pt x="791465" y="383507"/>
                    </a:cubicBezTo>
                    <a:cubicBezTo>
                      <a:pt x="790038" y="383507"/>
                      <a:pt x="788611" y="384222"/>
                      <a:pt x="787183" y="384222"/>
                    </a:cubicBezTo>
                    <a:cubicBezTo>
                      <a:pt x="784329" y="384936"/>
                      <a:pt x="781474" y="386364"/>
                      <a:pt x="778619" y="387078"/>
                    </a:cubicBezTo>
                    <a:cubicBezTo>
                      <a:pt x="776478" y="387078"/>
                      <a:pt x="774337" y="387792"/>
                      <a:pt x="772910" y="388507"/>
                    </a:cubicBezTo>
                    <a:cubicBezTo>
                      <a:pt x="770055" y="389221"/>
                      <a:pt x="767914" y="389221"/>
                      <a:pt x="765059" y="389935"/>
                    </a:cubicBezTo>
                    <a:cubicBezTo>
                      <a:pt x="762918" y="390649"/>
                      <a:pt x="760777" y="391363"/>
                      <a:pt x="758636" y="392077"/>
                    </a:cubicBezTo>
                    <a:cubicBezTo>
                      <a:pt x="756495" y="392077"/>
                      <a:pt x="755068" y="392792"/>
                      <a:pt x="752927" y="392792"/>
                    </a:cubicBezTo>
                    <a:cubicBezTo>
                      <a:pt x="742936" y="394934"/>
                      <a:pt x="732944" y="397077"/>
                      <a:pt x="723666" y="399219"/>
                    </a:cubicBezTo>
                    <a:cubicBezTo>
                      <a:pt x="722239" y="399219"/>
                      <a:pt x="721525" y="399219"/>
                      <a:pt x="720812" y="399219"/>
                    </a:cubicBezTo>
                    <a:cubicBezTo>
                      <a:pt x="717243" y="399933"/>
                      <a:pt x="713675" y="400647"/>
                      <a:pt x="710106" y="401362"/>
                    </a:cubicBezTo>
                    <a:cubicBezTo>
                      <a:pt x="709393" y="401362"/>
                      <a:pt x="709393" y="401362"/>
                      <a:pt x="708679" y="401362"/>
                    </a:cubicBezTo>
                    <a:cubicBezTo>
                      <a:pt x="688696" y="404218"/>
                      <a:pt x="669427" y="406361"/>
                      <a:pt x="649444" y="407789"/>
                    </a:cubicBezTo>
                    <a:cubicBezTo>
                      <a:pt x="648730" y="407789"/>
                      <a:pt x="648017" y="407789"/>
                      <a:pt x="647303" y="407789"/>
                    </a:cubicBezTo>
                    <a:cubicBezTo>
                      <a:pt x="643735" y="407789"/>
                      <a:pt x="640166" y="407789"/>
                      <a:pt x="636598" y="408503"/>
                    </a:cubicBezTo>
                    <a:cubicBezTo>
                      <a:pt x="635884" y="408503"/>
                      <a:pt x="635171" y="408503"/>
                      <a:pt x="634457" y="408503"/>
                    </a:cubicBezTo>
                    <a:cubicBezTo>
                      <a:pt x="629461" y="408503"/>
                      <a:pt x="625179" y="408503"/>
                      <a:pt x="620183" y="408503"/>
                    </a:cubicBezTo>
                    <a:cubicBezTo>
                      <a:pt x="620183" y="408503"/>
                      <a:pt x="619470" y="408503"/>
                      <a:pt x="619470" y="408503"/>
                    </a:cubicBezTo>
                    <a:cubicBezTo>
                      <a:pt x="616615" y="408503"/>
                      <a:pt x="613760" y="408503"/>
                      <a:pt x="611619" y="408503"/>
                    </a:cubicBezTo>
                    <a:cubicBezTo>
                      <a:pt x="609478" y="408503"/>
                      <a:pt x="607337" y="408503"/>
                      <a:pt x="605196" y="408503"/>
                    </a:cubicBezTo>
                    <a:cubicBezTo>
                      <a:pt x="603055" y="408503"/>
                      <a:pt x="600201" y="408503"/>
                      <a:pt x="598060" y="408503"/>
                    </a:cubicBezTo>
                    <a:cubicBezTo>
                      <a:pt x="595919" y="408503"/>
                      <a:pt x="593778" y="408503"/>
                      <a:pt x="591637" y="408503"/>
                    </a:cubicBezTo>
                    <a:cubicBezTo>
                      <a:pt x="588782" y="408503"/>
                      <a:pt x="586641" y="408503"/>
                      <a:pt x="583786" y="407789"/>
                    </a:cubicBezTo>
                    <a:cubicBezTo>
                      <a:pt x="581645" y="407789"/>
                      <a:pt x="580218" y="407789"/>
                      <a:pt x="578077" y="407789"/>
                    </a:cubicBezTo>
                    <a:cubicBezTo>
                      <a:pt x="574508" y="407789"/>
                      <a:pt x="570226" y="407075"/>
                      <a:pt x="565944" y="407075"/>
                    </a:cubicBezTo>
                    <a:cubicBezTo>
                      <a:pt x="565944" y="407075"/>
                      <a:pt x="565231" y="407075"/>
                      <a:pt x="565231" y="407075"/>
                    </a:cubicBezTo>
                    <a:cubicBezTo>
                      <a:pt x="565231" y="407075"/>
                      <a:pt x="565231" y="407075"/>
                      <a:pt x="484585" y="401362"/>
                    </a:cubicBezTo>
                    <a:cubicBezTo>
                      <a:pt x="484585" y="401362"/>
                      <a:pt x="484585" y="401362"/>
                      <a:pt x="416073" y="396362"/>
                    </a:cubicBezTo>
                    <a:cubicBezTo>
                      <a:pt x="414645" y="396362"/>
                      <a:pt x="412504" y="396362"/>
                      <a:pt x="410363" y="396362"/>
                    </a:cubicBezTo>
                    <a:cubicBezTo>
                      <a:pt x="409649" y="396362"/>
                      <a:pt x="408222" y="396362"/>
                      <a:pt x="406795" y="396362"/>
                    </a:cubicBezTo>
                    <a:cubicBezTo>
                      <a:pt x="401799" y="396362"/>
                      <a:pt x="397517" y="397077"/>
                      <a:pt x="392521" y="397791"/>
                    </a:cubicBezTo>
                    <a:cubicBezTo>
                      <a:pt x="391094" y="398505"/>
                      <a:pt x="389667" y="398505"/>
                      <a:pt x="388239" y="398505"/>
                    </a:cubicBezTo>
                    <a:cubicBezTo>
                      <a:pt x="388239" y="399219"/>
                      <a:pt x="388239" y="399219"/>
                      <a:pt x="388239" y="399219"/>
                    </a:cubicBezTo>
                    <a:cubicBezTo>
                      <a:pt x="386812" y="399219"/>
                      <a:pt x="385385" y="399933"/>
                      <a:pt x="383957" y="399933"/>
                    </a:cubicBezTo>
                    <a:cubicBezTo>
                      <a:pt x="383957" y="399933"/>
                      <a:pt x="383957" y="399933"/>
                      <a:pt x="383244" y="400647"/>
                    </a:cubicBezTo>
                    <a:cubicBezTo>
                      <a:pt x="381816" y="400647"/>
                      <a:pt x="380389" y="401362"/>
                      <a:pt x="378961" y="402076"/>
                    </a:cubicBezTo>
                    <a:cubicBezTo>
                      <a:pt x="378961" y="402076"/>
                      <a:pt x="378961" y="402076"/>
                      <a:pt x="21410" y="540624"/>
                    </a:cubicBezTo>
                    <a:cubicBezTo>
                      <a:pt x="19983" y="541338"/>
                      <a:pt x="17842" y="541338"/>
                      <a:pt x="15701" y="541338"/>
                    </a:cubicBezTo>
                    <a:cubicBezTo>
                      <a:pt x="12846" y="541338"/>
                      <a:pt x="9992" y="540624"/>
                      <a:pt x="7137" y="538481"/>
                    </a:cubicBezTo>
                    <a:cubicBezTo>
                      <a:pt x="2855" y="535625"/>
                      <a:pt x="0" y="530626"/>
                      <a:pt x="0" y="525626"/>
                    </a:cubicBezTo>
                    <a:cubicBezTo>
                      <a:pt x="0" y="525626"/>
                      <a:pt x="0" y="525626"/>
                      <a:pt x="0" y="209251"/>
                    </a:cubicBezTo>
                    <a:cubicBezTo>
                      <a:pt x="0" y="203538"/>
                      <a:pt x="3569" y="198538"/>
                      <a:pt x="7851" y="195682"/>
                    </a:cubicBezTo>
                    <a:cubicBezTo>
                      <a:pt x="7851" y="195682"/>
                      <a:pt x="7851" y="195682"/>
                      <a:pt x="309735" y="24282"/>
                    </a:cubicBezTo>
                    <a:cubicBezTo>
                      <a:pt x="311162" y="22853"/>
                      <a:pt x="313303" y="22139"/>
                      <a:pt x="315444" y="21425"/>
                    </a:cubicBezTo>
                    <a:cubicBezTo>
                      <a:pt x="316158" y="20711"/>
                      <a:pt x="316872" y="20711"/>
                      <a:pt x="317585" y="19997"/>
                    </a:cubicBezTo>
                    <a:cubicBezTo>
                      <a:pt x="318299" y="19283"/>
                      <a:pt x="319726" y="18568"/>
                      <a:pt x="320440" y="18568"/>
                    </a:cubicBezTo>
                    <a:cubicBezTo>
                      <a:pt x="321868" y="17854"/>
                      <a:pt x="322581" y="17140"/>
                      <a:pt x="324009" y="17140"/>
                    </a:cubicBezTo>
                    <a:cubicBezTo>
                      <a:pt x="324722" y="16426"/>
                      <a:pt x="325436" y="16426"/>
                      <a:pt x="326150" y="15712"/>
                    </a:cubicBezTo>
                    <a:cubicBezTo>
                      <a:pt x="327577" y="14998"/>
                      <a:pt x="329004" y="14998"/>
                      <a:pt x="329718" y="14283"/>
                    </a:cubicBezTo>
                    <a:cubicBezTo>
                      <a:pt x="330432" y="14283"/>
                      <a:pt x="331145" y="13569"/>
                      <a:pt x="331859" y="13569"/>
                    </a:cubicBezTo>
                    <a:cubicBezTo>
                      <a:pt x="333286" y="12855"/>
                      <a:pt x="334714" y="12141"/>
                      <a:pt x="336141" y="12141"/>
                    </a:cubicBezTo>
                    <a:cubicBezTo>
                      <a:pt x="336141" y="11427"/>
                      <a:pt x="336855" y="11427"/>
                      <a:pt x="337568" y="11427"/>
                    </a:cubicBezTo>
                    <a:cubicBezTo>
                      <a:pt x="338996" y="10713"/>
                      <a:pt x="340423" y="9998"/>
                      <a:pt x="341850" y="9998"/>
                    </a:cubicBezTo>
                    <a:cubicBezTo>
                      <a:pt x="342564" y="9284"/>
                      <a:pt x="342564" y="9284"/>
                      <a:pt x="342564" y="9284"/>
                    </a:cubicBezTo>
                    <a:cubicBezTo>
                      <a:pt x="344705" y="8570"/>
                      <a:pt x="346132" y="8570"/>
                      <a:pt x="347560" y="7856"/>
                    </a:cubicBezTo>
                    <a:cubicBezTo>
                      <a:pt x="348273" y="7856"/>
                      <a:pt x="348273" y="7856"/>
                      <a:pt x="348273" y="7856"/>
                    </a:cubicBezTo>
                    <a:cubicBezTo>
                      <a:pt x="359692" y="4285"/>
                      <a:pt x="370397" y="2143"/>
                      <a:pt x="381816" y="714"/>
                    </a:cubicBezTo>
                    <a:cubicBezTo>
                      <a:pt x="382530" y="714"/>
                      <a:pt x="383244" y="714"/>
                      <a:pt x="383244" y="714"/>
                    </a:cubicBezTo>
                    <a:cubicBezTo>
                      <a:pt x="384671" y="714"/>
                      <a:pt x="386098" y="714"/>
                      <a:pt x="386812" y="714"/>
                    </a:cubicBezTo>
                    <a:cubicBezTo>
                      <a:pt x="388239" y="714"/>
                      <a:pt x="388953" y="714"/>
                      <a:pt x="389667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5" name="bcgIcons_Car2">
            <a:extLst>
              <a:ext uri="{FF2B5EF4-FFF2-40B4-BE49-F238E27FC236}">
                <a16:creationId xmlns:a16="http://schemas.microsoft.com/office/drawing/2014/main" id="{BA20FD7A-6292-408B-996A-C1A7AD26CE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16572" y="4953396"/>
            <a:ext cx="362226" cy="362562"/>
            <a:chOff x="1682" y="0"/>
            <a:chExt cx="4316" cy="4320"/>
          </a:xfrm>
        </p:grpSpPr>
        <p:sp>
          <p:nvSpPr>
            <p:cNvPr id="46" name="AutoShape 8">
              <a:extLst>
                <a:ext uri="{FF2B5EF4-FFF2-40B4-BE49-F238E27FC236}">
                  <a16:creationId xmlns:a16="http://schemas.microsoft.com/office/drawing/2014/main" id="{15C9F521-64D2-482B-B844-69F0ACAE56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710E0D2-3E7C-489C-ABE5-CCC38D479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1584"/>
              <a:ext cx="2551" cy="1123"/>
            </a:xfrm>
            <a:custGeom>
              <a:avLst/>
              <a:gdLst>
                <a:gd name="T0" fmla="*/ 577 w 1362"/>
                <a:gd name="T1" fmla="*/ 220 h 599"/>
                <a:gd name="T2" fmla="*/ 245 w 1362"/>
                <a:gd name="T3" fmla="*/ 219 h 599"/>
                <a:gd name="T4" fmla="*/ 358 w 1362"/>
                <a:gd name="T5" fmla="*/ 41 h 599"/>
                <a:gd name="T6" fmla="*/ 554 w 1362"/>
                <a:gd name="T7" fmla="*/ 3 h 599"/>
                <a:gd name="T8" fmla="*/ 585 w 1362"/>
                <a:gd name="T9" fmla="*/ 211 h 599"/>
                <a:gd name="T10" fmla="*/ 577 w 1362"/>
                <a:gd name="T11" fmla="*/ 220 h 599"/>
                <a:gd name="T12" fmla="*/ 1096 w 1362"/>
                <a:gd name="T13" fmla="*/ 209 h 599"/>
                <a:gd name="T14" fmla="*/ 983 w 1362"/>
                <a:gd name="T15" fmla="*/ 46 h 599"/>
                <a:gd name="T16" fmla="*/ 607 w 1362"/>
                <a:gd name="T17" fmla="*/ 3 h 599"/>
                <a:gd name="T18" fmla="*/ 636 w 1362"/>
                <a:gd name="T19" fmla="*/ 213 h 599"/>
                <a:gd name="T20" fmla="*/ 644 w 1362"/>
                <a:gd name="T21" fmla="*/ 220 h 599"/>
                <a:gd name="T22" fmla="*/ 1084 w 1362"/>
                <a:gd name="T23" fmla="*/ 220 h 599"/>
                <a:gd name="T24" fmla="*/ 1096 w 1362"/>
                <a:gd name="T25" fmla="*/ 209 h 599"/>
                <a:gd name="T26" fmla="*/ 102 w 1362"/>
                <a:gd name="T27" fmla="*/ 395 h 599"/>
                <a:gd name="T28" fmla="*/ 0 w 1362"/>
                <a:gd name="T29" fmla="*/ 497 h 599"/>
                <a:gd name="T30" fmla="*/ 102 w 1362"/>
                <a:gd name="T31" fmla="*/ 599 h 599"/>
                <a:gd name="T32" fmla="*/ 204 w 1362"/>
                <a:gd name="T33" fmla="*/ 497 h 599"/>
                <a:gd name="T34" fmla="*/ 102 w 1362"/>
                <a:gd name="T35" fmla="*/ 395 h 599"/>
                <a:gd name="T36" fmla="*/ 1260 w 1362"/>
                <a:gd name="T37" fmla="*/ 395 h 599"/>
                <a:gd name="T38" fmla="*/ 1158 w 1362"/>
                <a:gd name="T39" fmla="*/ 497 h 599"/>
                <a:gd name="T40" fmla="*/ 1260 w 1362"/>
                <a:gd name="T41" fmla="*/ 599 h 599"/>
                <a:gd name="T42" fmla="*/ 1362 w 1362"/>
                <a:gd name="T43" fmla="*/ 497 h 599"/>
                <a:gd name="T44" fmla="*/ 1260 w 1362"/>
                <a:gd name="T45" fmla="*/ 395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62" h="599">
                  <a:moveTo>
                    <a:pt x="577" y="220"/>
                  </a:moveTo>
                  <a:cubicBezTo>
                    <a:pt x="245" y="219"/>
                    <a:pt x="245" y="219"/>
                    <a:pt x="245" y="219"/>
                  </a:cubicBezTo>
                  <a:cubicBezTo>
                    <a:pt x="241" y="219"/>
                    <a:pt x="295" y="68"/>
                    <a:pt x="358" y="41"/>
                  </a:cubicBezTo>
                  <a:cubicBezTo>
                    <a:pt x="420" y="15"/>
                    <a:pt x="446" y="3"/>
                    <a:pt x="554" y="3"/>
                  </a:cubicBezTo>
                  <a:cubicBezTo>
                    <a:pt x="585" y="211"/>
                    <a:pt x="585" y="211"/>
                    <a:pt x="585" y="211"/>
                  </a:cubicBezTo>
                  <a:cubicBezTo>
                    <a:pt x="585" y="215"/>
                    <a:pt x="582" y="220"/>
                    <a:pt x="577" y="220"/>
                  </a:cubicBezTo>
                  <a:close/>
                  <a:moveTo>
                    <a:pt x="1096" y="209"/>
                  </a:moveTo>
                  <a:cubicBezTo>
                    <a:pt x="983" y="46"/>
                    <a:pt x="983" y="46"/>
                    <a:pt x="983" y="46"/>
                  </a:cubicBezTo>
                  <a:cubicBezTo>
                    <a:pt x="949" y="0"/>
                    <a:pt x="882" y="3"/>
                    <a:pt x="607" y="3"/>
                  </a:cubicBezTo>
                  <a:cubicBezTo>
                    <a:pt x="606" y="18"/>
                    <a:pt x="636" y="213"/>
                    <a:pt x="636" y="213"/>
                  </a:cubicBezTo>
                  <a:cubicBezTo>
                    <a:pt x="637" y="217"/>
                    <a:pt x="640" y="220"/>
                    <a:pt x="644" y="220"/>
                  </a:cubicBezTo>
                  <a:cubicBezTo>
                    <a:pt x="1084" y="220"/>
                    <a:pt x="1084" y="220"/>
                    <a:pt x="1084" y="220"/>
                  </a:cubicBezTo>
                  <a:cubicBezTo>
                    <a:pt x="1089" y="220"/>
                    <a:pt x="1099" y="213"/>
                    <a:pt x="1096" y="209"/>
                  </a:cubicBezTo>
                  <a:close/>
                  <a:moveTo>
                    <a:pt x="102" y="395"/>
                  </a:moveTo>
                  <a:cubicBezTo>
                    <a:pt x="46" y="395"/>
                    <a:pt x="0" y="441"/>
                    <a:pt x="0" y="497"/>
                  </a:cubicBezTo>
                  <a:cubicBezTo>
                    <a:pt x="0" y="553"/>
                    <a:pt x="46" y="599"/>
                    <a:pt x="102" y="599"/>
                  </a:cubicBezTo>
                  <a:cubicBezTo>
                    <a:pt x="158" y="599"/>
                    <a:pt x="204" y="553"/>
                    <a:pt x="204" y="497"/>
                  </a:cubicBezTo>
                  <a:cubicBezTo>
                    <a:pt x="204" y="441"/>
                    <a:pt x="158" y="395"/>
                    <a:pt x="102" y="395"/>
                  </a:cubicBezTo>
                  <a:close/>
                  <a:moveTo>
                    <a:pt x="1260" y="395"/>
                  </a:moveTo>
                  <a:cubicBezTo>
                    <a:pt x="1204" y="395"/>
                    <a:pt x="1158" y="441"/>
                    <a:pt x="1158" y="497"/>
                  </a:cubicBezTo>
                  <a:cubicBezTo>
                    <a:pt x="1158" y="553"/>
                    <a:pt x="1204" y="599"/>
                    <a:pt x="1260" y="599"/>
                  </a:cubicBezTo>
                  <a:cubicBezTo>
                    <a:pt x="1316" y="599"/>
                    <a:pt x="1362" y="553"/>
                    <a:pt x="1362" y="497"/>
                  </a:cubicBezTo>
                  <a:cubicBezTo>
                    <a:pt x="1362" y="441"/>
                    <a:pt x="1316" y="395"/>
                    <a:pt x="1260" y="395"/>
                  </a:cubicBezTo>
                  <a:close/>
                </a:path>
              </a:pathLst>
            </a:custGeom>
            <a:solidFill>
              <a:srgbClr val="403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769F830A-5DE1-41DD-936E-970E5F9E3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4" y="1382"/>
              <a:ext cx="3972" cy="1524"/>
            </a:xfrm>
            <a:custGeom>
              <a:avLst/>
              <a:gdLst>
                <a:gd name="T0" fmla="*/ 674 w 2120"/>
                <a:gd name="T1" fmla="*/ 622 h 813"/>
                <a:gd name="T2" fmla="*/ 1328 w 2120"/>
                <a:gd name="T3" fmla="*/ 625 h 813"/>
                <a:gd name="T4" fmla="*/ 1336 w 2120"/>
                <a:gd name="T5" fmla="*/ 669 h 813"/>
                <a:gd name="T6" fmla="*/ 667 w 2120"/>
                <a:gd name="T7" fmla="*/ 666 h 813"/>
                <a:gd name="T8" fmla="*/ 674 w 2120"/>
                <a:gd name="T9" fmla="*/ 622 h 813"/>
                <a:gd name="T10" fmla="*/ 1949 w 2120"/>
                <a:gd name="T11" fmla="*/ 314 h 813"/>
                <a:gd name="T12" fmla="*/ 1674 w 2120"/>
                <a:gd name="T13" fmla="*/ 293 h 813"/>
                <a:gd name="T14" fmla="*/ 1553 w 2120"/>
                <a:gd name="T15" fmla="*/ 284 h 813"/>
                <a:gd name="T16" fmla="*/ 1551 w 2120"/>
                <a:gd name="T17" fmla="*/ 284 h 813"/>
                <a:gd name="T18" fmla="*/ 1459 w 2120"/>
                <a:gd name="T19" fmla="*/ 190 h 813"/>
                <a:gd name="T20" fmla="*/ 1211 w 2120"/>
                <a:gd name="T21" fmla="*/ 10 h 813"/>
                <a:gd name="T22" fmla="*/ 658 w 2120"/>
                <a:gd name="T23" fmla="*/ 53 h 813"/>
                <a:gd name="T24" fmla="*/ 430 w 2120"/>
                <a:gd name="T25" fmla="*/ 289 h 813"/>
                <a:gd name="T26" fmla="*/ 146 w 2120"/>
                <a:gd name="T27" fmla="*/ 290 h 813"/>
                <a:gd name="T28" fmla="*/ 41 w 2120"/>
                <a:gd name="T29" fmla="*/ 445 h 813"/>
                <a:gd name="T30" fmla="*/ 1 w 2120"/>
                <a:gd name="T31" fmla="*/ 588 h 813"/>
                <a:gd name="T32" fmla="*/ 0 w 2120"/>
                <a:gd name="T33" fmla="*/ 594 h 813"/>
                <a:gd name="T34" fmla="*/ 75 w 2120"/>
                <a:gd name="T35" fmla="*/ 664 h 813"/>
                <a:gd name="T36" fmla="*/ 177 w 2120"/>
                <a:gd name="T37" fmla="*/ 664 h 813"/>
                <a:gd name="T38" fmla="*/ 170 w 2120"/>
                <a:gd name="T39" fmla="*/ 620 h 813"/>
                <a:gd name="T40" fmla="*/ 75 w 2120"/>
                <a:gd name="T41" fmla="*/ 620 h 813"/>
                <a:gd name="T42" fmla="*/ 45 w 2120"/>
                <a:gd name="T43" fmla="*/ 594 h 813"/>
                <a:gd name="T44" fmla="*/ 81 w 2120"/>
                <a:gd name="T45" fmla="*/ 464 h 813"/>
                <a:gd name="T46" fmla="*/ 146 w 2120"/>
                <a:gd name="T47" fmla="*/ 334 h 813"/>
                <a:gd name="T48" fmla="*/ 443 w 2120"/>
                <a:gd name="T49" fmla="*/ 333 h 813"/>
                <a:gd name="T50" fmla="*/ 462 w 2120"/>
                <a:gd name="T51" fmla="*/ 322 h 813"/>
                <a:gd name="T52" fmla="*/ 1210 w 2120"/>
                <a:gd name="T53" fmla="*/ 54 h 813"/>
                <a:gd name="T54" fmla="*/ 1422 w 2120"/>
                <a:gd name="T55" fmla="*/ 213 h 813"/>
                <a:gd name="T56" fmla="*/ 1546 w 2120"/>
                <a:gd name="T57" fmla="*/ 328 h 813"/>
                <a:gd name="T58" fmla="*/ 1672 w 2120"/>
                <a:gd name="T59" fmla="*/ 337 h 813"/>
                <a:gd name="T60" fmla="*/ 1925 w 2120"/>
                <a:gd name="T61" fmla="*/ 356 h 813"/>
                <a:gd name="T62" fmla="*/ 2075 w 2120"/>
                <a:gd name="T63" fmla="*/ 384 h 813"/>
                <a:gd name="T64" fmla="*/ 1959 w 2120"/>
                <a:gd name="T65" fmla="*/ 627 h 813"/>
                <a:gd name="T66" fmla="*/ 1831 w 2120"/>
                <a:gd name="T67" fmla="*/ 627 h 813"/>
                <a:gd name="T68" fmla="*/ 1823 w 2120"/>
                <a:gd name="T69" fmla="*/ 671 h 813"/>
                <a:gd name="T70" fmla="*/ 1968 w 2120"/>
                <a:gd name="T71" fmla="*/ 671 h 813"/>
                <a:gd name="T72" fmla="*/ 2010 w 2120"/>
                <a:gd name="T73" fmla="*/ 633 h 813"/>
                <a:gd name="T74" fmla="*/ 2055 w 2120"/>
                <a:gd name="T75" fmla="*/ 560 h 813"/>
                <a:gd name="T76" fmla="*/ 2120 w 2120"/>
                <a:gd name="T77" fmla="*/ 378 h 813"/>
                <a:gd name="T78" fmla="*/ 1949 w 2120"/>
                <a:gd name="T79" fmla="*/ 314 h 813"/>
                <a:gd name="T80" fmla="*/ 630 w 2120"/>
                <a:gd name="T81" fmla="*/ 605 h 813"/>
                <a:gd name="T82" fmla="*/ 422 w 2120"/>
                <a:gd name="T83" fmla="*/ 397 h 813"/>
                <a:gd name="T84" fmla="*/ 214 w 2120"/>
                <a:gd name="T85" fmla="*/ 605 h 813"/>
                <a:gd name="T86" fmla="*/ 422 w 2120"/>
                <a:gd name="T87" fmla="*/ 813 h 813"/>
                <a:gd name="T88" fmla="*/ 630 w 2120"/>
                <a:gd name="T89" fmla="*/ 605 h 813"/>
                <a:gd name="T90" fmla="*/ 559 w 2120"/>
                <a:gd name="T91" fmla="*/ 605 h 813"/>
                <a:gd name="T92" fmla="*/ 422 w 2120"/>
                <a:gd name="T93" fmla="*/ 742 h 813"/>
                <a:gd name="T94" fmla="*/ 285 w 2120"/>
                <a:gd name="T95" fmla="*/ 605 h 813"/>
                <a:gd name="T96" fmla="*/ 422 w 2120"/>
                <a:gd name="T97" fmla="*/ 468 h 813"/>
                <a:gd name="T98" fmla="*/ 559 w 2120"/>
                <a:gd name="T99" fmla="*/ 605 h 813"/>
                <a:gd name="T100" fmla="*/ 1788 w 2120"/>
                <a:gd name="T101" fmla="*/ 605 h 813"/>
                <a:gd name="T102" fmla="*/ 1580 w 2120"/>
                <a:gd name="T103" fmla="*/ 397 h 813"/>
                <a:gd name="T104" fmla="*/ 1372 w 2120"/>
                <a:gd name="T105" fmla="*/ 605 h 813"/>
                <a:gd name="T106" fmla="*/ 1580 w 2120"/>
                <a:gd name="T107" fmla="*/ 813 h 813"/>
                <a:gd name="T108" fmla="*/ 1788 w 2120"/>
                <a:gd name="T109" fmla="*/ 605 h 813"/>
                <a:gd name="T110" fmla="*/ 1717 w 2120"/>
                <a:gd name="T111" fmla="*/ 605 h 813"/>
                <a:gd name="T112" fmla="*/ 1580 w 2120"/>
                <a:gd name="T113" fmla="*/ 742 h 813"/>
                <a:gd name="T114" fmla="*/ 1443 w 2120"/>
                <a:gd name="T115" fmla="*/ 605 h 813"/>
                <a:gd name="T116" fmla="*/ 1580 w 2120"/>
                <a:gd name="T117" fmla="*/ 468 h 813"/>
                <a:gd name="T118" fmla="*/ 1717 w 2120"/>
                <a:gd name="T119" fmla="*/ 605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20" h="813">
                  <a:moveTo>
                    <a:pt x="674" y="622"/>
                  </a:moveTo>
                  <a:cubicBezTo>
                    <a:pt x="1328" y="625"/>
                    <a:pt x="1328" y="625"/>
                    <a:pt x="1328" y="625"/>
                  </a:cubicBezTo>
                  <a:cubicBezTo>
                    <a:pt x="1330" y="640"/>
                    <a:pt x="1332" y="655"/>
                    <a:pt x="1336" y="669"/>
                  </a:cubicBezTo>
                  <a:cubicBezTo>
                    <a:pt x="667" y="666"/>
                    <a:pt x="667" y="666"/>
                    <a:pt x="667" y="666"/>
                  </a:cubicBezTo>
                  <a:cubicBezTo>
                    <a:pt x="670" y="652"/>
                    <a:pt x="673" y="637"/>
                    <a:pt x="674" y="622"/>
                  </a:cubicBezTo>
                  <a:close/>
                  <a:moveTo>
                    <a:pt x="1949" y="314"/>
                  </a:moveTo>
                  <a:cubicBezTo>
                    <a:pt x="1863" y="304"/>
                    <a:pt x="1758" y="298"/>
                    <a:pt x="1674" y="293"/>
                  </a:cubicBezTo>
                  <a:cubicBezTo>
                    <a:pt x="1617" y="290"/>
                    <a:pt x="1568" y="287"/>
                    <a:pt x="1553" y="284"/>
                  </a:cubicBezTo>
                  <a:cubicBezTo>
                    <a:pt x="1552" y="284"/>
                    <a:pt x="1552" y="284"/>
                    <a:pt x="1551" y="284"/>
                  </a:cubicBezTo>
                  <a:cubicBezTo>
                    <a:pt x="1516" y="280"/>
                    <a:pt x="1490" y="239"/>
                    <a:pt x="1459" y="190"/>
                  </a:cubicBezTo>
                  <a:cubicBezTo>
                    <a:pt x="1410" y="112"/>
                    <a:pt x="1349" y="15"/>
                    <a:pt x="1211" y="10"/>
                  </a:cubicBezTo>
                  <a:cubicBezTo>
                    <a:pt x="910" y="0"/>
                    <a:pt x="760" y="12"/>
                    <a:pt x="658" y="53"/>
                  </a:cubicBezTo>
                  <a:cubicBezTo>
                    <a:pt x="549" y="97"/>
                    <a:pt x="496" y="175"/>
                    <a:pt x="430" y="289"/>
                  </a:cubicBezTo>
                  <a:cubicBezTo>
                    <a:pt x="380" y="289"/>
                    <a:pt x="200" y="290"/>
                    <a:pt x="146" y="290"/>
                  </a:cubicBezTo>
                  <a:cubicBezTo>
                    <a:pt x="121" y="290"/>
                    <a:pt x="86" y="307"/>
                    <a:pt x="41" y="445"/>
                  </a:cubicBezTo>
                  <a:cubicBezTo>
                    <a:pt x="17" y="516"/>
                    <a:pt x="2" y="585"/>
                    <a:pt x="1" y="588"/>
                  </a:cubicBezTo>
                  <a:cubicBezTo>
                    <a:pt x="0" y="590"/>
                    <a:pt x="0" y="592"/>
                    <a:pt x="0" y="594"/>
                  </a:cubicBezTo>
                  <a:cubicBezTo>
                    <a:pt x="3" y="633"/>
                    <a:pt x="36" y="664"/>
                    <a:pt x="75" y="664"/>
                  </a:cubicBezTo>
                  <a:cubicBezTo>
                    <a:pt x="177" y="664"/>
                    <a:pt x="177" y="664"/>
                    <a:pt x="177" y="664"/>
                  </a:cubicBezTo>
                  <a:cubicBezTo>
                    <a:pt x="173" y="650"/>
                    <a:pt x="171" y="635"/>
                    <a:pt x="170" y="620"/>
                  </a:cubicBezTo>
                  <a:cubicBezTo>
                    <a:pt x="75" y="620"/>
                    <a:pt x="75" y="620"/>
                    <a:pt x="75" y="620"/>
                  </a:cubicBezTo>
                  <a:cubicBezTo>
                    <a:pt x="60" y="620"/>
                    <a:pt x="47" y="609"/>
                    <a:pt x="45" y="594"/>
                  </a:cubicBezTo>
                  <a:cubicBezTo>
                    <a:pt x="48" y="580"/>
                    <a:pt x="62" y="522"/>
                    <a:pt x="81" y="464"/>
                  </a:cubicBezTo>
                  <a:cubicBezTo>
                    <a:pt x="121" y="340"/>
                    <a:pt x="146" y="334"/>
                    <a:pt x="146" y="334"/>
                  </a:cubicBezTo>
                  <a:cubicBezTo>
                    <a:pt x="208" y="334"/>
                    <a:pt x="441" y="333"/>
                    <a:pt x="443" y="333"/>
                  </a:cubicBezTo>
                  <a:cubicBezTo>
                    <a:pt x="451" y="333"/>
                    <a:pt x="458" y="329"/>
                    <a:pt x="462" y="322"/>
                  </a:cubicBezTo>
                  <a:cubicBezTo>
                    <a:pt x="594" y="90"/>
                    <a:pt x="647" y="36"/>
                    <a:pt x="1210" y="54"/>
                  </a:cubicBezTo>
                  <a:cubicBezTo>
                    <a:pt x="1324" y="58"/>
                    <a:pt x="1376" y="141"/>
                    <a:pt x="1422" y="213"/>
                  </a:cubicBezTo>
                  <a:cubicBezTo>
                    <a:pt x="1457" y="269"/>
                    <a:pt x="1490" y="321"/>
                    <a:pt x="1546" y="328"/>
                  </a:cubicBezTo>
                  <a:cubicBezTo>
                    <a:pt x="1564" y="331"/>
                    <a:pt x="1610" y="334"/>
                    <a:pt x="1672" y="337"/>
                  </a:cubicBezTo>
                  <a:cubicBezTo>
                    <a:pt x="1748" y="342"/>
                    <a:pt x="1844" y="347"/>
                    <a:pt x="1925" y="356"/>
                  </a:cubicBezTo>
                  <a:cubicBezTo>
                    <a:pt x="2035" y="367"/>
                    <a:pt x="2067" y="379"/>
                    <a:pt x="2075" y="384"/>
                  </a:cubicBezTo>
                  <a:cubicBezTo>
                    <a:pt x="2071" y="461"/>
                    <a:pt x="1984" y="598"/>
                    <a:pt x="1959" y="627"/>
                  </a:cubicBezTo>
                  <a:cubicBezTo>
                    <a:pt x="1831" y="627"/>
                    <a:pt x="1831" y="627"/>
                    <a:pt x="1831" y="627"/>
                  </a:cubicBezTo>
                  <a:cubicBezTo>
                    <a:pt x="1830" y="642"/>
                    <a:pt x="1827" y="657"/>
                    <a:pt x="1823" y="671"/>
                  </a:cubicBezTo>
                  <a:cubicBezTo>
                    <a:pt x="1968" y="671"/>
                    <a:pt x="1968" y="671"/>
                    <a:pt x="1968" y="671"/>
                  </a:cubicBezTo>
                  <a:cubicBezTo>
                    <a:pt x="1979" y="671"/>
                    <a:pt x="1986" y="666"/>
                    <a:pt x="2010" y="633"/>
                  </a:cubicBezTo>
                  <a:cubicBezTo>
                    <a:pt x="2025" y="612"/>
                    <a:pt x="2041" y="586"/>
                    <a:pt x="2055" y="560"/>
                  </a:cubicBezTo>
                  <a:cubicBezTo>
                    <a:pt x="2084" y="508"/>
                    <a:pt x="2120" y="434"/>
                    <a:pt x="2120" y="378"/>
                  </a:cubicBezTo>
                  <a:cubicBezTo>
                    <a:pt x="2120" y="345"/>
                    <a:pt x="2077" y="329"/>
                    <a:pt x="1949" y="314"/>
                  </a:cubicBezTo>
                  <a:close/>
                  <a:moveTo>
                    <a:pt x="630" y="605"/>
                  </a:moveTo>
                  <a:cubicBezTo>
                    <a:pt x="630" y="490"/>
                    <a:pt x="537" y="397"/>
                    <a:pt x="422" y="397"/>
                  </a:cubicBezTo>
                  <a:cubicBezTo>
                    <a:pt x="307" y="397"/>
                    <a:pt x="214" y="490"/>
                    <a:pt x="214" y="605"/>
                  </a:cubicBezTo>
                  <a:cubicBezTo>
                    <a:pt x="214" y="720"/>
                    <a:pt x="307" y="813"/>
                    <a:pt x="422" y="813"/>
                  </a:cubicBezTo>
                  <a:cubicBezTo>
                    <a:pt x="537" y="813"/>
                    <a:pt x="630" y="720"/>
                    <a:pt x="630" y="605"/>
                  </a:cubicBezTo>
                  <a:close/>
                  <a:moveTo>
                    <a:pt x="559" y="605"/>
                  </a:moveTo>
                  <a:cubicBezTo>
                    <a:pt x="559" y="681"/>
                    <a:pt x="497" y="742"/>
                    <a:pt x="422" y="742"/>
                  </a:cubicBezTo>
                  <a:cubicBezTo>
                    <a:pt x="347" y="742"/>
                    <a:pt x="285" y="681"/>
                    <a:pt x="285" y="605"/>
                  </a:cubicBezTo>
                  <a:cubicBezTo>
                    <a:pt x="285" y="530"/>
                    <a:pt x="347" y="468"/>
                    <a:pt x="422" y="468"/>
                  </a:cubicBezTo>
                  <a:cubicBezTo>
                    <a:pt x="497" y="468"/>
                    <a:pt x="559" y="530"/>
                    <a:pt x="559" y="605"/>
                  </a:cubicBezTo>
                  <a:close/>
                  <a:moveTo>
                    <a:pt x="1788" y="605"/>
                  </a:moveTo>
                  <a:cubicBezTo>
                    <a:pt x="1788" y="490"/>
                    <a:pt x="1695" y="397"/>
                    <a:pt x="1580" y="397"/>
                  </a:cubicBezTo>
                  <a:cubicBezTo>
                    <a:pt x="1465" y="397"/>
                    <a:pt x="1372" y="490"/>
                    <a:pt x="1372" y="605"/>
                  </a:cubicBezTo>
                  <a:cubicBezTo>
                    <a:pt x="1372" y="720"/>
                    <a:pt x="1465" y="813"/>
                    <a:pt x="1580" y="813"/>
                  </a:cubicBezTo>
                  <a:cubicBezTo>
                    <a:pt x="1695" y="813"/>
                    <a:pt x="1788" y="720"/>
                    <a:pt x="1788" y="605"/>
                  </a:cubicBezTo>
                  <a:close/>
                  <a:moveTo>
                    <a:pt x="1717" y="605"/>
                  </a:moveTo>
                  <a:cubicBezTo>
                    <a:pt x="1717" y="681"/>
                    <a:pt x="1655" y="742"/>
                    <a:pt x="1580" y="742"/>
                  </a:cubicBezTo>
                  <a:cubicBezTo>
                    <a:pt x="1504" y="742"/>
                    <a:pt x="1443" y="681"/>
                    <a:pt x="1443" y="605"/>
                  </a:cubicBezTo>
                  <a:cubicBezTo>
                    <a:pt x="1443" y="530"/>
                    <a:pt x="1504" y="468"/>
                    <a:pt x="1580" y="468"/>
                  </a:cubicBezTo>
                  <a:cubicBezTo>
                    <a:pt x="1655" y="468"/>
                    <a:pt x="1717" y="530"/>
                    <a:pt x="1717" y="605"/>
                  </a:cubicBezTo>
                  <a:close/>
                </a:path>
              </a:pathLst>
            </a:custGeom>
            <a:solidFill>
              <a:srgbClr val="160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49" name="Straight Connector 48"/>
          <p:cNvCxnSpPr/>
          <p:nvPr/>
        </p:nvCxnSpPr>
        <p:spPr>
          <a:xfrm rot="5400000">
            <a:off x="2670676" y="3500653"/>
            <a:ext cx="0" cy="404238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rot="5400000">
            <a:off x="8289963" y="2248460"/>
            <a:ext cx="0" cy="654677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Picture 53">
            <a:extLst>
              <a:ext uri="{FF2B5EF4-FFF2-40B4-BE49-F238E27FC236}">
                <a16:creationId xmlns:a16="http://schemas.microsoft.com/office/drawing/2014/main" id="{547A9337-C09F-4D8B-98E6-9B9DC6E451E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1F1450"/>
              </a:clrFrom>
              <a:clrTo>
                <a:srgbClr val="1F145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7556" y="217461"/>
            <a:ext cx="1245794" cy="259876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0C81AF93-D587-4850-9D00-DED78BB940C8}"/>
              </a:ext>
            </a:extLst>
          </p:cNvPr>
          <p:cNvSpPr/>
          <p:nvPr/>
        </p:nvSpPr>
        <p:spPr>
          <a:xfrm>
            <a:off x="1326784" y="5905144"/>
            <a:ext cx="3365085" cy="58169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rgbClr val="00269E"/>
                </a:solidFill>
                <a:cs typeface="Henderson BCG Sans" panose="020B0502030402020204" pitchFamily="34" charset="0"/>
              </a:rPr>
              <a:t>To learn more about this opportunity please visit CommCorp’s website at: </a:t>
            </a: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commcorp.org/available-funding 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31ADEE8-B342-4A50-9360-6FE57EC70803}"/>
              </a:ext>
            </a:extLst>
          </p:cNvPr>
          <p:cNvGrpSpPr/>
          <p:nvPr/>
        </p:nvGrpSpPr>
        <p:grpSpPr>
          <a:xfrm>
            <a:off x="670158" y="5947745"/>
            <a:ext cx="504159" cy="496562"/>
            <a:chOff x="1" y="8180427"/>
            <a:chExt cx="800099" cy="771525"/>
          </a:xfrm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2628A5B-DE75-4633-B39F-C81D927A9372}"/>
                </a:ext>
              </a:extLst>
            </p:cNvPr>
            <p:cNvSpPr/>
            <p:nvPr/>
          </p:nvSpPr>
          <p:spPr>
            <a:xfrm>
              <a:off x="1" y="8180427"/>
              <a:ext cx="800099" cy="771525"/>
            </a:xfrm>
            <a:prstGeom prst="rect">
              <a:avLst/>
            </a:prstGeom>
            <a:solidFill>
              <a:srgbClr val="001C76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Karla" pitchFamily="2" charset="0"/>
              </a:endParaRP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F62AAEB7-4C2C-4460-94F1-9145F85CE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3825" y="8289965"/>
              <a:ext cx="552450" cy="552450"/>
            </a:xfrm>
            <a:prstGeom prst="rect">
              <a:avLst/>
            </a:prstGeom>
          </p:spPr>
        </p:pic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0EF40611-2D4D-45B9-BD56-2AC9E84C4AFC}"/>
              </a:ext>
            </a:extLst>
          </p:cNvPr>
          <p:cNvSpPr txBox="1"/>
          <p:nvPr/>
        </p:nvSpPr>
        <p:spPr>
          <a:xfrm>
            <a:off x="5016572" y="5829643"/>
            <a:ext cx="3101388" cy="6647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Are you interested in hiring talent?</a:t>
            </a:r>
          </a:p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Reach out to your local Masshire Career Center or visit the talent access portal at </a:t>
            </a:r>
            <a:r>
              <a:rPr lang="en-US" sz="1200" b="1">
                <a:solidFill>
                  <a:srgbClr val="000000"/>
                </a:solidFill>
                <a:cs typeface="Henderson BCG Sans" panose="020B0502030402020204" pitchFamily="34" charset="0"/>
              </a:rPr>
              <a:t>https://commcorp.softr.io</a:t>
            </a:r>
            <a:endParaRPr lang="en-US" sz="1200">
              <a:solidFill>
                <a:srgbClr val="000000"/>
              </a:solidFill>
              <a:cs typeface="Henderson BCG Sans" panose="020B05020304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F540DE8-5D1D-4167-AC2D-95E1FD5CBC43}"/>
              </a:ext>
            </a:extLst>
          </p:cNvPr>
          <p:cNvSpPr txBox="1"/>
          <p:nvPr/>
        </p:nvSpPr>
        <p:spPr>
          <a:xfrm>
            <a:off x="8461959" y="5829643"/>
            <a:ext cx="3101388" cy="6647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269E"/>
                </a:solidFill>
                <a:cs typeface="Henderson BCG Sans" panose="020B0502030402020204" pitchFamily="34" charset="0"/>
              </a:rPr>
              <a:t>*If you are interested in recruiting for an occupation not listed here, please reach out to a CommCorp representative at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commcorp.org/cbe/contact/ </a:t>
            </a:r>
          </a:p>
        </p:txBody>
      </p:sp>
    </p:spTree>
    <p:extLst>
      <p:ext uri="{BB962C8B-B14F-4D97-AF65-F5344CB8AC3E}">
        <p14:creationId xmlns:p14="http://schemas.microsoft.com/office/powerpoint/2010/main" val="393105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5" name="Picture 54" descr="A person and person shaking hands&#10;&#10;Description automatically generated with low confidence">
            <a:extLst>
              <a:ext uri="{FF2B5EF4-FFF2-40B4-BE49-F238E27FC236}">
                <a16:creationId xmlns:a16="http://schemas.microsoft.com/office/drawing/2014/main" id="{DB688C61-C9D3-4DA4-9DC0-B23C121AF1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1665364"/>
          </a:xfrm>
          <a:prstGeom prst="rect">
            <a:avLst/>
          </a:prstGeom>
        </p:spPr>
      </p:pic>
      <p:sp>
        <p:nvSpPr>
          <p:cNvPr id="56" name="GradientOverlay"/>
          <p:cNvSpPr/>
          <p:nvPr>
            <p:custDataLst>
              <p:tags r:id="rId2"/>
            </p:custDataLst>
          </p:nvPr>
        </p:nvSpPr>
        <p:spPr>
          <a:xfrm flipH="1">
            <a:off x="0" y="0"/>
            <a:ext cx="12192000" cy="1665363"/>
          </a:xfrm>
          <a:prstGeom prst="rect">
            <a:avLst/>
          </a:prstGeom>
          <a:solidFill>
            <a:srgbClr val="000000">
              <a:alpha val="6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600">
              <a:solidFill>
                <a:schemeClr val="bg1"/>
              </a:solidFill>
              <a:latin typeface="Karla" pitchFamily="2" charset="0"/>
              <a:sym typeface="+mn-lt"/>
            </a:endParaRPr>
          </a:p>
        </p:txBody>
      </p:sp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713445" y="1817297"/>
            <a:ext cx="4064484" cy="37087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Industries are facing the dual challenge of finding skilled talent in a tight labor market and ensuring the development of a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diverse and equitable workforce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.</a:t>
            </a:r>
          </a:p>
          <a:p>
            <a:pPr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The Workforce Skills Cabinet and Commonwealth Corporation have launched RENEW to reduce this fiction by funding to develop programs that will train workers to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address employers' hiring needs and help companies meet their diversity hiring goals</a:t>
            </a:r>
            <a:r>
              <a:rPr lang="en-US" sz="1200" b="1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.</a:t>
            </a:r>
            <a:endParaRPr lang="en-US" sz="1200">
              <a:solidFill>
                <a:srgbClr val="000000"/>
              </a:solidFill>
              <a:latin typeface="Karla" pitchFamily="2" charset="0"/>
              <a:cs typeface="Henderson BCG Sans" panose="020B0502030402020204" pitchFamily="34" charset="0"/>
            </a:endParaRPr>
          </a:p>
          <a:p>
            <a:pPr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The program is designed to bridge the gap between employers and local training providers with the goal of establishing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sustainable talent development pipelines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. Within these partnerships employers will provide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input into curriculum design, 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specify the types of workers they need help recruiting, and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pay upon completion of training and job placement.</a:t>
            </a:r>
            <a:endParaRPr lang="en-US" sz="1200">
              <a:solidFill>
                <a:srgbClr val="000000"/>
              </a:solidFill>
              <a:latin typeface="Karla" pitchFamily="2" charset="0"/>
              <a:cs typeface="Henderson BCG Sans" panose="020B0502030402020204" pitchFamily="34" charset="0"/>
            </a:endParaRPr>
          </a:p>
          <a:p>
            <a:pPr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In addition to funding, partnerships will receive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technical assistance and recruiting support 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from </a:t>
            </a:r>
            <a:r>
              <a:rPr lang="en-US" sz="1200" err="1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MassHire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 Career Centers and regional workforce boards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D53AFE9-5161-4534-A466-F27332331FFD}"/>
              </a:ext>
            </a:extLst>
          </p:cNvPr>
          <p:cNvSpPr txBox="1"/>
          <p:nvPr/>
        </p:nvSpPr>
        <p:spPr>
          <a:xfrm>
            <a:off x="5016572" y="1817297"/>
            <a:ext cx="6546776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00269E"/>
                </a:solidFill>
                <a:cs typeface="Henderson BCG Sans" panose="020B0502030402020204" pitchFamily="34" charset="0"/>
              </a:rPr>
              <a:t>The state of Massachusetts has identified six priority industries*</a:t>
            </a:r>
          </a:p>
        </p:txBody>
      </p:sp>
      <p:cxnSp>
        <p:nvCxnSpPr>
          <p:cNvPr id="70" name="Straight Connector 69"/>
          <p:cNvCxnSpPr/>
          <p:nvPr/>
        </p:nvCxnSpPr>
        <p:spPr>
          <a:xfrm>
            <a:off x="4854221" y="1817297"/>
            <a:ext cx="0" cy="460067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439" y="2152591"/>
            <a:ext cx="2818358" cy="150810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defTabSz="777240" fontAlgn="b"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Healthcare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ertified Nursing Assistant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ome Health Aid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Pharmacy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Medical Clinical Lab Tech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Medical Records/Health Info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Substance Abuse &amp; Behavioral </a:t>
            </a:r>
            <a:b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</a:b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Disorder Counselor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550" y="3737660"/>
            <a:ext cx="2818358" cy="113877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Information Technology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Web Develope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omputer User Support Specialist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omputer Network Support Administrato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Information Security Analyst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550" y="4953396"/>
            <a:ext cx="2818358" cy="400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Transportation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eavy and Tractor-Trailer Truck Drive</a:t>
            </a:r>
            <a:r>
              <a:rPr lang="en-US" sz="1200">
                <a:solidFill>
                  <a:srgbClr val="160E38"/>
                </a:solidFill>
                <a:cs typeface="Henderson BCG Sans" panose="020B0502030402020204" pitchFamily="34" charset="0"/>
              </a:rPr>
              <a:t>r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8744989" y="2152591"/>
            <a:ext cx="2818358" cy="132343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Finance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ustomer Service Agent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Telle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Loan Officers (incld., Mortgage)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Loan Interviewer and Clerk</a:t>
            </a:r>
            <a:b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</a:b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(Loan Processor, Specialist, etc.)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redit Analyst</a:t>
            </a:r>
          </a:p>
        </p:txBody>
      </p:sp>
      <p:cxnSp>
        <p:nvCxnSpPr>
          <p:cNvPr id="76" name="Straight Connector 75"/>
          <p:cNvCxnSpPr/>
          <p:nvPr/>
        </p:nvCxnSpPr>
        <p:spPr>
          <a:xfrm rot="5400000">
            <a:off x="2670676" y="3500653"/>
            <a:ext cx="0" cy="4042389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 rot="5400000">
            <a:off x="8289963" y="2248460"/>
            <a:ext cx="0" cy="654677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8744989" y="3532157"/>
            <a:ext cx="2818358" cy="9541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Construction/Skilled Trade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VAC Mechanics and Installer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Automotive Service Tech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Electrician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Plumber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RENEW Demonstration Initiative</a:t>
            </a:r>
            <a:endParaRPr lang="en-US">
              <a:solidFill>
                <a:schemeClr val="bg1"/>
              </a:solidFill>
              <a:latin typeface="+mn-lt"/>
              <a:cs typeface="Henderson BCG Sans" panose="020B05020304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7A738CC-2037-4B21-87C9-B1C7A5CA5ED1}"/>
              </a:ext>
            </a:extLst>
          </p:cNvPr>
          <p:cNvSpPr/>
          <p:nvPr/>
        </p:nvSpPr>
        <p:spPr>
          <a:xfrm>
            <a:off x="8461960" y="1211748"/>
            <a:ext cx="3101388" cy="367166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b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RELEASE DATE: OCTOBER 22</a:t>
            </a:r>
            <a:r>
              <a:rPr lang="en-US" sz="1200" baseline="300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nd</a:t>
            </a:r>
            <a:r>
              <a:rPr lang="en-US" sz="12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 </a:t>
            </a:r>
            <a:br>
              <a:rPr lang="en-US" sz="1200" baseline="300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</a:br>
            <a:r>
              <a:rPr lang="en-US" sz="12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RESPONSES DUE: ONGOING</a:t>
            </a:r>
          </a:p>
        </p:txBody>
      </p:sp>
      <p:grpSp>
        <p:nvGrpSpPr>
          <p:cNvPr id="24" name="Group 23"/>
          <p:cNvGrpSpPr>
            <a:grpSpLocks noChangeAspect="1"/>
          </p:cNvGrpSpPr>
          <p:nvPr/>
        </p:nvGrpSpPr>
        <p:grpSpPr>
          <a:xfrm>
            <a:off x="5016572" y="2152591"/>
            <a:ext cx="362227" cy="362562"/>
            <a:chOff x="5273801" y="2606040"/>
            <a:chExt cx="1644397" cy="1645920"/>
          </a:xfrm>
        </p:grpSpPr>
        <p:sp>
          <p:nvSpPr>
            <p:cNvPr id="25" name="AutoShape 80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7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439917" y="2787396"/>
              <a:ext cx="1310641" cy="1281684"/>
              <a:chOff x="5439917" y="2787396"/>
              <a:chExt cx="1310641" cy="1281684"/>
            </a:xfrm>
          </p:grpSpPr>
          <p:sp>
            <p:nvSpPr>
              <p:cNvPr id="27" name="Freeform 82"/>
              <p:cNvSpPr>
                <a:spLocks noEditPoints="1"/>
              </p:cNvSpPr>
              <p:nvPr/>
            </p:nvSpPr>
            <p:spPr bwMode="auto">
              <a:xfrm>
                <a:off x="5439917" y="2787396"/>
                <a:ext cx="1310641" cy="1281684"/>
              </a:xfrm>
              <a:custGeom>
                <a:avLst/>
                <a:gdLst>
                  <a:gd name="T0" fmla="*/ 1178 w 1836"/>
                  <a:gd name="T1" fmla="*/ 409 h 1794"/>
                  <a:gd name="T2" fmla="*/ 1211 w 1836"/>
                  <a:gd name="T3" fmla="*/ 428 h 1794"/>
                  <a:gd name="T4" fmla="*/ 1786 w 1836"/>
                  <a:gd name="T5" fmla="*/ 695 h 1794"/>
                  <a:gd name="T6" fmla="*/ 1470 w 1836"/>
                  <a:gd name="T7" fmla="*/ 916 h 1794"/>
                  <a:gd name="T8" fmla="*/ 1527 w 1836"/>
                  <a:gd name="T9" fmla="*/ 1548 h 1794"/>
                  <a:gd name="T10" fmla="*/ 1200 w 1836"/>
                  <a:gd name="T11" fmla="*/ 1363 h 1794"/>
                  <a:gd name="T12" fmla="*/ 1177 w 1836"/>
                  <a:gd name="T13" fmla="*/ 1750 h 1794"/>
                  <a:gd name="T14" fmla="*/ 658 w 1836"/>
                  <a:gd name="T15" fmla="*/ 1385 h 1794"/>
                  <a:gd name="T16" fmla="*/ 625 w 1836"/>
                  <a:gd name="T17" fmla="*/ 1366 h 1794"/>
                  <a:gd name="T18" fmla="*/ 50 w 1836"/>
                  <a:gd name="T19" fmla="*/ 1099 h 1794"/>
                  <a:gd name="T20" fmla="*/ 366 w 1836"/>
                  <a:gd name="T21" fmla="*/ 878 h 1794"/>
                  <a:gd name="T22" fmla="*/ 309 w 1836"/>
                  <a:gd name="T23" fmla="*/ 246 h 1794"/>
                  <a:gd name="T24" fmla="*/ 636 w 1836"/>
                  <a:gd name="T25" fmla="*/ 431 h 1794"/>
                  <a:gd name="T26" fmla="*/ 659 w 1836"/>
                  <a:gd name="T27" fmla="*/ 44 h 1794"/>
                  <a:gd name="T28" fmla="*/ 1177 w 1836"/>
                  <a:gd name="T29" fmla="*/ 0 h 1794"/>
                  <a:gd name="T30" fmla="*/ 615 w 1836"/>
                  <a:gd name="T31" fmla="*/ 44 h 1794"/>
                  <a:gd name="T32" fmla="*/ 331 w 1836"/>
                  <a:gd name="T33" fmla="*/ 208 h 1794"/>
                  <a:gd name="T34" fmla="*/ 271 w 1836"/>
                  <a:gd name="T35" fmla="*/ 224 h 1794"/>
                  <a:gd name="T36" fmla="*/ 28 w 1836"/>
                  <a:gd name="T37" fmla="*/ 733 h 1794"/>
                  <a:gd name="T38" fmla="*/ 28 w 1836"/>
                  <a:gd name="T39" fmla="*/ 1061 h 1794"/>
                  <a:gd name="T40" fmla="*/ 271 w 1836"/>
                  <a:gd name="T41" fmla="*/ 1570 h 1794"/>
                  <a:gd name="T42" fmla="*/ 331 w 1836"/>
                  <a:gd name="T43" fmla="*/ 1586 h 1794"/>
                  <a:gd name="T44" fmla="*/ 615 w 1836"/>
                  <a:gd name="T45" fmla="*/ 1750 h 1794"/>
                  <a:gd name="T46" fmla="*/ 1177 w 1836"/>
                  <a:gd name="T47" fmla="*/ 1794 h 1794"/>
                  <a:gd name="T48" fmla="*/ 1222 w 1836"/>
                  <a:gd name="T49" fmla="*/ 1423 h 1794"/>
                  <a:gd name="T50" fmla="*/ 1527 w 1836"/>
                  <a:gd name="T51" fmla="*/ 1592 h 1794"/>
                  <a:gd name="T52" fmla="*/ 1824 w 1836"/>
                  <a:gd name="T53" fmla="*/ 1121 h 1794"/>
                  <a:gd name="T54" fmla="*/ 1525 w 1836"/>
                  <a:gd name="T55" fmla="*/ 897 h 1794"/>
                  <a:gd name="T56" fmla="*/ 1824 w 1836"/>
                  <a:gd name="T57" fmla="*/ 673 h 1794"/>
                  <a:gd name="T58" fmla="*/ 1527 w 1836"/>
                  <a:gd name="T59" fmla="*/ 202 h 1794"/>
                  <a:gd name="T60" fmla="*/ 1222 w 1836"/>
                  <a:gd name="T61" fmla="*/ 371 h 1794"/>
                  <a:gd name="T62" fmla="*/ 1177 w 1836"/>
                  <a:gd name="T63" fmla="*/ 0 h 1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36" h="1794">
                    <a:moveTo>
                      <a:pt x="1177" y="44"/>
                    </a:moveTo>
                    <a:cubicBezTo>
                      <a:pt x="1177" y="44"/>
                      <a:pt x="1178" y="309"/>
                      <a:pt x="1178" y="409"/>
                    </a:cubicBezTo>
                    <a:cubicBezTo>
                      <a:pt x="1178" y="422"/>
                      <a:pt x="1188" y="431"/>
                      <a:pt x="1200" y="431"/>
                    </a:cubicBezTo>
                    <a:cubicBezTo>
                      <a:pt x="1203" y="431"/>
                      <a:pt x="1207" y="430"/>
                      <a:pt x="1211" y="428"/>
                    </a:cubicBezTo>
                    <a:cubicBezTo>
                      <a:pt x="1298" y="378"/>
                      <a:pt x="1527" y="246"/>
                      <a:pt x="1527" y="246"/>
                    </a:cubicBezTo>
                    <a:cubicBezTo>
                      <a:pt x="1786" y="695"/>
                      <a:pt x="1786" y="695"/>
                      <a:pt x="1786" y="695"/>
                    </a:cubicBezTo>
                    <a:cubicBezTo>
                      <a:pt x="1786" y="695"/>
                      <a:pt x="1557" y="828"/>
                      <a:pt x="1470" y="878"/>
                    </a:cubicBezTo>
                    <a:cubicBezTo>
                      <a:pt x="1456" y="886"/>
                      <a:pt x="1456" y="908"/>
                      <a:pt x="1470" y="916"/>
                    </a:cubicBezTo>
                    <a:cubicBezTo>
                      <a:pt x="1557" y="966"/>
                      <a:pt x="1786" y="1099"/>
                      <a:pt x="1786" y="1099"/>
                    </a:cubicBezTo>
                    <a:cubicBezTo>
                      <a:pt x="1527" y="1548"/>
                      <a:pt x="1527" y="1548"/>
                      <a:pt x="1527" y="1548"/>
                    </a:cubicBezTo>
                    <a:cubicBezTo>
                      <a:pt x="1527" y="1548"/>
                      <a:pt x="1298" y="1416"/>
                      <a:pt x="1211" y="1366"/>
                    </a:cubicBezTo>
                    <a:cubicBezTo>
                      <a:pt x="1207" y="1364"/>
                      <a:pt x="1203" y="1363"/>
                      <a:pt x="1200" y="1363"/>
                    </a:cubicBezTo>
                    <a:cubicBezTo>
                      <a:pt x="1188" y="1363"/>
                      <a:pt x="1178" y="1372"/>
                      <a:pt x="1178" y="1385"/>
                    </a:cubicBezTo>
                    <a:cubicBezTo>
                      <a:pt x="1178" y="1485"/>
                      <a:pt x="1177" y="1750"/>
                      <a:pt x="1177" y="1750"/>
                    </a:cubicBezTo>
                    <a:cubicBezTo>
                      <a:pt x="659" y="1750"/>
                      <a:pt x="659" y="1750"/>
                      <a:pt x="659" y="1750"/>
                    </a:cubicBezTo>
                    <a:cubicBezTo>
                      <a:pt x="659" y="1750"/>
                      <a:pt x="658" y="1485"/>
                      <a:pt x="658" y="1385"/>
                    </a:cubicBezTo>
                    <a:cubicBezTo>
                      <a:pt x="658" y="1372"/>
                      <a:pt x="648" y="1363"/>
                      <a:pt x="636" y="1363"/>
                    </a:cubicBezTo>
                    <a:cubicBezTo>
                      <a:pt x="633" y="1363"/>
                      <a:pt x="629" y="1364"/>
                      <a:pt x="625" y="1366"/>
                    </a:cubicBezTo>
                    <a:cubicBezTo>
                      <a:pt x="538" y="1416"/>
                      <a:pt x="309" y="1548"/>
                      <a:pt x="309" y="1548"/>
                    </a:cubicBezTo>
                    <a:cubicBezTo>
                      <a:pt x="50" y="1099"/>
                      <a:pt x="50" y="1099"/>
                      <a:pt x="50" y="1099"/>
                    </a:cubicBezTo>
                    <a:cubicBezTo>
                      <a:pt x="50" y="1099"/>
                      <a:pt x="279" y="966"/>
                      <a:pt x="366" y="916"/>
                    </a:cubicBezTo>
                    <a:cubicBezTo>
                      <a:pt x="380" y="908"/>
                      <a:pt x="380" y="886"/>
                      <a:pt x="366" y="878"/>
                    </a:cubicBezTo>
                    <a:cubicBezTo>
                      <a:pt x="279" y="828"/>
                      <a:pt x="50" y="695"/>
                      <a:pt x="50" y="695"/>
                    </a:cubicBezTo>
                    <a:cubicBezTo>
                      <a:pt x="309" y="246"/>
                      <a:pt x="309" y="246"/>
                      <a:pt x="309" y="246"/>
                    </a:cubicBezTo>
                    <a:cubicBezTo>
                      <a:pt x="309" y="246"/>
                      <a:pt x="538" y="378"/>
                      <a:pt x="625" y="428"/>
                    </a:cubicBezTo>
                    <a:cubicBezTo>
                      <a:pt x="629" y="430"/>
                      <a:pt x="633" y="431"/>
                      <a:pt x="636" y="431"/>
                    </a:cubicBezTo>
                    <a:cubicBezTo>
                      <a:pt x="648" y="431"/>
                      <a:pt x="658" y="422"/>
                      <a:pt x="658" y="409"/>
                    </a:cubicBezTo>
                    <a:cubicBezTo>
                      <a:pt x="658" y="309"/>
                      <a:pt x="659" y="44"/>
                      <a:pt x="659" y="44"/>
                    </a:cubicBezTo>
                    <a:cubicBezTo>
                      <a:pt x="1177" y="44"/>
                      <a:pt x="1177" y="44"/>
                      <a:pt x="1177" y="44"/>
                    </a:cubicBezTo>
                    <a:moveTo>
                      <a:pt x="1177" y="0"/>
                    </a:moveTo>
                    <a:cubicBezTo>
                      <a:pt x="659" y="0"/>
                      <a:pt x="659" y="0"/>
                      <a:pt x="659" y="0"/>
                    </a:cubicBezTo>
                    <a:cubicBezTo>
                      <a:pt x="634" y="0"/>
                      <a:pt x="615" y="20"/>
                      <a:pt x="615" y="44"/>
                    </a:cubicBezTo>
                    <a:cubicBezTo>
                      <a:pt x="615" y="47"/>
                      <a:pt x="615" y="255"/>
                      <a:pt x="614" y="371"/>
                    </a:cubicBezTo>
                    <a:cubicBezTo>
                      <a:pt x="514" y="313"/>
                      <a:pt x="333" y="209"/>
                      <a:pt x="331" y="208"/>
                    </a:cubicBezTo>
                    <a:cubicBezTo>
                      <a:pt x="324" y="204"/>
                      <a:pt x="317" y="202"/>
                      <a:pt x="309" y="202"/>
                    </a:cubicBezTo>
                    <a:cubicBezTo>
                      <a:pt x="294" y="202"/>
                      <a:pt x="279" y="210"/>
                      <a:pt x="271" y="224"/>
                    </a:cubicBezTo>
                    <a:cubicBezTo>
                      <a:pt x="12" y="673"/>
                      <a:pt x="12" y="673"/>
                      <a:pt x="12" y="673"/>
                    </a:cubicBezTo>
                    <a:cubicBezTo>
                      <a:pt x="0" y="694"/>
                      <a:pt x="7" y="721"/>
                      <a:pt x="28" y="733"/>
                    </a:cubicBezTo>
                    <a:cubicBezTo>
                      <a:pt x="30" y="735"/>
                      <a:pt x="211" y="839"/>
                      <a:pt x="311" y="897"/>
                    </a:cubicBezTo>
                    <a:cubicBezTo>
                      <a:pt x="211" y="955"/>
                      <a:pt x="30" y="1059"/>
                      <a:pt x="28" y="1061"/>
                    </a:cubicBezTo>
                    <a:cubicBezTo>
                      <a:pt x="7" y="1073"/>
                      <a:pt x="0" y="1100"/>
                      <a:pt x="12" y="1121"/>
                    </a:cubicBezTo>
                    <a:cubicBezTo>
                      <a:pt x="271" y="1570"/>
                      <a:pt x="271" y="1570"/>
                      <a:pt x="271" y="1570"/>
                    </a:cubicBezTo>
                    <a:cubicBezTo>
                      <a:pt x="279" y="1584"/>
                      <a:pt x="294" y="1592"/>
                      <a:pt x="309" y="1592"/>
                    </a:cubicBezTo>
                    <a:cubicBezTo>
                      <a:pt x="317" y="1592"/>
                      <a:pt x="324" y="1590"/>
                      <a:pt x="331" y="1586"/>
                    </a:cubicBezTo>
                    <a:cubicBezTo>
                      <a:pt x="333" y="1585"/>
                      <a:pt x="514" y="1481"/>
                      <a:pt x="614" y="1423"/>
                    </a:cubicBezTo>
                    <a:cubicBezTo>
                      <a:pt x="615" y="1539"/>
                      <a:pt x="615" y="1747"/>
                      <a:pt x="615" y="1750"/>
                    </a:cubicBezTo>
                    <a:cubicBezTo>
                      <a:pt x="615" y="1774"/>
                      <a:pt x="634" y="1794"/>
                      <a:pt x="659" y="1794"/>
                    </a:cubicBezTo>
                    <a:cubicBezTo>
                      <a:pt x="1177" y="1794"/>
                      <a:pt x="1177" y="1794"/>
                      <a:pt x="1177" y="1794"/>
                    </a:cubicBezTo>
                    <a:cubicBezTo>
                      <a:pt x="1202" y="1794"/>
                      <a:pt x="1221" y="1774"/>
                      <a:pt x="1221" y="1750"/>
                    </a:cubicBezTo>
                    <a:cubicBezTo>
                      <a:pt x="1221" y="1747"/>
                      <a:pt x="1221" y="1539"/>
                      <a:pt x="1222" y="1423"/>
                    </a:cubicBezTo>
                    <a:cubicBezTo>
                      <a:pt x="1322" y="1481"/>
                      <a:pt x="1503" y="1585"/>
                      <a:pt x="1505" y="1586"/>
                    </a:cubicBezTo>
                    <a:cubicBezTo>
                      <a:pt x="1512" y="1590"/>
                      <a:pt x="1519" y="1592"/>
                      <a:pt x="1527" y="1592"/>
                    </a:cubicBezTo>
                    <a:cubicBezTo>
                      <a:pt x="1542" y="1592"/>
                      <a:pt x="1557" y="1584"/>
                      <a:pt x="1565" y="1570"/>
                    </a:cubicBezTo>
                    <a:cubicBezTo>
                      <a:pt x="1824" y="1121"/>
                      <a:pt x="1824" y="1121"/>
                      <a:pt x="1824" y="1121"/>
                    </a:cubicBezTo>
                    <a:cubicBezTo>
                      <a:pt x="1836" y="1100"/>
                      <a:pt x="1829" y="1073"/>
                      <a:pt x="1808" y="1061"/>
                    </a:cubicBezTo>
                    <a:cubicBezTo>
                      <a:pt x="1806" y="1059"/>
                      <a:pt x="1625" y="955"/>
                      <a:pt x="1525" y="897"/>
                    </a:cubicBezTo>
                    <a:cubicBezTo>
                      <a:pt x="1625" y="839"/>
                      <a:pt x="1806" y="735"/>
                      <a:pt x="1808" y="733"/>
                    </a:cubicBezTo>
                    <a:cubicBezTo>
                      <a:pt x="1829" y="721"/>
                      <a:pt x="1836" y="694"/>
                      <a:pt x="1824" y="673"/>
                    </a:cubicBezTo>
                    <a:cubicBezTo>
                      <a:pt x="1565" y="224"/>
                      <a:pt x="1565" y="224"/>
                      <a:pt x="1565" y="224"/>
                    </a:cubicBezTo>
                    <a:cubicBezTo>
                      <a:pt x="1557" y="210"/>
                      <a:pt x="1542" y="202"/>
                      <a:pt x="1527" y="202"/>
                    </a:cubicBezTo>
                    <a:cubicBezTo>
                      <a:pt x="1519" y="202"/>
                      <a:pt x="1512" y="204"/>
                      <a:pt x="1505" y="208"/>
                    </a:cubicBezTo>
                    <a:cubicBezTo>
                      <a:pt x="1503" y="209"/>
                      <a:pt x="1322" y="313"/>
                      <a:pt x="1222" y="371"/>
                    </a:cubicBezTo>
                    <a:cubicBezTo>
                      <a:pt x="1221" y="255"/>
                      <a:pt x="1221" y="47"/>
                      <a:pt x="1221" y="44"/>
                    </a:cubicBezTo>
                    <a:cubicBezTo>
                      <a:pt x="1221" y="20"/>
                      <a:pt x="1202" y="0"/>
                      <a:pt x="1177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83"/>
              <p:cNvSpPr>
                <a:spLocks/>
              </p:cNvSpPr>
              <p:nvPr/>
            </p:nvSpPr>
            <p:spPr bwMode="auto">
              <a:xfrm>
                <a:off x="5519927" y="2850261"/>
                <a:ext cx="1150621" cy="1155954"/>
              </a:xfrm>
              <a:custGeom>
                <a:avLst/>
                <a:gdLst>
                  <a:gd name="T0" fmla="*/ 1309 w 1612"/>
                  <a:gd name="T1" fmla="*/ 767 h 1618"/>
                  <a:gd name="T2" fmla="*/ 1609 w 1612"/>
                  <a:gd name="T3" fmla="*/ 583 h 1618"/>
                  <a:gd name="T4" fmla="*/ 1441 w 1612"/>
                  <a:gd name="T5" fmla="*/ 291 h 1618"/>
                  <a:gd name="T6" fmla="*/ 1404 w 1612"/>
                  <a:gd name="T7" fmla="*/ 227 h 1618"/>
                  <a:gd name="T8" fmla="*/ 1326 w 1612"/>
                  <a:gd name="T9" fmla="*/ 260 h 1618"/>
                  <a:gd name="T10" fmla="*/ 1094 w 1612"/>
                  <a:gd name="T11" fmla="*/ 394 h 1618"/>
                  <a:gd name="T12" fmla="*/ 1021 w 1612"/>
                  <a:gd name="T13" fmla="*/ 84 h 1618"/>
                  <a:gd name="T14" fmla="*/ 1011 w 1612"/>
                  <a:gd name="T15" fmla="*/ 0 h 1618"/>
                  <a:gd name="T16" fmla="*/ 591 w 1612"/>
                  <a:gd name="T17" fmla="*/ 10 h 1618"/>
                  <a:gd name="T18" fmla="*/ 591 w 1612"/>
                  <a:gd name="T19" fmla="*/ 352 h 1618"/>
                  <a:gd name="T20" fmla="*/ 286 w 1612"/>
                  <a:gd name="T21" fmla="*/ 260 h 1618"/>
                  <a:gd name="T22" fmla="*/ 222 w 1612"/>
                  <a:gd name="T23" fmla="*/ 223 h 1618"/>
                  <a:gd name="T24" fmla="*/ 171 w 1612"/>
                  <a:gd name="T25" fmla="*/ 291 h 1618"/>
                  <a:gd name="T26" fmla="*/ 40 w 1612"/>
                  <a:gd name="T27" fmla="*/ 518 h 1618"/>
                  <a:gd name="T28" fmla="*/ 3 w 1612"/>
                  <a:gd name="T29" fmla="*/ 583 h 1618"/>
                  <a:gd name="T30" fmla="*/ 237 w 1612"/>
                  <a:gd name="T31" fmla="*/ 729 h 1618"/>
                  <a:gd name="T32" fmla="*/ 303 w 1612"/>
                  <a:gd name="T33" fmla="*/ 851 h 1618"/>
                  <a:gd name="T34" fmla="*/ 71 w 1612"/>
                  <a:gd name="T35" fmla="*/ 985 h 1618"/>
                  <a:gd name="T36" fmla="*/ 7 w 1612"/>
                  <a:gd name="T37" fmla="*/ 1022 h 1618"/>
                  <a:gd name="T38" fmla="*/ 40 w 1612"/>
                  <a:gd name="T39" fmla="*/ 1100 h 1618"/>
                  <a:gd name="T40" fmla="*/ 171 w 1612"/>
                  <a:gd name="T41" fmla="*/ 1327 h 1618"/>
                  <a:gd name="T42" fmla="*/ 208 w 1612"/>
                  <a:gd name="T43" fmla="*/ 1391 h 1618"/>
                  <a:gd name="T44" fmla="*/ 337 w 1612"/>
                  <a:gd name="T45" fmla="*/ 1329 h 1618"/>
                  <a:gd name="T46" fmla="*/ 591 w 1612"/>
                  <a:gd name="T47" fmla="*/ 1266 h 1618"/>
                  <a:gd name="T48" fmla="*/ 591 w 1612"/>
                  <a:gd name="T49" fmla="*/ 1608 h 1618"/>
                  <a:gd name="T50" fmla="*/ 675 w 1612"/>
                  <a:gd name="T51" fmla="*/ 1618 h 1618"/>
                  <a:gd name="T52" fmla="*/ 1011 w 1612"/>
                  <a:gd name="T53" fmla="*/ 1618 h 1618"/>
                  <a:gd name="T54" fmla="*/ 1021 w 1612"/>
                  <a:gd name="T55" fmla="*/ 1534 h 1618"/>
                  <a:gd name="T56" fmla="*/ 1094 w 1612"/>
                  <a:gd name="T57" fmla="*/ 1224 h 1618"/>
                  <a:gd name="T58" fmla="*/ 1390 w 1612"/>
                  <a:gd name="T59" fmla="*/ 1395 h 1618"/>
                  <a:gd name="T60" fmla="*/ 1441 w 1612"/>
                  <a:gd name="T61" fmla="*/ 1327 h 1618"/>
                  <a:gd name="T62" fmla="*/ 1446 w 1612"/>
                  <a:gd name="T63" fmla="*/ 1318 h 1618"/>
                  <a:gd name="T64" fmla="*/ 1605 w 1612"/>
                  <a:gd name="T65" fmla="*/ 1022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2" h="1618">
                    <a:moveTo>
                      <a:pt x="1309" y="851"/>
                    </a:moveTo>
                    <a:cubicBezTo>
                      <a:pt x="1269" y="828"/>
                      <a:pt x="1269" y="790"/>
                      <a:pt x="1309" y="767"/>
                    </a:cubicBezTo>
                    <a:cubicBezTo>
                      <a:pt x="1605" y="596"/>
                      <a:pt x="1605" y="596"/>
                      <a:pt x="1605" y="596"/>
                    </a:cubicBezTo>
                    <a:cubicBezTo>
                      <a:pt x="1610" y="593"/>
                      <a:pt x="1612" y="587"/>
                      <a:pt x="1609" y="583"/>
                    </a:cubicBezTo>
                    <a:cubicBezTo>
                      <a:pt x="1516" y="421"/>
                      <a:pt x="1516" y="421"/>
                      <a:pt x="1516" y="421"/>
                    </a:cubicBezTo>
                    <a:cubicBezTo>
                      <a:pt x="1441" y="291"/>
                      <a:pt x="1441" y="291"/>
                      <a:pt x="1441" y="291"/>
                    </a:cubicBezTo>
                    <a:cubicBezTo>
                      <a:pt x="1441" y="291"/>
                      <a:pt x="1441" y="291"/>
                      <a:pt x="1441" y="291"/>
                    </a:cubicBezTo>
                    <a:cubicBezTo>
                      <a:pt x="1404" y="227"/>
                      <a:pt x="1404" y="227"/>
                      <a:pt x="1404" y="227"/>
                    </a:cubicBezTo>
                    <a:cubicBezTo>
                      <a:pt x="1401" y="222"/>
                      <a:pt x="1395" y="220"/>
                      <a:pt x="1390" y="223"/>
                    </a:cubicBezTo>
                    <a:cubicBezTo>
                      <a:pt x="1326" y="260"/>
                      <a:pt x="1326" y="260"/>
                      <a:pt x="1326" y="260"/>
                    </a:cubicBezTo>
                    <a:cubicBezTo>
                      <a:pt x="1326" y="260"/>
                      <a:pt x="1326" y="260"/>
                      <a:pt x="1326" y="260"/>
                    </a:cubicBezTo>
                    <a:cubicBezTo>
                      <a:pt x="1094" y="394"/>
                      <a:pt x="1094" y="394"/>
                      <a:pt x="1094" y="394"/>
                    </a:cubicBezTo>
                    <a:cubicBezTo>
                      <a:pt x="1054" y="417"/>
                      <a:pt x="1021" y="398"/>
                      <a:pt x="1021" y="352"/>
                    </a:cubicBezTo>
                    <a:cubicBezTo>
                      <a:pt x="1021" y="84"/>
                      <a:pt x="1021" y="84"/>
                      <a:pt x="1021" y="84"/>
                    </a:cubicBezTo>
                    <a:cubicBezTo>
                      <a:pt x="1021" y="10"/>
                      <a:pt x="1021" y="10"/>
                      <a:pt x="1021" y="10"/>
                    </a:cubicBezTo>
                    <a:cubicBezTo>
                      <a:pt x="1021" y="5"/>
                      <a:pt x="1017" y="0"/>
                      <a:pt x="1011" y="0"/>
                    </a:cubicBezTo>
                    <a:cubicBezTo>
                      <a:pt x="601" y="0"/>
                      <a:pt x="601" y="0"/>
                      <a:pt x="601" y="0"/>
                    </a:cubicBezTo>
                    <a:cubicBezTo>
                      <a:pt x="595" y="0"/>
                      <a:pt x="591" y="5"/>
                      <a:pt x="591" y="10"/>
                    </a:cubicBezTo>
                    <a:cubicBezTo>
                      <a:pt x="591" y="84"/>
                      <a:pt x="591" y="84"/>
                      <a:pt x="591" y="84"/>
                    </a:cubicBezTo>
                    <a:cubicBezTo>
                      <a:pt x="591" y="352"/>
                      <a:pt x="591" y="352"/>
                      <a:pt x="591" y="352"/>
                    </a:cubicBezTo>
                    <a:cubicBezTo>
                      <a:pt x="591" y="398"/>
                      <a:pt x="558" y="417"/>
                      <a:pt x="518" y="394"/>
                    </a:cubicBezTo>
                    <a:cubicBezTo>
                      <a:pt x="286" y="260"/>
                      <a:pt x="286" y="260"/>
                      <a:pt x="286" y="260"/>
                    </a:cubicBezTo>
                    <a:cubicBezTo>
                      <a:pt x="286" y="260"/>
                      <a:pt x="286" y="260"/>
                      <a:pt x="286" y="260"/>
                    </a:cubicBezTo>
                    <a:cubicBezTo>
                      <a:pt x="222" y="223"/>
                      <a:pt x="222" y="223"/>
                      <a:pt x="222" y="223"/>
                    </a:cubicBezTo>
                    <a:cubicBezTo>
                      <a:pt x="217" y="220"/>
                      <a:pt x="211" y="222"/>
                      <a:pt x="208" y="227"/>
                    </a:cubicBezTo>
                    <a:cubicBezTo>
                      <a:pt x="171" y="291"/>
                      <a:pt x="171" y="291"/>
                      <a:pt x="171" y="291"/>
                    </a:cubicBezTo>
                    <a:cubicBezTo>
                      <a:pt x="171" y="291"/>
                      <a:pt x="171" y="291"/>
                      <a:pt x="171" y="291"/>
                    </a:cubicBezTo>
                    <a:cubicBezTo>
                      <a:pt x="40" y="518"/>
                      <a:pt x="40" y="518"/>
                      <a:pt x="40" y="518"/>
                    </a:cubicBezTo>
                    <a:cubicBezTo>
                      <a:pt x="40" y="518"/>
                      <a:pt x="40" y="518"/>
                      <a:pt x="40" y="518"/>
                    </a:cubicBezTo>
                    <a:cubicBezTo>
                      <a:pt x="3" y="583"/>
                      <a:pt x="3" y="583"/>
                      <a:pt x="3" y="583"/>
                    </a:cubicBezTo>
                    <a:cubicBezTo>
                      <a:pt x="0" y="587"/>
                      <a:pt x="2" y="593"/>
                      <a:pt x="7" y="596"/>
                    </a:cubicBezTo>
                    <a:cubicBezTo>
                      <a:pt x="237" y="729"/>
                      <a:pt x="237" y="729"/>
                      <a:pt x="237" y="729"/>
                    </a:cubicBezTo>
                    <a:cubicBezTo>
                      <a:pt x="303" y="767"/>
                      <a:pt x="303" y="767"/>
                      <a:pt x="303" y="767"/>
                    </a:cubicBezTo>
                    <a:cubicBezTo>
                      <a:pt x="343" y="790"/>
                      <a:pt x="343" y="828"/>
                      <a:pt x="303" y="851"/>
                    </a:cubicBezTo>
                    <a:cubicBezTo>
                      <a:pt x="171" y="927"/>
                      <a:pt x="171" y="927"/>
                      <a:pt x="171" y="927"/>
                    </a:cubicBezTo>
                    <a:cubicBezTo>
                      <a:pt x="71" y="985"/>
                      <a:pt x="71" y="985"/>
                      <a:pt x="71" y="985"/>
                    </a:cubicBezTo>
                    <a:cubicBezTo>
                      <a:pt x="71" y="985"/>
                      <a:pt x="71" y="985"/>
                      <a:pt x="71" y="985"/>
                    </a:cubicBezTo>
                    <a:cubicBezTo>
                      <a:pt x="7" y="1022"/>
                      <a:pt x="7" y="1022"/>
                      <a:pt x="7" y="1022"/>
                    </a:cubicBezTo>
                    <a:cubicBezTo>
                      <a:pt x="2" y="1025"/>
                      <a:pt x="0" y="1031"/>
                      <a:pt x="3" y="1035"/>
                    </a:cubicBezTo>
                    <a:cubicBezTo>
                      <a:pt x="40" y="1100"/>
                      <a:pt x="40" y="1100"/>
                      <a:pt x="40" y="1100"/>
                    </a:cubicBezTo>
                    <a:cubicBezTo>
                      <a:pt x="40" y="1100"/>
                      <a:pt x="40" y="1100"/>
                      <a:pt x="40" y="1100"/>
                    </a:cubicBezTo>
                    <a:cubicBezTo>
                      <a:pt x="171" y="1327"/>
                      <a:pt x="171" y="1327"/>
                      <a:pt x="171" y="1327"/>
                    </a:cubicBezTo>
                    <a:cubicBezTo>
                      <a:pt x="171" y="1327"/>
                      <a:pt x="171" y="1327"/>
                      <a:pt x="171" y="1327"/>
                    </a:cubicBezTo>
                    <a:cubicBezTo>
                      <a:pt x="208" y="1391"/>
                      <a:pt x="208" y="1391"/>
                      <a:pt x="208" y="1391"/>
                    </a:cubicBezTo>
                    <a:cubicBezTo>
                      <a:pt x="211" y="1396"/>
                      <a:pt x="217" y="1398"/>
                      <a:pt x="222" y="1395"/>
                    </a:cubicBezTo>
                    <a:cubicBezTo>
                      <a:pt x="337" y="1329"/>
                      <a:pt x="337" y="1329"/>
                      <a:pt x="337" y="1329"/>
                    </a:cubicBezTo>
                    <a:cubicBezTo>
                      <a:pt x="518" y="1224"/>
                      <a:pt x="518" y="1224"/>
                      <a:pt x="518" y="1224"/>
                    </a:cubicBezTo>
                    <a:cubicBezTo>
                      <a:pt x="558" y="1201"/>
                      <a:pt x="591" y="1220"/>
                      <a:pt x="591" y="1266"/>
                    </a:cubicBezTo>
                    <a:cubicBezTo>
                      <a:pt x="591" y="1534"/>
                      <a:pt x="591" y="1534"/>
                      <a:pt x="591" y="1534"/>
                    </a:cubicBezTo>
                    <a:cubicBezTo>
                      <a:pt x="591" y="1608"/>
                      <a:pt x="591" y="1608"/>
                      <a:pt x="591" y="1608"/>
                    </a:cubicBezTo>
                    <a:cubicBezTo>
                      <a:pt x="591" y="1613"/>
                      <a:pt x="595" y="1618"/>
                      <a:pt x="601" y="1618"/>
                    </a:cubicBezTo>
                    <a:cubicBezTo>
                      <a:pt x="675" y="1618"/>
                      <a:pt x="675" y="1618"/>
                      <a:pt x="675" y="1618"/>
                    </a:cubicBezTo>
                    <a:cubicBezTo>
                      <a:pt x="937" y="1618"/>
                      <a:pt x="937" y="1618"/>
                      <a:pt x="937" y="1618"/>
                    </a:cubicBezTo>
                    <a:cubicBezTo>
                      <a:pt x="1011" y="1618"/>
                      <a:pt x="1011" y="1618"/>
                      <a:pt x="1011" y="1618"/>
                    </a:cubicBezTo>
                    <a:cubicBezTo>
                      <a:pt x="1017" y="1618"/>
                      <a:pt x="1021" y="1613"/>
                      <a:pt x="1021" y="1608"/>
                    </a:cubicBezTo>
                    <a:cubicBezTo>
                      <a:pt x="1021" y="1534"/>
                      <a:pt x="1021" y="1534"/>
                      <a:pt x="1021" y="1534"/>
                    </a:cubicBezTo>
                    <a:cubicBezTo>
                      <a:pt x="1021" y="1266"/>
                      <a:pt x="1021" y="1266"/>
                      <a:pt x="1021" y="1266"/>
                    </a:cubicBezTo>
                    <a:cubicBezTo>
                      <a:pt x="1021" y="1220"/>
                      <a:pt x="1054" y="1201"/>
                      <a:pt x="1094" y="1224"/>
                    </a:cubicBezTo>
                    <a:cubicBezTo>
                      <a:pt x="1275" y="1329"/>
                      <a:pt x="1275" y="1329"/>
                      <a:pt x="1275" y="1329"/>
                    </a:cubicBezTo>
                    <a:cubicBezTo>
                      <a:pt x="1390" y="1395"/>
                      <a:pt x="1390" y="1395"/>
                      <a:pt x="1390" y="1395"/>
                    </a:cubicBezTo>
                    <a:cubicBezTo>
                      <a:pt x="1395" y="1398"/>
                      <a:pt x="1401" y="1396"/>
                      <a:pt x="1404" y="1391"/>
                    </a:cubicBezTo>
                    <a:cubicBezTo>
                      <a:pt x="1441" y="1327"/>
                      <a:pt x="1441" y="1327"/>
                      <a:pt x="1441" y="1327"/>
                    </a:cubicBezTo>
                    <a:cubicBezTo>
                      <a:pt x="1441" y="1327"/>
                      <a:pt x="1441" y="1327"/>
                      <a:pt x="1441" y="1327"/>
                    </a:cubicBezTo>
                    <a:cubicBezTo>
                      <a:pt x="1446" y="1318"/>
                      <a:pt x="1446" y="1318"/>
                      <a:pt x="1446" y="1318"/>
                    </a:cubicBezTo>
                    <a:cubicBezTo>
                      <a:pt x="1609" y="1035"/>
                      <a:pt x="1609" y="1035"/>
                      <a:pt x="1609" y="1035"/>
                    </a:cubicBezTo>
                    <a:cubicBezTo>
                      <a:pt x="1612" y="1031"/>
                      <a:pt x="1610" y="1025"/>
                      <a:pt x="1605" y="1022"/>
                    </a:cubicBezTo>
                    <a:lnTo>
                      <a:pt x="1309" y="851"/>
                    </a:ln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9" name="Group 28"/>
          <p:cNvGrpSpPr>
            <a:grpSpLocks noChangeAspect="1"/>
          </p:cNvGrpSpPr>
          <p:nvPr/>
        </p:nvGrpSpPr>
        <p:grpSpPr>
          <a:xfrm>
            <a:off x="8320437" y="2152591"/>
            <a:ext cx="362912" cy="362562"/>
            <a:chOff x="6464300" y="2606675"/>
            <a:chExt cx="1646238" cy="1644650"/>
          </a:xfrm>
        </p:grpSpPr>
        <p:sp>
          <p:nvSpPr>
            <p:cNvPr id="3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6729413" y="2881312"/>
              <a:ext cx="1146175" cy="1125538"/>
              <a:chOff x="6729413" y="2881312"/>
              <a:chExt cx="1146175" cy="1125538"/>
            </a:xfrm>
          </p:grpSpPr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6989763" y="2944813"/>
                <a:ext cx="822325" cy="336550"/>
              </a:xfrm>
              <a:custGeom>
                <a:avLst/>
                <a:gdLst>
                  <a:gd name="connsiteX0" fmla="*/ 485775 w 822325"/>
                  <a:gd name="connsiteY0" fmla="*/ 0 h 336550"/>
                  <a:gd name="connsiteX1" fmla="*/ 779453 w 822325"/>
                  <a:gd name="connsiteY1" fmla="*/ 0 h 336550"/>
                  <a:gd name="connsiteX2" fmla="*/ 822325 w 822325"/>
                  <a:gd name="connsiteY2" fmla="*/ 39134 h 336550"/>
                  <a:gd name="connsiteX3" fmla="*/ 822325 w 822325"/>
                  <a:gd name="connsiteY3" fmla="*/ 300974 h 336550"/>
                  <a:gd name="connsiteX4" fmla="*/ 780167 w 822325"/>
                  <a:gd name="connsiteY4" fmla="*/ 336550 h 336550"/>
                  <a:gd name="connsiteX5" fmla="*/ 487919 w 822325"/>
                  <a:gd name="connsiteY5" fmla="*/ 336550 h 336550"/>
                  <a:gd name="connsiteX6" fmla="*/ 552228 w 822325"/>
                  <a:gd name="connsiteY6" fmla="*/ 169342 h 336550"/>
                  <a:gd name="connsiteX7" fmla="*/ 485775 w 822325"/>
                  <a:gd name="connsiteY7" fmla="*/ 0 h 336550"/>
                  <a:gd name="connsiteX8" fmla="*/ 41444 w 822325"/>
                  <a:gd name="connsiteY8" fmla="*/ 0 h 336550"/>
                  <a:gd name="connsiteX9" fmla="*/ 336550 w 822325"/>
                  <a:gd name="connsiteY9" fmla="*/ 0 h 336550"/>
                  <a:gd name="connsiteX10" fmla="*/ 269383 w 822325"/>
                  <a:gd name="connsiteY10" fmla="*/ 169342 h 336550"/>
                  <a:gd name="connsiteX11" fmla="*/ 334407 w 822325"/>
                  <a:gd name="connsiteY11" fmla="*/ 336550 h 336550"/>
                  <a:gd name="connsiteX12" fmla="*/ 40729 w 822325"/>
                  <a:gd name="connsiteY12" fmla="*/ 336550 h 336550"/>
                  <a:gd name="connsiteX13" fmla="*/ 0 w 822325"/>
                  <a:gd name="connsiteY13" fmla="*/ 301686 h 336550"/>
                  <a:gd name="connsiteX14" fmla="*/ 0 w 822325"/>
                  <a:gd name="connsiteY14" fmla="*/ 39134 h 336550"/>
                  <a:gd name="connsiteX15" fmla="*/ 41444 w 822325"/>
                  <a:gd name="connsiteY15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22325" h="336550">
                    <a:moveTo>
                      <a:pt x="485775" y="0"/>
                    </a:moveTo>
                    <a:cubicBezTo>
                      <a:pt x="485775" y="0"/>
                      <a:pt x="485775" y="0"/>
                      <a:pt x="779453" y="0"/>
                    </a:cubicBezTo>
                    <a:cubicBezTo>
                      <a:pt x="782311" y="21346"/>
                      <a:pt x="800174" y="38422"/>
                      <a:pt x="822325" y="39134"/>
                    </a:cubicBezTo>
                    <a:cubicBezTo>
                      <a:pt x="822325" y="39134"/>
                      <a:pt x="822325" y="39134"/>
                      <a:pt x="822325" y="300974"/>
                    </a:cubicBezTo>
                    <a:cubicBezTo>
                      <a:pt x="801603" y="301686"/>
                      <a:pt x="784454" y="316628"/>
                      <a:pt x="780167" y="336550"/>
                    </a:cubicBezTo>
                    <a:cubicBezTo>
                      <a:pt x="780167" y="336550"/>
                      <a:pt x="780167" y="336550"/>
                      <a:pt x="487919" y="336550"/>
                    </a:cubicBezTo>
                    <a:cubicBezTo>
                      <a:pt x="522932" y="298839"/>
                      <a:pt x="552228" y="237649"/>
                      <a:pt x="552228" y="169342"/>
                    </a:cubicBezTo>
                    <a:cubicBezTo>
                      <a:pt x="552228" y="99613"/>
                      <a:pt x="522217" y="37711"/>
                      <a:pt x="485775" y="0"/>
                    </a:cubicBezTo>
                    <a:close/>
                    <a:moveTo>
                      <a:pt x="41444" y="0"/>
                    </a:moveTo>
                    <a:lnTo>
                      <a:pt x="336550" y="0"/>
                    </a:lnTo>
                    <a:cubicBezTo>
                      <a:pt x="300109" y="37711"/>
                      <a:pt x="269383" y="99613"/>
                      <a:pt x="269383" y="169342"/>
                    </a:cubicBezTo>
                    <a:cubicBezTo>
                      <a:pt x="269383" y="237649"/>
                      <a:pt x="299394" y="298839"/>
                      <a:pt x="334407" y="336550"/>
                    </a:cubicBezTo>
                    <a:cubicBezTo>
                      <a:pt x="334407" y="336550"/>
                      <a:pt x="334407" y="336550"/>
                      <a:pt x="40729" y="336550"/>
                    </a:cubicBezTo>
                    <a:cubicBezTo>
                      <a:pt x="37157" y="317339"/>
                      <a:pt x="20007" y="303109"/>
                      <a:pt x="0" y="301686"/>
                    </a:cubicBezTo>
                    <a:cubicBezTo>
                      <a:pt x="0" y="301686"/>
                      <a:pt x="0" y="301686"/>
                      <a:pt x="0" y="39134"/>
                    </a:cubicBezTo>
                    <a:cubicBezTo>
                      <a:pt x="21437" y="37711"/>
                      <a:pt x="38586" y="20634"/>
                      <a:pt x="41444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4" name="Freeform 33"/>
              <p:cNvSpPr>
                <a:spLocks/>
              </p:cNvSpPr>
              <p:nvPr/>
            </p:nvSpPr>
            <p:spPr bwMode="auto">
              <a:xfrm>
                <a:off x="6729413" y="2881312"/>
                <a:ext cx="1146175" cy="1125538"/>
              </a:xfrm>
              <a:custGeom>
                <a:avLst/>
                <a:gdLst>
                  <a:gd name="connsiteX0" fmla="*/ 409739 w 1146175"/>
                  <a:gd name="connsiteY0" fmla="*/ 615791 h 1125538"/>
                  <a:gd name="connsiteX1" fmla="*/ 326138 w 1146175"/>
                  <a:gd name="connsiteY1" fmla="*/ 635801 h 1125538"/>
                  <a:gd name="connsiteX2" fmla="*/ 31750 w 1146175"/>
                  <a:gd name="connsiteY2" fmla="*/ 803020 h 1125538"/>
                  <a:gd name="connsiteX3" fmla="*/ 31750 w 1146175"/>
                  <a:gd name="connsiteY3" fmla="*/ 1087437 h 1125538"/>
                  <a:gd name="connsiteX4" fmla="*/ 368296 w 1146175"/>
                  <a:gd name="connsiteY4" fmla="*/ 957377 h 1125538"/>
                  <a:gd name="connsiteX5" fmla="*/ 419028 w 1146175"/>
                  <a:gd name="connsiteY5" fmla="*/ 949516 h 1125538"/>
                  <a:gd name="connsiteX6" fmla="*/ 568366 w 1146175"/>
                  <a:gd name="connsiteY6" fmla="*/ 960236 h 1125538"/>
                  <a:gd name="connsiteX7" fmla="*/ 797017 w 1146175"/>
                  <a:gd name="connsiteY7" fmla="*/ 933795 h 1125538"/>
                  <a:gd name="connsiteX8" fmla="*/ 1047818 w 1146175"/>
                  <a:gd name="connsiteY8" fmla="*/ 767290 h 1125538"/>
                  <a:gd name="connsiteX9" fmla="*/ 1079972 w 1146175"/>
                  <a:gd name="connsiteY9" fmla="*/ 730130 h 1125538"/>
                  <a:gd name="connsiteX10" fmla="*/ 1074971 w 1146175"/>
                  <a:gd name="connsiteY10" fmla="*/ 655810 h 1125538"/>
                  <a:gd name="connsiteX11" fmla="*/ 1036386 w 1146175"/>
                  <a:gd name="connsiteY11" fmla="*/ 642232 h 1125538"/>
                  <a:gd name="connsiteX12" fmla="*/ 999230 w 1146175"/>
                  <a:gd name="connsiteY12" fmla="*/ 660097 h 1125538"/>
                  <a:gd name="connsiteX13" fmla="*/ 951356 w 1146175"/>
                  <a:gd name="connsiteY13" fmla="*/ 713694 h 1125538"/>
                  <a:gd name="connsiteX14" fmla="*/ 805591 w 1146175"/>
                  <a:gd name="connsiteY14" fmla="*/ 805164 h 1125538"/>
                  <a:gd name="connsiteX15" fmla="*/ 608380 w 1146175"/>
                  <a:gd name="connsiteY15" fmla="*/ 794445 h 1125538"/>
                  <a:gd name="connsiteX16" fmla="*/ 553360 w 1146175"/>
                  <a:gd name="connsiteY16" fmla="*/ 772292 h 1125538"/>
                  <a:gd name="connsiteX17" fmla="*/ 544071 w 1146175"/>
                  <a:gd name="connsiteY17" fmla="*/ 755856 h 1125538"/>
                  <a:gd name="connsiteX18" fmla="*/ 557648 w 1146175"/>
                  <a:gd name="connsiteY18" fmla="*/ 742278 h 1125538"/>
                  <a:gd name="connsiteX19" fmla="*/ 715560 w 1146175"/>
                  <a:gd name="connsiteY19" fmla="*/ 726557 h 1125538"/>
                  <a:gd name="connsiteX20" fmla="*/ 759146 w 1146175"/>
                  <a:gd name="connsiteY20" fmla="*/ 679392 h 1125538"/>
                  <a:gd name="connsiteX21" fmla="*/ 713416 w 1146175"/>
                  <a:gd name="connsiteY21" fmla="*/ 631513 h 1125538"/>
                  <a:gd name="connsiteX22" fmla="*/ 409739 w 1146175"/>
                  <a:gd name="connsiteY22" fmla="*/ 615791 h 1125538"/>
                  <a:gd name="connsiteX23" fmla="*/ 390213 w 1146175"/>
                  <a:gd name="connsiteY23" fmla="*/ 584200 h 1125538"/>
                  <a:gd name="connsiteX24" fmla="*/ 393786 w 1146175"/>
                  <a:gd name="connsiteY24" fmla="*/ 584200 h 1125538"/>
                  <a:gd name="connsiteX25" fmla="*/ 396645 w 1146175"/>
                  <a:gd name="connsiteY25" fmla="*/ 584200 h 1125538"/>
                  <a:gd name="connsiteX26" fmla="*/ 399504 w 1146175"/>
                  <a:gd name="connsiteY26" fmla="*/ 584200 h 1125538"/>
                  <a:gd name="connsiteX27" fmla="*/ 403077 w 1146175"/>
                  <a:gd name="connsiteY27" fmla="*/ 584200 h 1125538"/>
                  <a:gd name="connsiteX28" fmla="*/ 410939 w 1146175"/>
                  <a:gd name="connsiteY28" fmla="*/ 584200 h 1125538"/>
                  <a:gd name="connsiteX29" fmla="*/ 715390 w 1146175"/>
                  <a:gd name="connsiteY29" fmla="*/ 599912 h 1125538"/>
                  <a:gd name="connsiteX30" fmla="*/ 780426 w 1146175"/>
                  <a:gd name="connsiteY30" fmla="*/ 640619 h 1125538"/>
                  <a:gd name="connsiteX31" fmla="*/ 782570 w 1146175"/>
                  <a:gd name="connsiteY31" fmla="*/ 644904 h 1125538"/>
                  <a:gd name="connsiteX32" fmla="*/ 789002 w 1146175"/>
                  <a:gd name="connsiteY32" fmla="*/ 663473 h 1125538"/>
                  <a:gd name="connsiteX33" fmla="*/ 790431 w 1146175"/>
                  <a:gd name="connsiteY33" fmla="*/ 679184 h 1125538"/>
                  <a:gd name="connsiteX34" fmla="*/ 789716 w 1146175"/>
                  <a:gd name="connsiteY34" fmla="*/ 684898 h 1125538"/>
                  <a:gd name="connsiteX35" fmla="*/ 789716 w 1146175"/>
                  <a:gd name="connsiteY35" fmla="*/ 685612 h 1125538"/>
                  <a:gd name="connsiteX36" fmla="*/ 789002 w 1146175"/>
                  <a:gd name="connsiteY36" fmla="*/ 691325 h 1125538"/>
                  <a:gd name="connsiteX37" fmla="*/ 763988 w 1146175"/>
                  <a:gd name="connsiteY37" fmla="*/ 738460 h 1125538"/>
                  <a:gd name="connsiteX38" fmla="*/ 763273 w 1146175"/>
                  <a:gd name="connsiteY38" fmla="*/ 738460 h 1125538"/>
                  <a:gd name="connsiteX39" fmla="*/ 758985 w 1146175"/>
                  <a:gd name="connsiteY39" fmla="*/ 742031 h 1125538"/>
                  <a:gd name="connsiteX40" fmla="*/ 754697 w 1146175"/>
                  <a:gd name="connsiteY40" fmla="*/ 744888 h 1125538"/>
                  <a:gd name="connsiteX41" fmla="*/ 753983 w 1146175"/>
                  <a:gd name="connsiteY41" fmla="*/ 745602 h 1125538"/>
                  <a:gd name="connsiteX42" fmla="*/ 749695 w 1146175"/>
                  <a:gd name="connsiteY42" fmla="*/ 748458 h 1125538"/>
                  <a:gd name="connsiteX43" fmla="*/ 748265 w 1146175"/>
                  <a:gd name="connsiteY43" fmla="*/ 749173 h 1125538"/>
                  <a:gd name="connsiteX44" fmla="*/ 743263 w 1146175"/>
                  <a:gd name="connsiteY44" fmla="*/ 751315 h 1125538"/>
                  <a:gd name="connsiteX45" fmla="*/ 742548 w 1146175"/>
                  <a:gd name="connsiteY45" fmla="*/ 752029 h 1125538"/>
                  <a:gd name="connsiteX46" fmla="*/ 738260 w 1146175"/>
                  <a:gd name="connsiteY46" fmla="*/ 753458 h 1125538"/>
                  <a:gd name="connsiteX47" fmla="*/ 718964 w 1146175"/>
                  <a:gd name="connsiteY47" fmla="*/ 757743 h 1125538"/>
                  <a:gd name="connsiteX48" fmla="*/ 624626 w 1146175"/>
                  <a:gd name="connsiteY48" fmla="*/ 767027 h 1125538"/>
                  <a:gd name="connsiteX49" fmla="*/ 743263 w 1146175"/>
                  <a:gd name="connsiteY49" fmla="*/ 784167 h 1125538"/>
                  <a:gd name="connsiteX50" fmla="*/ 775423 w 1146175"/>
                  <a:gd name="connsiteY50" fmla="*/ 779882 h 1125538"/>
                  <a:gd name="connsiteX51" fmla="*/ 785428 w 1146175"/>
                  <a:gd name="connsiteY51" fmla="*/ 777739 h 1125538"/>
                  <a:gd name="connsiteX52" fmla="*/ 786858 w 1146175"/>
                  <a:gd name="connsiteY52" fmla="*/ 777025 h 1125538"/>
                  <a:gd name="connsiteX53" fmla="*/ 796863 w 1146175"/>
                  <a:gd name="connsiteY53" fmla="*/ 774883 h 1125538"/>
                  <a:gd name="connsiteX54" fmla="*/ 826880 w 1146175"/>
                  <a:gd name="connsiteY54" fmla="*/ 764170 h 1125538"/>
                  <a:gd name="connsiteX55" fmla="*/ 909782 w 1146175"/>
                  <a:gd name="connsiteY55" fmla="*/ 711322 h 1125538"/>
                  <a:gd name="connsiteX56" fmla="*/ 928363 w 1146175"/>
                  <a:gd name="connsiteY56" fmla="*/ 692753 h 1125538"/>
                  <a:gd name="connsiteX57" fmla="*/ 975532 w 1146175"/>
                  <a:gd name="connsiteY57" fmla="*/ 639191 h 1125538"/>
                  <a:gd name="connsiteX58" fmla="*/ 978391 w 1146175"/>
                  <a:gd name="connsiteY58" fmla="*/ 635620 h 1125538"/>
                  <a:gd name="connsiteX59" fmla="*/ 979105 w 1146175"/>
                  <a:gd name="connsiteY59" fmla="*/ 635620 h 1125538"/>
                  <a:gd name="connsiteX60" fmla="*/ 1034135 w 1146175"/>
                  <a:gd name="connsiteY60" fmla="*/ 610624 h 1125538"/>
                  <a:gd name="connsiteX61" fmla="*/ 1034850 w 1146175"/>
                  <a:gd name="connsiteY61" fmla="*/ 610624 h 1125538"/>
                  <a:gd name="connsiteX62" fmla="*/ 1039138 w 1146175"/>
                  <a:gd name="connsiteY62" fmla="*/ 610624 h 1125538"/>
                  <a:gd name="connsiteX63" fmla="*/ 1040567 w 1146175"/>
                  <a:gd name="connsiteY63" fmla="*/ 610624 h 1125538"/>
                  <a:gd name="connsiteX64" fmla="*/ 1079875 w 1146175"/>
                  <a:gd name="connsiteY64" fmla="*/ 621337 h 1125538"/>
                  <a:gd name="connsiteX65" fmla="*/ 1083448 w 1146175"/>
                  <a:gd name="connsiteY65" fmla="*/ 623479 h 1125538"/>
                  <a:gd name="connsiteX66" fmla="*/ 1086307 w 1146175"/>
                  <a:gd name="connsiteY66" fmla="*/ 624908 h 1125538"/>
                  <a:gd name="connsiteX67" fmla="*/ 1087021 w 1146175"/>
                  <a:gd name="connsiteY67" fmla="*/ 625622 h 1125538"/>
                  <a:gd name="connsiteX68" fmla="*/ 1089880 w 1146175"/>
                  <a:gd name="connsiteY68" fmla="*/ 627764 h 1125538"/>
                  <a:gd name="connsiteX69" fmla="*/ 1090595 w 1146175"/>
                  <a:gd name="connsiteY69" fmla="*/ 628478 h 1125538"/>
                  <a:gd name="connsiteX70" fmla="*/ 1092739 w 1146175"/>
                  <a:gd name="connsiteY70" fmla="*/ 629907 h 1125538"/>
                  <a:gd name="connsiteX71" fmla="*/ 1095597 w 1146175"/>
                  <a:gd name="connsiteY71" fmla="*/ 632049 h 1125538"/>
                  <a:gd name="connsiteX72" fmla="*/ 1095597 w 1146175"/>
                  <a:gd name="connsiteY72" fmla="*/ 632763 h 1125538"/>
                  <a:gd name="connsiteX73" fmla="*/ 1103459 w 1146175"/>
                  <a:gd name="connsiteY73" fmla="*/ 749887 h 1125538"/>
                  <a:gd name="connsiteX74" fmla="*/ 1072013 w 1146175"/>
                  <a:gd name="connsiteY74" fmla="*/ 787738 h 1125538"/>
                  <a:gd name="connsiteX75" fmla="*/ 966241 w 1146175"/>
                  <a:gd name="connsiteY75" fmla="*/ 884150 h 1125538"/>
                  <a:gd name="connsiteX76" fmla="*/ 956950 w 1146175"/>
                  <a:gd name="connsiteY76" fmla="*/ 890577 h 1125538"/>
                  <a:gd name="connsiteX77" fmla="*/ 948374 w 1146175"/>
                  <a:gd name="connsiteY77" fmla="*/ 896291 h 1125538"/>
                  <a:gd name="connsiteX78" fmla="*/ 806154 w 1146175"/>
                  <a:gd name="connsiteY78" fmla="*/ 963422 h 1125538"/>
                  <a:gd name="connsiteX79" fmla="*/ 792575 w 1146175"/>
                  <a:gd name="connsiteY79" fmla="*/ 967707 h 1125538"/>
                  <a:gd name="connsiteX80" fmla="*/ 788287 w 1146175"/>
                  <a:gd name="connsiteY80" fmla="*/ 968422 h 1125538"/>
                  <a:gd name="connsiteX81" fmla="*/ 779711 w 1146175"/>
                  <a:gd name="connsiteY81" fmla="*/ 971278 h 1125538"/>
                  <a:gd name="connsiteX82" fmla="*/ 773994 w 1146175"/>
                  <a:gd name="connsiteY82" fmla="*/ 972707 h 1125538"/>
                  <a:gd name="connsiteX83" fmla="*/ 766132 w 1146175"/>
                  <a:gd name="connsiteY83" fmla="*/ 974135 h 1125538"/>
                  <a:gd name="connsiteX84" fmla="*/ 759700 w 1146175"/>
                  <a:gd name="connsiteY84" fmla="*/ 976277 h 1125538"/>
                  <a:gd name="connsiteX85" fmla="*/ 753983 w 1146175"/>
                  <a:gd name="connsiteY85" fmla="*/ 976992 h 1125538"/>
                  <a:gd name="connsiteX86" fmla="*/ 724681 w 1146175"/>
                  <a:gd name="connsiteY86" fmla="*/ 983419 h 1125538"/>
                  <a:gd name="connsiteX87" fmla="*/ 721822 w 1146175"/>
                  <a:gd name="connsiteY87" fmla="*/ 983419 h 1125538"/>
                  <a:gd name="connsiteX88" fmla="*/ 711102 w 1146175"/>
                  <a:gd name="connsiteY88" fmla="*/ 985562 h 1125538"/>
                  <a:gd name="connsiteX89" fmla="*/ 709673 w 1146175"/>
                  <a:gd name="connsiteY89" fmla="*/ 985562 h 1125538"/>
                  <a:gd name="connsiteX90" fmla="*/ 650355 w 1146175"/>
                  <a:gd name="connsiteY90" fmla="*/ 991989 h 1125538"/>
                  <a:gd name="connsiteX91" fmla="*/ 648211 w 1146175"/>
                  <a:gd name="connsiteY91" fmla="*/ 991989 h 1125538"/>
                  <a:gd name="connsiteX92" fmla="*/ 637491 w 1146175"/>
                  <a:gd name="connsiteY92" fmla="*/ 992703 h 1125538"/>
                  <a:gd name="connsiteX93" fmla="*/ 635347 w 1146175"/>
                  <a:gd name="connsiteY93" fmla="*/ 992703 h 1125538"/>
                  <a:gd name="connsiteX94" fmla="*/ 621053 w 1146175"/>
                  <a:gd name="connsiteY94" fmla="*/ 992703 h 1125538"/>
                  <a:gd name="connsiteX95" fmla="*/ 620338 w 1146175"/>
                  <a:gd name="connsiteY95" fmla="*/ 992703 h 1125538"/>
                  <a:gd name="connsiteX96" fmla="*/ 612477 w 1146175"/>
                  <a:gd name="connsiteY96" fmla="*/ 992703 h 1125538"/>
                  <a:gd name="connsiteX97" fmla="*/ 606045 w 1146175"/>
                  <a:gd name="connsiteY97" fmla="*/ 992703 h 1125538"/>
                  <a:gd name="connsiteX98" fmla="*/ 598898 w 1146175"/>
                  <a:gd name="connsiteY98" fmla="*/ 992703 h 1125538"/>
                  <a:gd name="connsiteX99" fmla="*/ 592466 w 1146175"/>
                  <a:gd name="connsiteY99" fmla="*/ 992703 h 1125538"/>
                  <a:gd name="connsiteX100" fmla="*/ 584605 w 1146175"/>
                  <a:gd name="connsiteY100" fmla="*/ 991989 h 1125538"/>
                  <a:gd name="connsiteX101" fmla="*/ 578887 w 1146175"/>
                  <a:gd name="connsiteY101" fmla="*/ 991989 h 1125538"/>
                  <a:gd name="connsiteX102" fmla="*/ 566738 w 1146175"/>
                  <a:gd name="connsiteY102" fmla="*/ 991275 h 1125538"/>
                  <a:gd name="connsiteX103" fmla="*/ 566023 w 1146175"/>
                  <a:gd name="connsiteY103" fmla="*/ 991275 h 1125538"/>
                  <a:gd name="connsiteX104" fmla="*/ 485265 w 1146175"/>
                  <a:gd name="connsiteY104" fmla="*/ 985562 h 1125538"/>
                  <a:gd name="connsiteX105" fmla="*/ 416656 w 1146175"/>
                  <a:gd name="connsiteY105" fmla="*/ 980562 h 1125538"/>
                  <a:gd name="connsiteX106" fmla="*/ 410939 w 1146175"/>
                  <a:gd name="connsiteY106" fmla="*/ 980562 h 1125538"/>
                  <a:gd name="connsiteX107" fmla="*/ 407365 w 1146175"/>
                  <a:gd name="connsiteY107" fmla="*/ 980562 h 1125538"/>
                  <a:gd name="connsiteX108" fmla="*/ 393072 w 1146175"/>
                  <a:gd name="connsiteY108" fmla="*/ 981991 h 1125538"/>
                  <a:gd name="connsiteX109" fmla="*/ 388784 w 1146175"/>
                  <a:gd name="connsiteY109" fmla="*/ 982705 h 1125538"/>
                  <a:gd name="connsiteX110" fmla="*/ 388784 w 1146175"/>
                  <a:gd name="connsiteY110" fmla="*/ 983419 h 1125538"/>
                  <a:gd name="connsiteX111" fmla="*/ 384496 w 1146175"/>
                  <a:gd name="connsiteY111" fmla="*/ 984133 h 1125538"/>
                  <a:gd name="connsiteX112" fmla="*/ 383781 w 1146175"/>
                  <a:gd name="connsiteY112" fmla="*/ 984847 h 1125538"/>
                  <a:gd name="connsiteX113" fmla="*/ 379493 w 1146175"/>
                  <a:gd name="connsiteY113" fmla="*/ 986276 h 1125538"/>
                  <a:gd name="connsiteX114" fmla="*/ 21441 w 1146175"/>
                  <a:gd name="connsiteY114" fmla="*/ 1124824 h 1125538"/>
                  <a:gd name="connsiteX115" fmla="*/ 15723 w 1146175"/>
                  <a:gd name="connsiteY115" fmla="*/ 1125538 h 1125538"/>
                  <a:gd name="connsiteX116" fmla="*/ 7147 w 1146175"/>
                  <a:gd name="connsiteY116" fmla="*/ 1122681 h 1125538"/>
                  <a:gd name="connsiteX117" fmla="*/ 0 w 1146175"/>
                  <a:gd name="connsiteY117" fmla="*/ 1109826 h 1125538"/>
                  <a:gd name="connsiteX118" fmla="*/ 0 w 1146175"/>
                  <a:gd name="connsiteY118" fmla="*/ 793451 h 1125538"/>
                  <a:gd name="connsiteX119" fmla="*/ 7862 w 1146175"/>
                  <a:gd name="connsiteY119" fmla="*/ 779882 h 1125538"/>
                  <a:gd name="connsiteX120" fmla="*/ 310169 w 1146175"/>
                  <a:gd name="connsiteY120" fmla="*/ 608482 h 1125538"/>
                  <a:gd name="connsiteX121" fmla="*/ 315887 w 1146175"/>
                  <a:gd name="connsiteY121" fmla="*/ 605625 h 1125538"/>
                  <a:gd name="connsiteX122" fmla="*/ 318031 w 1146175"/>
                  <a:gd name="connsiteY122" fmla="*/ 604197 h 1125538"/>
                  <a:gd name="connsiteX123" fmla="*/ 320889 w 1146175"/>
                  <a:gd name="connsiteY123" fmla="*/ 602768 h 1125538"/>
                  <a:gd name="connsiteX124" fmla="*/ 324463 w 1146175"/>
                  <a:gd name="connsiteY124" fmla="*/ 601340 h 1125538"/>
                  <a:gd name="connsiteX125" fmla="*/ 326607 w 1146175"/>
                  <a:gd name="connsiteY125" fmla="*/ 599912 h 1125538"/>
                  <a:gd name="connsiteX126" fmla="*/ 330180 w 1146175"/>
                  <a:gd name="connsiteY126" fmla="*/ 598483 h 1125538"/>
                  <a:gd name="connsiteX127" fmla="*/ 332324 w 1146175"/>
                  <a:gd name="connsiteY127" fmla="*/ 597769 h 1125538"/>
                  <a:gd name="connsiteX128" fmla="*/ 336612 w 1146175"/>
                  <a:gd name="connsiteY128" fmla="*/ 596341 h 1125538"/>
                  <a:gd name="connsiteX129" fmla="*/ 338042 w 1146175"/>
                  <a:gd name="connsiteY129" fmla="*/ 595627 h 1125538"/>
                  <a:gd name="connsiteX130" fmla="*/ 342330 w 1146175"/>
                  <a:gd name="connsiteY130" fmla="*/ 594198 h 1125538"/>
                  <a:gd name="connsiteX131" fmla="*/ 343044 w 1146175"/>
                  <a:gd name="connsiteY131" fmla="*/ 593484 h 1125538"/>
                  <a:gd name="connsiteX132" fmla="*/ 348047 w 1146175"/>
                  <a:gd name="connsiteY132" fmla="*/ 592056 h 1125538"/>
                  <a:gd name="connsiteX133" fmla="*/ 348762 w 1146175"/>
                  <a:gd name="connsiteY133" fmla="*/ 592056 h 1125538"/>
                  <a:gd name="connsiteX134" fmla="*/ 382352 w 1146175"/>
                  <a:gd name="connsiteY134" fmla="*/ 584914 h 1125538"/>
                  <a:gd name="connsiteX135" fmla="*/ 383781 w 1146175"/>
                  <a:gd name="connsiteY135" fmla="*/ 584914 h 1125538"/>
                  <a:gd name="connsiteX136" fmla="*/ 387354 w 1146175"/>
                  <a:gd name="connsiteY136" fmla="*/ 584914 h 1125538"/>
                  <a:gd name="connsiteX137" fmla="*/ 390213 w 1146175"/>
                  <a:gd name="connsiteY137" fmla="*/ 584200 h 1125538"/>
                  <a:gd name="connsiteX138" fmla="*/ 654433 w 1146175"/>
                  <a:gd name="connsiteY138" fmla="*/ 103187 h 1125538"/>
                  <a:gd name="connsiteX139" fmla="*/ 686457 w 1146175"/>
                  <a:gd name="connsiteY139" fmla="*/ 103187 h 1125538"/>
                  <a:gd name="connsiteX140" fmla="*/ 686457 w 1146175"/>
                  <a:gd name="connsiteY140" fmla="*/ 126776 h 1125538"/>
                  <a:gd name="connsiteX141" fmla="*/ 724174 w 1146175"/>
                  <a:gd name="connsiteY141" fmla="*/ 139643 h 1125538"/>
                  <a:gd name="connsiteX142" fmla="*/ 714211 w 1146175"/>
                  <a:gd name="connsiteY142" fmla="*/ 169665 h 1125538"/>
                  <a:gd name="connsiteX143" fmla="*/ 672936 w 1146175"/>
                  <a:gd name="connsiteY143" fmla="*/ 156083 h 1125538"/>
                  <a:gd name="connsiteX144" fmla="*/ 653722 w 1146175"/>
                  <a:gd name="connsiteY144" fmla="*/ 162517 h 1125538"/>
                  <a:gd name="connsiteX145" fmla="*/ 646605 w 1146175"/>
                  <a:gd name="connsiteY145" fmla="*/ 179672 h 1125538"/>
                  <a:gd name="connsiteX146" fmla="*/ 685034 w 1146175"/>
                  <a:gd name="connsiteY146" fmla="*/ 215413 h 1125538"/>
                  <a:gd name="connsiteX147" fmla="*/ 715634 w 1146175"/>
                  <a:gd name="connsiteY147" fmla="*/ 233998 h 1125538"/>
                  <a:gd name="connsiteX148" fmla="*/ 729155 w 1146175"/>
                  <a:gd name="connsiteY148" fmla="*/ 253298 h 1125538"/>
                  <a:gd name="connsiteX149" fmla="*/ 733425 w 1146175"/>
                  <a:gd name="connsiteY149" fmla="*/ 278317 h 1125538"/>
                  <a:gd name="connsiteX150" fmla="*/ 721327 w 1146175"/>
                  <a:gd name="connsiteY150" fmla="*/ 311198 h 1125538"/>
                  <a:gd name="connsiteX151" fmla="*/ 686457 w 1146175"/>
                  <a:gd name="connsiteY151" fmla="*/ 331213 h 1125538"/>
                  <a:gd name="connsiteX152" fmla="*/ 686457 w 1146175"/>
                  <a:gd name="connsiteY152" fmla="*/ 361950 h 1125538"/>
                  <a:gd name="connsiteX153" fmla="*/ 654433 w 1146175"/>
                  <a:gd name="connsiteY153" fmla="*/ 361950 h 1125538"/>
                  <a:gd name="connsiteX154" fmla="*/ 654433 w 1146175"/>
                  <a:gd name="connsiteY154" fmla="*/ 332643 h 1125538"/>
                  <a:gd name="connsiteX155" fmla="*/ 609600 w 1146175"/>
                  <a:gd name="connsiteY155" fmla="*/ 319061 h 1125538"/>
                  <a:gd name="connsiteX156" fmla="*/ 623833 w 1146175"/>
                  <a:gd name="connsiteY156" fmla="*/ 287609 h 1125538"/>
                  <a:gd name="connsiteX157" fmla="*/ 665820 w 1146175"/>
                  <a:gd name="connsiteY157" fmla="*/ 301906 h 1125538"/>
                  <a:gd name="connsiteX158" fmla="*/ 697132 w 1146175"/>
                  <a:gd name="connsiteY158" fmla="*/ 280461 h 1125538"/>
                  <a:gd name="connsiteX159" fmla="*/ 689304 w 1146175"/>
                  <a:gd name="connsiteY159" fmla="*/ 259732 h 1125538"/>
                  <a:gd name="connsiteX160" fmla="*/ 658703 w 1146175"/>
                  <a:gd name="connsiteY160" fmla="*/ 239002 h 1125538"/>
                  <a:gd name="connsiteX161" fmla="*/ 627391 w 1146175"/>
                  <a:gd name="connsiteY161" fmla="*/ 220417 h 1125538"/>
                  <a:gd name="connsiteX162" fmla="*/ 613870 w 1146175"/>
                  <a:gd name="connsiteY162" fmla="*/ 202546 h 1125538"/>
                  <a:gd name="connsiteX163" fmla="*/ 610312 w 1146175"/>
                  <a:gd name="connsiteY163" fmla="*/ 179672 h 1125538"/>
                  <a:gd name="connsiteX164" fmla="*/ 623121 w 1146175"/>
                  <a:gd name="connsiteY164" fmla="*/ 147506 h 1125538"/>
                  <a:gd name="connsiteX165" fmla="*/ 654433 w 1146175"/>
                  <a:gd name="connsiteY165" fmla="*/ 128920 h 1125538"/>
                  <a:gd name="connsiteX166" fmla="*/ 654433 w 1146175"/>
                  <a:gd name="connsiteY166" fmla="*/ 103187 h 1125538"/>
                  <a:gd name="connsiteX167" fmla="*/ 228600 w 1146175"/>
                  <a:gd name="connsiteY167" fmla="*/ 31750 h 1125538"/>
                  <a:gd name="connsiteX168" fmla="*/ 228600 w 1146175"/>
                  <a:gd name="connsiteY168" fmla="*/ 431800 h 1125538"/>
                  <a:gd name="connsiteX169" fmla="*/ 1114425 w 1146175"/>
                  <a:gd name="connsiteY169" fmla="*/ 431800 h 1125538"/>
                  <a:gd name="connsiteX170" fmla="*/ 1114425 w 1146175"/>
                  <a:gd name="connsiteY170" fmla="*/ 31750 h 1125538"/>
                  <a:gd name="connsiteX171" fmla="*/ 209003 w 1146175"/>
                  <a:gd name="connsiteY171" fmla="*/ 0 h 1125538"/>
                  <a:gd name="connsiteX172" fmla="*/ 1134023 w 1146175"/>
                  <a:gd name="connsiteY172" fmla="*/ 0 h 1125538"/>
                  <a:gd name="connsiteX173" fmla="*/ 1146175 w 1146175"/>
                  <a:gd name="connsiteY173" fmla="*/ 11428 h 1125538"/>
                  <a:gd name="connsiteX174" fmla="*/ 1146175 w 1146175"/>
                  <a:gd name="connsiteY174" fmla="*/ 451408 h 1125538"/>
                  <a:gd name="connsiteX175" fmla="*/ 1134023 w 1146175"/>
                  <a:gd name="connsiteY175" fmla="*/ 463550 h 1125538"/>
                  <a:gd name="connsiteX176" fmla="*/ 209003 w 1146175"/>
                  <a:gd name="connsiteY176" fmla="*/ 463550 h 1125538"/>
                  <a:gd name="connsiteX177" fmla="*/ 196850 w 1146175"/>
                  <a:gd name="connsiteY177" fmla="*/ 451408 h 1125538"/>
                  <a:gd name="connsiteX178" fmla="*/ 196850 w 1146175"/>
                  <a:gd name="connsiteY178" fmla="*/ 11428 h 1125538"/>
                  <a:gd name="connsiteX179" fmla="*/ 209003 w 1146175"/>
                  <a:gd name="connsiteY179" fmla="*/ 0 h 1125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46175" h="1125538">
                    <a:moveTo>
                      <a:pt x="409739" y="615791"/>
                    </a:moveTo>
                    <a:cubicBezTo>
                      <a:pt x="380443" y="614362"/>
                      <a:pt x="351147" y="621508"/>
                      <a:pt x="326138" y="635801"/>
                    </a:cubicBezTo>
                    <a:cubicBezTo>
                      <a:pt x="326138" y="635801"/>
                      <a:pt x="326138" y="635801"/>
                      <a:pt x="31750" y="803020"/>
                    </a:cubicBezTo>
                    <a:cubicBezTo>
                      <a:pt x="31750" y="803020"/>
                      <a:pt x="31750" y="803020"/>
                      <a:pt x="31750" y="1087437"/>
                    </a:cubicBezTo>
                    <a:cubicBezTo>
                      <a:pt x="31750" y="1087437"/>
                      <a:pt x="31750" y="1087437"/>
                      <a:pt x="368296" y="957377"/>
                    </a:cubicBezTo>
                    <a:cubicBezTo>
                      <a:pt x="384730" y="950946"/>
                      <a:pt x="401879" y="948087"/>
                      <a:pt x="419028" y="949516"/>
                    </a:cubicBezTo>
                    <a:cubicBezTo>
                      <a:pt x="419028" y="949516"/>
                      <a:pt x="419028" y="949516"/>
                      <a:pt x="568366" y="960236"/>
                    </a:cubicBezTo>
                    <a:cubicBezTo>
                      <a:pt x="645535" y="965953"/>
                      <a:pt x="722705" y="956663"/>
                      <a:pt x="797017" y="933795"/>
                    </a:cubicBezTo>
                    <a:cubicBezTo>
                      <a:pt x="894908" y="903067"/>
                      <a:pt x="981367" y="845897"/>
                      <a:pt x="1047818" y="767290"/>
                    </a:cubicBezTo>
                    <a:cubicBezTo>
                      <a:pt x="1047818" y="767290"/>
                      <a:pt x="1047818" y="767290"/>
                      <a:pt x="1079972" y="730130"/>
                    </a:cubicBezTo>
                    <a:cubicBezTo>
                      <a:pt x="1098550" y="707977"/>
                      <a:pt x="1096407" y="675104"/>
                      <a:pt x="1074971" y="655810"/>
                    </a:cubicBezTo>
                    <a:cubicBezTo>
                      <a:pt x="1064253" y="646520"/>
                      <a:pt x="1050676" y="641517"/>
                      <a:pt x="1036386" y="642232"/>
                    </a:cubicBezTo>
                    <a:cubicBezTo>
                      <a:pt x="1022095" y="642947"/>
                      <a:pt x="1008519" y="649378"/>
                      <a:pt x="999230" y="660097"/>
                    </a:cubicBezTo>
                    <a:cubicBezTo>
                      <a:pt x="999230" y="660097"/>
                      <a:pt x="999230" y="660097"/>
                      <a:pt x="951356" y="713694"/>
                    </a:cubicBezTo>
                    <a:cubicBezTo>
                      <a:pt x="912771" y="758000"/>
                      <a:pt x="862039" y="789443"/>
                      <a:pt x="805591" y="805164"/>
                    </a:cubicBezTo>
                    <a:cubicBezTo>
                      <a:pt x="740568" y="823744"/>
                      <a:pt x="670544" y="819457"/>
                      <a:pt x="608380" y="794445"/>
                    </a:cubicBezTo>
                    <a:cubicBezTo>
                      <a:pt x="608380" y="794445"/>
                      <a:pt x="608380" y="794445"/>
                      <a:pt x="553360" y="772292"/>
                    </a:cubicBezTo>
                    <a:cubicBezTo>
                      <a:pt x="546930" y="769434"/>
                      <a:pt x="542642" y="763002"/>
                      <a:pt x="544071" y="755856"/>
                    </a:cubicBezTo>
                    <a:cubicBezTo>
                      <a:pt x="544786" y="748710"/>
                      <a:pt x="550502" y="742993"/>
                      <a:pt x="557648" y="742278"/>
                    </a:cubicBezTo>
                    <a:cubicBezTo>
                      <a:pt x="557648" y="742278"/>
                      <a:pt x="557648" y="742278"/>
                      <a:pt x="715560" y="726557"/>
                    </a:cubicBezTo>
                    <a:cubicBezTo>
                      <a:pt x="740568" y="724413"/>
                      <a:pt x="759146" y="703689"/>
                      <a:pt x="759146" y="679392"/>
                    </a:cubicBezTo>
                    <a:cubicBezTo>
                      <a:pt x="759146" y="653666"/>
                      <a:pt x="739139" y="632942"/>
                      <a:pt x="713416" y="631513"/>
                    </a:cubicBezTo>
                    <a:cubicBezTo>
                      <a:pt x="713416" y="631513"/>
                      <a:pt x="713416" y="631513"/>
                      <a:pt x="409739" y="615791"/>
                    </a:cubicBezTo>
                    <a:close/>
                    <a:moveTo>
                      <a:pt x="390213" y="584200"/>
                    </a:moveTo>
                    <a:cubicBezTo>
                      <a:pt x="391642" y="584200"/>
                      <a:pt x="392357" y="584200"/>
                      <a:pt x="393786" y="584200"/>
                    </a:cubicBezTo>
                    <a:cubicBezTo>
                      <a:pt x="394501" y="584200"/>
                      <a:pt x="395930" y="584200"/>
                      <a:pt x="396645" y="584200"/>
                    </a:cubicBezTo>
                    <a:cubicBezTo>
                      <a:pt x="398074" y="584200"/>
                      <a:pt x="398789" y="584200"/>
                      <a:pt x="399504" y="584200"/>
                    </a:cubicBezTo>
                    <a:cubicBezTo>
                      <a:pt x="400933" y="584200"/>
                      <a:pt x="401648" y="584200"/>
                      <a:pt x="403077" y="584200"/>
                    </a:cubicBezTo>
                    <a:cubicBezTo>
                      <a:pt x="405221" y="584200"/>
                      <a:pt x="408080" y="584200"/>
                      <a:pt x="410939" y="584200"/>
                    </a:cubicBezTo>
                    <a:cubicBezTo>
                      <a:pt x="410939" y="584200"/>
                      <a:pt x="410939" y="584200"/>
                      <a:pt x="715390" y="599912"/>
                    </a:cubicBezTo>
                    <a:cubicBezTo>
                      <a:pt x="743263" y="601340"/>
                      <a:pt x="766847" y="617766"/>
                      <a:pt x="780426" y="640619"/>
                    </a:cubicBezTo>
                    <a:cubicBezTo>
                      <a:pt x="781140" y="642048"/>
                      <a:pt x="781855" y="643476"/>
                      <a:pt x="782570" y="644904"/>
                    </a:cubicBezTo>
                    <a:cubicBezTo>
                      <a:pt x="785428" y="650618"/>
                      <a:pt x="787572" y="657045"/>
                      <a:pt x="789002" y="663473"/>
                    </a:cubicBezTo>
                    <a:cubicBezTo>
                      <a:pt x="789716" y="668472"/>
                      <a:pt x="790431" y="673471"/>
                      <a:pt x="790431" y="679184"/>
                    </a:cubicBezTo>
                    <a:cubicBezTo>
                      <a:pt x="790431" y="681327"/>
                      <a:pt x="790431" y="682755"/>
                      <a:pt x="789716" y="684898"/>
                    </a:cubicBezTo>
                    <a:cubicBezTo>
                      <a:pt x="789716" y="684898"/>
                      <a:pt x="789716" y="685612"/>
                      <a:pt x="789716" y="685612"/>
                    </a:cubicBezTo>
                    <a:cubicBezTo>
                      <a:pt x="789716" y="687754"/>
                      <a:pt x="789716" y="689183"/>
                      <a:pt x="789002" y="691325"/>
                    </a:cubicBezTo>
                    <a:cubicBezTo>
                      <a:pt x="786143" y="709893"/>
                      <a:pt x="776852" y="726319"/>
                      <a:pt x="763988" y="738460"/>
                    </a:cubicBezTo>
                    <a:cubicBezTo>
                      <a:pt x="763988" y="738460"/>
                      <a:pt x="763273" y="738460"/>
                      <a:pt x="763273" y="738460"/>
                    </a:cubicBezTo>
                    <a:cubicBezTo>
                      <a:pt x="761844" y="739888"/>
                      <a:pt x="760415" y="740603"/>
                      <a:pt x="758985" y="742031"/>
                    </a:cubicBezTo>
                    <a:cubicBezTo>
                      <a:pt x="757556" y="743459"/>
                      <a:pt x="756127" y="744173"/>
                      <a:pt x="754697" y="744888"/>
                    </a:cubicBezTo>
                    <a:cubicBezTo>
                      <a:pt x="753983" y="745602"/>
                      <a:pt x="753983" y="745602"/>
                      <a:pt x="753983" y="745602"/>
                    </a:cubicBezTo>
                    <a:cubicBezTo>
                      <a:pt x="752553" y="746316"/>
                      <a:pt x="751124" y="747744"/>
                      <a:pt x="749695" y="748458"/>
                    </a:cubicBezTo>
                    <a:cubicBezTo>
                      <a:pt x="748980" y="748458"/>
                      <a:pt x="748265" y="748458"/>
                      <a:pt x="748265" y="749173"/>
                    </a:cubicBezTo>
                    <a:cubicBezTo>
                      <a:pt x="746836" y="749887"/>
                      <a:pt x="745407" y="750601"/>
                      <a:pt x="743263" y="751315"/>
                    </a:cubicBezTo>
                    <a:cubicBezTo>
                      <a:pt x="743263" y="751315"/>
                      <a:pt x="742548" y="751315"/>
                      <a:pt x="742548" y="752029"/>
                    </a:cubicBezTo>
                    <a:cubicBezTo>
                      <a:pt x="741118" y="752029"/>
                      <a:pt x="739689" y="752743"/>
                      <a:pt x="738260" y="753458"/>
                    </a:cubicBezTo>
                    <a:cubicBezTo>
                      <a:pt x="731828" y="755600"/>
                      <a:pt x="725396" y="757028"/>
                      <a:pt x="718964" y="757743"/>
                    </a:cubicBezTo>
                    <a:cubicBezTo>
                      <a:pt x="718964" y="757743"/>
                      <a:pt x="718964" y="757743"/>
                      <a:pt x="624626" y="767027"/>
                    </a:cubicBezTo>
                    <a:cubicBezTo>
                      <a:pt x="662504" y="781310"/>
                      <a:pt x="703241" y="787023"/>
                      <a:pt x="743263" y="784167"/>
                    </a:cubicBezTo>
                    <a:cubicBezTo>
                      <a:pt x="753983" y="783453"/>
                      <a:pt x="764703" y="782024"/>
                      <a:pt x="775423" y="779882"/>
                    </a:cubicBezTo>
                    <a:cubicBezTo>
                      <a:pt x="778996" y="779168"/>
                      <a:pt x="781855" y="778453"/>
                      <a:pt x="785428" y="777739"/>
                    </a:cubicBezTo>
                    <a:cubicBezTo>
                      <a:pt x="786143" y="777739"/>
                      <a:pt x="786143" y="777739"/>
                      <a:pt x="786858" y="777025"/>
                    </a:cubicBezTo>
                    <a:cubicBezTo>
                      <a:pt x="790431" y="776311"/>
                      <a:pt x="793290" y="775597"/>
                      <a:pt x="796863" y="774883"/>
                    </a:cubicBezTo>
                    <a:cubicBezTo>
                      <a:pt x="806869" y="772026"/>
                      <a:pt x="816874" y="768455"/>
                      <a:pt x="826880" y="764170"/>
                    </a:cubicBezTo>
                    <a:cubicBezTo>
                      <a:pt x="857611" y="752029"/>
                      <a:pt x="885483" y="734175"/>
                      <a:pt x="909782" y="711322"/>
                    </a:cubicBezTo>
                    <a:cubicBezTo>
                      <a:pt x="916214" y="705608"/>
                      <a:pt x="921931" y="699181"/>
                      <a:pt x="928363" y="692753"/>
                    </a:cubicBezTo>
                    <a:cubicBezTo>
                      <a:pt x="928363" y="692753"/>
                      <a:pt x="928363" y="692753"/>
                      <a:pt x="975532" y="639191"/>
                    </a:cubicBezTo>
                    <a:cubicBezTo>
                      <a:pt x="976961" y="637763"/>
                      <a:pt x="977676" y="637048"/>
                      <a:pt x="978391" y="635620"/>
                    </a:cubicBezTo>
                    <a:cubicBezTo>
                      <a:pt x="979105" y="635620"/>
                      <a:pt x="979105" y="635620"/>
                      <a:pt x="979105" y="635620"/>
                    </a:cubicBezTo>
                    <a:cubicBezTo>
                      <a:pt x="994114" y="620623"/>
                      <a:pt x="1013410" y="612053"/>
                      <a:pt x="1034135" y="610624"/>
                    </a:cubicBezTo>
                    <a:cubicBezTo>
                      <a:pt x="1034850" y="610624"/>
                      <a:pt x="1034850" y="610624"/>
                      <a:pt x="1034850" y="610624"/>
                    </a:cubicBezTo>
                    <a:cubicBezTo>
                      <a:pt x="1036279" y="610624"/>
                      <a:pt x="1037709" y="610624"/>
                      <a:pt x="1039138" y="610624"/>
                    </a:cubicBezTo>
                    <a:cubicBezTo>
                      <a:pt x="1039138" y="610624"/>
                      <a:pt x="1039853" y="610624"/>
                      <a:pt x="1040567" y="610624"/>
                    </a:cubicBezTo>
                    <a:cubicBezTo>
                      <a:pt x="1054146" y="610624"/>
                      <a:pt x="1067725" y="614909"/>
                      <a:pt x="1079875" y="621337"/>
                    </a:cubicBezTo>
                    <a:cubicBezTo>
                      <a:pt x="1081304" y="622051"/>
                      <a:pt x="1082019" y="622765"/>
                      <a:pt x="1083448" y="623479"/>
                    </a:cubicBezTo>
                    <a:cubicBezTo>
                      <a:pt x="1084877" y="624193"/>
                      <a:pt x="1085592" y="624908"/>
                      <a:pt x="1086307" y="624908"/>
                    </a:cubicBezTo>
                    <a:cubicBezTo>
                      <a:pt x="1087021" y="625622"/>
                      <a:pt x="1087021" y="625622"/>
                      <a:pt x="1087021" y="625622"/>
                    </a:cubicBezTo>
                    <a:cubicBezTo>
                      <a:pt x="1087736" y="626336"/>
                      <a:pt x="1089165" y="627050"/>
                      <a:pt x="1089880" y="627764"/>
                    </a:cubicBezTo>
                    <a:cubicBezTo>
                      <a:pt x="1089880" y="627764"/>
                      <a:pt x="1090595" y="628478"/>
                      <a:pt x="1090595" y="628478"/>
                    </a:cubicBezTo>
                    <a:cubicBezTo>
                      <a:pt x="1091309" y="629193"/>
                      <a:pt x="1092024" y="629193"/>
                      <a:pt x="1092739" y="629907"/>
                    </a:cubicBezTo>
                    <a:cubicBezTo>
                      <a:pt x="1093453" y="630621"/>
                      <a:pt x="1094168" y="631335"/>
                      <a:pt x="1095597" y="632049"/>
                    </a:cubicBezTo>
                    <a:cubicBezTo>
                      <a:pt x="1095597" y="632049"/>
                      <a:pt x="1095597" y="632763"/>
                      <a:pt x="1095597" y="632763"/>
                    </a:cubicBezTo>
                    <a:cubicBezTo>
                      <a:pt x="1129902" y="663473"/>
                      <a:pt x="1133475" y="714893"/>
                      <a:pt x="1103459" y="749887"/>
                    </a:cubicBezTo>
                    <a:cubicBezTo>
                      <a:pt x="1103459" y="749887"/>
                      <a:pt x="1103459" y="749887"/>
                      <a:pt x="1072013" y="787738"/>
                    </a:cubicBezTo>
                    <a:cubicBezTo>
                      <a:pt x="1040567" y="824160"/>
                      <a:pt x="1004834" y="857012"/>
                      <a:pt x="966241" y="884150"/>
                    </a:cubicBezTo>
                    <a:cubicBezTo>
                      <a:pt x="963383" y="886292"/>
                      <a:pt x="959809" y="888435"/>
                      <a:pt x="956950" y="890577"/>
                    </a:cubicBezTo>
                    <a:cubicBezTo>
                      <a:pt x="954092" y="892720"/>
                      <a:pt x="951233" y="894862"/>
                      <a:pt x="948374" y="896291"/>
                    </a:cubicBezTo>
                    <a:cubicBezTo>
                      <a:pt x="904779" y="924857"/>
                      <a:pt x="856896" y="947711"/>
                      <a:pt x="806154" y="963422"/>
                    </a:cubicBezTo>
                    <a:cubicBezTo>
                      <a:pt x="801866" y="964851"/>
                      <a:pt x="797578" y="966279"/>
                      <a:pt x="792575" y="967707"/>
                    </a:cubicBezTo>
                    <a:cubicBezTo>
                      <a:pt x="791146" y="967707"/>
                      <a:pt x="789716" y="968422"/>
                      <a:pt x="788287" y="968422"/>
                    </a:cubicBezTo>
                    <a:cubicBezTo>
                      <a:pt x="785428" y="969136"/>
                      <a:pt x="782570" y="970564"/>
                      <a:pt x="779711" y="971278"/>
                    </a:cubicBezTo>
                    <a:cubicBezTo>
                      <a:pt x="777567" y="971278"/>
                      <a:pt x="775423" y="971992"/>
                      <a:pt x="773994" y="972707"/>
                    </a:cubicBezTo>
                    <a:cubicBezTo>
                      <a:pt x="771135" y="973421"/>
                      <a:pt x="768991" y="973421"/>
                      <a:pt x="766132" y="974135"/>
                    </a:cubicBezTo>
                    <a:cubicBezTo>
                      <a:pt x="763988" y="974849"/>
                      <a:pt x="761844" y="975563"/>
                      <a:pt x="759700" y="976277"/>
                    </a:cubicBezTo>
                    <a:cubicBezTo>
                      <a:pt x="757556" y="976277"/>
                      <a:pt x="756127" y="976992"/>
                      <a:pt x="753983" y="976992"/>
                    </a:cubicBezTo>
                    <a:cubicBezTo>
                      <a:pt x="743977" y="979134"/>
                      <a:pt x="733972" y="981277"/>
                      <a:pt x="724681" y="983419"/>
                    </a:cubicBezTo>
                    <a:cubicBezTo>
                      <a:pt x="723252" y="983419"/>
                      <a:pt x="722537" y="983419"/>
                      <a:pt x="721822" y="983419"/>
                    </a:cubicBezTo>
                    <a:cubicBezTo>
                      <a:pt x="718249" y="984133"/>
                      <a:pt x="714676" y="984847"/>
                      <a:pt x="711102" y="985562"/>
                    </a:cubicBezTo>
                    <a:cubicBezTo>
                      <a:pt x="710387" y="985562"/>
                      <a:pt x="710387" y="985562"/>
                      <a:pt x="709673" y="985562"/>
                    </a:cubicBezTo>
                    <a:cubicBezTo>
                      <a:pt x="689662" y="988418"/>
                      <a:pt x="670366" y="990561"/>
                      <a:pt x="650355" y="991989"/>
                    </a:cubicBezTo>
                    <a:cubicBezTo>
                      <a:pt x="649640" y="991989"/>
                      <a:pt x="648925" y="991989"/>
                      <a:pt x="648211" y="991989"/>
                    </a:cubicBezTo>
                    <a:cubicBezTo>
                      <a:pt x="644637" y="991989"/>
                      <a:pt x="641064" y="991989"/>
                      <a:pt x="637491" y="992703"/>
                    </a:cubicBezTo>
                    <a:cubicBezTo>
                      <a:pt x="636776" y="992703"/>
                      <a:pt x="636061" y="992703"/>
                      <a:pt x="635347" y="992703"/>
                    </a:cubicBezTo>
                    <a:cubicBezTo>
                      <a:pt x="630344" y="992703"/>
                      <a:pt x="626056" y="992703"/>
                      <a:pt x="621053" y="992703"/>
                    </a:cubicBezTo>
                    <a:cubicBezTo>
                      <a:pt x="621053" y="992703"/>
                      <a:pt x="620338" y="992703"/>
                      <a:pt x="620338" y="992703"/>
                    </a:cubicBezTo>
                    <a:cubicBezTo>
                      <a:pt x="617480" y="992703"/>
                      <a:pt x="614621" y="992703"/>
                      <a:pt x="612477" y="992703"/>
                    </a:cubicBezTo>
                    <a:cubicBezTo>
                      <a:pt x="610333" y="992703"/>
                      <a:pt x="608189" y="992703"/>
                      <a:pt x="606045" y="992703"/>
                    </a:cubicBezTo>
                    <a:cubicBezTo>
                      <a:pt x="603901" y="992703"/>
                      <a:pt x="601042" y="992703"/>
                      <a:pt x="598898" y="992703"/>
                    </a:cubicBezTo>
                    <a:cubicBezTo>
                      <a:pt x="596754" y="992703"/>
                      <a:pt x="594610" y="992703"/>
                      <a:pt x="592466" y="992703"/>
                    </a:cubicBezTo>
                    <a:cubicBezTo>
                      <a:pt x="589607" y="992703"/>
                      <a:pt x="587463" y="992703"/>
                      <a:pt x="584605" y="991989"/>
                    </a:cubicBezTo>
                    <a:cubicBezTo>
                      <a:pt x="582461" y="991989"/>
                      <a:pt x="581031" y="991989"/>
                      <a:pt x="578887" y="991989"/>
                    </a:cubicBezTo>
                    <a:cubicBezTo>
                      <a:pt x="575314" y="991989"/>
                      <a:pt x="571026" y="991275"/>
                      <a:pt x="566738" y="991275"/>
                    </a:cubicBezTo>
                    <a:cubicBezTo>
                      <a:pt x="566738" y="991275"/>
                      <a:pt x="566023" y="991275"/>
                      <a:pt x="566023" y="991275"/>
                    </a:cubicBezTo>
                    <a:cubicBezTo>
                      <a:pt x="566023" y="991275"/>
                      <a:pt x="566023" y="991275"/>
                      <a:pt x="485265" y="985562"/>
                    </a:cubicBezTo>
                    <a:cubicBezTo>
                      <a:pt x="485265" y="985562"/>
                      <a:pt x="485265" y="985562"/>
                      <a:pt x="416656" y="980562"/>
                    </a:cubicBezTo>
                    <a:cubicBezTo>
                      <a:pt x="415227" y="980562"/>
                      <a:pt x="413083" y="980562"/>
                      <a:pt x="410939" y="980562"/>
                    </a:cubicBezTo>
                    <a:cubicBezTo>
                      <a:pt x="410224" y="980562"/>
                      <a:pt x="408794" y="980562"/>
                      <a:pt x="407365" y="980562"/>
                    </a:cubicBezTo>
                    <a:cubicBezTo>
                      <a:pt x="402362" y="980562"/>
                      <a:pt x="398074" y="981277"/>
                      <a:pt x="393072" y="981991"/>
                    </a:cubicBezTo>
                    <a:cubicBezTo>
                      <a:pt x="391642" y="982705"/>
                      <a:pt x="390213" y="982705"/>
                      <a:pt x="388784" y="982705"/>
                    </a:cubicBezTo>
                    <a:cubicBezTo>
                      <a:pt x="388784" y="983419"/>
                      <a:pt x="388784" y="983419"/>
                      <a:pt x="388784" y="983419"/>
                    </a:cubicBezTo>
                    <a:cubicBezTo>
                      <a:pt x="387354" y="983419"/>
                      <a:pt x="385925" y="984133"/>
                      <a:pt x="384496" y="984133"/>
                    </a:cubicBezTo>
                    <a:cubicBezTo>
                      <a:pt x="384496" y="984133"/>
                      <a:pt x="384496" y="984133"/>
                      <a:pt x="383781" y="984847"/>
                    </a:cubicBezTo>
                    <a:cubicBezTo>
                      <a:pt x="382352" y="984847"/>
                      <a:pt x="380922" y="985562"/>
                      <a:pt x="379493" y="986276"/>
                    </a:cubicBezTo>
                    <a:cubicBezTo>
                      <a:pt x="379493" y="986276"/>
                      <a:pt x="379493" y="986276"/>
                      <a:pt x="21441" y="1124824"/>
                    </a:cubicBezTo>
                    <a:cubicBezTo>
                      <a:pt x="20011" y="1125538"/>
                      <a:pt x="17867" y="1125538"/>
                      <a:pt x="15723" y="1125538"/>
                    </a:cubicBezTo>
                    <a:cubicBezTo>
                      <a:pt x="12864" y="1125538"/>
                      <a:pt x="10006" y="1124824"/>
                      <a:pt x="7147" y="1122681"/>
                    </a:cubicBezTo>
                    <a:cubicBezTo>
                      <a:pt x="2859" y="1119825"/>
                      <a:pt x="0" y="1114826"/>
                      <a:pt x="0" y="1109826"/>
                    </a:cubicBezTo>
                    <a:cubicBezTo>
                      <a:pt x="0" y="1109826"/>
                      <a:pt x="0" y="1109826"/>
                      <a:pt x="0" y="793451"/>
                    </a:cubicBezTo>
                    <a:cubicBezTo>
                      <a:pt x="0" y="787738"/>
                      <a:pt x="3574" y="782738"/>
                      <a:pt x="7862" y="779882"/>
                    </a:cubicBezTo>
                    <a:cubicBezTo>
                      <a:pt x="7862" y="779882"/>
                      <a:pt x="7862" y="779882"/>
                      <a:pt x="310169" y="608482"/>
                    </a:cubicBezTo>
                    <a:cubicBezTo>
                      <a:pt x="311599" y="607053"/>
                      <a:pt x="313743" y="606339"/>
                      <a:pt x="315887" y="605625"/>
                    </a:cubicBezTo>
                    <a:cubicBezTo>
                      <a:pt x="316601" y="604911"/>
                      <a:pt x="317316" y="604911"/>
                      <a:pt x="318031" y="604197"/>
                    </a:cubicBezTo>
                    <a:cubicBezTo>
                      <a:pt x="318745" y="603483"/>
                      <a:pt x="320175" y="602768"/>
                      <a:pt x="320889" y="602768"/>
                    </a:cubicBezTo>
                    <a:cubicBezTo>
                      <a:pt x="322319" y="602054"/>
                      <a:pt x="323033" y="601340"/>
                      <a:pt x="324463" y="601340"/>
                    </a:cubicBezTo>
                    <a:cubicBezTo>
                      <a:pt x="325177" y="600626"/>
                      <a:pt x="325892" y="600626"/>
                      <a:pt x="326607" y="599912"/>
                    </a:cubicBezTo>
                    <a:cubicBezTo>
                      <a:pt x="328036" y="599198"/>
                      <a:pt x="329466" y="599198"/>
                      <a:pt x="330180" y="598483"/>
                    </a:cubicBezTo>
                    <a:cubicBezTo>
                      <a:pt x="330895" y="598483"/>
                      <a:pt x="331610" y="597769"/>
                      <a:pt x="332324" y="597769"/>
                    </a:cubicBezTo>
                    <a:cubicBezTo>
                      <a:pt x="333754" y="597055"/>
                      <a:pt x="335183" y="596341"/>
                      <a:pt x="336612" y="596341"/>
                    </a:cubicBezTo>
                    <a:cubicBezTo>
                      <a:pt x="336612" y="595627"/>
                      <a:pt x="337327" y="595627"/>
                      <a:pt x="338042" y="595627"/>
                    </a:cubicBezTo>
                    <a:cubicBezTo>
                      <a:pt x="339471" y="594913"/>
                      <a:pt x="340900" y="594198"/>
                      <a:pt x="342330" y="594198"/>
                    </a:cubicBezTo>
                    <a:cubicBezTo>
                      <a:pt x="343044" y="593484"/>
                      <a:pt x="343044" y="593484"/>
                      <a:pt x="343044" y="593484"/>
                    </a:cubicBezTo>
                    <a:cubicBezTo>
                      <a:pt x="345188" y="592770"/>
                      <a:pt x="346618" y="592770"/>
                      <a:pt x="348047" y="592056"/>
                    </a:cubicBezTo>
                    <a:cubicBezTo>
                      <a:pt x="348762" y="592056"/>
                      <a:pt x="348762" y="592056"/>
                      <a:pt x="348762" y="592056"/>
                    </a:cubicBezTo>
                    <a:cubicBezTo>
                      <a:pt x="360197" y="588485"/>
                      <a:pt x="370917" y="586343"/>
                      <a:pt x="382352" y="584914"/>
                    </a:cubicBezTo>
                    <a:cubicBezTo>
                      <a:pt x="383066" y="584914"/>
                      <a:pt x="383781" y="584914"/>
                      <a:pt x="383781" y="584914"/>
                    </a:cubicBezTo>
                    <a:cubicBezTo>
                      <a:pt x="385210" y="584914"/>
                      <a:pt x="386640" y="584914"/>
                      <a:pt x="387354" y="584914"/>
                    </a:cubicBezTo>
                    <a:cubicBezTo>
                      <a:pt x="388784" y="584914"/>
                      <a:pt x="389498" y="584914"/>
                      <a:pt x="390213" y="584200"/>
                    </a:cubicBezTo>
                    <a:close/>
                    <a:moveTo>
                      <a:pt x="654433" y="103187"/>
                    </a:moveTo>
                    <a:cubicBezTo>
                      <a:pt x="686457" y="103187"/>
                      <a:pt x="686457" y="103187"/>
                      <a:pt x="686457" y="103187"/>
                    </a:cubicBezTo>
                    <a:cubicBezTo>
                      <a:pt x="686457" y="126776"/>
                      <a:pt x="686457" y="126776"/>
                      <a:pt x="686457" y="126776"/>
                    </a:cubicBezTo>
                    <a:cubicBezTo>
                      <a:pt x="702825" y="128920"/>
                      <a:pt x="716346" y="132495"/>
                      <a:pt x="724174" y="139643"/>
                    </a:cubicBezTo>
                    <a:cubicBezTo>
                      <a:pt x="714211" y="169665"/>
                      <a:pt x="714211" y="169665"/>
                      <a:pt x="714211" y="169665"/>
                    </a:cubicBezTo>
                    <a:cubicBezTo>
                      <a:pt x="700690" y="161087"/>
                      <a:pt x="687169" y="156083"/>
                      <a:pt x="672936" y="156083"/>
                    </a:cubicBezTo>
                    <a:cubicBezTo>
                      <a:pt x="665108" y="156083"/>
                      <a:pt x="658703" y="158228"/>
                      <a:pt x="653722" y="162517"/>
                    </a:cubicBezTo>
                    <a:cubicBezTo>
                      <a:pt x="648740" y="167520"/>
                      <a:pt x="646605" y="172524"/>
                      <a:pt x="646605" y="179672"/>
                    </a:cubicBezTo>
                    <a:cubicBezTo>
                      <a:pt x="646605" y="191109"/>
                      <a:pt x="659415" y="203261"/>
                      <a:pt x="685034" y="215413"/>
                    </a:cubicBezTo>
                    <a:cubicBezTo>
                      <a:pt x="698555" y="222561"/>
                      <a:pt x="709230" y="228280"/>
                      <a:pt x="715634" y="233998"/>
                    </a:cubicBezTo>
                    <a:cubicBezTo>
                      <a:pt x="722039" y="239717"/>
                      <a:pt x="725597" y="246150"/>
                      <a:pt x="729155" y="253298"/>
                    </a:cubicBezTo>
                    <a:cubicBezTo>
                      <a:pt x="732002" y="261161"/>
                      <a:pt x="733425" y="269024"/>
                      <a:pt x="733425" y="278317"/>
                    </a:cubicBezTo>
                    <a:cubicBezTo>
                      <a:pt x="733425" y="290469"/>
                      <a:pt x="729867" y="301906"/>
                      <a:pt x="721327" y="311198"/>
                    </a:cubicBezTo>
                    <a:cubicBezTo>
                      <a:pt x="712788" y="320491"/>
                      <a:pt x="700690" y="327639"/>
                      <a:pt x="686457" y="331213"/>
                    </a:cubicBezTo>
                    <a:cubicBezTo>
                      <a:pt x="686457" y="361950"/>
                      <a:pt x="686457" y="361950"/>
                      <a:pt x="686457" y="361950"/>
                    </a:cubicBezTo>
                    <a:cubicBezTo>
                      <a:pt x="654433" y="361950"/>
                      <a:pt x="654433" y="361950"/>
                      <a:pt x="654433" y="361950"/>
                    </a:cubicBezTo>
                    <a:cubicBezTo>
                      <a:pt x="654433" y="332643"/>
                      <a:pt x="654433" y="332643"/>
                      <a:pt x="654433" y="332643"/>
                    </a:cubicBezTo>
                    <a:cubicBezTo>
                      <a:pt x="638777" y="332643"/>
                      <a:pt x="623833" y="327639"/>
                      <a:pt x="609600" y="319061"/>
                    </a:cubicBezTo>
                    <a:cubicBezTo>
                      <a:pt x="623833" y="287609"/>
                      <a:pt x="623833" y="287609"/>
                      <a:pt x="623833" y="287609"/>
                    </a:cubicBezTo>
                    <a:cubicBezTo>
                      <a:pt x="638066" y="296902"/>
                      <a:pt x="652299" y="301906"/>
                      <a:pt x="665820" y="301906"/>
                    </a:cubicBezTo>
                    <a:cubicBezTo>
                      <a:pt x="687169" y="301906"/>
                      <a:pt x="697132" y="294758"/>
                      <a:pt x="697132" y="280461"/>
                    </a:cubicBezTo>
                    <a:cubicBezTo>
                      <a:pt x="697132" y="273313"/>
                      <a:pt x="694997" y="266165"/>
                      <a:pt x="689304" y="259732"/>
                    </a:cubicBezTo>
                    <a:cubicBezTo>
                      <a:pt x="683611" y="254013"/>
                      <a:pt x="673648" y="246865"/>
                      <a:pt x="658703" y="239002"/>
                    </a:cubicBezTo>
                    <a:cubicBezTo>
                      <a:pt x="643047" y="231854"/>
                      <a:pt x="633084" y="225420"/>
                      <a:pt x="627391" y="220417"/>
                    </a:cubicBezTo>
                    <a:cubicBezTo>
                      <a:pt x="621698" y="215413"/>
                      <a:pt x="618140" y="209695"/>
                      <a:pt x="613870" y="202546"/>
                    </a:cubicBezTo>
                    <a:cubicBezTo>
                      <a:pt x="611735" y="195398"/>
                      <a:pt x="610312" y="188250"/>
                      <a:pt x="610312" y="179672"/>
                    </a:cubicBezTo>
                    <a:cubicBezTo>
                      <a:pt x="610312" y="167520"/>
                      <a:pt x="613870" y="156083"/>
                      <a:pt x="623121" y="147506"/>
                    </a:cubicBezTo>
                    <a:cubicBezTo>
                      <a:pt x="630949" y="138213"/>
                      <a:pt x="640912" y="131780"/>
                      <a:pt x="654433" y="128920"/>
                    </a:cubicBezTo>
                    <a:cubicBezTo>
                      <a:pt x="654433" y="103187"/>
                      <a:pt x="654433" y="103187"/>
                      <a:pt x="654433" y="103187"/>
                    </a:cubicBezTo>
                    <a:close/>
                    <a:moveTo>
                      <a:pt x="228600" y="31750"/>
                    </a:moveTo>
                    <a:lnTo>
                      <a:pt x="228600" y="431800"/>
                    </a:lnTo>
                    <a:lnTo>
                      <a:pt x="1114425" y="431800"/>
                    </a:lnTo>
                    <a:lnTo>
                      <a:pt x="1114425" y="31750"/>
                    </a:lnTo>
                    <a:close/>
                    <a:moveTo>
                      <a:pt x="209003" y="0"/>
                    </a:moveTo>
                    <a:cubicBezTo>
                      <a:pt x="1134023" y="0"/>
                      <a:pt x="1134023" y="0"/>
                      <a:pt x="1134023" y="0"/>
                    </a:cubicBezTo>
                    <a:cubicBezTo>
                      <a:pt x="1141171" y="0"/>
                      <a:pt x="1146175" y="5000"/>
                      <a:pt x="1146175" y="11428"/>
                    </a:cubicBezTo>
                    <a:cubicBezTo>
                      <a:pt x="1146175" y="451408"/>
                      <a:pt x="1146175" y="451408"/>
                      <a:pt x="1146175" y="451408"/>
                    </a:cubicBezTo>
                    <a:cubicBezTo>
                      <a:pt x="1146175" y="457836"/>
                      <a:pt x="1141171" y="463550"/>
                      <a:pt x="1134023" y="463550"/>
                    </a:cubicBezTo>
                    <a:cubicBezTo>
                      <a:pt x="209003" y="463550"/>
                      <a:pt x="209003" y="463550"/>
                      <a:pt x="209003" y="463550"/>
                    </a:cubicBezTo>
                    <a:cubicBezTo>
                      <a:pt x="202569" y="463550"/>
                      <a:pt x="196850" y="457836"/>
                      <a:pt x="196850" y="451408"/>
                    </a:cubicBezTo>
                    <a:cubicBezTo>
                      <a:pt x="196850" y="11428"/>
                      <a:pt x="196850" y="11428"/>
                      <a:pt x="196850" y="11428"/>
                    </a:cubicBezTo>
                    <a:cubicBezTo>
                      <a:pt x="196850" y="5000"/>
                      <a:pt x="202569" y="0"/>
                      <a:pt x="209003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5" name="Group 34"/>
          <p:cNvGrpSpPr>
            <a:grpSpLocks noChangeAspect="1"/>
          </p:cNvGrpSpPr>
          <p:nvPr/>
        </p:nvGrpSpPr>
        <p:grpSpPr>
          <a:xfrm>
            <a:off x="5016572" y="3737660"/>
            <a:ext cx="362562" cy="362562"/>
            <a:chOff x="5272088" y="2605088"/>
            <a:chExt cx="1647825" cy="1647825"/>
          </a:xfrm>
        </p:grpSpPr>
        <p:sp>
          <p:nvSpPr>
            <p:cNvPr id="36" name="AutoShape 75"/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7825" cy="1647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443538" y="2757488"/>
              <a:ext cx="1306513" cy="1322388"/>
              <a:chOff x="5443538" y="2757488"/>
              <a:chExt cx="1306513" cy="1322388"/>
            </a:xfrm>
          </p:grpSpPr>
          <p:sp>
            <p:nvSpPr>
              <p:cNvPr id="38" name="Freeform 37"/>
              <p:cNvSpPr>
                <a:spLocks noChangeArrowheads="1"/>
              </p:cNvSpPr>
              <p:nvPr/>
            </p:nvSpPr>
            <p:spPr bwMode="auto">
              <a:xfrm>
                <a:off x="5443538" y="2757488"/>
                <a:ext cx="1306513" cy="1322388"/>
              </a:xfrm>
              <a:custGeom>
                <a:avLst/>
                <a:gdLst>
                  <a:gd name="connsiteX0" fmla="*/ 1221581 w 1306513"/>
                  <a:gd name="connsiteY0" fmla="*/ 1185863 h 1322388"/>
                  <a:gd name="connsiteX1" fmla="*/ 1168399 w 1306513"/>
                  <a:gd name="connsiteY1" fmla="*/ 1239045 h 1322388"/>
                  <a:gd name="connsiteX2" fmla="*/ 1221581 w 1306513"/>
                  <a:gd name="connsiteY2" fmla="*/ 1292227 h 1322388"/>
                  <a:gd name="connsiteX3" fmla="*/ 1274763 w 1306513"/>
                  <a:gd name="connsiteY3" fmla="*/ 1239045 h 1322388"/>
                  <a:gd name="connsiteX4" fmla="*/ 1221581 w 1306513"/>
                  <a:gd name="connsiteY4" fmla="*/ 1185863 h 1322388"/>
                  <a:gd name="connsiteX5" fmla="*/ 541338 w 1306513"/>
                  <a:gd name="connsiteY5" fmla="*/ 1185863 h 1322388"/>
                  <a:gd name="connsiteX6" fmla="*/ 488950 w 1306513"/>
                  <a:gd name="connsiteY6" fmla="*/ 1239045 h 1322388"/>
                  <a:gd name="connsiteX7" fmla="*/ 541338 w 1306513"/>
                  <a:gd name="connsiteY7" fmla="*/ 1292227 h 1322388"/>
                  <a:gd name="connsiteX8" fmla="*/ 593726 w 1306513"/>
                  <a:gd name="connsiteY8" fmla="*/ 1239045 h 1322388"/>
                  <a:gd name="connsiteX9" fmla="*/ 541338 w 1306513"/>
                  <a:gd name="connsiteY9" fmla="*/ 1185863 h 1322388"/>
                  <a:gd name="connsiteX10" fmla="*/ 86520 w 1306513"/>
                  <a:gd name="connsiteY10" fmla="*/ 1185863 h 1322388"/>
                  <a:gd name="connsiteX11" fmla="*/ 33338 w 1306513"/>
                  <a:gd name="connsiteY11" fmla="*/ 1239045 h 1322388"/>
                  <a:gd name="connsiteX12" fmla="*/ 86520 w 1306513"/>
                  <a:gd name="connsiteY12" fmla="*/ 1292227 h 1322388"/>
                  <a:gd name="connsiteX13" fmla="*/ 139702 w 1306513"/>
                  <a:gd name="connsiteY13" fmla="*/ 1239045 h 1322388"/>
                  <a:gd name="connsiteX14" fmla="*/ 86520 w 1306513"/>
                  <a:gd name="connsiteY14" fmla="*/ 1185863 h 1322388"/>
                  <a:gd name="connsiteX15" fmla="*/ 1221581 w 1306513"/>
                  <a:gd name="connsiteY15" fmla="*/ 1155700 h 1322388"/>
                  <a:gd name="connsiteX16" fmla="*/ 1306513 w 1306513"/>
                  <a:gd name="connsiteY16" fmla="*/ 1239044 h 1322388"/>
                  <a:gd name="connsiteX17" fmla="*/ 1221581 w 1306513"/>
                  <a:gd name="connsiteY17" fmla="*/ 1322388 h 1322388"/>
                  <a:gd name="connsiteX18" fmla="*/ 1136649 w 1306513"/>
                  <a:gd name="connsiteY18" fmla="*/ 1239044 h 1322388"/>
                  <a:gd name="connsiteX19" fmla="*/ 1221581 w 1306513"/>
                  <a:gd name="connsiteY19" fmla="*/ 1155700 h 1322388"/>
                  <a:gd name="connsiteX20" fmla="*/ 540544 w 1306513"/>
                  <a:gd name="connsiteY20" fmla="*/ 1155700 h 1322388"/>
                  <a:gd name="connsiteX21" fmla="*/ 623888 w 1306513"/>
                  <a:gd name="connsiteY21" fmla="*/ 1239044 h 1322388"/>
                  <a:gd name="connsiteX22" fmla="*/ 540544 w 1306513"/>
                  <a:gd name="connsiteY22" fmla="*/ 1322388 h 1322388"/>
                  <a:gd name="connsiteX23" fmla="*/ 457200 w 1306513"/>
                  <a:gd name="connsiteY23" fmla="*/ 1239044 h 1322388"/>
                  <a:gd name="connsiteX24" fmla="*/ 540544 w 1306513"/>
                  <a:gd name="connsiteY24" fmla="*/ 1155700 h 1322388"/>
                  <a:gd name="connsiteX25" fmla="*/ 314769 w 1306513"/>
                  <a:gd name="connsiteY25" fmla="*/ 1155700 h 1322388"/>
                  <a:gd name="connsiteX26" fmla="*/ 330201 w 1306513"/>
                  <a:gd name="connsiteY26" fmla="*/ 1171372 h 1322388"/>
                  <a:gd name="connsiteX27" fmla="*/ 330201 w 1306513"/>
                  <a:gd name="connsiteY27" fmla="*/ 1306717 h 1322388"/>
                  <a:gd name="connsiteX28" fmla="*/ 314769 w 1306513"/>
                  <a:gd name="connsiteY28" fmla="*/ 1322388 h 1322388"/>
                  <a:gd name="connsiteX29" fmla="*/ 300038 w 1306513"/>
                  <a:gd name="connsiteY29" fmla="*/ 1306717 h 1322388"/>
                  <a:gd name="connsiteX30" fmla="*/ 300038 w 1306513"/>
                  <a:gd name="connsiteY30" fmla="*/ 1171372 h 1322388"/>
                  <a:gd name="connsiteX31" fmla="*/ 314769 w 1306513"/>
                  <a:gd name="connsiteY31" fmla="*/ 1155700 h 1322388"/>
                  <a:gd name="connsiteX32" fmla="*/ 86519 w 1306513"/>
                  <a:gd name="connsiteY32" fmla="*/ 1155700 h 1322388"/>
                  <a:gd name="connsiteX33" fmla="*/ 169863 w 1306513"/>
                  <a:gd name="connsiteY33" fmla="*/ 1239044 h 1322388"/>
                  <a:gd name="connsiteX34" fmla="*/ 86519 w 1306513"/>
                  <a:gd name="connsiteY34" fmla="*/ 1322388 h 1322388"/>
                  <a:gd name="connsiteX35" fmla="*/ 3175 w 1306513"/>
                  <a:gd name="connsiteY35" fmla="*/ 1239044 h 1322388"/>
                  <a:gd name="connsiteX36" fmla="*/ 86519 w 1306513"/>
                  <a:gd name="connsiteY36" fmla="*/ 1155700 h 1322388"/>
                  <a:gd name="connsiteX37" fmla="*/ 1221581 w 1306513"/>
                  <a:gd name="connsiteY37" fmla="*/ 960438 h 1322388"/>
                  <a:gd name="connsiteX38" fmla="*/ 1168399 w 1306513"/>
                  <a:gd name="connsiteY38" fmla="*/ 1012032 h 1322388"/>
                  <a:gd name="connsiteX39" fmla="*/ 1221581 w 1306513"/>
                  <a:gd name="connsiteY39" fmla="*/ 1063626 h 1322388"/>
                  <a:gd name="connsiteX40" fmla="*/ 1274763 w 1306513"/>
                  <a:gd name="connsiteY40" fmla="*/ 1012032 h 1322388"/>
                  <a:gd name="connsiteX41" fmla="*/ 1221581 w 1306513"/>
                  <a:gd name="connsiteY41" fmla="*/ 960438 h 1322388"/>
                  <a:gd name="connsiteX42" fmla="*/ 541338 w 1306513"/>
                  <a:gd name="connsiteY42" fmla="*/ 960438 h 1322388"/>
                  <a:gd name="connsiteX43" fmla="*/ 488950 w 1306513"/>
                  <a:gd name="connsiteY43" fmla="*/ 1012032 h 1322388"/>
                  <a:gd name="connsiteX44" fmla="*/ 541338 w 1306513"/>
                  <a:gd name="connsiteY44" fmla="*/ 1063626 h 1322388"/>
                  <a:gd name="connsiteX45" fmla="*/ 593726 w 1306513"/>
                  <a:gd name="connsiteY45" fmla="*/ 1012032 h 1322388"/>
                  <a:gd name="connsiteX46" fmla="*/ 541338 w 1306513"/>
                  <a:gd name="connsiteY46" fmla="*/ 960438 h 1322388"/>
                  <a:gd name="connsiteX47" fmla="*/ 86520 w 1306513"/>
                  <a:gd name="connsiteY47" fmla="*/ 960438 h 1322388"/>
                  <a:gd name="connsiteX48" fmla="*/ 33338 w 1306513"/>
                  <a:gd name="connsiteY48" fmla="*/ 1012032 h 1322388"/>
                  <a:gd name="connsiteX49" fmla="*/ 86520 w 1306513"/>
                  <a:gd name="connsiteY49" fmla="*/ 1063626 h 1322388"/>
                  <a:gd name="connsiteX50" fmla="*/ 139702 w 1306513"/>
                  <a:gd name="connsiteY50" fmla="*/ 1012032 h 1322388"/>
                  <a:gd name="connsiteX51" fmla="*/ 86520 w 1306513"/>
                  <a:gd name="connsiteY51" fmla="*/ 960438 h 1322388"/>
                  <a:gd name="connsiteX52" fmla="*/ 1221581 w 1306513"/>
                  <a:gd name="connsiteY52" fmla="*/ 928688 h 1322388"/>
                  <a:gd name="connsiteX53" fmla="*/ 1306513 w 1306513"/>
                  <a:gd name="connsiteY53" fmla="*/ 1012032 h 1322388"/>
                  <a:gd name="connsiteX54" fmla="*/ 1221581 w 1306513"/>
                  <a:gd name="connsiteY54" fmla="*/ 1095376 h 1322388"/>
                  <a:gd name="connsiteX55" fmla="*/ 1136649 w 1306513"/>
                  <a:gd name="connsiteY55" fmla="*/ 1012032 h 1322388"/>
                  <a:gd name="connsiteX56" fmla="*/ 1221581 w 1306513"/>
                  <a:gd name="connsiteY56" fmla="*/ 928688 h 1322388"/>
                  <a:gd name="connsiteX57" fmla="*/ 540544 w 1306513"/>
                  <a:gd name="connsiteY57" fmla="*/ 928688 h 1322388"/>
                  <a:gd name="connsiteX58" fmla="*/ 623888 w 1306513"/>
                  <a:gd name="connsiteY58" fmla="*/ 1012032 h 1322388"/>
                  <a:gd name="connsiteX59" fmla="*/ 540544 w 1306513"/>
                  <a:gd name="connsiteY59" fmla="*/ 1095376 h 1322388"/>
                  <a:gd name="connsiteX60" fmla="*/ 457200 w 1306513"/>
                  <a:gd name="connsiteY60" fmla="*/ 1012032 h 1322388"/>
                  <a:gd name="connsiteX61" fmla="*/ 540544 w 1306513"/>
                  <a:gd name="connsiteY61" fmla="*/ 928688 h 1322388"/>
                  <a:gd name="connsiteX62" fmla="*/ 314769 w 1306513"/>
                  <a:gd name="connsiteY62" fmla="*/ 928688 h 1322388"/>
                  <a:gd name="connsiteX63" fmla="*/ 330201 w 1306513"/>
                  <a:gd name="connsiteY63" fmla="*/ 944359 h 1322388"/>
                  <a:gd name="connsiteX64" fmla="*/ 330201 w 1306513"/>
                  <a:gd name="connsiteY64" fmla="*/ 1079704 h 1322388"/>
                  <a:gd name="connsiteX65" fmla="*/ 314769 w 1306513"/>
                  <a:gd name="connsiteY65" fmla="*/ 1095376 h 1322388"/>
                  <a:gd name="connsiteX66" fmla="*/ 300038 w 1306513"/>
                  <a:gd name="connsiteY66" fmla="*/ 1079704 h 1322388"/>
                  <a:gd name="connsiteX67" fmla="*/ 300038 w 1306513"/>
                  <a:gd name="connsiteY67" fmla="*/ 944359 h 1322388"/>
                  <a:gd name="connsiteX68" fmla="*/ 314769 w 1306513"/>
                  <a:gd name="connsiteY68" fmla="*/ 928688 h 1322388"/>
                  <a:gd name="connsiteX69" fmla="*/ 86519 w 1306513"/>
                  <a:gd name="connsiteY69" fmla="*/ 928688 h 1322388"/>
                  <a:gd name="connsiteX70" fmla="*/ 169863 w 1306513"/>
                  <a:gd name="connsiteY70" fmla="*/ 1012032 h 1322388"/>
                  <a:gd name="connsiteX71" fmla="*/ 86519 w 1306513"/>
                  <a:gd name="connsiteY71" fmla="*/ 1095376 h 1322388"/>
                  <a:gd name="connsiteX72" fmla="*/ 3175 w 1306513"/>
                  <a:gd name="connsiteY72" fmla="*/ 1012032 h 1322388"/>
                  <a:gd name="connsiteX73" fmla="*/ 86519 w 1306513"/>
                  <a:gd name="connsiteY73" fmla="*/ 928688 h 1322388"/>
                  <a:gd name="connsiteX74" fmla="*/ 957350 w 1306513"/>
                  <a:gd name="connsiteY74" fmla="*/ 731838 h 1322388"/>
                  <a:gd name="connsiteX75" fmla="*/ 906463 w 1306513"/>
                  <a:gd name="connsiteY75" fmla="*/ 783864 h 1322388"/>
                  <a:gd name="connsiteX76" fmla="*/ 957350 w 1306513"/>
                  <a:gd name="connsiteY76" fmla="*/ 836613 h 1322388"/>
                  <a:gd name="connsiteX77" fmla="*/ 1009651 w 1306513"/>
                  <a:gd name="connsiteY77" fmla="*/ 783864 h 1322388"/>
                  <a:gd name="connsiteX78" fmla="*/ 957350 w 1306513"/>
                  <a:gd name="connsiteY78" fmla="*/ 731838 h 1322388"/>
                  <a:gd name="connsiteX79" fmla="*/ 319444 w 1306513"/>
                  <a:gd name="connsiteY79" fmla="*/ 731838 h 1322388"/>
                  <a:gd name="connsiteX80" fmla="*/ 266700 w 1306513"/>
                  <a:gd name="connsiteY80" fmla="*/ 783864 h 1322388"/>
                  <a:gd name="connsiteX81" fmla="*/ 319444 w 1306513"/>
                  <a:gd name="connsiteY81" fmla="*/ 836613 h 1322388"/>
                  <a:gd name="connsiteX82" fmla="*/ 371475 w 1306513"/>
                  <a:gd name="connsiteY82" fmla="*/ 783864 h 1322388"/>
                  <a:gd name="connsiteX83" fmla="*/ 319444 w 1306513"/>
                  <a:gd name="connsiteY83" fmla="*/ 731838 h 1322388"/>
                  <a:gd name="connsiteX84" fmla="*/ 1169988 w 1306513"/>
                  <a:gd name="connsiteY84" fmla="*/ 701675 h 1322388"/>
                  <a:gd name="connsiteX85" fmla="*/ 1185863 w 1306513"/>
                  <a:gd name="connsiteY85" fmla="*/ 716619 h 1322388"/>
                  <a:gd name="connsiteX86" fmla="*/ 1185863 w 1306513"/>
                  <a:gd name="connsiteY86" fmla="*/ 851119 h 1322388"/>
                  <a:gd name="connsiteX87" fmla="*/ 1169988 w 1306513"/>
                  <a:gd name="connsiteY87" fmla="*/ 866775 h 1322388"/>
                  <a:gd name="connsiteX88" fmla="*/ 1154113 w 1306513"/>
                  <a:gd name="connsiteY88" fmla="*/ 851119 h 1322388"/>
                  <a:gd name="connsiteX89" fmla="*/ 1154113 w 1306513"/>
                  <a:gd name="connsiteY89" fmla="*/ 716619 h 1322388"/>
                  <a:gd name="connsiteX90" fmla="*/ 1169988 w 1306513"/>
                  <a:gd name="connsiteY90" fmla="*/ 701675 h 1322388"/>
                  <a:gd name="connsiteX91" fmla="*/ 958057 w 1306513"/>
                  <a:gd name="connsiteY91" fmla="*/ 701675 h 1322388"/>
                  <a:gd name="connsiteX92" fmla="*/ 1041401 w 1306513"/>
                  <a:gd name="connsiteY92" fmla="*/ 784225 h 1322388"/>
                  <a:gd name="connsiteX93" fmla="*/ 958057 w 1306513"/>
                  <a:gd name="connsiteY93" fmla="*/ 866775 h 1322388"/>
                  <a:gd name="connsiteX94" fmla="*/ 874713 w 1306513"/>
                  <a:gd name="connsiteY94" fmla="*/ 784225 h 1322388"/>
                  <a:gd name="connsiteX95" fmla="*/ 958057 w 1306513"/>
                  <a:gd name="connsiteY95" fmla="*/ 701675 h 1322388"/>
                  <a:gd name="connsiteX96" fmla="*/ 745702 w 1306513"/>
                  <a:gd name="connsiteY96" fmla="*/ 701675 h 1322388"/>
                  <a:gd name="connsiteX97" fmla="*/ 762001 w 1306513"/>
                  <a:gd name="connsiteY97" fmla="*/ 716619 h 1322388"/>
                  <a:gd name="connsiteX98" fmla="*/ 762001 w 1306513"/>
                  <a:gd name="connsiteY98" fmla="*/ 851119 h 1322388"/>
                  <a:gd name="connsiteX99" fmla="*/ 745702 w 1306513"/>
                  <a:gd name="connsiteY99" fmla="*/ 866775 h 1322388"/>
                  <a:gd name="connsiteX100" fmla="*/ 728663 w 1306513"/>
                  <a:gd name="connsiteY100" fmla="*/ 851119 h 1322388"/>
                  <a:gd name="connsiteX101" fmla="*/ 728663 w 1306513"/>
                  <a:gd name="connsiteY101" fmla="*/ 716619 h 1322388"/>
                  <a:gd name="connsiteX102" fmla="*/ 745702 w 1306513"/>
                  <a:gd name="connsiteY102" fmla="*/ 701675 h 1322388"/>
                  <a:gd name="connsiteX103" fmla="*/ 547688 w 1306513"/>
                  <a:gd name="connsiteY103" fmla="*/ 701675 h 1322388"/>
                  <a:gd name="connsiteX104" fmla="*/ 563563 w 1306513"/>
                  <a:gd name="connsiteY104" fmla="*/ 716619 h 1322388"/>
                  <a:gd name="connsiteX105" fmla="*/ 563563 w 1306513"/>
                  <a:gd name="connsiteY105" fmla="*/ 851119 h 1322388"/>
                  <a:gd name="connsiteX106" fmla="*/ 547688 w 1306513"/>
                  <a:gd name="connsiteY106" fmla="*/ 866775 h 1322388"/>
                  <a:gd name="connsiteX107" fmla="*/ 531813 w 1306513"/>
                  <a:gd name="connsiteY107" fmla="*/ 851119 h 1322388"/>
                  <a:gd name="connsiteX108" fmla="*/ 531813 w 1306513"/>
                  <a:gd name="connsiteY108" fmla="*/ 716619 h 1322388"/>
                  <a:gd name="connsiteX109" fmla="*/ 547688 w 1306513"/>
                  <a:gd name="connsiteY109" fmla="*/ 701675 h 1322388"/>
                  <a:gd name="connsiteX110" fmla="*/ 319882 w 1306513"/>
                  <a:gd name="connsiteY110" fmla="*/ 701675 h 1322388"/>
                  <a:gd name="connsiteX111" fmla="*/ 403226 w 1306513"/>
                  <a:gd name="connsiteY111" fmla="*/ 784225 h 1322388"/>
                  <a:gd name="connsiteX112" fmla="*/ 319882 w 1306513"/>
                  <a:gd name="connsiteY112" fmla="*/ 866775 h 1322388"/>
                  <a:gd name="connsiteX113" fmla="*/ 236538 w 1306513"/>
                  <a:gd name="connsiteY113" fmla="*/ 784225 h 1322388"/>
                  <a:gd name="connsiteX114" fmla="*/ 319882 w 1306513"/>
                  <a:gd name="connsiteY114" fmla="*/ 701675 h 1322388"/>
                  <a:gd name="connsiteX115" fmla="*/ 139347 w 1306513"/>
                  <a:gd name="connsiteY115" fmla="*/ 701675 h 1322388"/>
                  <a:gd name="connsiteX116" fmla="*/ 155575 w 1306513"/>
                  <a:gd name="connsiteY116" fmla="*/ 716619 h 1322388"/>
                  <a:gd name="connsiteX117" fmla="*/ 155575 w 1306513"/>
                  <a:gd name="connsiteY117" fmla="*/ 851119 h 1322388"/>
                  <a:gd name="connsiteX118" fmla="*/ 139347 w 1306513"/>
                  <a:gd name="connsiteY118" fmla="*/ 866775 h 1322388"/>
                  <a:gd name="connsiteX119" fmla="*/ 123825 w 1306513"/>
                  <a:gd name="connsiteY119" fmla="*/ 851119 h 1322388"/>
                  <a:gd name="connsiteX120" fmla="*/ 123825 w 1306513"/>
                  <a:gd name="connsiteY120" fmla="*/ 716619 h 1322388"/>
                  <a:gd name="connsiteX121" fmla="*/ 139347 w 1306513"/>
                  <a:gd name="connsiteY121" fmla="*/ 701675 h 1322388"/>
                  <a:gd name="connsiteX122" fmla="*/ 15724 w 1306513"/>
                  <a:gd name="connsiteY122" fmla="*/ 0 h 1322388"/>
                  <a:gd name="connsiteX123" fmla="*/ 1290789 w 1306513"/>
                  <a:gd name="connsiteY123" fmla="*/ 0 h 1322388"/>
                  <a:gd name="connsiteX124" fmla="*/ 1306513 w 1306513"/>
                  <a:gd name="connsiteY124" fmla="*/ 15733 h 1322388"/>
                  <a:gd name="connsiteX125" fmla="*/ 1306513 w 1306513"/>
                  <a:gd name="connsiteY125" fmla="*/ 851041 h 1322388"/>
                  <a:gd name="connsiteX126" fmla="*/ 1290789 w 1306513"/>
                  <a:gd name="connsiteY126" fmla="*/ 866775 h 1322388"/>
                  <a:gd name="connsiteX127" fmla="*/ 1275065 w 1306513"/>
                  <a:gd name="connsiteY127" fmla="*/ 851041 h 1322388"/>
                  <a:gd name="connsiteX128" fmla="*/ 1275065 w 1306513"/>
                  <a:gd name="connsiteY128" fmla="*/ 31467 h 1322388"/>
                  <a:gd name="connsiteX129" fmla="*/ 31448 w 1306513"/>
                  <a:gd name="connsiteY129" fmla="*/ 31467 h 1322388"/>
                  <a:gd name="connsiteX130" fmla="*/ 31448 w 1306513"/>
                  <a:gd name="connsiteY130" fmla="*/ 851041 h 1322388"/>
                  <a:gd name="connsiteX131" fmla="*/ 15724 w 1306513"/>
                  <a:gd name="connsiteY131" fmla="*/ 866775 h 1322388"/>
                  <a:gd name="connsiteX132" fmla="*/ 0 w 1306513"/>
                  <a:gd name="connsiteY132" fmla="*/ 851041 h 1322388"/>
                  <a:gd name="connsiteX133" fmla="*/ 0 w 1306513"/>
                  <a:gd name="connsiteY133" fmla="*/ 15733 h 1322388"/>
                  <a:gd name="connsiteX134" fmla="*/ 15724 w 1306513"/>
                  <a:gd name="connsiteY134" fmla="*/ 0 h 1322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306513" h="1322388">
                    <a:moveTo>
                      <a:pt x="1221581" y="1185863"/>
                    </a:moveTo>
                    <a:cubicBezTo>
                      <a:pt x="1192209" y="1185863"/>
                      <a:pt x="1168399" y="1209673"/>
                      <a:pt x="1168399" y="1239045"/>
                    </a:cubicBezTo>
                    <a:cubicBezTo>
                      <a:pt x="1168399" y="1268417"/>
                      <a:pt x="1192209" y="1292227"/>
                      <a:pt x="1221581" y="1292227"/>
                    </a:cubicBezTo>
                    <a:cubicBezTo>
                      <a:pt x="1250953" y="1292227"/>
                      <a:pt x="1274763" y="1268417"/>
                      <a:pt x="1274763" y="1239045"/>
                    </a:cubicBezTo>
                    <a:cubicBezTo>
                      <a:pt x="1274763" y="1209673"/>
                      <a:pt x="1250953" y="1185863"/>
                      <a:pt x="1221581" y="1185863"/>
                    </a:cubicBezTo>
                    <a:close/>
                    <a:moveTo>
                      <a:pt x="541338" y="1185863"/>
                    </a:moveTo>
                    <a:cubicBezTo>
                      <a:pt x="512405" y="1185863"/>
                      <a:pt x="488950" y="1209673"/>
                      <a:pt x="488950" y="1239045"/>
                    </a:cubicBezTo>
                    <a:cubicBezTo>
                      <a:pt x="488950" y="1268417"/>
                      <a:pt x="512405" y="1292227"/>
                      <a:pt x="541338" y="1292227"/>
                    </a:cubicBezTo>
                    <a:cubicBezTo>
                      <a:pt x="570271" y="1292227"/>
                      <a:pt x="593726" y="1268417"/>
                      <a:pt x="593726" y="1239045"/>
                    </a:cubicBezTo>
                    <a:cubicBezTo>
                      <a:pt x="593726" y="1209673"/>
                      <a:pt x="570271" y="1185863"/>
                      <a:pt x="541338" y="1185863"/>
                    </a:cubicBezTo>
                    <a:close/>
                    <a:moveTo>
                      <a:pt x="86520" y="1185863"/>
                    </a:moveTo>
                    <a:cubicBezTo>
                      <a:pt x="57148" y="1185863"/>
                      <a:pt x="33338" y="1209673"/>
                      <a:pt x="33338" y="1239045"/>
                    </a:cubicBezTo>
                    <a:cubicBezTo>
                      <a:pt x="33338" y="1268417"/>
                      <a:pt x="57148" y="1292227"/>
                      <a:pt x="86520" y="1292227"/>
                    </a:cubicBezTo>
                    <a:cubicBezTo>
                      <a:pt x="115892" y="1292227"/>
                      <a:pt x="139702" y="1268417"/>
                      <a:pt x="139702" y="1239045"/>
                    </a:cubicBezTo>
                    <a:cubicBezTo>
                      <a:pt x="139702" y="1209673"/>
                      <a:pt x="115892" y="1185863"/>
                      <a:pt x="86520" y="1185863"/>
                    </a:cubicBezTo>
                    <a:close/>
                    <a:moveTo>
                      <a:pt x="1221581" y="1155700"/>
                    </a:moveTo>
                    <a:cubicBezTo>
                      <a:pt x="1268488" y="1155700"/>
                      <a:pt x="1306513" y="1193014"/>
                      <a:pt x="1306513" y="1239044"/>
                    </a:cubicBezTo>
                    <a:cubicBezTo>
                      <a:pt x="1306513" y="1285074"/>
                      <a:pt x="1268488" y="1322388"/>
                      <a:pt x="1221581" y="1322388"/>
                    </a:cubicBezTo>
                    <a:cubicBezTo>
                      <a:pt x="1174674" y="1322388"/>
                      <a:pt x="1136649" y="1285074"/>
                      <a:pt x="1136649" y="1239044"/>
                    </a:cubicBezTo>
                    <a:cubicBezTo>
                      <a:pt x="1136649" y="1193014"/>
                      <a:pt x="1174674" y="1155700"/>
                      <a:pt x="1221581" y="1155700"/>
                    </a:cubicBezTo>
                    <a:close/>
                    <a:moveTo>
                      <a:pt x="540544" y="1155700"/>
                    </a:moveTo>
                    <a:cubicBezTo>
                      <a:pt x="586574" y="1155700"/>
                      <a:pt x="623888" y="1193014"/>
                      <a:pt x="623888" y="1239044"/>
                    </a:cubicBezTo>
                    <a:cubicBezTo>
                      <a:pt x="623888" y="1285074"/>
                      <a:pt x="586574" y="1322388"/>
                      <a:pt x="540544" y="1322388"/>
                    </a:cubicBezTo>
                    <a:cubicBezTo>
                      <a:pt x="494514" y="1322388"/>
                      <a:pt x="457200" y="1285074"/>
                      <a:pt x="457200" y="1239044"/>
                    </a:cubicBezTo>
                    <a:cubicBezTo>
                      <a:pt x="457200" y="1193014"/>
                      <a:pt x="494514" y="1155700"/>
                      <a:pt x="540544" y="1155700"/>
                    </a:cubicBezTo>
                    <a:close/>
                    <a:moveTo>
                      <a:pt x="314769" y="1155700"/>
                    </a:moveTo>
                    <a:cubicBezTo>
                      <a:pt x="323186" y="1155700"/>
                      <a:pt x="330201" y="1162824"/>
                      <a:pt x="330201" y="1171372"/>
                    </a:cubicBezTo>
                    <a:cubicBezTo>
                      <a:pt x="330201" y="1171372"/>
                      <a:pt x="330201" y="1171372"/>
                      <a:pt x="330201" y="1306717"/>
                    </a:cubicBezTo>
                    <a:cubicBezTo>
                      <a:pt x="330201" y="1315265"/>
                      <a:pt x="323186" y="1322388"/>
                      <a:pt x="314769" y="1322388"/>
                    </a:cubicBezTo>
                    <a:cubicBezTo>
                      <a:pt x="307052" y="1322388"/>
                      <a:pt x="300038" y="1315265"/>
                      <a:pt x="300038" y="1306717"/>
                    </a:cubicBezTo>
                    <a:cubicBezTo>
                      <a:pt x="300038" y="1306717"/>
                      <a:pt x="300038" y="1306717"/>
                      <a:pt x="300038" y="1171372"/>
                    </a:cubicBezTo>
                    <a:cubicBezTo>
                      <a:pt x="300038" y="1162824"/>
                      <a:pt x="307052" y="1155700"/>
                      <a:pt x="314769" y="1155700"/>
                    </a:cubicBezTo>
                    <a:close/>
                    <a:moveTo>
                      <a:pt x="86519" y="1155700"/>
                    </a:moveTo>
                    <a:cubicBezTo>
                      <a:pt x="132549" y="1155700"/>
                      <a:pt x="169863" y="1193014"/>
                      <a:pt x="169863" y="1239044"/>
                    </a:cubicBezTo>
                    <a:cubicBezTo>
                      <a:pt x="169863" y="1285074"/>
                      <a:pt x="132549" y="1322388"/>
                      <a:pt x="86519" y="1322388"/>
                    </a:cubicBezTo>
                    <a:cubicBezTo>
                      <a:pt x="40489" y="1322388"/>
                      <a:pt x="3175" y="1285074"/>
                      <a:pt x="3175" y="1239044"/>
                    </a:cubicBezTo>
                    <a:cubicBezTo>
                      <a:pt x="3175" y="1193014"/>
                      <a:pt x="40489" y="1155700"/>
                      <a:pt x="86519" y="1155700"/>
                    </a:cubicBezTo>
                    <a:close/>
                    <a:moveTo>
                      <a:pt x="1221581" y="960438"/>
                    </a:moveTo>
                    <a:cubicBezTo>
                      <a:pt x="1192209" y="960438"/>
                      <a:pt x="1168399" y="983537"/>
                      <a:pt x="1168399" y="1012032"/>
                    </a:cubicBezTo>
                    <a:cubicBezTo>
                      <a:pt x="1168399" y="1040527"/>
                      <a:pt x="1192209" y="1063626"/>
                      <a:pt x="1221581" y="1063626"/>
                    </a:cubicBezTo>
                    <a:cubicBezTo>
                      <a:pt x="1250953" y="1063626"/>
                      <a:pt x="1274763" y="1040527"/>
                      <a:pt x="1274763" y="1012032"/>
                    </a:cubicBezTo>
                    <a:cubicBezTo>
                      <a:pt x="1274763" y="983537"/>
                      <a:pt x="1250953" y="960438"/>
                      <a:pt x="1221581" y="960438"/>
                    </a:cubicBezTo>
                    <a:close/>
                    <a:moveTo>
                      <a:pt x="541338" y="960438"/>
                    </a:moveTo>
                    <a:cubicBezTo>
                      <a:pt x="512405" y="960438"/>
                      <a:pt x="488950" y="983537"/>
                      <a:pt x="488950" y="1012032"/>
                    </a:cubicBezTo>
                    <a:cubicBezTo>
                      <a:pt x="488950" y="1040527"/>
                      <a:pt x="512405" y="1063626"/>
                      <a:pt x="541338" y="1063626"/>
                    </a:cubicBezTo>
                    <a:cubicBezTo>
                      <a:pt x="570271" y="1063626"/>
                      <a:pt x="593726" y="1040527"/>
                      <a:pt x="593726" y="1012032"/>
                    </a:cubicBezTo>
                    <a:cubicBezTo>
                      <a:pt x="593726" y="983537"/>
                      <a:pt x="570271" y="960438"/>
                      <a:pt x="541338" y="960438"/>
                    </a:cubicBezTo>
                    <a:close/>
                    <a:moveTo>
                      <a:pt x="86520" y="960438"/>
                    </a:moveTo>
                    <a:cubicBezTo>
                      <a:pt x="57148" y="960438"/>
                      <a:pt x="33338" y="983537"/>
                      <a:pt x="33338" y="1012032"/>
                    </a:cubicBezTo>
                    <a:cubicBezTo>
                      <a:pt x="33338" y="1040527"/>
                      <a:pt x="57148" y="1063626"/>
                      <a:pt x="86520" y="1063626"/>
                    </a:cubicBezTo>
                    <a:cubicBezTo>
                      <a:pt x="115892" y="1063626"/>
                      <a:pt x="139702" y="1040527"/>
                      <a:pt x="139702" y="1012032"/>
                    </a:cubicBezTo>
                    <a:cubicBezTo>
                      <a:pt x="139702" y="983537"/>
                      <a:pt x="115892" y="960438"/>
                      <a:pt x="86520" y="960438"/>
                    </a:cubicBezTo>
                    <a:close/>
                    <a:moveTo>
                      <a:pt x="1221581" y="928688"/>
                    </a:moveTo>
                    <a:cubicBezTo>
                      <a:pt x="1268488" y="928688"/>
                      <a:pt x="1306513" y="966002"/>
                      <a:pt x="1306513" y="1012032"/>
                    </a:cubicBezTo>
                    <a:cubicBezTo>
                      <a:pt x="1306513" y="1058062"/>
                      <a:pt x="1268488" y="1095376"/>
                      <a:pt x="1221581" y="1095376"/>
                    </a:cubicBezTo>
                    <a:cubicBezTo>
                      <a:pt x="1174674" y="1095376"/>
                      <a:pt x="1136649" y="1058062"/>
                      <a:pt x="1136649" y="1012032"/>
                    </a:cubicBezTo>
                    <a:cubicBezTo>
                      <a:pt x="1136649" y="966002"/>
                      <a:pt x="1174674" y="928688"/>
                      <a:pt x="1221581" y="928688"/>
                    </a:cubicBezTo>
                    <a:close/>
                    <a:moveTo>
                      <a:pt x="540544" y="928688"/>
                    </a:moveTo>
                    <a:cubicBezTo>
                      <a:pt x="586574" y="928688"/>
                      <a:pt x="623888" y="966002"/>
                      <a:pt x="623888" y="1012032"/>
                    </a:cubicBezTo>
                    <a:cubicBezTo>
                      <a:pt x="623888" y="1058062"/>
                      <a:pt x="586574" y="1095376"/>
                      <a:pt x="540544" y="1095376"/>
                    </a:cubicBezTo>
                    <a:cubicBezTo>
                      <a:pt x="494514" y="1095376"/>
                      <a:pt x="457200" y="1058062"/>
                      <a:pt x="457200" y="1012032"/>
                    </a:cubicBezTo>
                    <a:cubicBezTo>
                      <a:pt x="457200" y="966002"/>
                      <a:pt x="494514" y="928688"/>
                      <a:pt x="540544" y="928688"/>
                    </a:cubicBezTo>
                    <a:close/>
                    <a:moveTo>
                      <a:pt x="314769" y="928688"/>
                    </a:moveTo>
                    <a:cubicBezTo>
                      <a:pt x="323186" y="928688"/>
                      <a:pt x="330201" y="935811"/>
                      <a:pt x="330201" y="944359"/>
                    </a:cubicBezTo>
                    <a:cubicBezTo>
                      <a:pt x="330201" y="944359"/>
                      <a:pt x="330201" y="944359"/>
                      <a:pt x="330201" y="1079704"/>
                    </a:cubicBezTo>
                    <a:cubicBezTo>
                      <a:pt x="330201" y="1088965"/>
                      <a:pt x="323186" y="1095376"/>
                      <a:pt x="314769" y="1095376"/>
                    </a:cubicBezTo>
                    <a:cubicBezTo>
                      <a:pt x="307052" y="1095376"/>
                      <a:pt x="300038" y="1088965"/>
                      <a:pt x="300038" y="1079704"/>
                    </a:cubicBezTo>
                    <a:cubicBezTo>
                      <a:pt x="300038" y="1079704"/>
                      <a:pt x="300038" y="1079704"/>
                      <a:pt x="300038" y="944359"/>
                    </a:cubicBezTo>
                    <a:cubicBezTo>
                      <a:pt x="300038" y="935811"/>
                      <a:pt x="307052" y="928688"/>
                      <a:pt x="314769" y="928688"/>
                    </a:cubicBezTo>
                    <a:close/>
                    <a:moveTo>
                      <a:pt x="86519" y="928688"/>
                    </a:moveTo>
                    <a:cubicBezTo>
                      <a:pt x="132549" y="928688"/>
                      <a:pt x="169863" y="966002"/>
                      <a:pt x="169863" y="1012032"/>
                    </a:cubicBezTo>
                    <a:cubicBezTo>
                      <a:pt x="169863" y="1058062"/>
                      <a:pt x="132549" y="1095376"/>
                      <a:pt x="86519" y="1095376"/>
                    </a:cubicBezTo>
                    <a:cubicBezTo>
                      <a:pt x="40489" y="1095376"/>
                      <a:pt x="3175" y="1058062"/>
                      <a:pt x="3175" y="1012032"/>
                    </a:cubicBezTo>
                    <a:cubicBezTo>
                      <a:pt x="3175" y="966002"/>
                      <a:pt x="40489" y="928688"/>
                      <a:pt x="86519" y="928688"/>
                    </a:cubicBezTo>
                    <a:close/>
                    <a:moveTo>
                      <a:pt x="957350" y="731838"/>
                    </a:moveTo>
                    <a:cubicBezTo>
                      <a:pt x="929787" y="731838"/>
                      <a:pt x="906463" y="755683"/>
                      <a:pt x="906463" y="783864"/>
                    </a:cubicBezTo>
                    <a:cubicBezTo>
                      <a:pt x="906463" y="813490"/>
                      <a:pt x="929787" y="836613"/>
                      <a:pt x="957350" y="836613"/>
                    </a:cubicBezTo>
                    <a:cubicBezTo>
                      <a:pt x="986328" y="836613"/>
                      <a:pt x="1009651" y="813490"/>
                      <a:pt x="1009651" y="783864"/>
                    </a:cubicBezTo>
                    <a:cubicBezTo>
                      <a:pt x="1009651" y="755683"/>
                      <a:pt x="986328" y="731838"/>
                      <a:pt x="957350" y="731838"/>
                    </a:cubicBezTo>
                    <a:close/>
                    <a:moveTo>
                      <a:pt x="319444" y="731838"/>
                    </a:moveTo>
                    <a:cubicBezTo>
                      <a:pt x="290221" y="731838"/>
                      <a:pt x="266700" y="755683"/>
                      <a:pt x="266700" y="783864"/>
                    </a:cubicBezTo>
                    <a:cubicBezTo>
                      <a:pt x="266700" y="813490"/>
                      <a:pt x="290221" y="836613"/>
                      <a:pt x="319444" y="836613"/>
                    </a:cubicBezTo>
                    <a:cubicBezTo>
                      <a:pt x="347954" y="836613"/>
                      <a:pt x="371475" y="813490"/>
                      <a:pt x="371475" y="783864"/>
                    </a:cubicBezTo>
                    <a:cubicBezTo>
                      <a:pt x="371475" y="755683"/>
                      <a:pt x="347954" y="731838"/>
                      <a:pt x="319444" y="731838"/>
                    </a:cubicBezTo>
                    <a:close/>
                    <a:moveTo>
                      <a:pt x="1169988" y="701675"/>
                    </a:moveTo>
                    <a:cubicBezTo>
                      <a:pt x="1178647" y="701675"/>
                      <a:pt x="1185863" y="707368"/>
                      <a:pt x="1185863" y="716619"/>
                    </a:cubicBezTo>
                    <a:cubicBezTo>
                      <a:pt x="1185863" y="716619"/>
                      <a:pt x="1185863" y="716619"/>
                      <a:pt x="1185863" y="851119"/>
                    </a:cubicBezTo>
                    <a:cubicBezTo>
                      <a:pt x="1185863" y="859658"/>
                      <a:pt x="1178647" y="866775"/>
                      <a:pt x="1169988" y="866775"/>
                    </a:cubicBezTo>
                    <a:cubicBezTo>
                      <a:pt x="1161329" y="866775"/>
                      <a:pt x="1154113" y="859658"/>
                      <a:pt x="1154113" y="851119"/>
                    </a:cubicBezTo>
                    <a:cubicBezTo>
                      <a:pt x="1154113" y="851119"/>
                      <a:pt x="1154113" y="851119"/>
                      <a:pt x="1154113" y="716619"/>
                    </a:cubicBezTo>
                    <a:cubicBezTo>
                      <a:pt x="1154113" y="707368"/>
                      <a:pt x="1161329" y="701675"/>
                      <a:pt x="1169988" y="701675"/>
                    </a:cubicBezTo>
                    <a:close/>
                    <a:moveTo>
                      <a:pt x="958057" y="701675"/>
                    </a:moveTo>
                    <a:cubicBezTo>
                      <a:pt x="1004087" y="701675"/>
                      <a:pt x="1041401" y="738634"/>
                      <a:pt x="1041401" y="784225"/>
                    </a:cubicBezTo>
                    <a:cubicBezTo>
                      <a:pt x="1041401" y="829816"/>
                      <a:pt x="1004087" y="866775"/>
                      <a:pt x="958057" y="866775"/>
                    </a:cubicBezTo>
                    <a:cubicBezTo>
                      <a:pt x="912027" y="866775"/>
                      <a:pt x="874713" y="829816"/>
                      <a:pt x="874713" y="784225"/>
                    </a:cubicBezTo>
                    <a:cubicBezTo>
                      <a:pt x="874713" y="738634"/>
                      <a:pt x="912027" y="701675"/>
                      <a:pt x="958057" y="701675"/>
                    </a:cubicBezTo>
                    <a:close/>
                    <a:moveTo>
                      <a:pt x="745702" y="701675"/>
                    </a:moveTo>
                    <a:cubicBezTo>
                      <a:pt x="754592" y="701675"/>
                      <a:pt x="762001" y="707368"/>
                      <a:pt x="762001" y="716619"/>
                    </a:cubicBezTo>
                    <a:cubicBezTo>
                      <a:pt x="762001" y="716619"/>
                      <a:pt x="762001" y="716619"/>
                      <a:pt x="762001" y="851119"/>
                    </a:cubicBezTo>
                    <a:cubicBezTo>
                      <a:pt x="762001" y="859658"/>
                      <a:pt x="754592" y="866775"/>
                      <a:pt x="745702" y="866775"/>
                    </a:cubicBezTo>
                    <a:cubicBezTo>
                      <a:pt x="736812" y="866775"/>
                      <a:pt x="728663" y="859658"/>
                      <a:pt x="728663" y="851119"/>
                    </a:cubicBezTo>
                    <a:cubicBezTo>
                      <a:pt x="728663" y="851119"/>
                      <a:pt x="728663" y="851119"/>
                      <a:pt x="728663" y="716619"/>
                    </a:cubicBezTo>
                    <a:cubicBezTo>
                      <a:pt x="728663" y="707368"/>
                      <a:pt x="736812" y="701675"/>
                      <a:pt x="745702" y="701675"/>
                    </a:cubicBezTo>
                    <a:close/>
                    <a:moveTo>
                      <a:pt x="547688" y="701675"/>
                    </a:moveTo>
                    <a:cubicBezTo>
                      <a:pt x="556347" y="701675"/>
                      <a:pt x="563563" y="707368"/>
                      <a:pt x="563563" y="716619"/>
                    </a:cubicBezTo>
                    <a:cubicBezTo>
                      <a:pt x="563563" y="716619"/>
                      <a:pt x="563563" y="716619"/>
                      <a:pt x="563563" y="851119"/>
                    </a:cubicBezTo>
                    <a:cubicBezTo>
                      <a:pt x="563563" y="859658"/>
                      <a:pt x="556347" y="866775"/>
                      <a:pt x="547688" y="866775"/>
                    </a:cubicBezTo>
                    <a:cubicBezTo>
                      <a:pt x="539029" y="866775"/>
                      <a:pt x="531813" y="859658"/>
                      <a:pt x="531813" y="851119"/>
                    </a:cubicBezTo>
                    <a:cubicBezTo>
                      <a:pt x="531813" y="851119"/>
                      <a:pt x="531813" y="851119"/>
                      <a:pt x="531813" y="716619"/>
                    </a:cubicBezTo>
                    <a:cubicBezTo>
                      <a:pt x="531813" y="707368"/>
                      <a:pt x="539029" y="701675"/>
                      <a:pt x="547688" y="701675"/>
                    </a:cubicBezTo>
                    <a:close/>
                    <a:moveTo>
                      <a:pt x="319882" y="701675"/>
                    </a:moveTo>
                    <a:cubicBezTo>
                      <a:pt x="365912" y="701675"/>
                      <a:pt x="403226" y="738634"/>
                      <a:pt x="403226" y="784225"/>
                    </a:cubicBezTo>
                    <a:cubicBezTo>
                      <a:pt x="403226" y="829816"/>
                      <a:pt x="365912" y="866775"/>
                      <a:pt x="319882" y="866775"/>
                    </a:cubicBezTo>
                    <a:cubicBezTo>
                      <a:pt x="273852" y="866775"/>
                      <a:pt x="236538" y="829816"/>
                      <a:pt x="236538" y="784225"/>
                    </a:cubicBezTo>
                    <a:cubicBezTo>
                      <a:pt x="236538" y="738634"/>
                      <a:pt x="273852" y="701675"/>
                      <a:pt x="319882" y="701675"/>
                    </a:cubicBezTo>
                    <a:close/>
                    <a:moveTo>
                      <a:pt x="139347" y="701675"/>
                    </a:moveTo>
                    <a:cubicBezTo>
                      <a:pt x="148519" y="701675"/>
                      <a:pt x="155575" y="707368"/>
                      <a:pt x="155575" y="716619"/>
                    </a:cubicBezTo>
                    <a:cubicBezTo>
                      <a:pt x="155575" y="716619"/>
                      <a:pt x="155575" y="716619"/>
                      <a:pt x="155575" y="851119"/>
                    </a:cubicBezTo>
                    <a:cubicBezTo>
                      <a:pt x="155575" y="859658"/>
                      <a:pt x="148519" y="866775"/>
                      <a:pt x="139347" y="866775"/>
                    </a:cubicBezTo>
                    <a:cubicBezTo>
                      <a:pt x="130880" y="866775"/>
                      <a:pt x="123825" y="859658"/>
                      <a:pt x="123825" y="851119"/>
                    </a:cubicBezTo>
                    <a:cubicBezTo>
                      <a:pt x="123825" y="851119"/>
                      <a:pt x="123825" y="851119"/>
                      <a:pt x="123825" y="716619"/>
                    </a:cubicBezTo>
                    <a:cubicBezTo>
                      <a:pt x="123825" y="707368"/>
                      <a:pt x="130880" y="701675"/>
                      <a:pt x="139347" y="701675"/>
                    </a:cubicBezTo>
                    <a:close/>
                    <a:moveTo>
                      <a:pt x="15724" y="0"/>
                    </a:moveTo>
                    <a:cubicBezTo>
                      <a:pt x="15724" y="0"/>
                      <a:pt x="15724" y="0"/>
                      <a:pt x="1290789" y="0"/>
                    </a:cubicBezTo>
                    <a:cubicBezTo>
                      <a:pt x="1299366" y="0"/>
                      <a:pt x="1306513" y="7151"/>
                      <a:pt x="1306513" y="15733"/>
                    </a:cubicBezTo>
                    <a:cubicBezTo>
                      <a:pt x="1306513" y="15733"/>
                      <a:pt x="1306513" y="15733"/>
                      <a:pt x="1306513" y="851041"/>
                    </a:cubicBezTo>
                    <a:cubicBezTo>
                      <a:pt x="1306513" y="859623"/>
                      <a:pt x="1299366" y="866775"/>
                      <a:pt x="1290789" y="866775"/>
                    </a:cubicBezTo>
                    <a:cubicBezTo>
                      <a:pt x="1282213" y="866775"/>
                      <a:pt x="1275065" y="859623"/>
                      <a:pt x="1275065" y="851041"/>
                    </a:cubicBezTo>
                    <a:cubicBezTo>
                      <a:pt x="1275065" y="851041"/>
                      <a:pt x="1275065" y="851041"/>
                      <a:pt x="1275065" y="31467"/>
                    </a:cubicBezTo>
                    <a:cubicBezTo>
                      <a:pt x="1275065" y="31467"/>
                      <a:pt x="1275065" y="31467"/>
                      <a:pt x="31448" y="31467"/>
                    </a:cubicBezTo>
                    <a:cubicBezTo>
                      <a:pt x="31448" y="31467"/>
                      <a:pt x="31448" y="31467"/>
                      <a:pt x="31448" y="851041"/>
                    </a:cubicBezTo>
                    <a:cubicBezTo>
                      <a:pt x="31448" y="859623"/>
                      <a:pt x="24300" y="866775"/>
                      <a:pt x="15724" y="866775"/>
                    </a:cubicBezTo>
                    <a:cubicBezTo>
                      <a:pt x="7147" y="866775"/>
                      <a:pt x="0" y="859623"/>
                      <a:pt x="0" y="851041"/>
                    </a:cubicBezTo>
                    <a:cubicBezTo>
                      <a:pt x="0" y="851041"/>
                      <a:pt x="0" y="851041"/>
                      <a:pt x="0" y="15733"/>
                    </a:cubicBezTo>
                    <a:cubicBezTo>
                      <a:pt x="0" y="7151"/>
                      <a:pt x="7147" y="0"/>
                      <a:pt x="15724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5548313" y="2867026"/>
                <a:ext cx="1096963" cy="1209675"/>
              </a:xfrm>
              <a:custGeom>
                <a:avLst/>
                <a:gdLst>
                  <a:gd name="connsiteX0" fmla="*/ 775402 w 1096963"/>
                  <a:gd name="connsiteY0" fmla="*/ 928120 h 1209675"/>
                  <a:gd name="connsiteX1" fmla="*/ 741805 w 1096963"/>
                  <a:gd name="connsiteY1" fmla="*/ 935400 h 1209675"/>
                  <a:gd name="connsiteX2" fmla="*/ 697262 w 1096963"/>
                  <a:gd name="connsiteY2" fmla="*/ 1049717 h 1209675"/>
                  <a:gd name="connsiteX3" fmla="*/ 810774 w 1096963"/>
                  <a:gd name="connsiteY3" fmla="*/ 1095013 h 1209675"/>
                  <a:gd name="connsiteX4" fmla="*/ 855317 w 1096963"/>
                  <a:gd name="connsiteY4" fmla="*/ 980695 h 1209675"/>
                  <a:gd name="connsiteX5" fmla="*/ 775402 w 1096963"/>
                  <a:gd name="connsiteY5" fmla="*/ 928120 h 1209675"/>
                  <a:gd name="connsiteX6" fmla="*/ 739556 w 1096963"/>
                  <a:gd name="connsiteY6" fmla="*/ 820737 h 1209675"/>
                  <a:gd name="connsiteX7" fmla="*/ 763859 w 1096963"/>
                  <a:gd name="connsiteY7" fmla="*/ 842860 h 1209675"/>
                  <a:gd name="connsiteX8" fmla="*/ 827477 w 1096963"/>
                  <a:gd name="connsiteY8" fmla="*/ 850710 h 1209675"/>
                  <a:gd name="connsiteX9" fmla="*/ 856069 w 1096963"/>
                  <a:gd name="connsiteY9" fmla="*/ 834296 h 1209675"/>
                  <a:gd name="connsiteX10" fmla="*/ 923261 w 1096963"/>
                  <a:gd name="connsiteY10" fmla="*/ 883538 h 1209675"/>
                  <a:gd name="connsiteX11" fmla="*/ 916828 w 1096963"/>
                  <a:gd name="connsiteY11" fmla="*/ 915652 h 1209675"/>
                  <a:gd name="connsiteX12" fmla="*/ 933983 w 1096963"/>
                  <a:gd name="connsiteY12" fmla="*/ 947053 h 1209675"/>
                  <a:gd name="connsiteX13" fmla="*/ 943991 w 1096963"/>
                  <a:gd name="connsiteY13" fmla="*/ 978453 h 1209675"/>
                  <a:gd name="connsiteX14" fmla="*/ 971868 w 1096963"/>
                  <a:gd name="connsiteY14" fmla="*/ 995581 h 1209675"/>
                  <a:gd name="connsiteX15" fmla="*/ 963290 w 1096963"/>
                  <a:gd name="connsiteY15" fmla="*/ 1076937 h 1209675"/>
                  <a:gd name="connsiteX16" fmla="*/ 932554 w 1096963"/>
                  <a:gd name="connsiteY16" fmla="*/ 1086214 h 1209675"/>
                  <a:gd name="connsiteX17" fmla="*/ 890380 w 1096963"/>
                  <a:gd name="connsiteY17" fmla="*/ 1144733 h 1209675"/>
                  <a:gd name="connsiteX18" fmla="*/ 890380 w 1096963"/>
                  <a:gd name="connsiteY18" fmla="*/ 1177561 h 1209675"/>
                  <a:gd name="connsiteX19" fmla="*/ 854640 w 1096963"/>
                  <a:gd name="connsiteY19" fmla="*/ 1197543 h 1209675"/>
                  <a:gd name="connsiteX20" fmla="*/ 816755 w 1096963"/>
                  <a:gd name="connsiteY20" fmla="*/ 1209675 h 1209675"/>
                  <a:gd name="connsiteX21" fmla="*/ 791737 w 1096963"/>
                  <a:gd name="connsiteY21" fmla="*/ 1187552 h 1209675"/>
                  <a:gd name="connsiteX22" fmla="*/ 720971 w 1096963"/>
                  <a:gd name="connsiteY22" fmla="*/ 1178275 h 1209675"/>
                  <a:gd name="connsiteX23" fmla="*/ 693093 w 1096963"/>
                  <a:gd name="connsiteY23" fmla="*/ 1194689 h 1209675"/>
                  <a:gd name="connsiteX24" fmla="*/ 628761 w 1096963"/>
                  <a:gd name="connsiteY24" fmla="*/ 1144733 h 1209675"/>
                  <a:gd name="connsiteX25" fmla="*/ 636624 w 1096963"/>
                  <a:gd name="connsiteY25" fmla="*/ 1112619 h 1209675"/>
                  <a:gd name="connsiteX26" fmla="*/ 620898 w 1096963"/>
                  <a:gd name="connsiteY26" fmla="*/ 1083359 h 1209675"/>
                  <a:gd name="connsiteX27" fmla="*/ 609461 w 1096963"/>
                  <a:gd name="connsiteY27" fmla="*/ 1049818 h 1209675"/>
                  <a:gd name="connsiteX28" fmla="*/ 581584 w 1096963"/>
                  <a:gd name="connsiteY28" fmla="*/ 1034118 h 1209675"/>
                  <a:gd name="connsiteX29" fmla="*/ 593021 w 1096963"/>
                  <a:gd name="connsiteY29" fmla="*/ 949907 h 1209675"/>
                  <a:gd name="connsiteX30" fmla="*/ 623757 w 1096963"/>
                  <a:gd name="connsiteY30" fmla="*/ 939916 h 1209675"/>
                  <a:gd name="connsiteX31" fmla="*/ 663072 w 1096963"/>
                  <a:gd name="connsiteY31" fmla="*/ 887820 h 1209675"/>
                  <a:gd name="connsiteX32" fmla="*/ 663072 w 1096963"/>
                  <a:gd name="connsiteY32" fmla="*/ 854279 h 1209675"/>
                  <a:gd name="connsiteX33" fmla="*/ 698812 w 1096963"/>
                  <a:gd name="connsiteY33" fmla="*/ 832869 h 1209675"/>
                  <a:gd name="connsiteX34" fmla="*/ 739556 w 1096963"/>
                  <a:gd name="connsiteY34" fmla="*/ 820737 h 1209675"/>
                  <a:gd name="connsiteX35" fmla="*/ 15732 w 1096963"/>
                  <a:gd name="connsiteY35" fmla="*/ 469900 h 1209675"/>
                  <a:gd name="connsiteX36" fmla="*/ 1081231 w 1096963"/>
                  <a:gd name="connsiteY36" fmla="*/ 469900 h 1209675"/>
                  <a:gd name="connsiteX37" fmla="*/ 1096963 w 1096963"/>
                  <a:gd name="connsiteY37" fmla="*/ 485332 h 1209675"/>
                  <a:gd name="connsiteX38" fmla="*/ 1081231 w 1096963"/>
                  <a:gd name="connsiteY38" fmla="*/ 500063 h 1209675"/>
                  <a:gd name="connsiteX39" fmla="*/ 15732 w 1096963"/>
                  <a:gd name="connsiteY39" fmla="*/ 500063 h 1209675"/>
                  <a:gd name="connsiteX40" fmla="*/ 0 w 1096963"/>
                  <a:gd name="connsiteY40" fmla="*/ 485332 h 1209675"/>
                  <a:gd name="connsiteX41" fmla="*/ 15732 w 1096963"/>
                  <a:gd name="connsiteY41" fmla="*/ 469900 h 1209675"/>
                  <a:gd name="connsiteX42" fmla="*/ 15732 w 1096963"/>
                  <a:gd name="connsiteY42" fmla="*/ 352425 h 1209675"/>
                  <a:gd name="connsiteX43" fmla="*/ 1081231 w 1096963"/>
                  <a:gd name="connsiteY43" fmla="*/ 352425 h 1209675"/>
                  <a:gd name="connsiteX44" fmla="*/ 1096963 w 1096963"/>
                  <a:gd name="connsiteY44" fmla="*/ 367857 h 1209675"/>
                  <a:gd name="connsiteX45" fmla="*/ 1081231 w 1096963"/>
                  <a:gd name="connsiteY45" fmla="*/ 382588 h 1209675"/>
                  <a:gd name="connsiteX46" fmla="*/ 15732 w 1096963"/>
                  <a:gd name="connsiteY46" fmla="*/ 382588 h 1209675"/>
                  <a:gd name="connsiteX47" fmla="*/ 0 w 1096963"/>
                  <a:gd name="connsiteY47" fmla="*/ 367857 h 1209675"/>
                  <a:gd name="connsiteX48" fmla="*/ 15732 w 1096963"/>
                  <a:gd name="connsiteY48" fmla="*/ 352425 h 1209675"/>
                  <a:gd name="connsiteX49" fmla="*/ 15732 w 1096963"/>
                  <a:gd name="connsiteY49" fmla="*/ 234950 h 1209675"/>
                  <a:gd name="connsiteX50" fmla="*/ 1081231 w 1096963"/>
                  <a:gd name="connsiteY50" fmla="*/ 234950 h 1209675"/>
                  <a:gd name="connsiteX51" fmla="*/ 1096963 w 1096963"/>
                  <a:gd name="connsiteY51" fmla="*/ 251194 h 1209675"/>
                  <a:gd name="connsiteX52" fmla="*/ 1081231 w 1096963"/>
                  <a:gd name="connsiteY52" fmla="*/ 266700 h 1209675"/>
                  <a:gd name="connsiteX53" fmla="*/ 15732 w 1096963"/>
                  <a:gd name="connsiteY53" fmla="*/ 266700 h 1209675"/>
                  <a:gd name="connsiteX54" fmla="*/ 0 w 1096963"/>
                  <a:gd name="connsiteY54" fmla="*/ 251194 h 1209675"/>
                  <a:gd name="connsiteX55" fmla="*/ 15732 w 1096963"/>
                  <a:gd name="connsiteY55" fmla="*/ 234950 h 1209675"/>
                  <a:gd name="connsiteX56" fmla="*/ 15732 w 1096963"/>
                  <a:gd name="connsiteY56" fmla="*/ 117475 h 1209675"/>
                  <a:gd name="connsiteX57" fmla="*/ 1081231 w 1096963"/>
                  <a:gd name="connsiteY57" fmla="*/ 117475 h 1209675"/>
                  <a:gd name="connsiteX58" fmla="*/ 1096963 w 1096963"/>
                  <a:gd name="connsiteY58" fmla="*/ 134514 h 1209675"/>
                  <a:gd name="connsiteX59" fmla="*/ 1081231 w 1096963"/>
                  <a:gd name="connsiteY59" fmla="*/ 150813 h 1209675"/>
                  <a:gd name="connsiteX60" fmla="*/ 15732 w 1096963"/>
                  <a:gd name="connsiteY60" fmla="*/ 150813 h 1209675"/>
                  <a:gd name="connsiteX61" fmla="*/ 0 w 1096963"/>
                  <a:gd name="connsiteY61" fmla="*/ 134514 h 1209675"/>
                  <a:gd name="connsiteX62" fmla="*/ 15732 w 1096963"/>
                  <a:gd name="connsiteY62" fmla="*/ 117475 h 1209675"/>
                  <a:gd name="connsiteX63" fmla="*/ 15732 w 1096963"/>
                  <a:gd name="connsiteY63" fmla="*/ 0 h 1209675"/>
                  <a:gd name="connsiteX64" fmla="*/ 1081231 w 1096963"/>
                  <a:gd name="connsiteY64" fmla="*/ 0 h 1209675"/>
                  <a:gd name="connsiteX65" fmla="*/ 1096963 w 1096963"/>
                  <a:gd name="connsiteY65" fmla="*/ 17039 h 1209675"/>
                  <a:gd name="connsiteX66" fmla="*/ 1081231 w 1096963"/>
                  <a:gd name="connsiteY66" fmla="*/ 33338 h 1209675"/>
                  <a:gd name="connsiteX67" fmla="*/ 15732 w 1096963"/>
                  <a:gd name="connsiteY67" fmla="*/ 33338 h 1209675"/>
                  <a:gd name="connsiteX68" fmla="*/ 0 w 1096963"/>
                  <a:gd name="connsiteY68" fmla="*/ 17039 h 1209675"/>
                  <a:gd name="connsiteX69" fmla="*/ 15732 w 1096963"/>
                  <a:gd name="connsiteY69" fmla="*/ 0 h 12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1096963" h="1209675">
                    <a:moveTo>
                      <a:pt x="775402" y="928120"/>
                    </a:moveTo>
                    <a:cubicBezTo>
                      <a:pt x="764166" y="928210"/>
                      <a:pt x="752761" y="930547"/>
                      <a:pt x="741805" y="935400"/>
                    </a:cubicBezTo>
                    <a:cubicBezTo>
                      <a:pt x="697980" y="954093"/>
                      <a:pt x="677864" y="1005859"/>
                      <a:pt x="697262" y="1049717"/>
                    </a:cubicBezTo>
                    <a:cubicBezTo>
                      <a:pt x="715941" y="1093575"/>
                      <a:pt x="766950" y="1114425"/>
                      <a:pt x="810774" y="1095013"/>
                    </a:cubicBezTo>
                    <a:cubicBezTo>
                      <a:pt x="854598" y="1076319"/>
                      <a:pt x="874714" y="1025272"/>
                      <a:pt x="855317" y="980695"/>
                    </a:cubicBezTo>
                    <a:cubicBezTo>
                      <a:pt x="841307" y="947802"/>
                      <a:pt x="809112" y="927850"/>
                      <a:pt x="775402" y="928120"/>
                    </a:cubicBezTo>
                    <a:close/>
                    <a:moveTo>
                      <a:pt x="739556" y="820737"/>
                    </a:moveTo>
                    <a:cubicBezTo>
                      <a:pt x="739556" y="820737"/>
                      <a:pt x="739556" y="820737"/>
                      <a:pt x="763859" y="842860"/>
                    </a:cubicBezTo>
                    <a:cubicBezTo>
                      <a:pt x="785304" y="841433"/>
                      <a:pt x="806748" y="843574"/>
                      <a:pt x="827477" y="850710"/>
                    </a:cubicBezTo>
                    <a:cubicBezTo>
                      <a:pt x="827477" y="850710"/>
                      <a:pt x="827477" y="850710"/>
                      <a:pt x="856069" y="834296"/>
                    </a:cubicBezTo>
                    <a:cubicBezTo>
                      <a:pt x="881088" y="845001"/>
                      <a:pt x="904676" y="862129"/>
                      <a:pt x="923261" y="883538"/>
                    </a:cubicBezTo>
                    <a:cubicBezTo>
                      <a:pt x="923261" y="883538"/>
                      <a:pt x="923261" y="883538"/>
                      <a:pt x="916828" y="915652"/>
                    </a:cubicBezTo>
                    <a:cubicBezTo>
                      <a:pt x="923261" y="925643"/>
                      <a:pt x="929694" y="936348"/>
                      <a:pt x="933983" y="947053"/>
                    </a:cubicBezTo>
                    <a:cubicBezTo>
                      <a:pt x="938272" y="957757"/>
                      <a:pt x="941846" y="968462"/>
                      <a:pt x="943991" y="978453"/>
                    </a:cubicBezTo>
                    <a:cubicBezTo>
                      <a:pt x="943991" y="978453"/>
                      <a:pt x="943991" y="978453"/>
                      <a:pt x="971868" y="995581"/>
                    </a:cubicBezTo>
                    <a:cubicBezTo>
                      <a:pt x="974727" y="1023413"/>
                      <a:pt x="971868" y="1051245"/>
                      <a:pt x="963290" y="1076937"/>
                    </a:cubicBezTo>
                    <a:cubicBezTo>
                      <a:pt x="963290" y="1076937"/>
                      <a:pt x="963290" y="1076937"/>
                      <a:pt x="932554" y="1086214"/>
                    </a:cubicBezTo>
                    <a:cubicBezTo>
                      <a:pt x="922546" y="1108337"/>
                      <a:pt x="908250" y="1128319"/>
                      <a:pt x="890380" y="1144733"/>
                    </a:cubicBezTo>
                    <a:cubicBezTo>
                      <a:pt x="890380" y="1144733"/>
                      <a:pt x="890380" y="1144733"/>
                      <a:pt x="890380" y="1177561"/>
                    </a:cubicBezTo>
                    <a:cubicBezTo>
                      <a:pt x="878943" y="1184697"/>
                      <a:pt x="866791" y="1191834"/>
                      <a:pt x="854640" y="1197543"/>
                    </a:cubicBezTo>
                    <a:cubicBezTo>
                      <a:pt x="841773" y="1202539"/>
                      <a:pt x="828907" y="1206821"/>
                      <a:pt x="816755" y="1209675"/>
                    </a:cubicBezTo>
                    <a:cubicBezTo>
                      <a:pt x="816755" y="1209675"/>
                      <a:pt x="816755" y="1209675"/>
                      <a:pt x="791737" y="1187552"/>
                    </a:cubicBezTo>
                    <a:cubicBezTo>
                      <a:pt x="767433" y="1188979"/>
                      <a:pt x="743845" y="1186125"/>
                      <a:pt x="720971" y="1178275"/>
                    </a:cubicBezTo>
                    <a:cubicBezTo>
                      <a:pt x="720971" y="1178275"/>
                      <a:pt x="720971" y="1178275"/>
                      <a:pt x="693093" y="1194689"/>
                    </a:cubicBezTo>
                    <a:cubicBezTo>
                      <a:pt x="669505" y="1182557"/>
                      <a:pt x="647346" y="1166143"/>
                      <a:pt x="628761" y="1144733"/>
                    </a:cubicBezTo>
                    <a:cubicBezTo>
                      <a:pt x="628761" y="1144733"/>
                      <a:pt x="628761" y="1144733"/>
                      <a:pt x="636624" y="1112619"/>
                    </a:cubicBezTo>
                    <a:cubicBezTo>
                      <a:pt x="630191" y="1104055"/>
                      <a:pt x="625187" y="1094064"/>
                      <a:pt x="620898" y="1083359"/>
                    </a:cubicBezTo>
                    <a:cubicBezTo>
                      <a:pt x="615180" y="1072655"/>
                      <a:pt x="611606" y="1060523"/>
                      <a:pt x="609461" y="1049818"/>
                    </a:cubicBezTo>
                    <a:cubicBezTo>
                      <a:pt x="609461" y="1049818"/>
                      <a:pt x="609461" y="1049818"/>
                      <a:pt x="581584" y="1034118"/>
                    </a:cubicBezTo>
                    <a:cubicBezTo>
                      <a:pt x="579439" y="1004145"/>
                      <a:pt x="583013" y="976312"/>
                      <a:pt x="593021" y="949907"/>
                    </a:cubicBezTo>
                    <a:cubicBezTo>
                      <a:pt x="593021" y="949907"/>
                      <a:pt x="593021" y="949907"/>
                      <a:pt x="623757" y="939916"/>
                    </a:cubicBezTo>
                    <a:cubicBezTo>
                      <a:pt x="633050" y="920648"/>
                      <a:pt x="646631" y="902807"/>
                      <a:pt x="663072" y="887820"/>
                    </a:cubicBezTo>
                    <a:cubicBezTo>
                      <a:pt x="663072" y="887820"/>
                      <a:pt x="663072" y="887820"/>
                      <a:pt x="663072" y="854279"/>
                    </a:cubicBezTo>
                    <a:cubicBezTo>
                      <a:pt x="673794" y="845715"/>
                      <a:pt x="685945" y="839292"/>
                      <a:pt x="698812" y="832869"/>
                    </a:cubicBezTo>
                    <a:cubicBezTo>
                      <a:pt x="712393" y="827160"/>
                      <a:pt x="725975" y="823592"/>
                      <a:pt x="739556" y="820737"/>
                    </a:cubicBezTo>
                    <a:close/>
                    <a:moveTo>
                      <a:pt x="15732" y="469900"/>
                    </a:moveTo>
                    <a:cubicBezTo>
                      <a:pt x="15732" y="469900"/>
                      <a:pt x="15732" y="469900"/>
                      <a:pt x="1081231" y="469900"/>
                    </a:cubicBezTo>
                    <a:cubicBezTo>
                      <a:pt x="1089812" y="469900"/>
                      <a:pt x="1096963" y="476915"/>
                      <a:pt x="1096963" y="485332"/>
                    </a:cubicBezTo>
                    <a:cubicBezTo>
                      <a:pt x="1096963" y="493048"/>
                      <a:pt x="1089812" y="500063"/>
                      <a:pt x="1081231" y="500063"/>
                    </a:cubicBezTo>
                    <a:cubicBezTo>
                      <a:pt x="1081231" y="500063"/>
                      <a:pt x="1081231" y="500063"/>
                      <a:pt x="15732" y="500063"/>
                    </a:cubicBezTo>
                    <a:cubicBezTo>
                      <a:pt x="7151" y="500063"/>
                      <a:pt x="0" y="493048"/>
                      <a:pt x="0" y="485332"/>
                    </a:cubicBezTo>
                    <a:cubicBezTo>
                      <a:pt x="0" y="476915"/>
                      <a:pt x="7151" y="469900"/>
                      <a:pt x="15732" y="469900"/>
                    </a:cubicBezTo>
                    <a:close/>
                    <a:moveTo>
                      <a:pt x="15732" y="352425"/>
                    </a:moveTo>
                    <a:cubicBezTo>
                      <a:pt x="15732" y="352425"/>
                      <a:pt x="15732" y="352425"/>
                      <a:pt x="1081231" y="352425"/>
                    </a:cubicBezTo>
                    <a:cubicBezTo>
                      <a:pt x="1089812" y="352425"/>
                      <a:pt x="1096963" y="359440"/>
                      <a:pt x="1096963" y="367857"/>
                    </a:cubicBezTo>
                    <a:cubicBezTo>
                      <a:pt x="1096963" y="375573"/>
                      <a:pt x="1089812" y="382588"/>
                      <a:pt x="1081231" y="382588"/>
                    </a:cubicBezTo>
                    <a:cubicBezTo>
                      <a:pt x="1081231" y="382588"/>
                      <a:pt x="1081231" y="382588"/>
                      <a:pt x="15732" y="382588"/>
                    </a:cubicBezTo>
                    <a:cubicBezTo>
                      <a:pt x="7151" y="382588"/>
                      <a:pt x="0" y="375573"/>
                      <a:pt x="0" y="367857"/>
                    </a:cubicBezTo>
                    <a:cubicBezTo>
                      <a:pt x="0" y="359440"/>
                      <a:pt x="7151" y="352425"/>
                      <a:pt x="15732" y="352425"/>
                    </a:cubicBezTo>
                    <a:close/>
                    <a:moveTo>
                      <a:pt x="15732" y="234950"/>
                    </a:moveTo>
                    <a:cubicBezTo>
                      <a:pt x="15732" y="234950"/>
                      <a:pt x="15732" y="234950"/>
                      <a:pt x="1081231" y="234950"/>
                    </a:cubicBezTo>
                    <a:cubicBezTo>
                      <a:pt x="1089812" y="234950"/>
                      <a:pt x="1096963" y="242334"/>
                      <a:pt x="1096963" y="251194"/>
                    </a:cubicBezTo>
                    <a:cubicBezTo>
                      <a:pt x="1096963" y="259316"/>
                      <a:pt x="1089812" y="266700"/>
                      <a:pt x="1081231" y="266700"/>
                    </a:cubicBezTo>
                    <a:cubicBezTo>
                      <a:pt x="1081231" y="266700"/>
                      <a:pt x="1081231" y="266700"/>
                      <a:pt x="15732" y="266700"/>
                    </a:cubicBezTo>
                    <a:cubicBezTo>
                      <a:pt x="7151" y="266700"/>
                      <a:pt x="0" y="259316"/>
                      <a:pt x="0" y="251194"/>
                    </a:cubicBezTo>
                    <a:cubicBezTo>
                      <a:pt x="0" y="242334"/>
                      <a:pt x="7151" y="234950"/>
                      <a:pt x="15732" y="234950"/>
                    </a:cubicBezTo>
                    <a:close/>
                    <a:moveTo>
                      <a:pt x="15732" y="117475"/>
                    </a:moveTo>
                    <a:cubicBezTo>
                      <a:pt x="15732" y="117475"/>
                      <a:pt x="15732" y="117475"/>
                      <a:pt x="1081231" y="117475"/>
                    </a:cubicBezTo>
                    <a:cubicBezTo>
                      <a:pt x="1089812" y="117475"/>
                      <a:pt x="1096963" y="125624"/>
                      <a:pt x="1096963" y="134514"/>
                    </a:cubicBezTo>
                    <a:cubicBezTo>
                      <a:pt x="1096963" y="143404"/>
                      <a:pt x="1089812" y="150813"/>
                      <a:pt x="1081231" y="150813"/>
                    </a:cubicBezTo>
                    <a:cubicBezTo>
                      <a:pt x="1081231" y="150813"/>
                      <a:pt x="1081231" y="150813"/>
                      <a:pt x="15732" y="150813"/>
                    </a:cubicBezTo>
                    <a:cubicBezTo>
                      <a:pt x="7151" y="150813"/>
                      <a:pt x="0" y="143404"/>
                      <a:pt x="0" y="134514"/>
                    </a:cubicBezTo>
                    <a:cubicBezTo>
                      <a:pt x="0" y="125624"/>
                      <a:pt x="7151" y="117475"/>
                      <a:pt x="15732" y="117475"/>
                    </a:cubicBezTo>
                    <a:close/>
                    <a:moveTo>
                      <a:pt x="15732" y="0"/>
                    </a:moveTo>
                    <a:cubicBezTo>
                      <a:pt x="15732" y="0"/>
                      <a:pt x="15732" y="0"/>
                      <a:pt x="1081231" y="0"/>
                    </a:cubicBezTo>
                    <a:cubicBezTo>
                      <a:pt x="1089812" y="0"/>
                      <a:pt x="1096963" y="8149"/>
                      <a:pt x="1096963" y="17039"/>
                    </a:cubicBezTo>
                    <a:cubicBezTo>
                      <a:pt x="1096963" y="25929"/>
                      <a:pt x="1089812" y="33338"/>
                      <a:pt x="1081231" y="33338"/>
                    </a:cubicBezTo>
                    <a:cubicBezTo>
                      <a:pt x="1081231" y="33338"/>
                      <a:pt x="1081231" y="33338"/>
                      <a:pt x="15732" y="33338"/>
                    </a:cubicBezTo>
                    <a:cubicBezTo>
                      <a:pt x="7151" y="33338"/>
                      <a:pt x="0" y="25929"/>
                      <a:pt x="0" y="17039"/>
                    </a:cubicBezTo>
                    <a:cubicBezTo>
                      <a:pt x="0" y="8149"/>
                      <a:pt x="7151" y="0"/>
                      <a:pt x="15732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8320492" y="3532157"/>
            <a:ext cx="362912" cy="362562"/>
            <a:chOff x="6464300" y="2606675"/>
            <a:chExt cx="1646238" cy="1644650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6729414" y="2881313"/>
              <a:ext cx="1122265" cy="1125538"/>
              <a:chOff x="6729414" y="2881313"/>
              <a:chExt cx="1122265" cy="1125538"/>
            </a:xfrm>
          </p:grpSpPr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7235824" y="2881313"/>
                <a:ext cx="528638" cy="582613"/>
              </a:xfrm>
              <a:custGeom>
                <a:avLst/>
                <a:gdLst>
                  <a:gd name="connsiteX0" fmla="*/ 514350 w 528638"/>
                  <a:gd name="connsiteY0" fmla="*/ 484187 h 582613"/>
                  <a:gd name="connsiteX1" fmla="*/ 390525 w 528638"/>
                  <a:gd name="connsiteY1" fmla="*/ 579437 h 582613"/>
                  <a:gd name="connsiteX2" fmla="*/ 423641 w 528638"/>
                  <a:gd name="connsiteY2" fmla="*/ 509066 h 582613"/>
                  <a:gd name="connsiteX3" fmla="*/ 514350 w 528638"/>
                  <a:gd name="connsiteY3" fmla="*/ 484187 h 582613"/>
                  <a:gd name="connsiteX4" fmla="*/ 198438 w 528638"/>
                  <a:gd name="connsiteY4" fmla="*/ 425450 h 582613"/>
                  <a:gd name="connsiteX5" fmla="*/ 266990 w 528638"/>
                  <a:gd name="connsiteY5" fmla="*/ 475457 h 582613"/>
                  <a:gd name="connsiteX6" fmla="*/ 390526 w 528638"/>
                  <a:gd name="connsiteY6" fmla="*/ 510461 h 582613"/>
                  <a:gd name="connsiteX7" fmla="*/ 352680 w 528638"/>
                  <a:gd name="connsiteY7" fmla="*/ 582613 h 582613"/>
                  <a:gd name="connsiteX8" fmla="*/ 198438 w 528638"/>
                  <a:gd name="connsiteY8" fmla="*/ 425450 h 582613"/>
                  <a:gd name="connsiteX9" fmla="*/ 382588 w 528638"/>
                  <a:gd name="connsiteY9" fmla="*/ 254000 h 582613"/>
                  <a:gd name="connsiteX10" fmla="*/ 528638 w 528638"/>
                  <a:gd name="connsiteY10" fmla="*/ 417126 h 582613"/>
                  <a:gd name="connsiteX11" fmla="*/ 526480 w 528638"/>
                  <a:gd name="connsiteY11" fmla="*/ 443483 h 582613"/>
                  <a:gd name="connsiteX12" fmla="*/ 432231 w 528638"/>
                  <a:gd name="connsiteY12" fmla="*/ 476250 h 582613"/>
                  <a:gd name="connsiteX13" fmla="*/ 382588 w 528638"/>
                  <a:gd name="connsiteY13" fmla="*/ 254000 h 582613"/>
                  <a:gd name="connsiteX14" fmla="*/ 342906 w 528638"/>
                  <a:gd name="connsiteY14" fmla="*/ 254000 h 582613"/>
                  <a:gd name="connsiteX15" fmla="*/ 399280 w 528638"/>
                  <a:gd name="connsiteY15" fmla="*/ 479425 h 582613"/>
                  <a:gd name="connsiteX16" fmla="*/ 282964 w 528638"/>
                  <a:gd name="connsiteY16" fmla="*/ 448037 h 582613"/>
                  <a:gd name="connsiteX17" fmla="*/ 201613 w 528638"/>
                  <a:gd name="connsiteY17" fmla="*/ 384547 h 582613"/>
                  <a:gd name="connsiteX18" fmla="*/ 342906 w 528638"/>
                  <a:gd name="connsiteY18" fmla="*/ 254000 h 582613"/>
                  <a:gd name="connsiteX19" fmla="*/ 63445 w 528638"/>
                  <a:gd name="connsiteY19" fmla="*/ 139700 h 582613"/>
                  <a:gd name="connsiteX20" fmla="*/ 144463 w 528638"/>
                  <a:gd name="connsiteY20" fmla="*/ 258046 h 582613"/>
                  <a:gd name="connsiteX21" fmla="*/ 128828 w 528638"/>
                  <a:gd name="connsiteY21" fmla="*/ 258763 h 582613"/>
                  <a:gd name="connsiteX22" fmla="*/ 22225 w 528638"/>
                  <a:gd name="connsiteY22" fmla="*/ 201383 h 582613"/>
                  <a:gd name="connsiteX23" fmla="*/ 63445 w 528638"/>
                  <a:gd name="connsiteY23" fmla="*/ 139700 h 582613"/>
                  <a:gd name="connsiteX24" fmla="*/ 194334 w 528638"/>
                  <a:gd name="connsiteY24" fmla="*/ 90557 h 582613"/>
                  <a:gd name="connsiteX25" fmla="*/ 255198 w 528638"/>
                  <a:gd name="connsiteY25" fmla="*/ 98609 h 582613"/>
                  <a:gd name="connsiteX26" fmla="*/ 258763 w 528638"/>
                  <a:gd name="connsiteY26" fmla="*/ 129388 h 582613"/>
                  <a:gd name="connsiteX27" fmla="*/ 185321 w 528638"/>
                  <a:gd name="connsiteY27" fmla="*/ 246063 h 582613"/>
                  <a:gd name="connsiteX28" fmla="*/ 90488 w 528638"/>
                  <a:gd name="connsiteY28" fmla="*/ 117936 h 582613"/>
                  <a:gd name="connsiteX29" fmla="*/ 159652 w 528638"/>
                  <a:gd name="connsiteY29" fmla="*/ 92883 h 582613"/>
                  <a:gd name="connsiteX30" fmla="*/ 194334 w 528638"/>
                  <a:gd name="connsiteY30" fmla="*/ 90557 h 582613"/>
                  <a:gd name="connsiteX31" fmla="*/ 65088 w 528638"/>
                  <a:gd name="connsiteY31" fmla="*/ 15875 h 582613"/>
                  <a:gd name="connsiteX32" fmla="*/ 57305 w 528638"/>
                  <a:gd name="connsiteY32" fmla="*/ 102268 h 582613"/>
                  <a:gd name="connsiteX33" fmla="*/ 4952 w 528638"/>
                  <a:gd name="connsiteY33" fmla="*/ 165100 h 582613"/>
                  <a:gd name="connsiteX34" fmla="*/ 0 w 528638"/>
                  <a:gd name="connsiteY34" fmla="*/ 128686 h 582613"/>
                  <a:gd name="connsiteX35" fmla="*/ 65088 w 528638"/>
                  <a:gd name="connsiteY35" fmla="*/ 15875 h 582613"/>
                  <a:gd name="connsiteX36" fmla="*/ 128096 w 528638"/>
                  <a:gd name="connsiteY36" fmla="*/ 0 h 582613"/>
                  <a:gd name="connsiteX37" fmla="*/ 239713 w 528638"/>
                  <a:gd name="connsiteY37" fmla="*/ 62794 h 582613"/>
                  <a:gd name="connsiteX38" fmla="*/ 155285 w 528638"/>
                  <a:gd name="connsiteY38" fmla="*/ 61383 h 582613"/>
                  <a:gd name="connsiteX39" fmla="*/ 87313 w 528638"/>
                  <a:gd name="connsiteY39" fmla="*/ 82550 h 582613"/>
                  <a:gd name="connsiteX40" fmla="*/ 98761 w 528638"/>
                  <a:gd name="connsiteY40" fmla="*/ 10583 h 582613"/>
                  <a:gd name="connsiteX41" fmla="*/ 100192 w 528638"/>
                  <a:gd name="connsiteY41" fmla="*/ 3528 h 582613"/>
                  <a:gd name="connsiteX42" fmla="*/ 128096 w 528638"/>
                  <a:gd name="connsiteY42" fmla="*/ 0 h 582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28638" h="582613">
                    <a:moveTo>
                      <a:pt x="514350" y="484187"/>
                    </a:moveTo>
                    <a:cubicBezTo>
                      <a:pt x="492033" y="533945"/>
                      <a:pt x="445959" y="570196"/>
                      <a:pt x="390525" y="579437"/>
                    </a:cubicBezTo>
                    <a:cubicBezTo>
                      <a:pt x="401324" y="560956"/>
                      <a:pt x="414282" y="536788"/>
                      <a:pt x="423641" y="509066"/>
                    </a:cubicBezTo>
                    <a:cubicBezTo>
                      <a:pt x="451718" y="506223"/>
                      <a:pt x="481954" y="498404"/>
                      <a:pt x="514350" y="484187"/>
                    </a:cubicBezTo>
                    <a:close/>
                    <a:moveTo>
                      <a:pt x="198438" y="425450"/>
                    </a:moveTo>
                    <a:cubicBezTo>
                      <a:pt x="216290" y="441881"/>
                      <a:pt x="239141" y="460455"/>
                      <a:pt x="266990" y="475457"/>
                    </a:cubicBezTo>
                    <a:cubicBezTo>
                      <a:pt x="299124" y="493316"/>
                      <a:pt x="341255" y="509032"/>
                      <a:pt x="390526" y="510461"/>
                    </a:cubicBezTo>
                    <a:cubicBezTo>
                      <a:pt x="378387" y="541894"/>
                      <a:pt x="363391" y="566897"/>
                      <a:pt x="352680" y="582613"/>
                    </a:cubicBezTo>
                    <a:cubicBezTo>
                      <a:pt x="269132" y="576898"/>
                      <a:pt x="202723" y="509747"/>
                      <a:pt x="198438" y="425450"/>
                    </a:cubicBezTo>
                    <a:close/>
                    <a:moveTo>
                      <a:pt x="382588" y="254000"/>
                    </a:moveTo>
                    <a:cubicBezTo>
                      <a:pt x="465326" y="263973"/>
                      <a:pt x="528638" y="333070"/>
                      <a:pt x="528638" y="417126"/>
                    </a:cubicBezTo>
                    <a:cubicBezTo>
                      <a:pt x="528638" y="426386"/>
                      <a:pt x="527919" y="434934"/>
                      <a:pt x="526480" y="443483"/>
                    </a:cubicBezTo>
                    <a:cubicBezTo>
                      <a:pt x="494824" y="460579"/>
                      <a:pt x="463887" y="471264"/>
                      <a:pt x="432231" y="476250"/>
                    </a:cubicBezTo>
                    <a:cubicBezTo>
                      <a:pt x="445901" y="416414"/>
                      <a:pt x="443742" y="335207"/>
                      <a:pt x="382588" y="254000"/>
                    </a:cubicBezTo>
                    <a:close/>
                    <a:moveTo>
                      <a:pt x="342906" y="254000"/>
                    </a:moveTo>
                    <a:cubicBezTo>
                      <a:pt x="401421" y="321057"/>
                      <a:pt x="420688" y="397388"/>
                      <a:pt x="399280" y="479425"/>
                    </a:cubicBezTo>
                    <a:cubicBezTo>
                      <a:pt x="360032" y="479425"/>
                      <a:pt x="320784" y="469438"/>
                      <a:pt x="282964" y="448037"/>
                    </a:cubicBezTo>
                    <a:cubicBezTo>
                      <a:pt x="245856" y="428062"/>
                      <a:pt x="218026" y="402381"/>
                      <a:pt x="201613" y="384547"/>
                    </a:cubicBezTo>
                    <a:cubicBezTo>
                      <a:pt x="215172" y="315350"/>
                      <a:pt x="272260" y="262561"/>
                      <a:pt x="342906" y="254000"/>
                    </a:cubicBezTo>
                    <a:close/>
                    <a:moveTo>
                      <a:pt x="63445" y="139700"/>
                    </a:moveTo>
                    <a:cubicBezTo>
                      <a:pt x="72683" y="179148"/>
                      <a:pt x="95425" y="222901"/>
                      <a:pt x="144463" y="258046"/>
                    </a:cubicBezTo>
                    <a:cubicBezTo>
                      <a:pt x="139488" y="258763"/>
                      <a:pt x="134513" y="258763"/>
                      <a:pt x="128828" y="258763"/>
                    </a:cubicBezTo>
                    <a:cubicBezTo>
                      <a:pt x="84765" y="258763"/>
                      <a:pt x="44967" y="236528"/>
                      <a:pt x="22225" y="201383"/>
                    </a:cubicBezTo>
                    <a:cubicBezTo>
                      <a:pt x="32885" y="176997"/>
                      <a:pt x="46388" y="156197"/>
                      <a:pt x="63445" y="139700"/>
                    </a:cubicBezTo>
                    <a:close/>
                    <a:moveTo>
                      <a:pt x="194334" y="90557"/>
                    </a:moveTo>
                    <a:cubicBezTo>
                      <a:pt x="226855" y="90825"/>
                      <a:pt x="251455" y="97536"/>
                      <a:pt x="255198" y="98609"/>
                    </a:cubicBezTo>
                    <a:cubicBezTo>
                      <a:pt x="257337" y="108630"/>
                      <a:pt x="258763" y="118651"/>
                      <a:pt x="258763" y="129388"/>
                    </a:cubicBezTo>
                    <a:cubicBezTo>
                      <a:pt x="258763" y="180926"/>
                      <a:pt x="228816" y="225305"/>
                      <a:pt x="185321" y="246063"/>
                    </a:cubicBezTo>
                    <a:cubicBezTo>
                      <a:pt x="131130" y="217431"/>
                      <a:pt x="99757" y="173768"/>
                      <a:pt x="90488" y="117936"/>
                    </a:cubicBezTo>
                    <a:cubicBezTo>
                      <a:pt x="110453" y="105051"/>
                      <a:pt x="133270" y="96462"/>
                      <a:pt x="159652" y="92883"/>
                    </a:cubicBezTo>
                    <a:cubicBezTo>
                      <a:pt x="171773" y="91093"/>
                      <a:pt x="183494" y="90467"/>
                      <a:pt x="194334" y="90557"/>
                    </a:cubicBezTo>
                    <a:close/>
                    <a:moveTo>
                      <a:pt x="65088" y="15875"/>
                    </a:moveTo>
                    <a:cubicBezTo>
                      <a:pt x="60135" y="34439"/>
                      <a:pt x="54476" y="65855"/>
                      <a:pt x="57305" y="102268"/>
                    </a:cubicBezTo>
                    <a:cubicBezTo>
                      <a:pt x="38204" y="117976"/>
                      <a:pt x="19809" y="137968"/>
                      <a:pt x="4952" y="165100"/>
                    </a:cubicBezTo>
                    <a:cubicBezTo>
                      <a:pt x="1415" y="153676"/>
                      <a:pt x="0" y="140824"/>
                      <a:pt x="0" y="128686"/>
                    </a:cubicBezTo>
                    <a:cubicBezTo>
                      <a:pt x="0" y="80134"/>
                      <a:pt x="26176" y="38009"/>
                      <a:pt x="65088" y="15875"/>
                    </a:cubicBezTo>
                    <a:close/>
                    <a:moveTo>
                      <a:pt x="128096" y="0"/>
                    </a:moveTo>
                    <a:cubicBezTo>
                      <a:pt x="176034" y="0"/>
                      <a:pt x="217533" y="25400"/>
                      <a:pt x="239713" y="62794"/>
                    </a:cubicBezTo>
                    <a:cubicBezTo>
                      <a:pt x="219679" y="59267"/>
                      <a:pt x="188913" y="56444"/>
                      <a:pt x="155285" y="61383"/>
                    </a:cubicBezTo>
                    <a:cubicBezTo>
                      <a:pt x="134535" y="64205"/>
                      <a:pt x="110209" y="70555"/>
                      <a:pt x="87313" y="82550"/>
                    </a:cubicBezTo>
                    <a:cubicBezTo>
                      <a:pt x="87313" y="41628"/>
                      <a:pt x="98761" y="10583"/>
                      <a:pt x="98761" y="10583"/>
                    </a:cubicBezTo>
                    <a:cubicBezTo>
                      <a:pt x="100192" y="7761"/>
                      <a:pt x="100192" y="5644"/>
                      <a:pt x="100192" y="3528"/>
                    </a:cubicBezTo>
                    <a:cubicBezTo>
                      <a:pt x="108778" y="1411"/>
                      <a:pt x="118794" y="0"/>
                      <a:pt x="128096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6729414" y="3465513"/>
                <a:ext cx="1122265" cy="541338"/>
              </a:xfrm>
              <a:custGeom>
                <a:avLst/>
                <a:gdLst>
                  <a:gd name="connsiteX0" fmla="*/ 408151 w 1122265"/>
                  <a:gd name="connsiteY0" fmla="*/ 31591 h 541338"/>
                  <a:gd name="connsiteX1" fmla="*/ 324550 w 1122265"/>
                  <a:gd name="connsiteY1" fmla="*/ 51601 h 541338"/>
                  <a:gd name="connsiteX2" fmla="*/ 30162 w 1122265"/>
                  <a:gd name="connsiteY2" fmla="*/ 218820 h 541338"/>
                  <a:gd name="connsiteX3" fmla="*/ 30162 w 1122265"/>
                  <a:gd name="connsiteY3" fmla="*/ 503237 h 541338"/>
                  <a:gd name="connsiteX4" fmla="*/ 366708 w 1122265"/>
                  <a:gd name="connsiteY4" fmla="*/ 373177 h 541338"/>
                  <a:gd name="connsiteX5" fmla="*/ 417440 w 1122265"/>
                  <a:gd name="connsiteY5" fmla="*/ 365316 h 541338"/>
                  <a:gd name="connsiteX6" fmla="*/ 566778 w 1122265"/>
                  <a:gd name="connsiteY6" fmla="*/ 376036 h 541338"/>
                  <a:gd name="connsiteX7" fmla="*/ 795429 w 1122265"/>
                  <a:gd name="connsiteY7" fmla="*/ 349595 h 541338"/>
                  <a:gd name="connsiteX8" fmla="*/ 1046230 w 1122265"/>
                  <a:gd name="connsiteY8" fmla="*/ 183090 h 541338"/>
                  <a:gd name="connsiteX9" fmla="*/ 1078384 w 1122265"/>
                  <a:gd name="connsiteY9" fmla="*/ 145930 h 541338"/>
                  <a:gd name="connsiteX10" fmla="*/ 1073383 w 1122265"/>
                  <a:gd name="connsiteY10" fmla="*/ 71610 h 541338"/>
                  <a:gd name="connsiteX11" fmla="*/ 1034798 w 1122265"/>
                  <a:gd name="connsiteY11" fmla="*/ 58032 h 541338"/>
                  <a:gd name="connsiteX12" fmla="*/ 997642 w 1122265"/>
                  <a:gd name="connsiteY12" fmla="*/ 75897 h 541338"/>
                  <a:gd name="connsiteX13" fmla="*/ 949768 w 1122265"/>
                  <a:gd name="connsiteY13" fmla="*/ 129494 h 541338"/>
                  <a:gd name="connsiteX14" fmla="*/ 804003 w 1122265"/>
                  <a:gd name="connsiteY14" fmla="*/ 220964 h 541338"/>
                  <a:gd name="connsiteX15" fmla="*/ 606792 w 1122265"/>
                  <a:gd name="connsiteY15" fmla="*/ 210245 h 541338"/>
                  <a:gd name="connsiteX16" fmla="*/ 551772 w 1122265"/>
                  <a:gd name="connsiteY16" fmla="*/ 188092 h 541338"/>
                  <a:gd name="connsiteX17" fmla="*/ 542483 w 1122265"/>
                  <a:gd name="connsiteY17" fmla="*/ 171656 h 541338"/>
                  <a:gd name="connsiteX18" fmla="*/ 556060 w 1122265"/>
                  <a:gd name="connsiteY18" fmla="*/ 158078 h 541338"/>
                  <a:gd name="connsiteX19" fmla="*/ 713972 w 1122265"/>
                  <a:gd name="connsiteY19" fmla="*/ 142357 h 541338"/>
                  <a:gd name="connsiteX20" fmla="*/ 757558 w 1122265"/>
                  <a:gd name="connsiteY20" fmla="*/ 95192 h 541338"/>
                  <a:gd name="connsiteX21" fmla="*/ 711828 w 1122265"/>
                  <a:gd name="connsiteY21" fmla="*/ 47313 h 541338"/>
                  <a:gd name="connsiteX22" fmla="*/ 408151 w 1122265"/>
                  <a:gd name="connsiteY22" fmla="*/ 31591 h 541338"/>
                  <a:gd name="connsiteX23" fmla="*/ 389667 w 1122265"/>
                  <a:gd name="connsiteY23" fmla="*/ 0 h 541338"/>
                  <a:gd name="connsiteX24" fmla="*/ 393235 w 1122265"/>
                  <a:gd name="connsiteY24" fmla="*/ 0 h 541338"/>
                  <a:gd name="connsiteX25" fmla="*/ 396090 w 1122265"/>
                  <a:gd name="connsiteY25" fmla="*/ 0 h 541338"/>
                  <a:gd name="connsiteX26" fmla="*/ 398944 w 1122265"/>
                  <a:gd name="connsiteY26" fmla="*/ 0 h 541338"/>
                  <a:gd name="connsiteX27" fmla="*/ 402513 w 1122265"/>
                  <a:gd name="connsiteY27" fmla="*/ 0 h 541338"/>
                  <a:gd name="connsiteX28" fmla="*/ 410363 w 1122265"/>
                  <a:gd name="connsiteY28" fmla="*/ 0 h 541338"/>
                  <a:gd name="connsiteX29" fmla="*/ 714389 w 1122265"/>
                  <a:gd name="connsiteY29" fmla="*/ 15712 h 541338"/>
                  <a:gd name="connsiteX30" fmla="*/ 779333 w 1122265"/>
                  <a:gd name="connsiteY30" fmla="*/ 56419 h 541338"/>
                  <a:gd name="connsiteX31" fmla="*/ 781474 w 1122265"/>
                  <a:gd name="connsiteY31" fmla="*/ 60704 h 541338"/>
                  <a:gd name="connsiteX32" fmla="*/ 787897 w 1122265"/>
                  <a:gd name="connsiteY32" fmla="*/ 79273 h 541338"/>
                  <a:gd name="connsiteX33" fmla="*/ 789324 w 1122265"/>
                  <a:gd name="connsiteY33" fmla="*/ 94984 h 541338"/>
                  <a:gd name="connsiteX34" fmla="*/ 788611 w 1122265"/>
                  <a:gd name="connsiteY34" fmla="*/ 100698 h 541338"/>
                  <a:gd name="connsiteX35" fmla="*/ 788611 w 1122265"/>
                  <a:gd name="connsiteY35" fmla="*/ 101412 h 541338"/>
                  <a:gd name="connsiteX36" fmla="*/ 787897 w 1122265"/>
                  <a:gd name="connsiteY36" fmla="*/ 107125 h 541338"/>
                  <a:gd name="connsiteX37" fmla="*/ 762918 w 1122265"/>
                  <a:gd name="connsiteY37" fmla="*/ 154260 h 541338"/>
                  <a:gd name="connsiteX38" fmla="*/ 762205 w 1122265"/>
                  <a:gd name="connsiteY38" fmla="*/ 154260 h 541338"/>
                  <a:gd name="connsiteX39" fmla="*/ 757923 w 1122265"/>
                  <a:gd name="connsiteY39" fmla="*/ 157831 h 541338"/>
                  <a:gd name="connsiteX40" fmla="*/ 753641 w 1122265"/>
                  <a:gd name="connsiteY40" fmla="*/ 160688 h 541338"/>
                  <a:gd name="connsiteX41" fmla="*/ 752927 w 1122265"/>
                  <a:gd name="connsiteY41" fmla="*/ 161402 h 541338"/>
                  <a:gd name="connsiteX42" fmla="*/ 748645 w 1122265"/>
                  <a:gd name="connsiteY42" fmla="*/ 164258 h 541338"/>
                  <a:gd name="connsiteX43" fmla="*/ 747218 w 1122265"/>
                  <a:gd name="connsiteY43" fmla="*/ 164973 h 541338"/>
                  <a:gd name="connsiteX44" fmla="*/ 742222 w 1122265"/>
                  <a:gd name="connsiteY44" fmla="*/ 167115 h 541338"/>
                  <a:gd name="connsiteX45" fmla="*/ 741508 w 1122265"/>
                  <a:gd name="connsiteY45" fmla="*/ 167829 h 541338"/>
                  <a:gd name="connsiteX46" fmla="*/ 737226 w 1122265"/>
                  <a:gd name="connsiteY46" fmla="*/ 169258 h 541338"/>
                  <a:gd name="connsiteX47" fmla="*/ 717957 w 1122265"/>
                  <a:gd name="connsiteY47" fmla="*/ 173543 h 541338"/>
                  <a:gd name="connsiteX48" fmla="*/ 623752 w 1122265"/>
                  <a:gd name="connsiteY48" fmla="*/ 182827 h 541338"/>
                  <a:gd name="connsiteX49" fmla="*/ 742222 w 1122265"/>
                  <a:gd name="connsiteY49" fmla="*/ 199967 h 541338"/>
                  <a:gd name="connsiteX50" fmla="*/ 774337 w 1122265"/>
                  <a:gd name="connsiteY50" fmla="*/ 195682 h 541338"/>
                  <a:gd name="connsiteX51" fmla="*/ 784329 w 1122265"/>
                  <a:gd name="connsiteY51" fmla="*/ 193539 h 541338"/>
                  <a:gd name="connsiteX52" fmla="*/ 785756 w 1122265"/>
                  <a:gd name="connsiteY52" fmla="*/ 192825 h 541338"/>
                  <a:gd name="connsiteX53" fmla="*/ 795747 w 1122265"/>
                  <a:gd name="connsiteY53" fmla="*/ 190683 h 541338"/>
                  <a:gd name="connsiteX54" fmla="*/ 825722 w 1122265"/>
                  <a:gd name="connsiteY54" fmla="*/ 179970 h 541338"/>
                  <a:gd name="connsiteX55" fmla="*/ 908508 w 1122265"/>
                  <a:gd name="connsiteY55" fmla="*/ 127122 h 541338"/>
                  <a:gd name="connsiteX56" fmla="*/ 927064 w 1122265"/>
                  <a:gd name="connsiteY56" fmla="*/ 108553 h 541338"/>
                  <a:gd name="connsiteX57" fmla="*/ 974166 w 1122265"/>
                  <a:gd name="connsiteY57" fmla="*/ 54991 h 541338"/>
                  <a:gd name="connsiteX58" fmla="*/ 977021 w 1122265"/>
                  <a:gd name="connsiteY58" fmla="*/ 51420 h 541338"/>
                  <a:gd name="connsiteX59" fmla="*/ 977734 w 1122265"/>
                  <a:gd name="connsiteY59" fmla="*/ 51420 h 541338"/>
                  <a:gd name="connsiteX60" fmla="*/ 1032687 w 1122265"/>
                  <a:gd name="connsiteY60" fmla="*/ 26424 h 541338"/>
                  <a:gd name="connsiteX61" fmla="*/ 1033401 w 1122265"/>
                  <a:gd name="connsiteY61" fmla="*/ 26424 h 541338"/>
                  <a:gd name="connsiteX62" fmla="*/ 1037683 w 1122265"/>
                  <a:gd name="connsiteY62" fmla="*/ 26424 h 541338"/>
                  <a:gd name="connsiteX63" fmla="*/ 1039111 w 1122265"/>
                  <a:gd name="connsiteY63" fmla="*/ 26424 h 541338"/>
                  <a:gd name="connsiteX64" fmla="*/ 1078363 w 1122265"/>
                  <a:gd name="connsiteY64" fmla="*/ 37137 h 541338"/>
                  <a:gd name="connsiteX65" fmla="*/ 1081931 w 1122265"/>
                  <a:gd name="connsiteY65" fmla="*/ 39279 h 541338"/>
                  <a:gd name="connsiteX66" fmla="*/ 1084786 w 1122265"/>
                  <a:gd name="connsiteY66" fmla="*/ 40708 h 541338"/>
                  <a:gd name="connsiteX67" fmla="*/ 1085499 w 1122265"/>
                  <a:gd name="connsiteY67" fmla="*/ 41422 h 541338"/>
                  <a:gd name="connsiteX68" fmla="*/ 1088354 w 1122265"/>
                  <a:gd name="connsiteY68" fmla="*/ 43564 h 541338"/>
                  <a:gd name="connsiteX69" fmla="*/ 1089068 w 1122265"/>
                  <a:gd name="connsiteY69" fmla="*/ 44278 h 541338"/>
                  <a:gd name="connsiteX70" fmla="*/ 1091209 w 1122265"/>
                  <a:gd name="connsiteY70" fmla="*/ 45707 h 541338"/>
                  <a:gd name="connsiteX71" fmla="*/ 1094063 w 1122265"/>
                  <a:gd name="connsiteY71" fmla="*/ 47849 h 541338"/>
                  <a:gd name="connsiteX72" fmla="*/ 1094063 w 1122265"/>
                  <a:gd name="connsiteY72" fmla="*/ 48563 h 541338"/>
                  <a:gd name="connsiteX73" fmla="*/ 1101914 w 1122265"/>
                  <a:gd name="connsiteY73" fmla="*/ 165687 h 541338"/>
                  <a:gd name="connsiteX74" fmla="*/ 1070512 w 1122265"/>
                  <a:gd name="connsiteY74" fmla="*/ 203538 h 541338"/>
                  <a:gd name="connsiteX75" fmla="*/ 964888 w 1122265"/>
                  <a:gd name="connsiteY75" fmla="*/ 299950 h 541338"/>
                  <a:gd name="connsiteX76" fmla="*/ 955611 w 1122265"/>
                  <a:gd name="connsiteY76" fmla="*/ 306377 h 541338"/>
                  <a:gd name="connsiteX77" fmla="*/ 947046 w 1122265"/>
                  <a:gd name="connsiteY77" fmla="*/ 312091 h 541338"/>
                  <a:gd name="connsiteX78" fmla="*/ 805025 w 1122265"/>
                  <a:gd name="connsiteY78" fmla="*/ 379222 h 541338"/>
                  <a:gd name="connsiteX79" fmla="*/ 791465 w 1122265"/>
                  <a:gd name="connsiteY79" fmla="*/ 383507 h 541338"/>
                  <a:gd name="connsiteX80" fmla="*/ 787183 w 1122265"/>
                  <a:gd name="connsiteY80" fmla="*/ 384222 h 541338"/>
                  <a:gd name="connsiteX81" fmla="*/ 778619 w 1122265"/>
                  <a:gd name="connsiteY81" fmla="*/ 387078 h 541338"/>
                  <a:gd name="connsiteX82" fmla="*/ 772910 w 1122265"/>
                  <a:gd name="connsiteY82" fmla="*/ 388507 h 541338"/>
                  <a:gd name="connsiteX83" fmla="*/ 765059 w 1122265"/>
                  <a:gd name="connsiteY83" fmla="*/ 389935 h 541338"/>
                  <a:gd name="connsiteX84" fmla="*/ 758636 w 1122265"/>
                  <a:gd name="connsiteY84" fmla="*/ 392077 h 541338"/>
                  <a:gd name="connsiteX85" fmla="*/ 752927 w 1122265"/>
                  <a:gd name="connsiteY85" fmla="*/ 392792 h 541338"/>
                  <a:gd name="connsiteX86" fmla="*/ 723666 w 1122265"/>
                  <a:gd name="connsiteY86" fmla="*/ 399219 h 541338"/>
                  <a:gd name="connsiteX87" fmla="*/ 720812 w 1122265"/>
                  <a:gd name="connsiteY87" fmla="*/ 399219 h 541338"/>
                  <a:gd name="connsiteX88" fmla="*/ 710106 w 1122265"/>
                  <a:gd name="connsiteY88" fmla="*/ 401362 h 541338"/>
                  <a:gd name="connsiteX89" fmla="*/ 708679 w 1122265"/>
                  <a:gd name="connsiteY89" fmla="*/ 401362 h 541338"/>
                  <a:gd name="connsiteX90" fmla="*/ 649444 w 1122265"/>
                  <a:gd name="connsiteY90" fmla="*/ 407789 h 541338"/>
                  <a:gd name="connsiteX91" fmla="*/ 647303 w 1122265"/>
                  <a:gd name="connsiteY91" fmla="*/ 407789 h 541338"/>
                  <a:gd name="connsiteX92" fmla="*/ 636598 w 1122265"/>
                  <a:gd name="connsiteY92" fmla="*/ 408503 h 541338"/>
                  <a:gd name="connsiteX93" fmla="*/ 634457 w 1122265"/>
                  <a:gd name="connsiteY93" fmla="*/ 408503 h 541338"/>
                  <a:gd name="connsiteX94" fmla="*/ 620183 w 1122265"/>
                  <a:gd name="connsiteY94" fmla="*/ 408503 h 541338"/>
                  <a:gd name="connsiteX95" fmla="*/ 619470 w 1122265"/>
                  <a:gd name="connsiteY95" fmla="*/ 408503 h 541338"/>
                  <a:gd name="connsiteX96" fmla="*/ 611619 w 1122265"/>
                  <a:gd name="connsiteY96" fmla="*/ 408503 h 541338"/>
                  <a:gd name="connsiteX97" fmla="*/ 605196 w 1122265"/>
                  <a:gd name="connsiteY97" fmla="*/ 408503 h 541338"/>
                  <a:gd name="connsiteX98" fmla="*/ 598060 w 1122265"/>
                  <a:gd name="connsiteY98" fmla="*/ 408503 h 541338"/>
                  <a:gd name="connsiteX99" fmla="*/ 591637 w 1122265"/>
                  <a:gd name="connsiteY99" fmla="*/ 408503 h 541338"/>
                  <a:gd name="connsiteX100" fmla="*/ 583786 w 1122265"/>
                  <a:gd name="connsiteY100" fmla="*/ 407789 h 541338"/>
                  <a:gd name="connsiteX101" fmla="*/ 578077 w 1122265"/>
                  <a:gd name="connsiteY101" fmla="*/ 407789 h 541338"/>
                  <a:gd name="connsiteX102" fmla="*/ 565944 w 1122265"/>
                  <a:gd name="connsiteY102" fmla="*/ 407075 h 541338"/>
                  <a:gd name="connsiteX103" fmla="*/ 565231 w 1122265"/>
                  <a:gd name="connsiteY103" fmla="*/ 407075 h 541338"/>
                  <a:gd name="connsiteX104" fmla="*/ 484585 w 1122265"/>
                  <a:gd name="connsiteY104" fmla="*/ 401362 h 541338"/>
                  <a:gd name="connsiteX105" fmla="*/ 416073 w 1122265"/>
                  <a:gd name="connsiteY105" fmla="*/ 396362 h 541338"/>
                  <a:gd name="connsiteX106" fmla="*/ 410363 w 1122265"/>
                  <a:gd name="connsiteY106" fmla="*/ 396362 h 541338"/>
                  <a:gd name="connsiteX107" fmla="*/ 406795 w 1122265"/>
                  <a:gd name="connsiteY107" fmla="*/ 396362 h 541338"/>
                  <a:gd name="connsiteX108" fmla="*/ 392521 w 1122265"/>
                  <a:gd name="connsiteY108" fmla="*/ 397791 h 541338"/>
                  <a:gd name="connsiteX109" fmla="*/ 388239 w 1122265"/>
                  <a:gd name="connsiteY109" fmla="*/ 398505 h 541338"/>
                  <a:gd name="connsiteX110" fmla="*/ 388239 w 1122265"/>
                  <a:gd name="connsiteY110" fmla="*/ 399219 h 541338"/>
                  <a:gd name="connsiteX111" fmla="*/ 383957 w 1122265"/>
                  <a:gd name="connsiteY111" fmla="*/ 399933 h 541338"/>
                  <a:gd name="connsiteX112" fmla="*/ 383244 w 1122265"/>
                  <a:gd name="connsiteY112" fmla="*/ 400647 h 541338"/>
                  <a:gd name="connsiteX113" fmla="*/ 378961 w 1122265"/>
                  <a:gd name="connsiteY113" fmla="*/ 402076 h 541338"/>
                  <a:gd name="connsiteX114" fmla="*/ 21410 w 1122265"/>
                  <a:gd name="connsiteY114" fmla="*/ 540624 h 541338"/>
                  <a:gd name="connsiteX115" fmla="*/ 15701 w 1122265"/>
                  <a:gd name="connsiteY115" fmla="*/ 541338 h 541338"/>
                  <a:gd name="connsiteX116" fmla="*/ 7137 w 1122265"/>
                  <a:gd name="connsiteY116" fmla="*/ 538481 h 541338"/>
                  <a:gd name="connsiteX117" fmla="*/ 0 w 1122265"/>
                  <a:gd name="connsiteY117" fmla="*/ 525626 h 541338"/>
                  <a:gd name="connsiteX118" fmla="*/ 0 w 1122265"/>
                  <a:gd name="connsiteY118" fmla="*/ 209251 h 541338"/>
                  <a:gd name="connsiteX119" fmla="*/ 7851 w 1122265"/>
                  <a:gd name="connsiteY119" fmla="*/ 195682 h 541338"/>
                  <a:gd name="connsiteX120" fmla="*/ 309735 w 1122265"/>
                  <a:gd name="connsiteY120" fmla="*/ 24282 h 541338"/>
                  <a:gd name="connsiteX121" fmla="*/ 315444 w 1122265"/>
                  <a:gd name="connsiteY121" fmla="*/ 21425 h 541338"/>
                  <a:gd name="connsiteX122" fmla="*/ 317585 w 1122265"/>
                  <a:gd name="connsiteY122" fmla="*/ 19997 h 541338"/>
                  <a:gd name="connsiteX123" fmla="*/ 320440 w 1122265"/>
                  <a:gd name="connsiteY123" fmla="*/ 18568 h 541338"/>
                  <a:gd name="connsiteX124" fmla="*/ 324009 w 1122265"/>
                  <a:gd name="connsiteY124" fmla="*/ 17140 h 541338"/>
                  <a:gd name="connsiteX125" fmla="*/ 326150 w 1122265"/>
                  <a:gd name="connsiteY125" fmla="*/ 15712 h 541338"/>
                  <a:gd name="connsiteX126" fmla="*/ 329718 w 1122265"/>
                  <a:gd name="connsiteY126" fmla="*/ 14283 h 541338"/>
                  <a:gd name="connsiteX127" fmla="*/ 331859 w 1122265"/>
                  <a:gd name="connsiteY127" fmla="*/ 13569 h 541338"/>
                  <a:gd name="connsiteX128" fmla="*/ 336141 w 1122265"/>
                  <a:gd name="connsiteY128" fmla="*/ 12141 h 541338"/>
                  <a:gd name="connsiteX129" fmla="*/ 337568 w 1122265"/>
                  <a:gd name="connsiteY129" fmla="*/ 11427 h 541338"/>
                  <a:gd name="connsiteX130" fmla="*/ 341850 w 1122265"/>
                  <a:gd name="connsiteY130" fmla="*/ 9998 h 541338"/>
                  <a:gd name="connsiteX131" fmla="*/ 342564 w 1122265"/>
                  <a:gd name="connsiteY131" fmla="*/ 9284 h 541338"/>
                  <a:gd name="connsiteX132" fmla="*/ 347560 w 1122265"/>
                  <a:gd name="connsiteY132" fmla="*/ 7856 h 541338"/>
                  <a:gd name="connsiteX133" fmla="*/ 348273 w 1122265"/>
                  <a:gd name="connsiteY133" fmla="*/ 7856 h 541338"/>
                  <a:gd name="connsiteX134" fmla="*/ 381816 w 1122265"/>
                  <a:gd name="connsiteY134" fmla="*/ 714 h 541338"/>
                  <a:gd name="connsiteX135" fmla="*/ 383244 w 1122265"/>
                  <a:gd name="connsiteY135" fmla="*/ 714 h 541338"/>
                  <a:gd name="connsiteX136" fmla="*/ 386812 w 1122265"/>
                  <a:gd name="connsiteY136" fmla="*/ 714 h 541338"/>
                  <a:gd name="connsiteX137" fmla="*/ 389667 w 1122265"/>
                  <a:gd name="connsiteY137" fmla="*/ 0 h 5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1122265" h="541338">
                    <a:moveTo>
                      <a:pt x="408151" y="31591"/>
                    </a:moveTo>
                    <a:cubicBezTo>
                      <a:pt x="378855" y="30162"/>
                      <a:pt x="349559" y="37308"/>
                      <a:pt x="324550" y="51601"/>
                    </a:cubicBezTo>
                    <a:cubicBezTo>
                      <a:pt x="324550" y="51601"/>
                      <a:pt x="324550" y="51601"/>
                      <a:pt x="30162" y="218820"/>
                    </a:cubicBezTo>
                    <a:cubicBezTo>
                      <a:pt x="30162" y="218820"/>
                      <a:pt x="30162" y="218820"/>
                      <a:pt x="30162" y="503237"/>
                    </a:cubicBezTo>
                    <a:cubicBezTo>
                      <a:pt x="30162" y="503237"/>
                      <a:pt x="30162" y="503237"/>
                      <a:pt x="366708" y="373177"/>
                    </a:cubicBezTo>
                    <a:cubicBezTo>
                      <a:pt x="383142" y="366746"/>
                      <a:pt x="400291" y="363887"/>
                      <a:pt x="417440" y="365316"/>
                    </a:cubicBezTo>
                    <a:cubicBezTo>
                      <a:pt x="417440" y="365316"/>
                      <a:pt x="417440" y="365316"/>
                      <a:pt x="566778" y="376036"/>
                    </a:cubicBezTo>
                    <a:cubicBezTo>
                      <a:pt x="643947" y="381753"/>
                      <a:pt x="721117" y="372463"/>
                      <a:pt x="795429" y="349595"/>
                    </a:cubicBezTo>
                    <a:cubicBezTo>
                      <a:pt x="893320" y="318867"/>
                      <a:pt x="979779" y="261697"/>
                      <a:pt x="1046230" y="183090"/>
                    </a:cubicBezTo>
                    <a:cubicBezTo>
                      <a:pt x="1046230" y="183090"/>
                      <a:pt x="1046230" y="183090"/>
                      <a:pt x="1078384" y="145930"/>
                    </a:cubicBezTo>
                    <a:cubicBezTo>
                      <a:pt x="1096962" y="123777"/>
                      <a:pt x="1094819" y="90904"/>
                      <a:pt x="1073383" y="71610"/>
                    </a:cubicBezTo>
                    <a:cubicBezTo>
                      <a:pt x="1062665" y="62320"/>
                      <a:pt x="1049088" y="57317"/>
                      <a:pt x="1034798" y="58032"/>
                    </a:cubicBezTo>
                    <a:cubicBezTo>
                      <a:pt x="1020507" y="58747"/>
                      <a:pt x="1006931" y="65178"/>
                      <a:pt x="997642" y="75897"/>
                    </a:cubicBezTo>
                    <a:cubicBezTo>
                      <a:pt x="997642" y="75897"/>
                      <a:pt x="997642" y="75897"/>
                      <a:pt x="949768" y="129494"/>
                    </a:cubicBezTo>
                    <a:cubicBezTo>
                      <a:pt x="911183" y="173800"/>
                      <a:pt x="860451" y="205243"/>
                      <a:pt x="804003" y="220964"/>
                    </a:cubicBezTo>
                    <a:cubicBezTo>
                      <a:pt x="738980" y="239544"/>
                      <a:pt x="668956" y="235257"/>
                      <a:pt x="606792" y="210245"/>
                    </a:cubicBezTo>
                    <a:cubicBezTo>
                      <a:pt x="606792" y="210245"/>
                      <a:pt x="606792" y="210245"/>
                      <a:pt x="551772" y="188092"/>
                    </a:cubicBezTo>
                    <a:cubicBezTo>
                      <a:pt x="545342" y="185234"/>
                      <a:pt x="541054" y="178802"/>
                      <a:pt x="542483" y="171656"/>
                    </a:cubicBezTo>
                    <a:cubicBezTo>
                      <a:pt x="543198" y="164510"/>
                      <a:pt x="548914" y="158793"/>
                      <a:pt x="556060" y="158078"/>
                    </a:cubicBezTo>
                    <a:cubicBezTo>
                      <a:pt x="556060" y="158078"/>
                      <a:pt x="556060" y="158078"/>
                      <a:pt x="713972" y="142357"/>
                    </a:cubicBezTo>
                    <a:cubicBezTo>
                      <a:pt x="738980" y="140213"/>
                      <a:pt x="757558" y="119489"/>
                      <a:pt x="757558" y="95192"/>
                    </a:cubicBezTo>
                    <a:cubicBezTo>
                      <a:pt x="757558" y="69466"/>
                      <a:pt x="737551" y="48742"/>
                      <a:pt x="711828" y="47313"/>
                    </a:cubicBezTo>
                    <a:cubicBezTo>
                      <a:pt x="711828" y="47313"/>
                      <a:pt x="711828" y="47313"/>
                      <a:pt x="408151" y="31591"/>
                    </a:cubicBezTo>
                    <a:close/>
                    <a:moveTo>
                      <a:pt x="389667" y="0"/>
                    </a:moveTo>
                    <a:cubicBezTo>
                      <a:pt x="391094" y="0"/>
                      <a:pt x="391808" y="0"/>
                      <a:pt x="393235" y="0"/>
                    </a:cubicBezTo>
                    <a:cubicBezTo>
                      <a:pt x="393949" y="0"/>
                      <a:pt x="395376" y="0"/>
                      <a:pt x="396090" y="0"/>
                    </a:cubicBezTo>
                    <a:cubicBezTo>
                      <a:pt x="397517" y="0"/>
                      <a:pt x="398231" y="0"/>
                      <a:pt x="398944" y="0"/>
                    </a:cubicBezTo>
                    <a:cubicBezTo>
                      <a:pt x="400372" y="0"/>
                      <a:pt x="401085" y="0"/>
                      <a:pt x="402513" y="0"/>
                    </a:cubicBezTo>
                    <a:cubicBezTo>
                      <a:pt x="404654" y="0"/>
                      <a:pt x="407508" y="0"/>
                      <a:pt x="410363" y="0"/>
                    </a:cubicBezTo>
                    <a:cubicBezTo>
                      <a:pt x="410363" y="0"/>
                      <a:pt x="410363" y="0"/>
                      <a:pt x="714389" y="15712"/>
                    </a:cubicBezTo>
                    <a:cubicBezTo>
                      <a:pt x="742222" y="17140"/>
                      <a:pt x="765773" y="33566"/>
                      <a:pt x="779333" y="56419"/>
                    </a:cubicBezTo>
                    <a:cubicBezTo>
                      <a:pt x="780047" y="57848"/>
                      <a:pt x="780760" y="59276"/>
                      <a:pt x="781474" y="60704"/>
                    </a:cubicBezTo>
                    <a:cubicBezTo>
                      <a:pt x="784329" y="66418"/>
                      <a:pt x="786470" y="72845"/>
                      <a:pt x="787897" y="79273"/>
                    </a:cubicBezTo>
                    <a:cubicBezTo>
                      <a:pt x="788611" y="84272"/>
                      <a:pt x="789324" y="89271"/>
                      <a:pt x="789324" y="94984"/>
                    </a:cubicBezTo>
                    <a:cubicBezTo>
                      <a:pt x="789324" y="97127"/>
                      <a:pt x="789324" y="98555"/>
                      <a:pt x="788611" y="100698"/>
                    </a:cubicBezTo>
                    <a:cubicBezTo>
                      <a:pt x="788611" y="100698"/>
                      <a:pt x="788611" y="101412"/>
                      <a:pt x="788611" y="101412"/>
                    </a:cubicBezTo>
                    <a:cubicBezTo>
                      <a:pt x="788611" y="103554"/>
                      <a:pt x="788611" y="104983"/>
                      <a:pt x="787897" y="107125"/>
                    </a:cubicBezTo>
                    <a:cubicBezTo>
                      <a:pt x="785042" y="125693"/>
                      <a:pt x="775765" y="142119"/>
                      <a:pt x="762918" y="154260"/>
                    </a:cubicBezTo>
                    <a:cubicBezTo>
                      <a:pt x="762918" y="154260"/>
                      <a:pt x="762205" y="154260"/>
                      <a:pt x="762205" y="154260"/>
                    </a:cubicBezTo>
                    <a:cubicBezTo>
                      <a:pt x="760777" y="155688"/>
                      <a:pt x="759350" y="156403"/>
                      <a:pt x="757923" y="157831"/>
                    </a:cubicBezTo>
                    <a:cubicBezTo>
                      <a:pt x="756495" y="159259"/>
                      <a:pt x="755068" y="159973"/>
                      <a:pt x="753641" y="160688"/>
                    </a:cubicBezTo>
                    <a:cubicBezTo>
                      <a:pt x="752927" y="161402"/>
                      <a:pt x="752927" y="161402"/>
                      <a:pt x="752927" y="161402"/>
                    </a:cubicBezTo>
                    <a:cubicBezTo>
                      <a:pt x="751500" y="162116"/>
                      <a:pt x="750072" y="163544"/>
                      <a:pt x="748645" y="164258"/>
                    </a:cubicBezTo>
                    <a:cubicBezTo>
                      <a:pt x="747931" y="164258"/>
                      <a:pt x="747218" y="164258"/>
                      <a:pt x="747218" y="164973"/>
                    </a:cubicBezTo>
                    <a:cubicBezTo>
                      <a:pt x="745790" y="165687"/>
                      <a:pt x="744363" y="166401"/>
                      <a:pt x="742222" y="167115"/>
                    </a:cubicBezTo>
                    <a:cubicBezTo>
                      <a:pt x="742222" y="167115"/>
                      <a:pt x="741508" y="167115"/>
                      <a:pt x="741508" y="167829"/>
                    </a:cubicBezTo>
                    <a:cubicBezTo>
                      <a:pt x="740081" y="167829"/>
                      <a:pt x="738653" y="168543"/>
                      <a:pt x="737226" y="169258"/>
                    </a:cubicBezTo>
                    <a:cubicBezTo>
                      <a:pt x="730803" y="171400"/>
                      <a:pt x="724380" y="172828"/>
                      <a:pt x="717957" y="173543"/>
                    </a:cubicBezTo>
                    <a:cubicBezTo>
                      <a:pt x="717957" y="173543"/>
                      <a:pt x="717957" y="173543"/>
                      <a:pt x="623752" y="182827"/>
                    </a:cubicBezTo>
                    <a:cubicBezTo>
                      <a:pt x="661577" y="197110"/>
                      <a:pt x="702256" y="202823"/>
                      <a:pt x="742222" y="199967"/>
                    </a:cubicBezTo>
                    <a:cubicBezTo>
                      <a:pt x="752927" y="199253"/>
                      <a:pt x="763632" y="197824"/>
                      <a:pt x="774337" y="195682"/>
                    </a:cubicBezTo>
                    <a:cubicBezTo>
                      <a:pt x="777906" y="194968"/>
                      <a:pt x="780760" y="194253"/>
                      <a:pt x="784329" y="193539"/>
                    </a:cubicBezTo>
                    <a:cubicBezTo>
                      <a:pt x="785042" y="193539"/>
                      <a:pt x="785042" y="193539"/>
                      <a:pt x="785756" y="192825"/>
                    </a:cubicBezTo>
                    <a:cubicBezTo>
                      <a:pt x="789324" y="192111"/>
                      <a:pt x="792179" y="191397"/>
                      <a:pt x="795747" y="190683"/>
                    </a:cubicBezTo>
                    <a:cubicBezTo>
                      <a:pt x="805739" y="187826"/>
                      <a:pt x="815730" y="184255"/>
                      <a:pt x="825722" y="179970"/>
                    </a:cubicBezTo>
                    <a:cubicBezTo>
                      <a:pt x="856410" y="167829"/>
                      <a:pt x="884243" y="149975"/>
                      <a:pt x="908508" y="127122"/>
                    </a:cubicBezTo>
                    <a:cubicBezTo>
                      <a:pt x="914931" y="121408"/>
                      <a:pt x="920641" y="114981"/>
                      <a:pt x="927064" y="108553"/>
                    </a:cubicBezTo>
                    <a:cubicBezTo>
                      <a:pt x="927064" y="108553"/>
                      <a:pt x="927064" y="108553"/>
                      <a:pt x="974166" y="54991"/>
                    </a:cubicBezTo>
                    <a:cubicBezTo>
                      <a:pt x="975593" y="53563"/>
                      <a:pt x="976307" y="52848"/>
                      <a:pt x="977021" y="51420"/>
                    </a:cubicBezTo>
                    <a:cubicBezTo>
                      <a:pt x="977734" y="51420"/>
                      <a:pt x="977734" y="51420"/>
                      <a:pt x="977734" y="51420"/>
                    </a:cubicBezTo>
                    <a:cubicBezTo>
                      <a:pt x="992722" y="36423"/>
                      <a:pt x="1011991" y="27853"/>
                      <a:pt x="1032687" y="26424"/>
                    </a:cubicBezTo>
                    <a:cubicBezTo>
                      <a:pt x="1033401" y="26424"/>
                      <a:pt x="1033401" y="26424"/>
                      <a:pt x="1033401" y="26424"/>
                    </a:cubicBezTo>
                    <a:cubicBezTo>
                      <a:pt x="1034828" y="26424"/>
                      <a:pt x="1036256" y="26424"/>
                      <a:pt x="1037683" y="26424"/>
                    </a:cubicBezTo>
                    <a:cubicBezTo>
                      <a:pt x="1037683" y="26424"/>
                      <a:pt x="1038397" y="26424"/>
                      <a:pt x="1039111" y="26424"/>
                    </a:cubicBezTo>
                    <a:cubicBezTo>
                      <a:pt x="1052670" y="26424"/>
                      <a:pt x="1066230" y="30709"/>
                      <a:pt x="1078363" y="37137"/>
                    </a:cubicBezTo>
                    <a:cubicBezTo>
                      <a:pt x="1079790" y="37851"/>
                      <a:pt x="1080504" y="38565"/>
                      <a:pt x="1081931" y="39279"/>
                    </a:cubicBezTo>
                    <a:cubicBezTo>
                      <a:pt x="1083358" y="39993"/>
                      <a:pt x="1084072" y="40708"/>
                      <a:pt x="1084786" y="40708"/>
                    </a:cubicBezTo>
                    <a:cubicBezTo>
                      <a:pt x="1085499" y="41422"/>
                      <a:pt x="1085499" y="41422"/>
                      <a:pt x="1085499" y="41422"/>
                    </a:cubicBezTo>
                    <a:cubicBezTo>
                      <a:pt x="1086213" y="42136"/>
                      <a:pt x="1087640" y="42850"/>
                      <a:pt x="1088354" y="43564"/>
                    </a:cubicBezTo>
                    <a:cubicBezTo>
                      <a:pt x="1088354" y="43564"/>
                      <a:pt x="1089068" y="44278"/>
                      <a:pt x="1089068" y="44278"/>
                    </a:cubicBezTo>
                    <a:cubicBezTo>
                      <a:pt x="1089781" y="44993"/>
                      <a:pt x="1090495" y="44993"/>
                      <a:pt x="1091209" y="45707"/>
                    </a:cubicBezTo>
                    <a:cubicBezTo>
                      <a:pt x="1091922" y="46421"/>
                      <a:pt x="1092636" y="47135"/>
                      <a:pt x="1094063" y="47849"/>
                    </a:cubicBezTo>
                    <a:cubicBezTo>
                      <a:pt x="1094063" y="47849"/>
                      <a:pt x="1094063" y="48563"/>
                      <a:pt x="1094063" y="48563"/>
                    </a:cubicBezTo>
                    <a:cubicBezTo>
                      <a:pt x="1128320" y="79273"/>
                      <a:pt x="1131888" y="130693"/>
                      <a:pt x="1101914" y="165687"/>
                    </a:cubicBezTo>
                    <a:cubicBezTo>
                      <a:pt x="1101914" y="165687"/>
                      <a:pt x="1101914" y="165687"/>
                      <a:pt x="1070512" y="203538"/>
                    </a:cubicBezTo>
                    <a:cubicBezTo>
                      <a:pt x="1039111" y="239960"/>
                      <a:pt x="1003427" y="272812"/>
                      <a:pt x="964888" y="299950"/>
                    </a:cubicBezTo>
                    <a:cubicBezTo>
                      <a:pt x="962034" y="302092"/>
                      <a:pt x="958465" y="304235"/>
                      <a:pt x="955611" y="306377"/>
                    </a:cubicBezTo>
                    <a:cubicBezTo>
                      <a:pt x="952756" y="308520"/>
                      <a:pt x="949901" y="310662"/>
                      <a:pt x="947046" y="312091"/>
                    </a:cubicBezTo>
                    <a:cubicBezTo>
                      <a:pt x="903512" y="340657"/>
                      <a:pt x="855696" y="363511"/>
                      <a:pt x="805025" y="379222"/>
                    </a:cubicBezTo>
                    <a:cubicBezTo>
                      <a:pt x="800743" y="380651"/>
                      <a:pt x="796461" y="382079"/>
                      <a:pt x="791465" y="383507"/>
                    </a:cubicBezTo>
                    <a:cubicBezTo>
                      <a:pt x="790038" y="383507"/>
                      <a:pt x="788611" y="384222"/>
                      <a:pt x="787183" y="384222"/>
                    </a:cubicBezTo>
                    <a:cubicBezTo>
                      <a:pt x="784329" y="384936"/>
                      <a:pt x="781474" y="386364"/>
                      <a:pt x="778619" y="387078"/>
                    </a:cubicBezTo>
                    <a:cubicBezTo>
                      <a:pt x="776478" y="387078"/>
                      <a:pt x="774337" y="387792"/>
                      <a:pt x="772910" y="388507"/>
                    </a:cubicBezTo>
                    <a:cubicBezTo>
                      <a:pt x="770055" y="389221"/>
                      <a:pt x="767914" y="389221"/>
                      <a:pt x="765059" y="389935"/>
                    </a:cubicBezTo>
                    <a:cubicBezTo>
                      <a:pt x="762918" y="390649"/>
                      <a:pt x="760777" y="391363"/>
                      <a:pt x="758636" y="392077"/>
                    </a:cubicBezTo>
                    <a:cubicBezTo>
                      <a:pt x="756495" y="392077"/>
                      <a:pt x="755068" y="392792"/>
                      <a:pt x="752927" y="392792"/>
                    </a:cubicBezTo>
                    <a:cubicBezTo>
                      <a:pt x="742936" y="394934"/>
                      <a:pt x="732944" y="397077"/>
                      <a:pt x="723666" y="399219"/>
                    </a:cubicBezTo>
                    <a:cubicBezTo>
                      <a:pt x="722239" y="399219"/>
                      <a:pt x="721525" y="399219"/>
                      <a:pt x="720812" y="399219"/>
                    </a:cubicBezTo>
                    <a:cubicBezTo>
                      <a:pt x="717243" y="399933"/>
                      <a:pt x="713675" y="400647"/>
                      <a:pt x="710106" y="401362"/>
                    </a:cubicBezTo>
                    <a:cubicBezTo>
                      <a:pt x="709393" y="401362"/>
                      <a:pt x="709393" y="401362"/>
                      <a:pt x="708679" y="401362"/>
                    </a:cubicBezTo>
                    <a:cubicBezTo>
                      <a:pt x="688696" y="404218"/>
                      <a:pt x="669427" y="406361"/>
                      <a:pt x="649444" y="407789"/>
                    </a:cubicBezTo>
                    <a:cubicBezTo>
                      <a:pt x="648730" y="407789"/>
                      <a:pt x="648017" y="407789"/>
                      <a:pt x="647303" y="407789"/>
                    </a:cubicBezTo>
                    <a:cubicBezTo>
                      <a:pt x="643735" y="407789"/>
                      <a:pt x="640166" y="407789"/>
                      <a:pt x="636598" y="408503"/>
                    </a:cubicBezTo>
                    <a:cubicBezTo>
                      <a:pt x="635884" y="408503"/>
                      <a:pt x="635171" y="408503"/>
                      <a:pt x="634457" y="408503"/>
                    </a:cubicBezTo>
                    <a:cubicBezTo>
                      <a:pt x="629461" y="408503"/>
                      <a:pt x="625179" y="408503"/>
                      <a:pt x="620183" y="408503"/>
                    </a:cubicBezTo>
                    <a:cubicBezTo>
                      <a:pt x="620183" y="408503"/>
                      <a:pt x="619470" y="408503"/>
                      <a:pt x="619470" y="408503"/>
                    </a:cubicBezTo>
                    <a:cubicBezTo>
                      <a:pt x="616615" y="408503"/>
                      <a:pt x="613760" y="408503"/>
                      <a:pt x="611619" y="408503"/>
                    </a:cubicBezTo>
                    <a:cubicBezTo>
                      <a:pt x="609478" y="408503"/>
                      <a:pt x="607337" y="408503"/>
                      <a:pt x="605196" y="408503"/>
                    </a:cubicBezTo>
                    <a:cubicBezTo>
                      <a:pt x="603055" y="408503"/>
                      <a:pt x="600201" y="408503"/>
                      <a:pt x="598060" y="408503"/>
                    </a:cubicBezTo>
                    <a:cubicBezTo>
                      <a:pt x="595919" y="408503"/>
                      <a:pt x="593778" y="408503"/>
                      <a:pt x="591637" y="408503"/>
                    </a:cubicBezTo>
                    <a:cubicBezTo>
                      <a:pt x="588782" y="408503"/>
                      <a:pt x="586641" y="408503"/>
                      <a:pt x="583786" y="407789"/>
                    </a:cubicBezTo>
                    <a:cubicBezTo>
                      <a:pt x="581645" y="407789"/>
                      <a:pt x="580218" y="407789"/>
                      <a:pt x="578077" y="407789"/>
                    </a:cubicBezTo>
                    <a:cubicBezTo>
                      <a:pt x="574508" y="407789"/>
                      <a:pt x="570226" y="407075"/>
                      <a:pt x="565944" y="407075"/>
                    </a:cubicBezTo>
                    <a:cubicBezTo>
                      <a:pt x="565944" y="407075"/>
                      <a:pt x="565231" y="407075"/>
                      <a:pt x="565231" y="407075"/>
                    </a:cubicBezTo>
                    <a:cubicBezTo>
                      <a:pt x="565231" y="407075"/>
                      <a:pt x="565231" y="407075"/>
                      <a:pt x="484585" y="401362"/>
                    </a:cubicBezTo>
                    <a:cubicBezTo>
                      <a:pt x="484585" y="401362"/>
                      <a:pt x="484585" y="401362"/>
                      <a:pt x="416073" y="396362"/>
                    </a:cubicBezTo>
                    <a:cubicBezTo>
                      <a:pt x="414645" y="396362"/>
                      <a:pt x="412504" y="396362"/>
                      <a:pt x="410363" y="396362"/>
                    </a:cubicBezTo>
                    <a:cubicBezTo>
                      <a:pt x="409649" y="396362"/>
                      <a:pt x="408222" y="396362"/>
                      <a:pt x="406795" y="396362"/>
                    </a:cubicBezTo>
                    <a:cubicBezTo>
                      <a:pt x="401799" y="396362"/>
                      <a:pt x="397517" y="397077"/>
                      <a:pt x="392521" y="397791"/>
                    </a:cubicBezTo>
                    <a:cubicBezTo>
                      <a:pt x="391094" y="398505"/>
                      <a:pt x="389667" y="398505"/>
                      <a:pt x="388239" y="398505"/>
                    </a:cubicBezTo>
                    <a:cubicBezTo>
                      <a:pt x="388239" y="399219"/>
                      <a:pt x="388239" y="399219"/>
                      <a:pt x="388239" y="399219"/>
                    </a:cubicBezTo>
                    <a:cubicBezTo>
                      <a:pt x="386812" y="399219"/>
                      <a:pt x="385385" y="399933"/>
                      <a:pt x="383957" y="399933"/>
                    </a:cubicBezTo>
                    <a:cubicBezTo>
                      <a:pt x="383957" y="399933"/>
                      <a:pt x="383957" y="399933"/>
                      <a:pt x="383244" y="400647"/>
                    </a:cubicBezTo>
                    <a:cubicBezTo>
                      <a:pt x="381816" y="400647"/>
                      <a:pt x="380389" y="401362"/>
                      <a:pt x="378961" y="402076"/>
                    </a:cubicBezTo>
                    <a:cubicBezTo>
                      <a:pt x="378961" y="402076"/>
                      <a:pt x="378961" y="402076"/>
                      <a:pt x="21410" y="540624"/>
                    </a:cubicBezTo>
                    <a:cubicBezTo>
                      <a:pt x="19983" y="541338"/>
                      <a:pt x="17842" y="541338"/>
                      <a:pt x="15701" y="541338"/>
                    </a:cubicBezTo>
                    <a:cubicBezTo>
                      <a:pt x="12846" y="541338"/>
                      <a:pt x="9992" y="540624"/>
                      <a:pt x="7137" y="538481"/>
                    </a:cubicBezTo>
                    <a:cubicBezTo>
                      <a:pt x="2855" y="535625"/>
                      <a:pt x="0" y="530626"/>
                      <a:pt x="0" y="525626"/>
                    </a:cubicBezTo>
                    <a:cubicBezTo>
                      <a:pt x="0" y="525626"/>
                      <a:pt x="0" y="525626"/>
                      <a:pt x="0" y="209251"/>
                    </a:cubicBezTo>
                    <a:cubicBezTo>
                      <a:pt x="0" y="203538"/>
                      <a:pt x="3569" y="198538"/>
                      <a:pt x="7851" y="195682"/>
                    </a:cubicBezTo>
                    <a:cubicBezTo>
                      <a:pt x="7851" y="195682"/>
                      <a:pt x="7851" y="195682"/>
                      <a:pt x="309735" y="24282"/>
                    </a:cubicBezTo>
                    <a:cubicBezTo>
                      <a:pt x="311162" y="22853"/>
                      <a:pt x="313303" y="22139"/>
                      <a:pt x="315444" y="21425"/>
                    </a:cubicBezTo>
                    <a:cubicBezTo>
                      <a:pt x="316158" y="20711"/>
                      <a:pt x="316872" y="20711"/>
                      <a:pt x="317585" y="19997"/>
                    </a:cubicBezTo>
                    <a:cubicBezTo>
                      <a:pt x="318299" y="19283"/>
                      <a:pt x="319726" y="18568"/>
                      <a:pt x="320440" y="18568"/>
                    </a:cubicBezTo>
                    <a:cubicBezTo>
                      <a:pt x="321868" y="17854"/>
                      <a:pt x="322581" y="17140"/>
                      <a:pt x="324009" y="17140"/>
                    </a:cubicBezTo>
                    <a:cubicBezTo>
                      <a:pt x="324722" y="16426"/>
                      <a:pt x="325436" y="16426"/>
                      <a:pt x="326150" y="15712"/>
                    </a:cubicBezTo>
                    <a:cubicBezTo>
                      <a:pt x="327577" y="14998"/>
                      <a:pt x="329004" y="14998"/>
                      <a:pt x="329718" y="14283"/>
                    </a:cubicBezTo>
                    <a:cubicBezTo>
                      <a:pt x="330432" y="14283"/>
                      <a:pt x="331145" y="13569"/>
                      <a:pt x="331859" y="13569"/>
                    </a:cubicBezTo>
                    <a:cubicBezTo>
                      <a:pt x="333286" y="12855"/>
                      <a:pt x="334714" y="12141"/>
                      <a:pt x="336141" y="12141"/>
                    </a:cubicBezTo>
                    <a:cubicBezTo>
                      <a:pt x="336141" y="11427"/>
                      <a:pt x="336855" y="11427"/>
                      <a:pt x="337568" y="11427"/>
                    </a:cubicBezTo>
                    <a:cubicBezTo>
                      <a:pt x="338996" y="10713"/>
                      <a:pt x="340423" y="9998"/>
                      <a:pt x="341850" y="9998"/>
                    </a:cubicBezTo>
                    <a:cubicBezTo>
                      <a:pt x="342564" y="9284"/>
                      <a:pt x="342564" y="9284"/>
                      <a:pt x="342564" y="9284"/>
                    </a:cubicBezTo>
                    <a:cubicBezTo>
                      <a:pt x="344705" y="8570"/>
                      <a:pt x="346132" y="8570"/>
                      <a:pt x="347560" y="7856"/>
                    </a:cubicBezTo>
                    <a:cubicBezTo>
                      <a:pt x="348273" y="7856"/>
                      <a:pt x="348273" y="7856"/>
                      <a:pt x="348273" y="7856"/>
                    </a:cubicBezTo>
                    <a:cubicBezTo>
                      <a:pt x="359692" y="4285"/>
                      <a:pt x="370397" y="2143"/>
                      <a:pt x="381816" y="714"/>
                    </a:cubicBezTo>
                    <a:cubicBezTo>
                      <a:pt x="382530" y="714"/>
                      <a:pt x="383244" y="714"/>
                      <a:pt x="383244" y="714"/>
                    </a:cubicBezTo>
                    <a:cubicBezTo>
                      <a:pt x="384671" y="714"/>
                      <a:pt x="386098" y="714"/>
                      <a:pt x="386812" y="714"/>
                    </a:cubicBezTo>
                    <a:cubicBezTo>
                      <a:pt x="388239" y="714"/>
                      <a:pt x="388953" y="714"/>
                      <a:pt x="389667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45" name="bcgIcons_Car2">
            <a:extLst>
              <a:ext uri="{FF2B5EF4-FFF2-40B4-BE49-F238E27FC236}">
                <a16:creationId xmlns:a16="http://schemas.microsoft.com/office/drawing/2014/main" id="{BA20FD7A-6292-408B-996A-C1A7AD26CE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016572" y="4953396"/>
            <a:ext cx="362226" cy="362562"/>
            <a:chOff x="1682" y="0"/>
            <a:chExt cx="4316" cy="4320"/>
          </a:xfrm>
        </p:grpSpPr>
        <p:sp>
          <p:nvSpPr>
            <p:cNvPr id="46" name="AutoShape 8">
              <a:extLst>
                <a:ext uri="{FF2B5EF4-FFF2-40B4-BE49-F238E27FC236}">
                  <a16:creationId xmlns:a16="http://schemas.microsoft.com/office/drawing/2014/main" id="{15C9F521-64D2-482B-B844-69F0ACAE566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710E0D2-3E7C-489C-ABE5-CCC38D4793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" y="1584"/>
              <a:ext cx="2551" cy="1123"/>
            </a:xfrm>
            <a:custGeom>
              <a:avLst/>
              <a:gdLst>
                <a:gd name="T0" fmla="*/ 577 w 1362"/>
                <a:gd name="T1" fmla="*/ 220 h 599"/>
                <a:gd name="T2" fmla="*/ 245 w 1362"/>
                <a:gd name="T3" fmla="*/ 219 h 599"/>
                <a:gd name="T4" fmla="*/ 358 w 1362"/>
                <a:gd name="T5" fmla="*/ 41 h 599"/>
                <a:gd name="T6" fmla="*/ 554 w 1362"/>
                <a:gd name="T7" fmla="*/ 3 h 599"/>
                <a:gd name="T8" fmla="*/ 585 w 1362"/>
                <a:gd name="T9" fmla="*/ 211 h 599"/>
                <a:gd name="T10" fmla="*/ 577 w 1362"/>
                <a:gd name="T11" fmla="*/ 220 h 599"/>
                <a:gd name="T12" fmla="*/ 1096 w 1362"/>
                <a:gd name="T13" fmla="*/ 209 h 599"/>
                <a:gd name="T14" fmla="*/ 983 w 1362"/>
                <a:gd name="T15" fmla="*/ 46 h 599"/>
                <a:gd name="T16" fmla="*/ 607 w 1362"/>
                <a:gd name="T17" fmla="*/ 3 h 599"/>
                <a:gd name="T18" fmla="*/ 636 w 1362"/>
                <a:gd name="T19" fmla="*/ 213 h 599"/>
                <a:gd name="T20" fmla="*/ 644 w 1362"/>
                <a:gd name="T21" fmla="*/ 220 h 599"/>
                <a:gd name="T22" fmla="*/ 1084 w 1362"/>
                <a:gd name="T23" fmla="*/ 220 h 599"/>
                <a:gd name="T24" fmla="*/ 1096 w 1362"/>
                <a:gd name="T25" fmla="*/ 209 h 599"/>
                <a:gd name="T26" fmla="*/ 102 w 1362"/>
                <a:gd name="T27" fmla="*/ 395 h 599"/>
                <a:gd name="T28" fmla="*/ 0 w 1362"/>
                <a:gd name="T29" fmla="*/ 497 h 599"/>
                <a:gd name="T30" fmla="*/ 102 w 1362"/>
                <a:gd name="T31" fmla="*/ 599 h 599"/>
                <a:gd name="T32" fmla="*/ 204 w 1362"/>
                <a:gd name="T33" fmla="*/ 497 h 599"/>
                <a:gd name="T34" fmla="*/ 102 w 1362"/>
                <a:gd name="T35" fmla="*/ 395 h 599"/>
                <a:gd name="T36" fmla="*/ 1260 w 1362"/>
                <a:gd name="T37" fmla="*/ 395 h 599"/>
                <a:gd name="T38" fmla="*/ 1158 w 1362"/>
                <a:gd name="T39" fmla="*/ 497 h 599"/>
                <a:gd name="T40" fmla="*/ 1260 w 1362"/>
                <a:gd name="T41" fmla="*/ 599 h 599"/>
                <a:gd name="T42" fmla="*/ 1362 w 1362"/>
                <a:gd name="T43" fmla="*/ 497 h 599"/>
                <a:gd name="T44" fmla="*/ 1260 w 1362"/>
                <a:gd name="T45" fmla="*/ 395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62" h="599">
                  <a:moveTo>
                    <a:pt x="577" y="220"/>
                  </a:moveTo>
                  <a:cubicBezTo>
                    <a:pt x="245" y="219"/>
                    <a:pt x="245" y="219"/>
                    <a:pt x="245" y="219"/>
                  </a:cubicBezTo>
                  <a:cubicBezTo>
                    <a:pt x="241" y="219"/>
                    <a:pt x="295" y="68"/>
                    <a:pt x="358" y="41"/>
                  </a:cubicBezTo>
                  <a:cubicBezTo>
                    <a:pt x="420" y="15"/>
                    <a:pt x="446" y="3"/>
                    <a:pt x="554" y="3"/>
                  </a:cubicBezTo>
                  <a:cubicBezTo>
                    <a:pt x="585" y="211"/>
                    <a:pt x="585" y="211"/>
                    <a:pt x="585" y="211"/>
                  </a:cubicBezTo>
                  <a:cubicBezTo>
                    <a:pt x="585" y="215"/>
                    <a:pt x="582" y="220"/>
                    <a:pt x="577" y="220"/>
                  </a:cubicBezTo>
                  <a:close/>
                  <a:moveTo>
                    <a:pt x="1096" y="209"/>
                  </a:moveTo>
                  <a:cubicBezTo>
                    <a:pt x="983" y="46"/>
                    <a:pt x="983" y="46"/>
                    <a:pt x="983" y="46"/>
                  </a:cubicBezTo>
                  <a:cubicBezTo>
                    <a:pt x="949" y="0"/>
                    <a:pt x="882" y="3"/>
                    <a:pt x="607" y="3"/>
                  </a:cubicBezTo>
                  <a:cubicBezTo>
                    <a:pt x="606" y="18"/>
                    <a:pt x="636" y="213"/>
                    <a:pt x="636" y="213"/>
                  </a:cubicBezTo>
                  <a:cubicBezTo>
                    <a:pt x="637" y="217"/>
                    <a:pt x="640" y="220"/>
                    <a:pt x="644" y="220"/>
                  </a:cubicBezTo>
                  <a:cubicBezTo>
                    <a:pt x="1084" y="220"/>
                    <a:pt x="1084" y="220"/>
                    <a:pt x="1084" y="220"/>
                  </a:cubicBezTo>
                  <a:cubicBezTo>
                    <a:pt x="1089" y="220"/>
                    <a:pt x="1099" y="213"/>
                    <a:pt x="1096" y="209"/>
                  </a:cubicBezTo>
                  <a:close/>
                  <a:moveTo>
                    <a:pt x="102" y="395"/>
                  </a:moveTo>
                  <a:cubicBezTo>
                    <a:pt x="46" y="395"/>
                    <a:pt x="0" y="441"/>
                    <a:pt x="0" y="497"/>
                  </a:cubicBezTo>
                  <a:cubicBezTo>
                    <a:pt x="0" y="553"/>
                    <a:pt x="46" y="599"/>
                    <a:pt x="102" y="599"/>
                  </a:cubicBezTo>
                  <a:cubicBezTo>
                    <a:pt x="158" y="599"/>
                    <a:pt x="204" y="553"/>
                    <a:pt x="204" y="497"/>
                  </a:cubicBezTo>
                  <a:cubicBezTo>
                    <a:pt x="204" y="441"/>
                    <a:pt x="158" y="395"/>
                    <a:pt x="102" y="395"/>
                  </a:cubicBezTo>
                  <a:close/>
                  <a:moveTo>
                    <a:pt x="1260" y="395"/>
                  </a:moveTo>
                  <a:cubicBezTo>
                    <a:pt x="1204" y="395"/>
                    <a:pt x="1158" y="441"/>
                    <a:pt x="1158" y="497"/>
                  </a:cubicBezTo>
                  <a:cubicBezTo>
                    <a:pt x="1158" y="553"/>
                    <a:pt x="1204" y="599"/>
                    <a:pt x="1260" y="599"/>
                  </a:cubicBezTo>
                  <a:cubicBezTo>
                    <a:pt x="1316" y="599"/>
                    <a:pt x="1362" y="553"/>
                    <a:pt x="1362" y="497"/>
                  </a:cubicBezTo>
                  <a:cubicBezTo>
                    <a:pt x="1362" y="441"/>
                    <a:pt x="1316" y="395"/>
                    <a:pt x="1260" y="395"/>
                  </a:cubicBezTo>
                  <a:close/>
                </a:path>
              </a:pathLst>
            </a:custGeom>
            <a:solidFill>
              <a:srgbClr val="4033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769F830A-5DE1-41DD-936E-970E5F9E3A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4" y="1382"/>
              <a:ext cx="3972" cy="1524"/>
            </a:xfrm>
            <a:custGeom>
              <a:avLst/>
              <a:gdLst>
                <a:gd name="T0" fmla="*/ 674 w 2120"/>
                <a:gd name="T1" fmla="*/ 622 h 813"/>
                <a:gd name="T2" fmla="*/ 1328 w 2120"/>
                <a:gd name="T3" fmla="*/ 625 h 813"/>
                <a:gd name="T4" fmla="*/ 1336 w 2120"/>
                <a:gd name="T5" fmla="*/ 669 h 813"/>
                <a:gd name="T6" fmla="*/ 667 w 2120"/>
                <a:gd name="T7" fmla="*/ 666 h 813"/>
                <a:gd name="T8" fmla="*/ 674 w 2120"/>
                <a:gd name="T9" fmla="*/ 622 h 813"/>
                <a:gd name="T10" fmla="*/ 1949 w 2120"/>
                <a:gd name="T11" fmla="*/ 314 h 813"/>
                <a:gd name="T12" fmla="*/ 1674 w 2120"/>
                <a:gd name="T13" fmla="*/ 293 h 813"/>
                <a:gd name="T14" fmla="*/ 1553 w 2120"/>
                <a:gd name="T15" fmla="*/ 284 h 813"/>
                <a:gd name="T16" fmla="*/ 1551 w 2120"/>
                <a:gd name="T17" fmla="*/ 284 h 813"/>
                <a:gd name="T18" fmla="*/ 1459 w 2120"/>
                <a:gd name="T19" fmla="*/ 190 h 813"/>
                <a:gd name="T20" fmla="*/ 1211 w 2120"/>
                <a:gd name="T21" fmla="*/ 10 h 813"/>
                <a:gd name="T22" fmla="*/ 658 w 2120"/>
                <a:gd name="T23" fmla="*/ 53 h 813"/>
                <a:gd name="T24" fmla="*/ 430 w 2120"/>
                <a:gd name="T25" fmla="*/ 289 h 813"/>
                <a:gd name="T26" fmla="*/ 146 w 2120"/>
                <a:gd name="T27" fmla="*/ 290 h 813"/>
                <a:gd name="T28" fmla="*/ 41 w 2120"/>
                <a:gd name="T29" fmla="*/ 445 h 813"/>
                <a:gd name="T30" fmla="*/ 1 w 2120"/>
                <a:gd name="T31" fmla="*/ 588 h 813"/>
                <a:gd name="T32" fmla="*/ 0 w 2120"/>
                <a:gd name="T33" fmla="*/ 594 h 813"/>
                <a:gd name="T34" fmla="*/ 75 w 2120"/>
                <a:gd name="T35" fmla="*/ 664 h 813"/>
                <a:gd name="T36" fmla="*/ 177 w 2120"/>
                <a:gd name="T37" fmla="*/ 664 h 813"/>
                <a:gd name="T38" fmla="*/ 170 w 2120"/>
                <a:gd name="T39" fmla="*/ 620 h 813"/>
                <a:gd name="T40" fmla="*/ 75 w 2120"/>
                <a:gd name="T41" fmla="*/ 620 h 813"/>
                <a:gd name="T42" fmla="*/ 45 w 2120"/>
                <a:gd name="T43" fmla="*/ 594 h 813"/>
                <a:gd name="T44" fmla="*/ 81 w 2120"/>
                <a:gd name="T45" fmla="*/ 464 h 813"/>
                <a:gd name="T46" fmla="*/ 146 w 2120"/>
                <a:gd name="T47" fmla="*/ 334 h 813"/>
                <a:gd name="T48" fmla="*/ 443 w 2120"/>
                <a:gd name="T49" fmla="*/ 333 h 813"/>
                <a:gd name="T50" fmla="*/ 462 w 2120"/>
                <a:gd name="T51" fmla="*/ 322 h 813"/>
                <a:gd name="T52" fmla="*/ 1210 w 2120"/>
                <a:gd name="T53" fmla="*/ 54 h 813"/>
                <a:gd name="T54" fmla="*/ 1422 w 2120"/>
                <a:gd name="T55" fmla="*/ 213 h 813"/>
                <a:gd name="T56" fmla="*/ 1546 w 2120"/>
                <a:gd name="T57" fmla="*/ 328 h 813"/>
                <a:gd name="T58" fmla="*/ 1672 w 2120"/>
                <a:gd name="T59" fmla="*/ 337 h 813"/>
                <a:gd name="T60" fmla="*/ 1925 w 2120"/>
                <a:gd name="T61" fmla="*/ 356 h 813"/>
                <a:gd name="T62" fmla="*/ 2075 w 2120"/>
                <a:gd name="T63" fmla="*/ 384 h 813"/>
                <a:gd name="T64" fmla="*/ 1959 w 2120"/>
                <a:gd name="T65" fmla="*/ 627 h 813"/>
                <a:gd name="T66" fmla="*/ 1831 w 2120"/>
                <a:gd name="T67" fmla="*/ 627 h 813"/>
                <a:gd name="T68" fmla="*/ 1823 w 2120"/>
                <a:gd name="T69" fmla="*/ 671 h 813"/>
                <a:gd name="T70" fmla="*/ 1968 w 2120"/>
                <a:gd name="T71" fmla="*/ 671 h 813"/>
                <a:gd name="T72" fmla="*/ 2010 w 2120"/>
                <a:gd name="T73" fmla="*/ 633 h 813"/>
                <a:gd name="T74" fmla="*/ 2055 w 2120"/>
                <a:gd name="T75" fmla="*/ 560 h 813"/>
                <a:gd name="T76" fmla="*/ 2120 w 2120"/>
                <a:gd name="T77" fmla="*/ 378 h 813"/>
                <a:gd name="T78" fmla="*/ 1949 w 2120"/>
                <a:gd name="T79" fmla="*/ 314 h 813"/>
                <a:gd name="T80" fmla="*/ 630 w 2120"/>
                <a:gd name="T81" fmla="*/ 605 h 813"/>
                <a:gd name="T82" fmla="*/ 422 w 2120"/>
                <a:gd name="T83" fmla="*/ 397 h 813"/>
                <a:gd name="T84" fmla="*/ 214 w 2120"/>
                <a:gd name="T85" fmla="*/ 605 h 813"/>
                <a:gd name="T86" fmla="*/ 422 w 2120"/>
                <a:gd name="T87" fmla="*/ 813 h 813"/>
                <a:gd name="T88" fmla="*/ 630 w 2120"/>
                <a:gd name="T89" fmla="*/ 605 h 813"/>
                <a:gd name="T90" fmla="*/ 559 w 2120"/>
                <a:gd name="T91" fmla="*/ 605 h 813"/>
                <a:gd name="T92" fmla="*/ 422 w 2120"/>
                <a:gd name="T93" fmla="*/ 742 h 813"/>
                <a:gd name="T94" fmla="*/ 285 w 2120"/>
                <a:gd name="T95" fmla="*/ 605 h 813"/>
                <a:gd name="T96" fmla="*/ 422 w 2120"/>
                <a:gd name="T97" fmla="*/ 468 h 813"/>
                <a:gd name="T98" fmla="*/ 559 w 2120"/>
                <a:gd name="T99" fmla="*/ 605 h 813"/>
                <a:gd name="T100" fmla="*/ 1788 w 2120"/>
                <a:gd name="T101" fmla="*/ 605 h 813"/>
                <a:gd name="T102" fmla="*/ 1580 w 2120"/>
                <a:gd name="T103" fmla="*/ 397 h 813"/>
                <a:gd name="T104" fmla="*/ 1372 w 2120"/>
                <a:gd name="T105" fmla="*/ 605 h 813"/>
                <a:gd name="T106" fmla="*/ 1580 w 2120"/>
                <a:gd name="T107" fmla="*/ 813 h 813"/>
                <a:gd name="T108" fmla="*/ 1788 w 2120"/>
                <a:gd name="T109" fmla="*/ 605 h 813"/>
                <a:gd name="T110" fmla="*/ 1717 w 2120"/>
                <a:gd name="T111" fmla="*/ 605 h 813"/>
                <a:gd name="T112" fmla="*/ 1580 w 2120"/>
                <a:gd name="T113" fmla="*/ 742 h 813"/>
                <a:gd name="T114" fmla="*/ 1443 w 2120"/>
                <a:gd name="T115" fmla="*/ 605 h 813"/>
                <a:gd name="T116" fmla="*/ 1580 w 2120"/>
                <a:gd name="T117" fmla="*/ 468 h 813"/>
                <a:gd name="T118" fmla="*/ 1717 w 2120"/>
                <a:gd name="T119" fmla="*/ 605 h 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20" h="813">
                  <a:moveTo>
                    <a:pt x="674" y="622"/>
                  </a:moveTo>
                  <a:cubicBezTo>
                    <a:pt x="1328" y="625"/>
                    <a:pt x="1328" y="625"/>
                    <a:pt x="1328" y="625"/>
                  </a:cubicBezTo>
                  <a:cubicBezTo>
                    <a:pt x="1330" y="640"/>
                    <a:pt x="1332" y="655"/>
                    <a:pt x="1336" y="669"/>
                  </a:cubicBezTo>
                  <a:cubicBezTo>
                    <a:pt x="667" y="666"/>
                    <a:pt x="667" y="666"/>
                    <a:pt x="667" y="666"/>
                  </a:cubicBezTo>
                  <a:cubicBezTo>
                    <a:pt x="670" y="652"/>
                    <a:pt x="673" y="637"/>
                    <a:pt x="674" y="622"/>
                  </a:cubicBezTo>
                  <a:close/>
                  <a:moveTo>
                    <a:pt x="1949" y="314"/>
                  </a:moveTo>
                  <a:cubicBezTo>
                    <a:pt x="1863" y="304"/>
                    <a:pt x="1758" y="298"/>
                    <a:pt x="1674" y="293"/>
                  </a:cubicBezTo>
                  <a:cubicBezTo>
                    <a:pt x="1617" y="290"/>
                    <a:pt x="1568" y="287"/>
                    <a:pt x="1553" y="284"/>
                  </a:cubicBezTo>
                  <a:cubicBezTo>
                    <a:pt x="1552" y="284"/>
                    <a:pt x="1552" y="284"/>
                    <a:pt x="1551" y="284"/>
                  </a:cubicBezTo>
                  <a:cubicBezTo>
                    <a:pt x="1516" y="280"/>
                    <a:pt x="1490" y="239"/>
                    <a:pt x="1459" y="190"/>
                  </a:cubicBezTo>
                  <a:cubicBezTo>
                    <a:pt x="1410" y="112"/>
                    <a:pt x="1349" y="15"/>
                    <a:pt x="1211" y="10"/>
                  </a:cubicBezTo>
                  <a:cubicBezTo>
                    <a:pt x="910" y="0"/>
                    <a:pt x="760" y="12"/>
                    <a:pt x="658" y="53"/>
                  </a:cubicBezTo>
                  <a:cubicBezTo>
                    <a:pt x="549" y="97"/>
                    <a:pt x="496" y="175"/>
                    <a:pt x="430" y="289"/>
                  </a:cubicBezTo>
                  <a:cubicBezTo>
                    <a:pt x="380" y="289"/>
                    <a:pt x="200" y="290"/>
                    <a:pt x="146" y="290"/>
                  </a:cubicBezTo>
                  <a:cubicBezTo>
                    <a:pt x="121" y="290"/>
                    <a:pt x="86" y="307"/>
                    <a:pt x="41" y="445"/>
                  </a:cubicBezTo>
                  <a:cubicBezTo>
                    <a:pt x="17" y="516"/>
                    <a:pt x="2" y="585"/>
                    <a:pt x="1" y="588"/>
                  </a:cubicBezTo>
                  <a:cubicBezTo>
                    <a:pt x="0" y="590"/>
                    <a:pt x="0" y="592"/>
                    <a:pt x="0" y="594"/>
                  </a:cubicBezTo>
                  <a:cubicBezTo>
                    <a:pt x="3" y="633"/>
                    <a:pt x="36" y="664"/>
                    <a:pt x="75" y="664"/>
                  </a:cubicBezTo>
                  <a:cubicBezTo>
                    <a:pt x="177" y="664"/>
                    <a:pt x="177" y="664"/>
                    <a:pt x="177" y="664"/>
                  </a:cubicBezTo>
                  <a:cubicBezTo>
                    <a:pt x="173" y="650"/>
                    <a:pt x="171" y="635"/>
                    <a:pt x="170" y="620"/>
                  </a:cubicBezTo>
                  <a:cubicBezTo>
                    <a:pt x="75" y="620"/>
                    <a:pt x="75" y="620"/>
                    <a:pt x="75" y="620"/>
                  </a:cubicBezTo>
                  <a:cubicBezTo>
                    <a:pt x="60" y="620"/>
                    <a:pt x="47" y="609"/>
                    <a:pt x="45" y="594"/>
                  </a:cubicBezTo>
                  <a:cubicBezTo>
                    <a:pt x="48" y="580"/>
                    <a:pt x="62" y="522"/>
                    <a:pt x="81" y="464"/>
                  </a:cubicBezTo>
                  <a:cubicBezTo>
                    <a:pt x="121" y="340"/>
                    <a:pt x="146" y="334"/>
                    <a:pt x="146" y="334"/>
                  </a:cubicBezTo>
                  <a:cubicBezTo>
                    <a:pt x="208" y="334"/>
                    <a:pt x="441" y="333"/>
                    <a:pt x="443" y="333"/>
                  </a:cubicBezTo>
                  <a:cubicBezTo>
                    <a:pt x="451" y="333"/>
                    <a:pt x="458" y="329"/>
                    <a:pt x="462" y="322"/>
                  </a:cubicBezTo>
                  <a:cubicBezTo>
                    <a:pt x="594" y="90"/>
                    <a:pt x="647" y="36"/>
                    <a:pt x="1210" y="54"/>
                  </a:cubicBezTo>
                  <a:cubicBezTo>
                    <a:pt x="1324" y="58"/>
                    <a:pt x="1376" y="141"/>
                    <a:pt x="1422" y="213"/>
                  </a:cubicBezTo>
                  <a:cubicBezTo>
                    <a:pt x="1457" y="269"/>
                    <a:pt x="1490" y="321"/>
                    <a:pt x="1546" y="328"/>
                  </a:cubicBezTo>
                  <a:cubicBezTo>
                    <a:pt x="1564" y="331"/>
                    <a:pt x="1610" y="334"/>
                    <a:pt x="1672" y="337"/>
                  </a:cubicBezTo>
                  <a:cubicBezTo>
                    <a:pt x="1748" y="342"/>
                    <a:pt x="1844" y="347"/>
                    <a:pt x="1925" y="356"/>
                  </a:cubicBezTo>
                  <a:cubicBezTo>
                    <a:pt x="2035" y="367"/>
                    <a:pt x="2067" y="379"/>
                    <a:pt x="2075" y="384"/>
                  </a:cubicBezTo>
                  <a:cubicBezTo>
                    <a:pt x="2071" y="461"/>
                    <a:pt x="1984" y="598"/>
                    <a:pt x="1959" y="627"/>
                  </a:cubicBezTo>
                  <a:cubicBezTo>
                    <a:pt x="1831" y="627"/>
                    <a:pt x="1831" y="627"/>
                    <a:pt x="1831" y="627"/>
                  </a:cubicBezTo>
                  <a:cubicBezTo>
                    <a:pt x="1830" y="642"/>
                    <a:pt x="1827" y="657"/>
                    <a:pt x="1823" y="671"/>
                  </a:cubicBezTo>
                  <a:cubicBezTo>
                    <a:pt x="1968" y="671"/>
                    <a:pt x="1968" y="671"/>
                    <a:pt x="1968" y="671"/>
                  </a:cubicBezTo>
                  <a:cubicBezTo>
                    <a:pt x="1979" y="671"/>
                    <a:pt x="1986" y="666"/>
                    <a:pt x="2010" y="633"/>
                  </a:cubicBezTo>
                  <a:cubicBezTo>
                    <a:pt x="2025" y="612"/>
                    <a:pt x="2041" y="586"/>
                    <a:pt x="2055" y="560"/>
                  </a:cubicBezTo>
                  <a:cubicBezTo>
                    <a:pt x="2084" y="508"/>
                    <a:pt x="2120" y="434"/>
                    <a:pt x="2120" y="378"/>
                  </a:cubicBezTo>
                  <a:cubicBezTo>
                    <a:pt x="2120" y="345"/>
                    <a:pt x="2077" y="329"/>
                    <a:pt x="1949" y="314"/>
                  </a:cubicBezTo>
                  <a:close/>
                  <a:moveTo>
                    <a:pt x="630" y="605"/>
                  </a:moveTo>
                  <a:cubicBezTo>
                    <a:pt x="630" y="490"/>
                    <a:pt x="537" y="397"/>
                    <a:pt x="422" y="397"/>
                  </a:cubicBezTo>
                  <a:cubicBezTo>
                    <a:pt x="307" y="397"/>
                    <a:pt x="214" y="490"/>
                    <a:pt x="214" y="605"/>
                  </a:cubicBezTo>
                  <a:cubicBezTo>
                    <a:pt x="214" y="720"/>
                    <a:pt x="307" y="813"/>
                    <a:pt x="422" y="813"/>
                  </a:cubicBezTo>
                  <a:cubicBezTo>
                    <a:pt x="537" y="813"/>
                    <a:pt x="630" y="720"/>
                    <a:pt x="630" y="605"/>
                  </a:cubicBezTo>
                  <a:close/>
                  <a:moveTo>
                    <a:pt x="559" y="605"/>
                  </a:moveTo>
                  <a:cubicBezTo>
                    <a:pt x="559" y="681"/>
                    <a:pt x="497" y="742"/>
                    <a:pt x="422" y="742"/>
                  </a:cubicBezTo>
                  <a:cubicBezTo>
                    <a:pt x="347" y="742"/>
                    <a:pt x="285" y="681"/>
                    <a:pt x="285" y="605"/>
                  </a:cubicBezTo>
                  <a:cubicBezTo>
                    <a:pt x="285" y="530"/>
                    <a:pt x="347" y="468"/>
                    <a:pt x="422" y="468"/>
                  </a:cubicBezTo>
                  <a:cubicBezTo>
                    <a:pt x="497" y="468"/>
                    <a:pt x="559" y="530"/>
                    <a:pt x="559" y="605"/>
                  </a:cubicBezTo>
                  <a:close/>
                  <a:moveTo>
                    <a:pt x="1788" y="605"/>
                  </a:moveTo>
                  <a:cubicBezTo>
                    <a:pt x="1788" y="490"/>
                    <a:pt x="1695" y="397"/>
                    <a:pt x="1580" y="397"/>
                  </a:cubicBezTo>
                  <a:cubicBezTo>
                    <a:pt x="1465" y="397"/>
                    <a:pt x="1372" y="490"/>
                    <a:pt x="1372" y="605"/>
                  </a:cubicBezTo>
                  <a:cubicBezTo>
                    <a:pt x="1372" y="720"/>
                    <a:pt x="1465" y="813"/>
                    <a:pt x="1580" y="813"/>
                  </a:cubicBezTo>
                  <a:cubicBezTo>
                    <a:pt x="1695" y="813"/>
                    <a:pt x="1788" y="720"/>
                    <a:pt x="1788" y="605"/>
                  </a:cubicBezTo>
                  <a:close/>
                  <a:moveTo>
                    <a:pt x="1717" y="605"/>
                  </a:moveTo>
                  <a:cubicBezTo>
                    <a:pt x="1717" y="681"/>
                    <a:pt x="1655" y="742"/>
                    <a:pt x="1580" y="742"/>
                  </a:cubicBezTo>
                  <a:cubicBezTo>
                    <a:pt x="1504" y="742"/>
                    <a:pt x="1443" y="681"/>
                    <a:pt x="1443" y="605"/>
                  </a:cubicBezTo>
                  <a:cubicBezTo>
                    <a:pt x="1443" y="530"/>
                    <a:pt x="1504" y="468"/>
                    <a:pt x="1580" y="468"/>
                  </a:cubicBezTo>
                  <a:cubicBezTo>
                    <a:pt x="1655" y="468"/>
                    <a:pt x="1717" y="530"/>
                    <a:pt x="1717" y="605"/>
                  </a:cubicBezTo>
                  <a:close/>
                </a:path>
              </a:pathLst>
            </a:custGeom>
            <a:solidFill>
              <a:srgbClr val="160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Rectangle 48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8744987" y="4542391"/>
            <a:ext cx="2915701" cy="92333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Manufacturing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latin typeface="Karla" pitchFamily="2" charset="0"/>
                <a:cs typeface="Henderson BCG Sans" panose="020B0502030402020204" pitchFamily="34" charset="0"/>
              </a:rPr>
              <a:t>Biolab, Medical, and Clinical Lab Techs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latin typeface="Karla" pitchFamily="2" charset="0"/>
                <a:cs typeface="Henderson BCG Sans" panose="020B0502030402020204" pitchFamily="34" charset="0"/>
              </a:rPr>
              <a:t>CNC Machine Operator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latin typeface="Karla" pitchFamily="2" charset="0"/>
                <a:cs typeface="Henderson BCG Sans" panose="020B0502030402020204" pitchFamily="34" charset="0"/>
              </a:rPr>
              <a:t>Sheet Metal worker</a:t>
            </a:r>
          </a:p>
          <a:p>
            <a:pPr marL="194400" lvl="1" indent="-129600" fontAlgn="b">
              <a:buClr>
                <a:srgbClr val="403393"/>
              </a:buClr>
              <a:buFont typeface="Trebuchet MS" panose="020B0603020202020204" pitchFamily="34" charset="0"/>
              <a:buChar char="•"/>
              <a:defRPr/>
            </a:pPr>
            <a:r>
              <a:rPr lang="en-US" sz="1200">
                <a:solidFill>
                  <a:srgbClr val="403393"/>
                </a:solidFill>
                <a:latin typeface="Karla" pitchFamily="2" charset="0"/>
                <a:cs typeface="Henderson BCG Sans" panose="020B0502030402020204" pitchFamily="34" charset="0"/>
              </a:rPr>
              <a:t>Electrical Tech</a:t>
            </a:r>
          </a:p>
        </p:txBody>
      </p: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8320667" y="4542391"/>
            <a:ext cx="362562" cy="362562"/>
            <a:chOff x="5273675" y="2606675"/>
            <a:chExt cx="1644650" cy="1644650"/>
          </a:xfrm>
        </p:grpSpPr>
        <p:sp>
          <p:nvSpPr>
            <p:cNvPr id="51" name="AutoShape 71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5791200" y="2790825"/>
              <a:ext cx="608013" cy="1306513"/>
              <a:chOff x="5791200" y="2790825"/>
              <a:chExt cx="608013" cy="1306513"/>
            </a:xfrm>
          </p:grpSpPr>
          <p:sp>
            <p:nvSpPr>
              <p:cNvPr id="53" name="Freeform 52"/>
              <p:cNvSpPr>
                <a:spLocks noChangeArrowheads="1"/>
              </p:cNvSpPr>
              <p:nvPr/>
            </p:nvSpPr>
            <p:spPr bwMode="auto">
              <a:xfrm>
                <a:off x="5791200" y="2925762"/>
                <a:ext cx="608013" cy="819151"/>
              </a:xfrm>
              <a:custGeom>
                <a:avLst/>
                <a:gdLst>
                  <a:gd name="connsiteX0" fmla="*/ 488950 w 608013"/>
                  <a:gd name="connsiteY0" fmla="*/ 703263 h 819151"/>
                  <a:gd name="connsiteX1" fmla="*/ 608013 w 608013"/>
                  <a:gd name="connsiteY1" fmla="*/ 703263 h 819151"/>
                  <a:gd name="connsiteX2" fmla="*/ 608013 w 608013"/>
                  <a:gd name="connsiteY2" fmla="*/ 768351 h 819151"/>
                  <a:gd name="connsiteX3" fmla="*/ 506413 w 608013"/>
                  <a:gd name="connsiteY3" fmla="*/ 768351 h 819151"/>
                  <a:gd name="connsiteX4" fmla="*/ 0 w 608013"/>
                  <a:gd name="connsiteY4" fmla="*/ 703263 h 819151"/>
                  <a:gd name="connsiteX5" fmla="*/ 119063 w 608013"/>
                  <a:gd name="connsiteY5" fmla="*/ 703263 h 819151"/>
                  <a:gd name="connsiteX6" fmla="*/ 100013 w 608013"/>
                  <a:gd name="connsiteY6" fmla="*/ 768351 h 819151"/>
                  <a:gd name="connsiteX7" fmla="*/ 0 w 608013"/>
                  <a:gd name="connsiteY7" fmla="*/ 768351 h 819151"/>
                  <a:gd name="connsiteX8" fmla="*/ 269875 w 608013"/>
                  <a:gd name="connsiteY8" fmla="*/ 652463 h 819151"/>
                  <a:gd name="connsiteX9" fmla="*/ 336551 w 608013"/>
                  <a:gd name="connsiteY9" fmla="*/ 652463 h 819151"/>
                  <a:gd name="connsiteX10" fmla="*/ 336551 w 608013"/>
                  <a:gd name="connsiteY10" fmla="*/ 703263 h 819151"/>
                  <a:gd name="connsiteX11" fmla="*/ 354013 w 608013"/>
                  <a:gd name="connsiteY11" fmla="*/ 703263 h 819151"/>
                  <a:gd name="connsiteX12" fmla="*/ 373063 w 608013"/>
                  <a:gd name="connsiteY12" fmla="*/ 768351 h 819151"/>
                  <a:gd name="connsiteX13" fmla="*/ 336551 w 608013"/>
                  <a:gd name="connsiteY13" fmla="*/ 768351 h 819151"/>
                  <a:gd name="connsiteX14" fmla="*/ 336551 w 608013"/>
                  <a:gd name="connsiteY14" fmla="*/ 819151 h 819151"/>
                  <a:gd name="connsiteX15" fmla="*/ 269875 w 608013"/>
                  <a:gd name="connsiteY15" fmla="*/ 819151 h 819151"/>
                  <a:gd name="connsiteX16" fmla="*/ 269875 w 608013"/>
                  <a:gd name="connsiteY16" fmla="*/ 768351 h 819151"/>
                  <a:gd name="connsiteX17" fmla="*/ 234950 w 608013"/>
                  <a:gd name="connsiteY17" fmla="*/ 768351 h 819151"/>
                  <a:gd name="connsiteX18" fmla="*/ 250825 w 608013"/>
                  <a:gd name="connsiteY18" fmla="*/ 703263 h 819151"/>
                  <a:gd name="connsiteX19" fmla="*/ 269875 w 608013"/>
                  <a:gd name="connsiteY19" fmla="*/ 703263 h 819151"/>
                  <a:gd name="connsiteX20" fmla="*/ 304801 w 608013"/>
                  <a:gd name="connsiteY20" fmla="*/ 63500 h 819151"/>
                  <a:gd name="connsiteX21" fmla="*/ 217488 w 608013"/>
                  <a:gd name="connsiteY21" fmla="*/ 150813 h 819151"/>
                  <a:gd name="connsiteX22" fmla="*/ 304801 w 608013"/>
                  <a:gd name="connsiteY22" fmla="*/ 238126 h 819151"/>
                  <a:gd name="connsiteX23" fmla="*/ 392114 w 608013"/>
                  <a:gd name="connsiteY23" fmla="*/ 150813 h 819151"/>
                  <a:gd name="connsiteX24" fmla="*/ 304801 w 608013"/>
                  <a:gd name="connsiteY24" fmla="*/ 63500 h 819151"/>
                  <a:gd name="connsiteX25" fmla="*/ 304800 w 608013"/>
                  <a:gd name="connsiteY25" fmla="*/ 0 h 819151"/>
                  <a:gd name="connsiteX26" fmla="*/ 454025 w 608013"/>
                  <a:gd name="connsiteY26" fmla="*/ 150813 h 819151"/>
                  <a:gd name="connsiteX27" fmla="*/ 304800 w 608013"/>
                  <a:gd name="connsiteY27" fmla="*/ 301626 h 819151"/>
                  <a:gd name="connsiteX28" fmla="*/ 155575 w 608013"/>
                  <a:gd name="connsiteY28" fmla="*/ 150813 h 819151"/>
                  <a:gd name="connsiteX29" fmla="*/ 304800 w 608013"/>
                  <a:gd name="connsiteY29" fmla="*/ 0 h 819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08013" h="819151">
                    <a:moveTo>
                      <a:pt x="488950" y="703263"/>
                    </a:moveTo>
                    <a:lnTo>
                      <a:pt x="608013" y="703263"/>
                    </a:lnTo>
                    <a:lnTo>
                      <a:pt x="608013" y="768351"/>
                    </a:lnTo>
                    <a:lnTo>
                      <a:pt x="506413" y="768351"/>
                    </a:lnTo>
                    <a:close/>
                    <a:moveTo>
                      <a:pt x="0" y="703263"/>
                    </a:moveTo>
                    <a:lnTo>
                      <a:pt x="119063" y="703263"/>
                    </a:lnTo>
                    <a:lnTo>
                      <a:pt x="100013" y="768351"/>
                    </a:lnTo>
                    <a:lnTo>
                      <a:pt x="0" y="768351"/>
                    </a:lnTo>
                    <a:close/>
                    <a:moveTo>
                      <a:pt x="269875" y="652463"/>
                    </a:moveTo>
                    <a:lnTo>
                      <a:pt x="336551" y="652463"/>
                    </a:lnTo>
                    <a:lnTo>
                      <a:pt x="336551" y="703263"/>
                    </a:lnTo>
                    <a:lnTo>
                      <a:pt x="354013" y="703263"/>
                    </a:lnTo>
                    <a:lnTo>
                      <a:pt x="373063" y="768351"/>
                    </a:lnTo>
                    <a:lnTo>
                      <a:pt x="336551" y="768351"/>
                    </a:lnTo>
                    <a:lnTo>
                      <a:pt x="336551" y="819151"/>
                    </a:lnTo>
                    <a:lnTo>
                      <a:pt x="269875" y="819151"/>
                    </a:lnTo>
                    <a:lnTo>
                      <a:pt x="269875" y="768351"/>
                    </a:lnTo>
                    <a:lnTo>
                      <a:pt x="234950" y="768351"/>
                    </a:lnTo>
                    <a:lnTo>
                      <a:pt x="250825" y="703263"/>
                    </a:lnTo>
                    <a:lnTo>
                      <a:pt x="269875" y="703263"/>
                    </a:lnTo>
                    <a:close/>
                    <a:moveTo>
                      <a:pt x="304801" y="63500"/>
                    </a:moveTo>
                    <a:cubicBezTo>
                      <a:pt x="256579" y="63500"/>
                      <a:pt x="217488" y="102591"/>
                      <a:pt x="217488" y="150813"/>
                    </a:cubicBezTo>
                    <a:cubicBezTo>
                      <a:pt x="217488" y="199035"/>
                      <a:pt x="256579" y="238126"/>
                      <a:pt x="304801" y="238126"/>
                    </a:cubicBezTo>
                    <a:cubicBezTo>
                      <a:pt x="353023" y="238126"/>
                      <a:pt x="392114" y="199035"/>
                      <a:pt x="392114" y="150813"/>
                    </a:cubicBezTo>
                    <a:cubicBezTo>
                      <a:pt x="392114" y="102591"/>
                      <a:pt x="353023" y="63500"/>
                      <a:pt x="304801" y="63500"/>
                    </a:cubicBezTo>
                    <a:close/>
                    <a:moveTo>
                      <a:pt x="304800" y="0"/>
                    </a:moveTo>
                    <a:cubicBezTo>
                      <a:pt x="387215" y="0"/>
                      <a:pt x="454025" y="67521"/>
                      <a:pt x="454025" y="150813"/>
                    </a:cubicBezTo>
                    <a:cubicBezTo>
                      <a:pt x="454025" y="234105"/>
                      <a:pt x="387215" y="301626"/>
                      <a:pt x="304800" y="301626"/>
                    </a:cubicBezTo>
                    <a:cubicBezTo>
                      <a:pt x="222385" y="301626"/>
                      <a:pt x="155575" y="234105"/>
                      <a:pt x="155575" y="150813"/>
                    </a:cubicBezTo>
                    <a:cubicBezTo>
                      <a:pt x="155575" y="67521"/>
                      <a:pt x="222385" y="0"/>
                      <a:pt x="304800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5826125" y="2790825"/>
                <a:ext cx="536575" cy="1306513"/>
              </a:xfrm>
              <a:custGeom>
                <a:avLst/>
                <a:gdLst>
                  <a:gd name="connsiteX0" fmla="*/ 218763 w 536575"/>
                  <a:gd name="connsiteY0" fmla="*/ 458788 h 1306513"/>
                  <a:gd name="connsiteX1" fmla="*/ 269357 w 536575"/>
                  <a:gd name="connsiteY1" fmla="*/ 466644 h 1306513"/>
                  <a:gd name="connsiteX2" fmla="*/ 317812 w 536575"/>
                  <a:gd name="connsiteY2" fmla="*/ 459502 h 1306513"/>
                  <a:gd name="connsiteX3" fmla="*/ 536575 w 536575"/>
                  <a:gd name="connsiteY3" fmla="*/ 1265805 h 1306513"/>
                  <a:gd name="connsiteX4" fmla="*/ 513773 w 536575"/>
                  <a:gd name="connsiteY4" fmla="*/ 1306513 h 1306513"/>
                  <a:gd name="connsiteX5" fmla="*/ 473155 w 536575"/>
                  <a:gd name="connsiteY5" fmla="*/ 1282945 h 1306513"/>
                  <a:gd name="connsiteX6" fmla="*/ 267931 w 536575"/>
                  <a:gd name="connsiteY6" fmla="*/ 527349 h 1306513"/>
                  <a:gd name="connsiteX7" fmla="*/ 63420 w 536575"/>
                  <a:gd name="connsiteY7" fmla="*/ 1282945 h 1306513"/>
                  <a:gd name="connsiteX8" fmla="*/ 22803 w 536575"/>
                  <a:gd name="connsiteY8" fmla="*/ 1306513 h 1306513"/>
                  <a:gd name="connsiteX9" fmla="*/ 0 w 536575"/>
                  <a:gd name="connsiteY9" fmla="*/ 1265805 h 1306513"/>
                  <a:gd name="connsiteX10" fmla="*/ 218763 w 536575"/>
                  <a:gd name="connsiteY10" fmla="*/ 458788 h 1306513"/>
                  <a:gd name="connsiteX11" fmla="*/ 234950 w 536575"/>
                  <a:gd name="connsiteY11" fmla="*/ 0 h 1306513"/>
                  <a:gd name="connsiteX12" fmla="*/ 301625 w 536575"/>
                  <a:gd name="connsiteY12" fmla="*/ 0 h 1306513"/>
                  <a:gd name="connsiteX13" fmla="*/ 301625 w 536575"/>
                  <a:gd name="connsiteY13" fmla="*/ 105649 h 1306513"/>
                  <a:gd name="connsiteX14" fmla="*/ 269706 w 536575"/>
                  <a:gd name="connsiteY14" fmla="*/ 102794 h 1306513"/>
                  <a:gd name="connsiteX15" fmla="*/ 234950 w 536575"/>
                  <a:gd name="connsiteY15" fmla="*/ 106363 h 1306513"/>
                  <a:gd name="connsiteX16" fmla="*/ 234950 w 536575"/>
                  <a:gd name="connsiteY16" fmla="*/ 0 h 1306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36575" h="1306513">
                    <a:moveTo>
                      <a:pt x="218763" y="458788"/>
                    </a:moveTo>
                    <a:cubicBezTo>
                      <a:pt x="235153" y="463787"/>
                      <a:pt x="252255" y="466644"/>
                      <a:pt x="269357" y="466644"/>
                    </a:cubicBezTo>
                    <a:cubicBezTo>
                      <a:pt x="286459" y="466644"/>
                      <a:pt x="302848" y="463787"/>
                      <a:pt x="317812" y="459502"/>
                    </a:cubicBezTo>
                    <a:cubicBezTo>
                      <a:pt x="317812" y="459502"/>
                      <a:pt x="317812" y="459502"/>
                      <a:pt x="536575" y="1265805"/>
                    </a:cubicBezTo>
                    <a:cubicBezTo>
                      <a:pt x="536575" y="1265805"/>
                      <a:pt x="536575" y="1265805"/>
                      <a:pt x="513773" y="1306513"/>
                    </a:cubicBezTo>
                    <a:cubicBezTo>
                      <a:pt x="513773" y="1306513"/>
                      <a:pt x="513773" y="1306513"/>
                      <a:pt x="473155" y="1282945"/>
                    </a:cubicBezTo>
                    <a:cubicBezTo>
                      <a:pt x="473155" y="1282945"/>
                      <a:pt x="473155" y="1282945"/>
                      <a:pt x="267931" y="527349"/>
                    </a:cubicBezTo>
                    <a:cubicBezTo>
                      <a:pt x="267931" y="527349"/>
                      <a:pt x="267931" y="527349"/>
                      <a:pt x="63420" y="1282945"/>
                    </a:cubicBezTo>
                    <a:cubicBezTo>
                      <a:pt x="63420" y="1282945"/>
                      <a:pt x="63420" y="1282945"/>
                      <a:pt x="22803" y="1306513"/>
                    </a:cubicBezTo>
                    <a:cubicBezTo>
                      <a:pt x="22803" y="1306513"/>
                      <a:pt x="22803" y="1306513"/>
                      <a:pt x="0" y="1265805"/>
                    </a:cubicBezTo>
                    <a:cubicBezTo>
                      <a:pt x="0" y="1265805"/>
                      <a:pt x="0" y="1265805"/>
                      <a:pt x="218763" y="458788"/>
                    </a:cubicBezTo>
                    <a:close/>
                    <a:moveTo>
                      <a:pt x="234950" y="0"/>
                    </a:moveTo>
                    <a:cubicBezTo>
                      <a:pt x="234950" y="0"/>
                      <a:pt x="234950" y="0"/>
                      <a:pt x="301625" y="0"/>
                    </a:cubicBezTo>
                    <a:cubicBezTo>
                      <a:pt x="301625" y="0"/>
                      <a:pt x="301625" y="0"/>
                      <a:pt x="301625" y="105649"/>
                    </a:cubicBezTo>
                    <a:cubicBezTo>
                      <a:pt x="291695" y="104221"/>
                      <a:pt x="280346" y="102794"/>
                      <a:pt x="269706" y="102794"/>
                    </a:cubicBezTo>
                    <a:cubicBezTo>
                      <a:pt x="258357" y="102794"/>
                      <a:pt x="245590" y="104221"/>
                      <a:pt x="234950" y="106363"/>
                    </a:cubicBezTo>
                    <a:cubicBezTo>
                      <a:pt x="234950" y="106363"/>
                      <a:pt x="234950" y="106363"/>
                      <a:pt x="234950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F1CD7964-EF0F-47AF-A69E-54F0055EC34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1F1450"/>
              </a:clrFrom>
              <a:clrTo>
                <a:srgbClr val="1F145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7556" y="217461"/>
            <a:ext cx="1245794" cy="259876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9325F335-A328-4F35-9ACA-90AE3DAD2D87}"/>
              </a:ext>
            </a:extLst>
          </p:cNvPr>
          <p:cNvSpPr/>
          <p:nvPr/>
        </p:nvSpPr>
        <p:spPr>
          <a:xfrm>
            <a:off x="1326784" y="5905144"/>
            <a:ext cx="3365085" cy="58169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rgbClr val="00269E"/>
                </a:solidFill>
                <a:cs typeface="Henderson BCG Sans" panose="020B0502030402020204" pitchFamily="34" charset="0"/>
              </a:rPr>
              <a:t>To learn more about this opportunity please visit CommCorp’s website at: </a:t>
            </a: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commcorp.org/available-funding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60C1B120-CE01-40F8-8FBB-B1D5F8FAEFE8}"/>
              </a:ext>
            </a:extLst>
          </p:cNvPr>
          <p:cNvGrpSpPr/>
          <p:nvPr/>
        </p:nvGrpSpPr>
        <p:grpSpPr>
          <a:xfrm>
            <a:off x="670158" y="5947745"/>
            <a:ext cx="504159" cy="496562"/>
            <a:chOff x="1" y="8180427"/>
            <a:chExt cx="800099" cy="771525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7C251D3-8D09-4F13-B30B-9C7257A7F905}"/>
                </a:ext>
              </a:extLst>
            </p:cNvPr>
            <p:cNvSpPr/>
            <p:nvPr/>
          </p:nvSpPr>
          <p:spPr>
            <a:xfrm>
              <a:off x="1" y="8180427"/>
              <a:ext cx="800099" cy="771525"/>
            </a:xfrm>
            <a:prstGeom prst="rect">
              <a:avLst/>
            </a:prstGeom>
            <a:solidFill>
              <a:srgbClr val="001C76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Karla" pitchFamily="2" charset="0"/>
              </a:endParaRP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9EB1DF1B-1BA4-486C-BAC5-349A7921D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3825" y="8289965"/>
              <a:ext cx="552450" cy="552450"/>
            </a:xfrm>
            <a:prstGeom prst="rect">
              <a:avLst/>
            </a:prstGeom>
          </p:spPr>
        </p:pic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4FA9107E-B86A-416B-B3D6-470AA1FAAB95}"/>
              </a:ext>
            </a:extLst>
          </p:cNvPr>
          <p:cNvSpPr txBox="1"/>
          <p:nvPr/>
        </p:nvSpPr>
        <p:spPr>
          <a:xfrm>
            <a:off x="5016572" y="5829643"/>
            <a:ext cx="3101388" cy="6647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Are you interested in hiring talent?</a:t>
            </a:r>
          </a:p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Reach out to your local Masshire Career Center or visit the talent access portal at </a:t>
            </a:r>
            <a:r>
              <a:rPr lang="en-US" sz="1200" b="1">
                <a:solidFill>
                  <a:srgbClr val="000000"/>
                </a:solidFill>
                <a:cs typeface="Henderson BCG Sans" panose="020B0502030402020204" pitchFamily="34" charset="0"/>
              </a:rPr>
              <a:t>https://commcorp.softr.io</a:t>
            </a:r>
            <a:endParaRPr lang="en-US" sz="1200">
              <a:solidFill>
                <a:srgbClr val="000000"/>
              </a:solidFill>
              <a:cs typeface="Henderson BCG Sans" panose="020B05020304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79661B98-4A04-42F0-974B-7D4670246799}"/>
              </a:ext>
            </a:extLst>
          </p:cNvPr>
          <p:cNvSpPr txBox="1"/>
          <p:nvPr/>
        </p:nvSpPr>
        <p:spPr>
          <a:xfrm>
            <a:off x="8461959" y="5829643"/>
            <a:ext cx="3101388" cy="6647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269E"/>
                </a:solidFill>
                <a:cs typeface="Henderson BCG Sans" panose="020B0502030402020204" pitchFamily="34" charset="0"/>
              </a:rPr>
              <a:t>*If you are interested in recruiting for an occupation not listed here, please reach out to a CommCorp representative at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commcorp.org/cbe/contact/ </a:t>
            </a:r>
          </a:p>
        </p:txBody>
      </p:sp>
    </p:spTree>
    <p:extLst>
      <p:ext uri="{BB962C8B-B14F-4D97-AF65-F5344CB8AC3E}">
        <p14:creationId xmlns:p14="http://schemas.microsoft.com/office/powerpoint/2010/main" val="68018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56" descr="Men in a warehouse&#10;&#10;Description automatically generated with low confidence">
            <a:extLst>
              <a:ext uri="{FF2B5EF4-FFF2-40B4-BE49-F238E27FC236}">
                <a16:creationId xmlns:a16="http://schemas.microsoft.com/office/drawing/2014/main" id="{4333EE25-ED5A-4F52-9FD2-C27891DFD12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1"/>
            <a:ext cx="12192000" cy="1665363"/>
          </a:xfrm>
          <a:prstGeom prst="rect">
            <a:avLst/>
          </a:prstGeom>
        </p:spPr>
      </p:pic>
      <p:sp>
        <p:nvSpPr>
          <p:cNvPr id="58" name="GradientOverlay"/>
          <p:cNvSpPr/>
          <p:nvPr>
            <p:custDataLst>
              <p:tags r:id="rId2"/>
            </p:custDataLst>
          </p:nvPr>
        </p:nvSpPr>
        <p:spPr>
          <a:xfrm flipH="1">
            <a:off x="0" y="-1"/>
            <a:ext cx="12192000" cy="1665363"/>
          </a:xfrm>
          <a:prstGeom prst="rect">
            <a:avLst/>
          </a:prstGeom>
          <a:solidFill>
            <a:srgbClr val="000000">
              <a:alpha val="59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923"/>
              </a:spcAft>
            </a:pPr>
            <a:endParaRPr lang="en-US" sz="1600">
              <a:solidFill>
                <a:schemeClr val="bg1"/>
              </a:solidFill>
              <a:latin typeface="Karla" pitchFamily="2" charset="0"/>
              <a:sym typeface="+mn-lt"/>
            </a:endParaRPr>
          </a:p>
        </p:txBody>
      </p:sp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713445" y="1817297"/>
            <a:ext cx="3978424" cy="38270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The Workforce Skills Cabinet and Commonwealth Corporation have launched CTI to supply Vocational Technical Schools with the funding to expand new “third shift” training capacity that will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upskill new workers to address employers’ hiring needs</a:t>
            </a:r>
            <a:endParaRPr lang="en-US" sz="1200" b="1">
              <a:solidFill>
                <a:srgbClr val="000000"/>
              </a:solidFill>
              <a:latin typeface="Karla" pitchFamily="2" charset="0"/>
              <a:cs typeface="Henderson BCG Sans" panose="020B0502030402020204" pitchFamily="34" charset="0"/>
            </a:endParaRP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This program</a:t>
            </a:r>
            <a:r>
              <a:rPr lang="en-US" sz="1200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pairs employers with local Vocational Technical Schools 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that are training new workers with the skills necessary to fill in-demand occupations. The ultimate goal of these partnerships will be to create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sustainable talent development pipelines</a:t>
            </a:r>
            <a:endParaRPr lang="en-US" sz="1200" b="1">
              <a:solidFill>
                <a:srgbClr val="000000"/>
              </a:solidFill>
              <a:latin typeface="Karla" pitchFamily="2" charset="0"/>
              <a:cs typeface="Henderson BCG Sans" panose="020B0502030402020204" pitchFamily="34" charset="0"/>
            </a:endParaRP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As part of these partnerships, employers will be encouraged to provide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feedback on curriculum and screening methodologies</a:t>
            </a:r>
            <a:endParaRPr lang="en-US" sz="1200" b="1">
              <a:solidFill>
                <a:srgbClr val="000000"/>
              </a:solidFill>
              <a:latin typeface="Karla" pitchFamily="2" charset="0"/>
              <a:cs typeface="Henderson BCG Sans" panose="020B0502030402020204" pitchFamily="34" charset="0"/>
            </a:endParaRPr>
          </a:p>
          <a:p>
            <a:pPr>
              <a:lnSpc>
                <a:spcPct val="110000"/>
              </a:lnSpc>
              <a:spcAft>
                <a:spcPts val="1000"/>
              </a:spcAft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In addition to funding, employer/training provider partnerships will receive </a:t>
            </a:r>
            <a:r>
              <a:rPr lang="en-US" sz="12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technical assistance and recruiting support</a:t>
            </a:r>
            <a:r>
              <a:rPr lang="en-US" sz="1200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 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from </a:t>
            </a:r>
            <a:r>
              <a:rPr lang="en-US" sz="1200" err="1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MassHire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cs typeface="Henderson BCG Sans" panose="020B0502030402020204" pitchFamily="34" charset="0"/>
              </a:rPr>
              <a:t> Career Centers and regional workforce board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D53AFE9-5161-4534-A466-F27332331FFD}"/>
              </a:ext>
            </a:extLst>
          </p:cNvPr>
          <p:cNvSpPr txBox="1"/>
          <p:nvPr/>
        </p:nvSpPr>
        <p:spPr>
          <a:xfrm>
            <a:off x="5016572" y="1817297"/>
            <a:ext cx="6546776" cy="21544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 spc="-20">
                <a:solidFill>
                  <a:srgbClr val="00269E"/>
                </a:solidFill>
                <a:cs typeface="Henderson BCG Sans" panose="020B0502030402020204" pitchFamily="34" charset="0"/>
              </a:rPr>
              <a:t>CTI trains employees to work in over seventeen priority occupations*</a:t>
            </a:r>
          </a:p>
        </p:txBody>
      </p:sp>
      <p:cxnSp>
        <p:nvCxnSpPr>
          <p:cNvPr id="70" name="Straight Connector 69"/>
          <p:cNvCxnSpPr/>
          <p:nvPr/>
        </p:nvCxnSpPr>
        <p:spPr>
          <a:xfrm>
            <a:off x="4854221" y="1817297"/>
            <a:ext cx="0" cy="460067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5440439" y="2152591"/>
            <a:ext cx="2818358" cy="29854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777240" fontAlgn="b"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Construction/trade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HVAC Mechanics and Installe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Automotive Services Techs and Mechanic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Automotive Body Repaire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Electrician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Plumbe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arpente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Welde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raft Labore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Building &amp; General Maintenance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Diesel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Marine Trades Technician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ook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Groundskeeping and</a:t>
            </a:r>
            <a:b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</a:b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Equipment Operators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89E28CA-7945-4660-AF0D-A9FEEA717493}"/>
              </a:ext>
            </a:extLst>
          </p:cNvPr>
          <p:cNvSpPr/>
          <p:nvPr/>
        </p:nvSpPr>
        <p:spPr>
          <a:xfrm>
            <a:off x="8744989" y="2152591"/>
            <a:ext cx="2818358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fontAlgn="b">
              <a:buFont typeface="Trebuchet MS" panose="020B0603020202020204" pitchFamily="34" charset="0"/>
              <a:buChar char="​"/>
              <a:defRPr/>
            </a:pPr>
            <a:r>
              <a:rPr lang="en-US" sz="1400" b="1">
                <a:solidFill>
                  <a:srgbClr val="00269E"/>
                </a:solidFill>
                <a:latin typeface="Karla" pitchFamily="2" charset="0"/>
                <a:cs typeface="Henderson BCG Sans" panose="020B0502030402020204" pitchFamily="34" charset="0"/>
              </a:rPr>
              <a:t>Manufacturing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Machine Operato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Sheet Metal Workers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Biolab, Medical &amp; Clinical Lab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CNC Machine Operator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Electrical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Electronics Tech</a:t>
            </a:r>
          </a:p>
          <a:p>
            <a:pPr marL="194400" lvl="1" indent="-129600" defTabSz="777240" fontAlgn="b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Henderson BCG Sans" panose="020B0502030402020204" pitchFamily="34" charset="0"/>
              </a:rPr>
              <a:t>Robotics</a:t>
            </a:r>
          </a:p>
        </p:txBody>
      </p:sp>
      <p:cxnSp>
        <p:nvCxnSpPr>
          <p:cNvPr id="77" name="Straight Connector 76"/>
          <p:cNvCxnSpPr/>
          <p:nvPr/>
        </p:nvCxnSpPr>
        <p:spPr>
          <a:xfrm rot="5400000">
            <a:off x="8289963" y="2248460"/>
            <a:ext cx="0" cy="654677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Career Technical Initiative (CTI)</a:t>
            </a:r>
            <a:endParaRPr lang="en-US">
              <a:solidFill>
                <a:schemeClr val="bg1"/>
              </a:solidFill>
              <a:latin typeface="+mn-lt"/>
              <a:cs typeface="Henderson BCG Sans" panose="020B05020304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7A738CC-2037-4B21-87C9-B1C7A5CA5ED1}"/>
              </a:ext>
            </a:extLst>
          </p:cNvPr>
          <p:cNvSpPr/>
          <p:nvPr/>
        </p:nvSpPr>
        <p:spPr>
          <a:xfrm>
            <a:off x="8461960" y="1211748"/>
            <a:ext cx="3101388" cy="367166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anchor="b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br>
              <a:rPr lang="en-US" sz="12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</a:br>
            <a:r>
              <a:rPr lang="en-US" sz="12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RESPONSES DUE: APRIL 29</a:t>
            </a:r>
            <a:r>
              <a:rPr lang="en-US" sz="1200" baseline="30000">
                <a:solidFill>
                  <a:schemeClr val="bg1"/>
                </a:solidFill>
                <a:latin typeface="Karla" pitchFamily="2" charset="0"/>
                <a:cs typeface="Henderson BCG Sans" panose="020B0502030402020204" pitchFamily="34" charset="0"/>
              </a:rPr>
              <a:t>TH</a:t>
            </a:r>
            <a:endParaRPr lang="en-US" sz="1200">
              <a:solidFill>
                <a:schemeClr val="bg1"/>
              </a:solidFill>
              <a:latin typeface="Karla" pitchFamily="2" charset="0"/>
              <a:cs typeface="Henderson BCG Sans" panose="020B0502030402020204" pitchFamily="34" charset="0"/>
            </a:endParaRPr>
          </a:p>
        </p:txBody>
      </p: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5016573" y="2152591"/>
            <a:ext cx="362912" cy="362562"/>
            <a:chOff x="6464300" y="2606675"/>
            <a:chExt cx="1646238" cy="1644650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/>
          </p:nvSpPr>
          <p:spPr bwMode="auto">
            <a:xfrm>
              <a:off x="6464300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6729414" y="2881313"/>
              <a:ext cx="1122265" cy="1125538"/>
              <a:chOff x="6729414" y="2881313"/>
              <a:chExt cx="1122265" cy="1125538"/>
            </a:xfrm>
          </p:grpSpPr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7235824" y="2881313"/>
                <a:ext cx="528638" cy="582613"/>
              </a:xfrm>
              <a:custGeom>
                <a:avLst/>
                <a:gdLst>
                  <a:gd name="connsiteX0" fmla="*/ 514350 w 528638"/>
                  <a:gd name="connsiteY0" fmla="*/ 484187 h 582613"/>
                  <a:gd name="connsiteX1" fmla="*/ 390525 w 528638"/>
                  <a:gd name="connsiteY1" fmla="*/ 579437 h 582613"/>
                  <a:gd name="connsiteX2" fmla="*/ 423641 w 528638"/>
                  <a:gd name="connsiteY2" fmla="*/ 509066 h 582613"/>
                  <a:gd name="connsiteX3" fmla="*/ 514350 w 528638"/>
                  <a:gd name="connsiteY3" fmla="*/ 484187 h 582613"/>
                  <a:gd name="connsiteX4" fmla="*/ 198438 w 528638"/>
                  <a:gd name="connsiteY4" fmla="*/ 425450 h 582613"/>
                  <a:gd name="connsiteX5" fmla="*/ 266990 w 528638"/>
                  <a:gd name="connsiteY5" fmla="*/ 475457 h 582613"/>
                  <a:gd name="connsiteX6" fmla="*/ 390526 w 528638"/>
                  <a:gd name="connsiteY6" fmla="*/ 510461 h 582613"/>
                  <a:gd name="connsiteX7" fmla="*/ 352680 w 528638"/>
                  <a:gd name="connsiteY7" fmla="*/ 582613 h 582613"/>
                  <a:gd name="connsiteX8" fmla="*/ 198438 w 528638"/>
                  <a:gd name="connsiteY8" fmla="*/ 425450 h 582613"/>
                  <a:gd name="connsiteX9" fmla="*/ 382588 w 528638"/>
                  <a:gd name="connsiteY9" fmla="*/ 254000 h 582613"/>
                  <a:gd name="connsiteX10" fmla="*/ 528638 w 528638"/>
                  <a:gd name="connsiteY10" fmla="*/ 417126 h 582613"/>
                  <a:gd name="connsiteX11" fmla="*/ 526480 w 528638"/>
                  <a:gd name="connsiteY11" fmla="*/ 443483 h 582613"/>
                  <a:gd name="connsiteX12" fmla="*/ 432231 w 528638"/>
                  <a:gd name="connsiteY12" fmla="*/ 476250 h 582613"/>
                  <a:gd name="connsiteX13" fmla="*/ 382588 w 528638"/>
                  <a:gd name="connsiteY13" fmla="*/ 254000 h 582613"/>
                  <a:gd name="connsiteX14" fmla="*/ 342906 w 528638"/>
                  <a:gd name="connsiteY14" fmla="*/ 254000 h 582613"/>
                  <a:gd name="connsiteX15" fmla="*/ 399280 w 528638"/>
                  <a:gd name="connsiteY15" fmla="*/ 479425 h 582613"/>
                  <a:gd name="connsiteX16" fmla="*/ 282964 w 528638"/>
                  <a:gd name="connsiteY16" fmla="*/ 448037 h 582613"/>
                  <a:gd name="connsiteX17" fmla="*/ 201613 w 528638"/>
                  <a:gd name="connsiteY17" fmla="*/ 384547 h 582613"/>
                  <a:gd name="connsiteX18" fmla="*/ 342906 w 528638"/>
                  <a:gd name="connsiteY18" fmla="*/ 254000 h 582613"/>
                  <a:gd name="connsiteX19" fmla="*/ 63445 w 528638"/>
                  <a:gd name="connsiteY19" fmla="*/ 139700 h 582613"/>
                  <a:gd name="connsiteX20" fmla="*/ 144463 w 528638"/>
                  <a:gd name="connsiteY20" fmla="*/ 258046 h 582613"/>
                  <a:gd name="connsiteX21" fmla="*/ 128828 w 528638"/>
                  <a:gd name="connsiteY21" fmla="*/ 258763 h 582613"/>
                  <a:gd name="connsiteX22" fmla="*/ 22225 w 528638"/>
                  <a:gd name="connsiteY22" fmla="*/ 201383 h 582613"/>
                  <a:gd name="connsiteX23" fmla="*/ 63445 w 528638"/>
                  <a:gd name="connsiteY23" fmla="*/ 139700 h 582613"/>
                  <a:gd name="connsiteX24" fmla="*/ 194334 w 528638"/>
                  <a:gd name="connsiteY24" fmla="*/ 90557 h 582613"/>
                  <a:gd name="connsiteX25" fmla="*/ 255198 w 528638"/>
                  <a:gd name="connsiteY25" fmla="*/ 98609 h 582613"/>
                  <a:gd name="connsiteX26" fmla="*/ 258763 w 528638"/>
                  <a:gd name="connsiteY26" fmla="*/ 129388 h 582613"/>
                  <a:gd name="connsiteX27" fmla="*/ 185321 w 528638"/>
                  <a:gd name="connsiteY27" fmla="*/ 246063 h 582613"/>
                  <a:gd name="connsiteX28" fmla="*/ 90488 w 528638"/>
                  <a:gd name="connsiteY28" fmla="*/ 117936 h 582613"/>
                  <a:gd name="connsiteX29" fmla="*/ 159652 w 528638"/>
                  <a:gd name="connsiteY29" fmla="*/ 92883 h 582613"/>
                  <a:gd name="connsiteX30" fmla="*/ 194334 w 528638"/>
                  <a:gd name="connsiteY30" fmla="*/ 90557 h 582613"/>
                  <a:gd name="connsiteX31" fmla="*/ 65088 w 528638"/>
                  <a:gd name="connsiteY31" fmla="*/ 15875 h 582613"/>
                  <a:gd name="connsiteX32" fmla="*/ 57305 w 528638"/>
                  <a:gd name="connsiteY32" fmla="*/ 102268 h 582613"/>
                  <a:gd name="connsiteX33" fmla="*/ 4952 w 528638"/>
                  <a:gd name="connsiteY33" fmla="*/ 165100 h 582613"/>
                  <a:gd name="connsiteX34" fmla="*/ 0 w 528638"/>
                  <a:gd name="connsiteY34" fmla="*/ 128686 h 582613"/>
                  <a:gd name="connsiteX35" fmla="*/ 65088 w 528638"/>
                  <a:gd name="connsiteY35" fmla="*/ 15875 h 582613"/>
                  <a:gd name="connsiteX36" fmla="*/ 128096 w 528638"/>
                  <a:gd name="connsiteY36" fmla="*/ 0 h 582613"/>
                  <a:gd name="connsiteX37" fmla="*/ 239713 w 528638"/>
                  <a:gd name="connsiteY37" fmla="*/ 62794 h 582613"/>
                  <a:gd name="connsiteX38" fmla="*/ 155285 w 528638"/>
                  <a:gd name="connsiteY38" fmla="*/ 61383 h 582613"/>
                  <a:gd name="connsiteX39" fmla="*/ 87313 w 528638"/>
                  <a:gd name="connsiteY39" fmla="*/ 82550 h 582613"/>
                  <a:gd name="connsiteX40" fmla="*/ 98761 w 528638"/>
                  <a:gd name="connsiteY40" fmla="*/ 10583 h 582613"/>
                  <a:gd name="connsiteX41" fmla="*/ 100192 w 528638"/>
                  <a:gd name="connsiteY41" fmla="*/ 3528 h 582613"/>
                  <a:gd name="connsiteX42" fmla="*/ 128096 w 528638"/>
                  <a:gd name="connsiteY42" fmla="*/ 0 h 582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528638" h="582613">
                    <a:moveTo>
                      <a:pt x="514350" y="484187"/>
                    </a:moveTo>
                    <a:cubicBezTo>
                      <a:pt x="492033" y="533945"/>
                      <a:pt x="445959" y="570196"/>
                      <a:pt x="390525" y="579437"/>
                    </a:cubicBezTo>
                    <a:cubicBezTo>
                      <a:pt x="401324" y="560956"/>
                      <a:pt x="414282" y="536788"/>
                      <a:pt x="423641" y="509066"/>
                    </a:cubicBezTo>
                    <a:cubicBezTo>
                      <a:pt x="451718" y="506223"/>
                      <a:pt x="481954" y="498404"/>
                      <a:pt x="514350" y="484187"/>
                    </a:cubicBezTo>
                    <a:close/>
                    <a:moveTo>
                      <a:pt x="198438" y="425450"/>
                    </a:moveTo>
                    <a:cubicBezTo>
                      <a:pt x="216290" y="441881"/>
                      <a:pt x="239141" y="460455"/>
                      <a:pt x="266990" y="475457"/>
                    </a:cubicBezTo>
                    <a:cubicBezTo>
                      <a:pt x="299124" y="493316"/>
                      <a:pt x="341255" y="509032"/>
                      <a:pt x="390526" y="510461"/>
                    </a:cubicBezTo>
                    <a:cubicBezTo>
                      <a:pt x="378387" y="541894"/>
                      <a:pt x="363391" y="566897"/>
                      <a:pt x="352680" y="582613"/>
                    </a:cubicBezTo>
                    <a:cubicBezTo>
                      <a:pt x="269132" y="576898"/>
                      <a:pt x="202723" y="509747"/>
                      <a:pt x="198438" y="425450"/>
                    </a:cubicBezTo>
                    <a:close/>
                    <a:moveTo>
                      <a:pt x="382588" y="254000"/>
                    </a:moveTo>
                    <a:cubicBezTo>
                      <a:pt x="465326" y="263973"/>
                      <a:pt x="528638" y="333070"/>
                      <a:pt x="528638" y="417126"/>
                    </a:cubicBezTo>
                    <a:cubicBezTo>
                      <a:pt x="528638" y="426386"/>
                      <a:pt x="527919" y="434934"/>
                      <a:pt x="526480" y="443483"/>
                    </a:cubicBezTo>
                    <a:cubicBezTo>
                      <a:pt x="494824" y="460579"/>
                      <a:pt x="463887" y="471264"/>
                      <a:pt x="432231" y="476250"/>
                    </a:cubicBezTo>
                    <a:cubicBezTo>
                      <a:pt x="445901" y="416414"/>
                      <a:pt x="443742" y="335207"/>
                      <a:pt x="382588" y="254000"/>
                    </a:cubicBezTo>
                    <a:close/>
                    <a:moveTo>
                      <a:pt x="342906" y="254000"/>
                    </a:moveTo>
                    <a:cubicBezTo>
                      <a:pt x="401421" y="321057"/>
                      <a:pt x="420688" y="397388"/>
                      <a:pt x="399280" y="479425"/>
                    </a:cubicBezTo>
                    <a:cubicBezTo>
                      <a:pt x="360032" y="479425"/>
                      <a:pt x="320784" y="469438"/>
                      <a:pt x="282964" y="448037"/>
                    </a:cubicBezTo>
                    <a:cubicBezTo>
                      <a:pt x="245856" y="428062"/>
                      <a:pt x="218026" y="402381"/>
                      <a:pt x="201613" y="384547"/>
                    </a:cubicBezTo>
                    <a:cubicBezTo>
                      <a:pt x="215172" y="315350"/>
                      <a:pt x="272260" y="262561"/>
                      <a:pt x="342906" y="254000"/>
                    </a:cubicBezTo>
                    <a:close/>
                    <a:moveTo>
                      <a:pt x="63445" y="139700"/>
                    </a:moveTo>
                    <a:cubicBezTo>
                      <a:pt x="72683" y="179148"/>
                      <a:pt x="95425" y="222901"/>
                      <a:pt x="144463" y="258046"/>
                    </a:cubicBezTo>
                    <a:cubicBezTo>
                      <a:pt x="139488" y="258763"/>
                      <a:pt x="134513" y="258763"/>
                      <a:pt x="128828" y="258763"/>
                    </a:cubicBezTo>
                    <a:cubicBezTo>
                      <a:pt x="84765" y="258763"/>
                      <a:pt x="44967" y="236528"/>
                      <a:pt x="22225" y="201383"/>
                    </a:cubicBezTo>
                    <a:cubicBezTo>
                      <a:pt x="32885" y="176997"/>
                      <a:pt x="46388" y="156197"/>
                      <a:pt x="63445" y="139700"/>
                    </a:cubicBezTo>
                    <a:close/>
                    <a:moveTo>
                      <a:pt x="194334" y="90557"/>
                    </a:moveTo>
                    <a:cubicBezTo>
                      <a:pt x="226855" y="90825"/>
                      <a:pt x="251455" y="97536"/>
                      <a:pt x="255198" y="98609"/>
                    </a:cubicBezTo>
                    <a:cubicBezTo>
                      <a:pt x="257337" y="108630"/>
                      <a:pt x="258763" y="118651"/>
                      <a:pt x="258763" y="129388"/>
                    </a:cubicBezTo>
                    <a:cubicBezTo>
                      <a:pt x="258763" y="180926"/>
                      <a:pt x="228816" y="225305"/>
                      <a:pt x="185321" y="246063"/>
                    </a:cubicBezTo>
                    <a:cubicBezTo>
                      <a:pt x="131130" y="217431"/>
                      <a:pt x="99757" y="173768"/>
                      <a:pt x="90488" y="117936"/>
                    </a:cubicBezTo>
                    <a:cubicBezTo>
                      <a:pt x="110453" y="105051"/>
                      <a:pt x="133270" y="96462"/>
                      <a:pt x="159652" y="92883"/>
                    </a:cubicBezTo>
                    <a:cubicBezTo>
                      <a:pt x="171773" y="91093"/>
                      <a:pt x="183494" y="90467"/>
                      <a:pt x="194334" y="90557"/>
                    </a:cubicBezTo>
                    <a:close/>
                    <a:moveTo>
                      <a:pt x="65088" y="15875"/>
                    </a:moveTo>
                    <a:cubicBezTo>
                      <a:pt x="60135" y="34439"/>
                      <a:pt x="54476" y="65855"/>
                      <a:pt x="57305" y="102268"/>
                    </a:cubicBezTo>
                    <a:cubicBezTo>
                      <a:pt x="38204" y="117976"/>
                      <a:pt x="19809" y="137968"/>
                      <a:pt x="4952" y="165100"/>
                    </a:cubicBezTo>
                    <a:cubicBezTo>
                      <a:pt x="1415" y="153676"/>
                      <a:pt x="0" y="140824"/>
                      <a:pt x="0" y="128686"/>
                    </a:cubicBezTo>
                    <a:cubicBezTo>
                      <a:pt x="0" y="80134"/>
                      <a:pt x="26176" y="38009"/>
                      <a:pt x="65088" y="15875"/>
                    </a:cubicBezTo>
                    <a:close/>
                    <a:moveTo>
                      <a:pt x="128096" y="0"/>
                    </a:moveTo>
                    <a:cubicBezTo>
                      <a:pt x="176034" y="0"/>
                      <a:pt x="217533" y="25400"/>
                      <a:pt x="239713" y="62794"/>
                    </a:cubicBezTo>
                    <a:cubicBezTo>
                      <a:pt x="219679" y="59267"/>
                      <a:pt x="188913" y="56444"/>
                      <a:pt x="155285" y="61383"/>
                    </a:cubicBezTo>
                    <a:cubicBezTo>
                      <a:pt x="134535" y="64205"/>
                      <a:pt x="110209" y="70555"/>
                      <a:pt x="87313" y="82550"/>
                    </a:cubicBezTo>
                    <a:cubicBezTo>
                      <a:pt x="87313" y="41628"/>
                      <a:pt x="98761" y="10583"/>
                      <a:pt x="98761" y="10583"/>
                    </a:cubicBezTo>
                    <a:cubicBezTo>
                      <a:pt x="100192" y="7761"/>
                      <a:pt x="100192" y="5644"/>
                      <a:pt x="100192" y="3528"/>
                    </a:cubicBezTo>
                    <a:cubicBezTo>
                      <a:pt x="108778" y="1411"/>
                      <a:pt x="118794" y="0"/>
                      <a:pt x="128096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6729414" y="3465513"/>
                <a:ext cx="1122265" cy="541338"/>
              </a:xfrm>
              <a:custGeom>
                <a:avLst/>
                <a:gdLst>
                  <a:gd name="connsiteX0" fmla="*/ 408151 w 1122265"/>
                  <a:gd name="connsiteY0" fmla="*/ 31591 h 541338"/>
                  <a:gd name="connsiteX1" fmla="*/ 324550 w 1122265"/>
                  <a:gd name="connsiteY1" fmla="*/ 51601 h 541338"/>
                  <a:gd name="connsiteX2" fmla="*/ 30162 w 1122265"/>
                  <a:gd name="connsiteY2" fmla="*/ 218820 h 541338"/>
                  <a:gd name="connsiteX3" fmla="*/ 30162 w 1122265"/>
                  <a:gd name="connsiteY3" fmla="*/ 503237 h 541338"/>
                  <a:gd name="connsiteX4" fmla="*/ 366708 w 1122265"/>
                  <a:gd name="connsiteY4" fmla="*/ 373177 h 541338"/>
                  <a:gd name="connsiteX5" fmla="*/ 417440 w 1122265"/>
                  <a:gd name="connsiteY5" fmla="*/ 365316 h 541338"/>
                  <a:gd name="connsiteX6" fmla="*/ 566778 w 1122265"/>
                  <a:gd name="connsiteY6" fmla="*/ 376036 h 541338"/>
                  <a:gd name="connsiteX7" fmla="*/ 795429 w 1122265"/>
                  <a:gd name="connsiteY7" fmla="*/ 349595 h 541338"/>
                  <a:gd name="connsiteX8" fmla="*/ 1046230 w 1122265"/>
                  <a:gd name="connsiteY8" fmla="*/ 183090 h 541338"/>
                  <a:gd name="connsiteX9" fmla="*/ 1078384 w 1122265"/>
                  <a:gd name="connsiteY9" fmla="*/ 145930 h 541338"/>
                  <a:gd name="connsiteX10" fmla="*/ 1073383 w 1122265"/>
                  <a:gd name="connsiteY10" fmla="*/ 71610 h 541338"/>
                  <a:gd name="connsiteX11" fmla="*/ 1034798 w 1122265"/>
                  <a:gd name="connsiteY11" fmla="*/ 58032 h 541338"/>
                  <a:gd name="connsiteX12" fmla="*/ 997642 w 1122265"/>
                  <a:gd name="connsiteY12" fmla="*/ 75897 h 541338"/>
                  <a:gd name="connsiteX13" fmla="*/ 949768 w 1122265"/>
                  <a:gd name="connsiteY13" fmla="*/ 129494 h 541338"/>
                  <a:gd name="connsiteX14" fmla="*/ 804003 w 1122265"/>
                  <a:gd name="connsiteY14" fmla="*/ 220964 h 541338"/>
                  <a:gd name="connsiteX15" fmla="*/ 606792 w 1122265"/>
                  <a:gd name="connsiteY15" fmla="*/ 210245 h 541338"/>
                  <a:gd name="connsiteX16" fmla="*/ 551772 w 1122265"/>
                  <a:gd name="connsiteY16" fmla="*/ 188092 h 541338"/>
                  <a:gd name="connsiteX17" fmla="*/ 542483 w 1122265"/>
                  <a:gd name="connsiteY17" fmla="*/ 171656 h 541338"/>
                  <a:gd name="connsiteX18" fmla="*/ 556060 w 1122265"/>
                  <a:gd name="connsiteY18" fmla="*/ 158078 h 541338"/>
                  <a:gd name="connsiteX19" fmla="*/ 713972 w 1122265"/>
                  <a:gd name="connsiteY19" fmla="*/ 142357 h 541338"/>
                  <a:gd name="connsiteX20" fmla="*/ 757558 w 1122265"/>
                  <a:gd name="connsiteY20" fmla="*/ 95192 h 541338"/>
                  <a:gd name="connsiteX21" fmla="*/ 711828 w 1122265"/>
                  <a:gd name="connsiteY21" fmla="*/ 47313 h 541338"/>
                  <a:gd name="connsiteX22" fmla="*/ 408151 w 1122265"/>
                  <a:gd name="connsiteY22" fmla="*/ 31591 h 541338"/>
                  <a:gd name="connsiteX23" fmla="*/ 389667 w 1122265"/>
                  <a:gd name="connsiteY23" fmla="*/ 0 h 541338"/>
                  <a:gd name="connsiteX24" fmla="*/ 393235 w 1122265"/>
                  <a:gd name="connsiteY24" fmla="*/ 0 h 541338"/>
                  <a:gd name="connsiteX25" fmla="*/ 396090 w 1122265"/>
                  <a:gd name="connsiteY25" fmla="*/ 0 h 541338"/>
                  <a:gd name="connsiteX26" fmla="*/ 398944 w 1122265"/>
                  <a:gd name="connsiteY26" fmla="*/ 0 h 541338"/>
                  <a:gd name="connsiteX27" fmla="*/ 402513 w 1122265"/>
                  <a:gd name="connsiteY27" fmla="*/ 0 h 541338"/>
                  <a:gd name="connsiteX28" fmla="*/ 410363 w 1122265"/>
                  <a:gd name="connsiteY28" fmla="*/ 0 h 541338"/>
                  <a:gd name="connsiteX29" fmla="*/ 714389 w 1122265"/>
                  <a:gd name="connsiteY29" fmla="*/ 15712 h 541338"/>
                  <a:gd name="connsiteX30" fmla="*/ 779333 w 1122265"/>
                  <a:gd name="connsiteY30" fmla="*/ 56419 h 541338"/>
                  <a:gd name="connsiteX31" fmla="*/ 781474 w 1122265"/>
                  <a:gd name="connsiteY31" fmla="*/ 60704 h 541338"/>
                  <a:gd name="connsiteX32" fmla="*/ 787897 w 1122265"/>
                  <a:gd name="connsiteY32" fmla="*/ 79273 h 541338"/>
                  <a:gd name="connsiteX33" fmla="*/ 789324 w 1122265"/>
                  <a:gd name="connsiteY33" fmla="*/ 94984 h 541338"/>
                  <a:gd name="connsiteX34" fmla="*/ 788611 w 1122265"/>
                  <a:gd name="connsiteY34" fmla="*/ 100698 h 541338"/>
                  <a:gd name="connsiteX35" fmla="*/ 788611 w 1122265"/>
                  <a:gd name="connsiteY35" fmla="*/ 101412 h 541338"/>
                  <a:gd name="connsiteX36" fmla="*/ 787897 w 1122265"/>
                  <a:gd name="connsiteY36" fmla="*/ 107125 h 541338"/>
                  <a:gd name="connsiteX37" fmla="*/ 762918 w 1122265"/>
                  <a:gd name="connsiteY37" fmla="*/ 154260 h 541338"/>
                  <a:gd name="connsiteX38" fmla="*/ 762205 w 1122265"/>
                  <a:gd name="connsiteY38" fmla="*/ 154260 h 541338"/>
                  <a:gd name="connsiteX39" fmla="*/ 757923 w 1122265"/>
                  <a:gd name="connsiteY39" fmla="*/ 157831 h 541338"/>
                  <a:gd name="connsiteX40" fmla="*/ 753641 w 1122265"/>
                  <a:gd name="connsiteY40" fmla="*/ 160688 h 541338"/>
                  <a:gd name="connsiteX41" fmla="*/ 752927 w 1122265"/>
                  <a:gd name="connsiteY41" fmla="*/ 161402 h 541338"/>
                  <a:gd name="connsiteX42" fmla="*/ 748645 w 1122265"/>
                  <a:gd name="connsiteY42" fmla="*/ 164258 h 541338"/>
                  <a:gd name="connsiteX43" fmla="*/ 747218 w 1122265"/>
                  <a:gd name="connsiteY43" fmla="*/ 164973 h 541338"/>
                  <a:gd name="connsiteX44" fmla="*/ 742222 w 1122265"/>
                  <a:gd name="connsiteY44" fmla="*/ 167115 h 541338"/>
                  <a:gd name="connsiteX45" fmla="*/ 741508 w 1122265"/>
                  <a:gd name="connsiteY45" fmla="*/ 167829 h 541338"/>
                  <a:gd name="connsiteX46" fmla="*/ 737226 w 1122265"/>
                  <a:gd name="connsiteY46" fmla="*/ 169258 h 541338"/>
                  <a:gd name="connsiteX47" fmla="*/ 717957 w 1122265"/>
                  <a:gd name="connsiteY47" fmla="*/ 173543 h 541338"/>
                  <a:gd name="connsiteX48" fmla="*/ 623752 w 1122265"/>
                  <a:gd name="connsiteY48" fmla="*/ 182827 h 541338"/>
                  <a:gd name="connsiteX49" fmla="*/ 742222 w 1122265"/>
                  <a:gd name="connsiteY49" fmla="*/ 199967 h 541338"/>
                  <a:gd name="connsiteX50" fmla="*/ 774337 w 1122265"/>
                  <a:gd name="connsiteY50" fmla="*/ 195682 h 541338"/>
                  <a:gd name="connsiteX51" fmla="*/ 784329 w 1122265"/>
                  <a:gd name="connsiteY51" fmla="*/ 193539 h 541338"/>
                  <a:gd name="connsiteX52" fmla="*/ 785756 w 1122265"/>
                  <a:gd name="connsiteY52" fmla="*/ 192825 h 541338"/>
                  <a:gd name="connsiteX53" fmla="*/ 795747 w 1122265"/>
                  <a:gd name="connsiteY53" fmla="*/ 190683 h 541338"/>
                  <a:gd name="connsiteX54" fmla="*/ 825722 w 1122265"/>
                  <a:gd name="connsiteY54" fmla="*/ 179970 h 541338"/>
                  <a:gd name="connsiteX55" fmla="*/ 908508 w 1122265"/>
                  <a:gd name="connsiteY55" fmla="*/ 127122 h 541338"/>
                  <a:gd name="connsiteX56" fmla="*/ 927064 w 1122265"/>
                  <a:gd name="connsiteY56" fmla="*/ 108553 h 541338"/>
                  <a:gd name="connsiteX57" fmla="*/ 974166 w 1122265"/>
                  <a:gd name="connsiteY57" fmla="*/ 54991 h 541338"/>
                  <a:gd name="connsiteX58" fmla="*/ 977021 w 1122265"/>
                  <a:gd name="connsiteY58" fmla="*/ 51420 h 541338"/>
                  <a:gd name="connsiteX59" fmla="*/ 977734 w 1122265"/>
                  <a:gd name="connsiteY59" fmla="*/ 51420 h 541338"/>
                  <a:gd name="connsiteX60" fmla="*/ 1032687 w 1122265"/>
                  <a:gd name="connsiteY60" fmla="*/ 26424 h 541338"/>
                  <a:gd name="connsiteX61" fmla="*/ 1033401 w 1122265"/>
                  <a:gd name="connsiteY61" fmla="*/ 26424 h 541338"/>
                  <a:gd name="connsiteX62" fmla="*/ 1037683 w 1122265"/>
                  <a:gd name="connsiteY62" fmla="*/ 26424 h 541338"/>
                  <a:gd name="connsiteX63" fmla="*/ 1039111 w 1122265"/>
                  <a:gd name="connsiteY63" fmla="*/ 26424 h 541338"/>
                  <a:gd name="connsiteX64" fmla="*/ 1078363 w 1122265"/>
                  <a:gd name="connsiteY64" fmla="*/ 37137 h 541338"/>
                  <a:gd name="connsiteX65" fmla="*/ 1081931 w 1122265"/>
                  <a:gd name="connsiteY65" fmla="*/ 39279 h 541338"/>
                  <a:gd name="connsiteX66" fmla="*/ 1084786 w 1122265"/>
                  <a:gd name="connsiteY66" fmla="*/ 40708 h 541338"/>
                  <a:gd name="connsiteX67" fmla="*/ 1085499 w 1122265"/>
                  <a:gd name="connsiteY67" fmla="*/ 41422 h 541338"/>
                  <a:gd name="connsiteX68" fmla="*/ 1088354 w 1122265"/>
                  <a:gd name="connsiteY68" fmla="*/ 43564 h 541338"/>
                  <a:gd name="connsiteX69" fmla="*/ 1089068 w 1122265"/>
                  <a:gd name="connsiteY69" fmla="*/ 44278 h 541338"/>
                  <a:gd name="connsiteX70" fmla="*/ 1091209 w 1122265"/>
                  <a:gd name="connsiteY70" fmla="*/ 45707 h 541338"/>
                  <a:gd name="connsiteX71" fmla="*/ 1094063 w 1122265"/>
                  <a:gd name="connsiteY71" fmla="*/ 47849 h 541338"/>
                  <a:gd name="connsiteX72" fmla="*/ 1094063 w 1122265"/>
                  <a:gd name="connsiteY72" fmla="*/ 48563 h 541338"/>
                  <a:gd name="connsiteX73" fmla="*/ 1101914 w 1122265"/>
                  <a:gd name="connsiteY73" fmla="*/ 165687 h 541338"/>
                  <a:gd name="connsiteX74" fmla="*/ 1070512 w 1122265"/>
                  <a:gd name="connsiteY74" fmla="*/ 203538 h 541338"/>
                  <a:gd name="connsiteX75" fmla="*/ 964888 w 1122265"/>
                  <a:gd name="connsiteY75" fmla="*/ 299950 h 541338"/>
                  <a:gd name="connsiteX76" fmla="*/ 955611 w 1122265"/>
                  <a:gd name="connsiteY76" fmla="*/ 306377 h 541338"/>
                  <a:gd name="connsiteX77" fmla="*/ 947046 w 1122265"/>
                  <a:gd name="connsiteY77" fmla="*/ 312091 h 541338"/>
                  <a:gd name="connsiteX78" fmla="*/ 805025 w 1122265"/>
                  <a:gd name="connsiteY78" fmla="*/ 379222 h 541338"/>
                  <a:gd name="connsiteX79" fmla="*/ 791465 w 1122265"/>
                  <a:gd name="connsiteY79" fmla="*/ 383507 h 541338"/>
                  <a:gd name="connsiteX80" fmla="*/ 787183 w 1122265"/>
                  <a:gd name="connsiteY80" fmla="*/ 384222 h 541338"/>
                  <a:gd name="connsiteX81" fmla="*/ 778619 w 1122265"/>
                  <a:gd name="connsiteY81" fmla="*/ 387078 h 541338"/>
                  <a:gd name="connsiteX82" fmla="*/ 772910 w 1122265"/>
                  <a:gd name="connsiteY82" fmla="*/ 388507 h 541338"/>
                  <a:gd name="connsiteX83" fmla="*/ 765059 w 1122265"/>
                  <a:gd name="connsiteY83" fmla="*/ 389935 h 541338"/>
                  <a:gd name="connsiteX84" fmla="*/ 758636 w 1122265"/>
                  <a:gd name="connsiteY84" fmla="*/ 392077 h 541338"/>
                  <a:gd name="connsiteX85" fmla="*/ 752927 w 1122265"/>
                  <a:gd name="connsiteY85" fmla="*/ 392792 h 541338"/>
                  <a:gd name="connsiteX86" fmla="*/ 723666 w 1122265"/>
                  <a:gd name="connsiteY86" fmla="*/ 399219 h 541338"/>
                  <a:gd name="connsiteX87" fmla="*/ 720812 w 1122265"/>
                  <a:gd name="connsiteY87" fmla="*/ 399219 h 541338"/>
                  <a:gd name="connsiteX88" fmla="*/ 710106 w 1122265"/>
                  <a:gd name="connsiteY88" fmla="*/ 401362 h 541338"/>
                  <a:gd name="connsiteX89" fmla="*/ 708679 w 1122265"/>
                  <a:gd name="connsiteY89" fmla="*/ 401362 h 541338"/>
                  <a:gd name="connsiteX90" fmla="*/ 649444 w 1122265"/>
                  <a:gd name="connsiteY90" fmla="*/ 407789 h 541338"/>
                  <a:gd name="connsiteX91" fmla="*/ 647303 w 1122265"/>
                  <a:gd name="connsiteY91" fmla="*/ 407789 h 541338"/>
                  <a:gd name="connsiteX92" fmla="*/ 636598 w 1122265"/>
                  <a:gd name="connsiteY92" fmla="*/ 408503 h 541338"/>
                  <a:gd name="connsiteX93" fmla="*/ 634457 w 1122265"/>
                  <a:gd name="connsiteY93" fmla="*/ 408503 h 541338"/>
                  <a:gd name="connsiteX94" fmla="*/ 620183 w 1122265"/>
                  <a:gd name="connsiteY94" fmla="*/ 408503 h 541338"/>
                  <a:gd name="connsiteX95" fmla="*/ 619470 w 1122265"/>
                  <a:gd name="connsiteY95" fmla="*/ 408503 h 541338"/>
                  <a:gd name="connsiteX96" fmla="*/ 611619 w 1122265"/>
                  <a:gd name="connsiteY96" fmla="*/ 408503 h 541338"/>
                  <a:gd name="connsiteX97" fmla="*/ 605196 w 1122265"/>
                  <a:gd name="connsiteY97" fmla="*/ 408503 h 541338"/>
                  <a:gd name="connsiteX98" fmla="*/ 598060 w 1122265"/>
                  <a:gd name="connsiteY98" fmla="*/ 408503 h 541338"/>
                  <a:gd name="connsiteX99" fmla="*/ 591637 w 1122265"/>
                  <a:gd name="connsiteY99" fmla="*/ 408503 h 541338"/>
                  <a:gd name="connsiteX100" fmla="*/ 583786 w 1122265"/>
                  <a:gd name="connsiteY100" fmla="*/ 407789 h 541338"/>
                  <a:gd name="connsiteX101" fmla="*/ 578077 w 1122265"/>
                  <a:gd name="connsiteY101" fmla="*/ 407789 h 541338"/>
                  <a:gd name="connsiteX102" fmla="*/ 565944 w 1122265"/>
                  <a:gd name="connsiteY102" fmla="*/ 407075 h 541338"/>
                  <a:gd name="connsiteX103" fmla="*/ 565231 w 1122265"/>
                  <a:gd name="connsiteY103" fmla="*/ 407075 h 541338"/>
                  <a:gd name="connsiteX104" fmla="*/ 484585 w 1122265"/>
                  <a:gd name="connsiteY104" fmla="*/ 401362 h 541338"/>
                  <a:gd name="connsiteX105" fmla="*/ 416073 w 1122265"/>
                  <a:gd name="connsiteY105" fmla="*/ 396362 h 541338"/>
                  <a:gd name="connsiteX106" fmla="*/ 410363 w 1122265"/>
                  <a:gd name="connsiteY106" fmla="*/ 396362 h 541338"/>
                  <a:gd name="connsiteX107" fmla="*/ 406795 w 1122265"/>
                  <a:gd name="connsiteY107" fmla="*/ 396362 h 541338"/>
                  <a:gd name="connsiteX108" fmla="*/ 392521 w 1122265"/>
                  <a:gd name="connsiteY108" fmla="*/ 397791 h 541338"/>
                  <a:gd name="connsiteX109" fmla="*/ 388239 w 1122265"/>
                  <a:gd name="connsiteY109" fmla="*/ 398505 h 541338"/>
                  <a:gd name="connsiteX110" fmla="*/ 388239 w 1122265"/>
                  <a:gd name="connsiteY110" fmla="*/ 399219 h 541338"/>
                  <a:gd name="connsiteX111" fmla="*/ 383957 w 1122265"/>
                  <a:gd name="connsiteY111" fmla="*/ 399933 h 541338"/>
                  <a:gd name="connsiteX112" fmla="*/ 383244 w 1122265"/>
                  <a:gd name="connsiteY112" fmla="*/ 400647 h 541338"/>
                  <a:gd name="connsiteX113" fmla="*/ 378961 w 1122265"/>
                  <a:gd name="connsiteY113" fmla="*/ 402076 h 541338"/>
                  <a:gd name="connsiteX114" fmla="*/ 21410 w 1122265"/>
                  <a:gd name="connsiteY114" fmla="*/ 540624 h 541338"/>
                  <a:gd name="connsiteX115" fmla="*/ 15701 w 1122265"/>
                  <a:gd name="connsiteY115" fmla="*/ 541338 h 541338"/>
                  <a:gd name="connsiteX116" fmla="*/ 7137 w 1122265"/>
                  <a:gd name="connsiteY116" fmla="*/ 538481 h 541338"/>
                  <a:gd name="connsiteX117" fmla="*/ 0 w 1122265"/>
                  <a:gd name="connsiteY117" fmla="*/ 525626 h 541338"/>
                  <a:gd name="connsiteX118" fmla="*/ 0 w 1122265"/>
                  <a:gd name="connsiteY118" fmla="*/ 209251 h 541338"/>
                  <a:gd name="connsiteX119" fmla="*/ 7851 w 1122265"/>
                  <a:gd name="connsiteY119" fmla="*/ 195682 h 541338"/>
                  <a:gd name="connsiteX120" fmla="*/ 309735 w 1122265"/>
                  <a:gd name="connsiteY120" fmla="*/ 24282 h 541338"/>
                  <a:gd name="connsiteX121" fmla="*/ 315444 w 1122265"/>
                  <a:gd name="connsiteY121" fmla="*/ 21425 h 541338"/>
                  <a:gd name="connsiteX122" fmla="*/ 317585 w 1122265"/>
                  <a:gd name="connsiteY122" fmla="*/ 19997 h 541338"/>
                  <a:gd name="connsiteX123" fmla="*/ 320440 w 1122265"/>
                  <a:gd name="connsiteY123" fmla="*/ 18568 h 541338"/>
                  <a:gd name="connsiteX124" fmla="*/ 324009 w 1122265"/>
                  <a:gd name="connsiteY124" fmla="*/ 17140 h 541338"/>
                  <a:gd name="connsiteX125" fmla="*/ 326150 w 1122265"/>
                  <a:gd name="connsiteY125" fmla="*/ 15712 h 541338"/>
                  <a:gd name="connsiteX126" fmla="*/ 329718 w 1122265"/>
                  <a:gd name="connsiteY126" fmla="*/ 14283 h 541338"/>
                  <a:gd name="connsiteX127" fmla="*/ 331859 w 1122265"/>
                  <a:gd name="connsiteY127" fmla="*/ 13569 h 541338"/>
                  <a:gd name="connsiteX128" fmla="*/ 336141 w 1122265"/>
                  <a:gd name="connsiteY128" fmla="*/ 12141 h 541338"/>
                  <a:gd name="connsiteX129" fmla="*/ 337568 w 1122265"/>
                  <a:gd name="connsiteY129" fmla="*/ 11427 h 541338"/>
                  <a:gd name="connsiteX130" fmla="*/ 341850 w 1122265"/>
                  <a:gd name="connsiteY130" fmla="*/ 9998 h 541338"/>
                  <a:gd name="connsiteX131" fmla="*/ 342564 w 1122265"/>
                  <a:gd name="connsiteY131" fmla="*/ 9284 h 541338"/>
                  <a:gd name="connsiteX132" fmla="*/ 347560 w 1122265"/>
                  <a:gd name="connsiteY132" fmla="*/ 7856 h 541338"/>
                  <a:gd name="connsiteX133" fmla="*/ 348273 w 1122265"/>
                  <a:gd name="connsiteY133" fmla="*/ 7856 h 541338"/>
                  <a:gd name="connsiteX134" fmla="*/ 381816 w 1122265"/>
                  <a:gd name="connsiteY134" fmla="*/ 714 h 541338"/>
                  <a:gd name="connsiteX135" fmla="*/ 383244 w 1122265"/>
                  <a:gd name="connsiteY135" fmla="*/ 714 h 541338"/>
                  <a:gd name="connsiteX136" fmla="*/ 386812 w 1122265"/>
                  <a:gd name="connsiteY136" fmla="*/ 714 h 541338"/>
                  <a:gd name="connsiteX137" fmla="*/ 389667 w 1122265"/>
                  <a:gd name="connsiteY137" fmla="*/ 0 h 54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</a:cxnLst>
                <a:rect l="l" t="t" r="r" b="b"/>
                <a:pathLst>
                  <a:path w="1122265" h="541338">
                    <a:moveTo>
                      <a:pt x="408151" y="31591"/>
                    </a:moveTo>
                    <a:cubicBezTo>
                      <a:pt x="378855" y="30162"/>
                      <a:pt x="349559" y="37308"/>
                      <a:pt x="324550" y="51601"/>
                    </a:cubicBezTo>
                    <a:cubicBezTo>
                      <a:pt x="324550" y="51601"/>
                      <a:pt x="324550" y="51601"/>
                      <a:pt x="30162" y="218820"/>
                    </a:cubicBezTo>
                    <a:cubicBezTo>
                      <a:pt x="30162" y="218820"/>
                      <a:pt x="30162" y="218820"/>
                      <a:pt x="30162" y="503237"/>
                    </a:cubicBezTo>
                    <a:cubicBezTo>
                      <a:pt x="30162" y="503237"/>
                      <a:pt x="30162" y="503237"/>
                      <a:pt x="366708" y="373177"/>
                    </a:cubicBezTo>
                    <a:cubicBezTo>
                      <a:pt x="383142" y="366746"/>
                      <a:pt x="400291" y="363887"/>
                      <a:pt x="417440" y="365316"/>
                    </a:cubicBezTo>
                    <a:cubicBezTo>
                      <a:pt x="417440" y="365316"/>
                      <a:pt x="417440" y="365316"/>
                      <a:pt x="566778" y="376036"/>
                    </a:cubicBezTo>
                    <a:cubicBezTo>
                      <a:pt x="643947" y="381753"/>
                      <a:pt x="721117" y="372463"/>
                      <a:pt x="795429" y="349595"/>
                    </a:cubicBezTo>
                    <a:cubicBezTo>
                      <a:pt x="893320" y="318867"/>
                      <a:pt x="979779" y="261697"/>
                      <a:pt x="1046230" y="183090"/>
                    </a:cubicBezTo>
                    <a:cubicBezTo>
                      <a:pt x="1046230" y="183090"/>
                      <a:pt x="1046230" y="183090"/>
                      <a:pt x="1078384" y="145930"/>
                    </a:cubicBezTo>
                    <a:cubicBezTo>
                      <a:pt x="1096962" y="123777"/>
                      <a:pt x="1094819" y="90904"/>
                      <a:pt x="1073383" y="71610"/>
                    </a:cubicBezTo>
                    <a:cubicBezTo>
                      <a:pt x="1062665" y="62320"/>
                      <a:pt x="1049088" y="57317"/>
                      <a:pt x="1034798" y="58032"/>
                    </a:cubicBezTo>
                    <a:cubicBezTo>
                      <a:pt x="1020507" y="58747"/>
                      <a:pt x="1006931" y="65178"/>
                      <a:pt x="997642" y="75897"/>
                    </a:cubicBezTo>
                    <a:cubicBezTo>
                      <a:pt x="997642" y="75897"/>
                      <a:pt x="997642" y="75897"/>
                      <a:pt x="949768" y="129494"/>
                    </a:cubicBezTo>
                    <a:cubicBezTo>
                      <a:pt x="911183" y="173800"/>
                      <a:pt x="860451" y="205243"/>
                      <a:pt x="804003" y="220964"/>
                    </a:cubicBezTo>
                    <a:cubicBezTo>
                      <a:pt x="738980" y="239544"/>
                      <a:pt x="668956" y="235257"/>
                      <a:pt x="606792" y="210245"/>
                    </a:cubicBezTo>
                    <a:cubicBezTo>
                      <a:pt x="606792" y="210245"/>
                      <a:pt x="606792" y="210245"/>
                      <a:pt x="551772" y="188092"/>
                    </a:cubicBezTo>
                    <a:cubicBezTo>
                      <a:pt x="545342" y="185234"/>
                      <a:pt x="541054" y="178802"/>
                      <a:pt x="542483" y="171656"/>
                    </a:cubicBezTo>
                    <a:cubicBezTo>
                      <a:pt x="543198" y="164510"/>
                      <a:pt x="548914" y="158793"/>
                      <a:pt x="556060" y="158078"/>
                    </a:cubicBezTo>
                    <a:cubicBezTo>
                      <a:pt x="556060" y="158078"/>
                      <a:pt x="556060" y="158078"/>
                      <a:pt x="713972" y="142357"/>
                    </a:cubicBezTo>
                    <a:cubicBezTo>
                      <a:pt x="738980" y="140213"/>
                      <a:pt x="757558" y="119489"/>
                      <a:pt x="757558" y="95192"/>
                    </a:cubicBezTo>
                    <a:cubicBezTo>
                      <a:pt x="757558" y="69466"/>
                      <a:pt x="737551" y="48742"/>
                      <a:pt x="711828" y="47313"/>
                    </a:cubicBezTo>
                    <a:cubicBezTo>
                      <a:pt x="711828" y="47313"/>
                      <a:pt x="711828" y="47313"/>
                      <a:pt x="408151" y="31591"/>
                    </a:cubicBezTo>
                    <a:close/>
                    <a:moveTo>
                      <a:pt x="389667" y="0"/>
                    </a:moveTo>
                    <a:cubicBezTo>
                      <a:pt x="391094" y="0"/>
                      <a:pt x="391808" y="0"/>
                      <a:pt x="393235" y="0"/>
                    </a:cubicBezTo>
                    <a:cubicBezTo>
                      <a:pt x="393949" y="0"/>
                      <a:pt x="395376" y="0"/>
                      <a:pt x="396090" y="0"/>
                    </a:cubicBezTo>
                    <a:cubicBezTo>
                      <a:pt x="397517" y="0"/>
                      <a:pt x="398231" y="0"/>
                      <a:pt x="398944" y="0"/>
                    </a:cubicBezTo>
                    <a:cubicBezTo>
                      <a:pt x="400372" y="0"/>
                      <a:pt x="401085" y="0"/>
                      <a:pt x="402513" y="0"/>
                    </a:cubicBezTo>
                    <a:cubicBezTo>
                      <a:pt x="404654" y="0"/>
                      <a:pt x="407508" y="0"/>
                      <a:pt x="410363" y="0"/>
                    </a:cubicBezTo>
                    <a:cubicBezTo>
                      <a:pt x="410363" y="0"/>
                      <a:pt x="410363" y="0"/>
                      <a:pt x="714389" y="15712"/>
                    </a:cubicBezTo>
                    <a:cubicBezTo>
                      <a:pt x="742222" y="17140"/>
                      <a:pt x="765773" y="33566"/>
                      <a:pt x="779333" y="56419"/>
                    </a:cubicBezTo>
                    <a:cubicBezTo>
                      <a:pt x="780047" y="57848"/>
                      <a:pt x="780760" y="59276"/>
                      <a:pt x="781474" y="60704"/>
                    </a:cubicBezTo>
                    <a:cubicBezTo>
                      <a:pt x="784329" y="66418"/>
                      <a:pt x="786470" y="72845"/>
                      <a:pt x="787897" y="79273"/>
                    </a:cubicBezTo>
                    <a:cubicBezTo>
                      <a:pt x="788611" y="84272"/>
                      <a:pt x="789324" y="89271"/>
                      <a:pt x="789324" y="94984"/>
                    </a:cubicBezTo>
                    <a:cubicBezTo>
                      <a:pt x="789324" y="97127"/>
                      <a:pt x="789324" y="98555"/>
                      <a:pt x="788611" y="100698"/>
                    </a:cubicBezTo>
                    <a:cubicBezTo>
                      <a:pt x="788611" y="100698"/>
                      <a:pt x="788611" y="101412"/>
                      <a:pt x="788611" y="101412"/>
                    </a:cubicBezTo>
                    <a:cubicBezTo>
                      <a:pt x="788611" y="103554"/>
                      <a:pt x="788611" y="104983"/>
                      <a:pt x="787897" y="107125"/>
                    </a:cubicBezTo>
                    <a:cubicBezTo>
                      <a:pt x="785042" y="125693"/>
                      <a:pt x="775765" y="142119"/>
                      <a:pt x="762918" y="154260"/>
                    </a:cubicBezTo>
                    <a:cubicBezTo>
                      <a:pt x="762918" y="154260"/>
                      <a:pt x="762205" y="154260"/>
                      <a:pt x="762205" y="154260"/>
                    </a:cubicBezTo>
                    <a:cubicBezTo>
                      <a:pt x="760777" y="155688"/>
                      <a:pt x="759350" y="156403"/>
                      <a:pt x="757923" y="157831"/>
                    </a:cubicBezTo>
                    <a:cubicBezTo>
                      <a:pt x="756495" y="159259"/>
                      <a:pt x="755068" y="159973"/>
                      <a:pt x="753641" y="160688"/>
                    </a:cubicBezTo>
                    <a:cubicBezTo>
                      <a:pt x="752927" y="161402"/>
                      <a:pt x="752927" y="161402"/>
                      <a:pt x="752927" y="161402"/>
                    </a:cubicBezTo>
                    <a:cubicBezTo>
                      <a:pt x="751500" y="162116"/>
                      <a:pt x="750072" y="163544"/>
                      <a:pt x="748645" y="164258"/>
                    </a:cubicBezTo>
                    <a:cubicBezTo>
                      <a:pt x="747931" y="164258"/>
                      <a:pt x="747218" y="164258"/>
                      <a:pt x="747218" y="164973"/>
                    </a:cubicBezTo>
                    <a:cubicBezTo>
                      <a:pt x="745790" y="165687"/>
                      <a:pt x="744363" y="166401"/>
                      <a:pt x="742222" y="167115"/>
                    </a:cubicBezTo>
                    <a:cubicBezTo>
                      <a:pt x="742222" y="167115"/>
                      <a:pt x="741508" y="167115"/>
                      <a:pt x="741508" y="167829"/>
                    </a:cubicBezTo>
                    <a:cubicBezTo>
                      <a:pt x="740081" y="167829"/>
                      <a:pt x="738653" y="168543"/>
                      <a:pt x="737226" y="169258"/>
                    </a:cubicBezTo>
                    <a:cubicBezTo>
                      <a:pt x="730803" y="171400"/>
                      <a:pt x="724380" y="172828"/>
                      <a:pt x="717957" y="173543"/>
                    </a:cubicBezTo>
                    <a:cubicBezTo>
                      <a:pt x="717957" y="173543"/>
                      <a:pt x="717957" y="173543"/>
                      <a:pt x="623752" y="182827"/>
                    </a:cubicBezTo>
                    <a:cubicBezTo>
                      <a:pt x="661577" y="197110"/>
                      <a:pt x="702256" y="202823"/>
                      <a:pt x="742222" y="199967"/>
                    </a:cubicBezTo>
                    <a:cubicBezTo>
                      <a:pt x="752927" y="199253"/>
                      <a:pt x="763632" y="197824"/>
                      <a:pt x="774337" y="195682"/>
                    </a:cubicBezTo>
                    <a:cubicBezTo>
                      <a:pt x="777906" y="194968"/>
                      <a:pt x="780760" y="194253"/>
                      <a:pt x="784329" y="193539"/>
                    </a:cubicBezTo>
                    <a:cubicBezTo>
                      <a:pt x="785042" y="193539"/>
                      <a:pt x="785042" y="193539"/>
                      <a:pt x="785756" y="192825"/>
                    </a:cubicBezTo>
                    <a:cubicBezTo>
                      <a:pt x="789324" y="192111"/>
                      <a:pt x="792179" y="191397"/>
                      <a:pt x="795747" y="190683"/>
                    </a:cubicBezTo>
                    <a:cubicBezTo>
                      <a:pt x="805739" y="187826"/>
                      <a:pt x="815730" y="184255"/>
                      <a:pt x="825722" y="179970"/>
                    </a:cubicBezTo>
                    <a:cubicBezTo>
                      <a:pt x="856410" y="167829"/>
                      <a:pt x="884243" y="149975"/>
                      <a:pt x="908508" y="127122"/>
                    </a:cubicBezTo>
                    <a:cubicBezTo>
                      <a:pt x="914931" y="121408"/>
                      <a:pt x="920641" y="114981"/>
                      <a:pt x="927064" y="108553"/>
                    </a:cubicBezTo>
                    <a:cubicBezTo>
                      <a:pt x="927064" y="108553"/>
                      <a:pt x="927064" y="108553"/>
                      <a:pt x="974166" y="54991"/>
                    </a:cubicBezTo>
                    <a:cubicBezTo>
                      <a:pt x="975593" y="53563"/>
                      <a:pt x="976307" y="52848"/>
                      <a:pt x="977021" y="51420"/>
                    </a:cubicBezTo>
                    <a:cubicBezTo>
                      <a:pt x="977734" y="51420"/>
                      <a:pt x="977734" y="51420"/>
                      <a:pt x="977734" y="51420"/>
                    </a:cubicBezTo>
                    <a:cubicBezTo>
                      <a:pt x="992722" y="36423"/>
                      <a:pt x="1011991" y="27853"/>
                      <a:pt x="1032687" y="26424"/>
                    </a:cubicBezTo>
                    <a:cubicBezTo>
                      <a:pt x="1033401" y="26424"/>
                      <a:pt x="1033401" y="26424"/>
                      <a:pt x="1033401" y="26424"/>
                    </a:cubicBezTo>
                    <a:cubicBezTo>
                      <a:pt x="1034828" y="26424"/>
                      <a:pt x="1036256" y="26424"/>
                      <a:pt x="1037683" y="26424"/>
                    </a:cubicBezTo>
                    <a:cubicBezTo>
                      <a:pt x="1037683" y="26424"/>
                      <a:pt x="1038397" y="26424"/>
                      <a:pt x="1039111" y="26424"/>
                    </a:cubicBezTo>
                    <a:cubicBezTo>
                      <a:pt x="1052670" y="26424"/>
                      <a:pt x="1066230" y="30709"/>
                      <a:pt x="1078363" y="37137"/>
                    </a:cubicBezTo>
                    <a:cubicBezTo>
                      <a:pt x="1079790" y="37851"/>
                      <a:pt x="1080504" y="38565"/>
                      <a:pt x="1081931" y="39279"/>
                    </a:cubicBezTo>
                    <a:cubicBezTo>
                      <a:pt x="1083358" y="39993"/>
                      <a:pt x="1084072" y="40708"/>
                      <a:pt x="1084786" y="40708"/>
                    </a:cubicBezTo>
                    <a:cubicBezTo>
                      <a:pt x="1085499" y="41422"/>
                      <a:pt x="1085499" y="41422"/>
                      <a:pt x="1085499" y="41422"/>
                    </a:cubicBezTo>
                    <a:cubicBezTo>
                      <a:pt x="1086213" y="42136"/>
                      <a:pt x="1087640" y="42850"/>
                      <a:pt x="1088354" y="43564"/>
                    </a:cubicBezTo>
                    <a:cubicBezTo>
                      <a:pt x="1088354" y="43564"/>
                      <a:pt x="1089068" y="44278"/>
                      <a:pt x="1089068" y="44278"/>
                    </a:cubicBezTo>
                    <a:cubicBezTo>
                      <a:pt x="1089781" y="44993"/>
                      <a:pt x="1090495" y="44993"/>
                      <a:pt x="1091209" y="45707"/>
                    </a:cubicBezTo>
                    <a:cubicBezTo>
                      <a:pt x="1091922" y="46421"/>
                      <a:pt x="1092636" y="47135"/>
                      <a:pt x="1094063" y="47849"/>
                    </a:cubicBezTo>
                    <a:cubicBezTo>
                      <a:pt x="1094063" y="47849"/>
                      <a:pt x="1094063" y="48563"/>
                      <a:pt x="1094063" y="48563"/>
                    </a:cubicBezTo>
                    <a:cubicBezTo>
                      <a:pt x="1128320" y="79273"/>
                      <a:pt x="1131888" y="130693"/>
                      <a:pt x="1101914" y="165687"/>
                    </a:cubicBezTo>
                    <a:cubicBezTo>
                      <a:pt x="1101914" y="165687"/>
                      <a:pt x="1101914" y="165687"/>
                      <a:pt x="1070512" y="203538"/>
                    </a:cubicBezTo>
                    <a:cubicBezTo>
                      <a:pt x="1039111" y="239960"/>
                      <a:pt x="1003427" y="272812"/>
                      <a:pt x="964888" y="299950"/>
                    </a:cubicBezTo>
                    <a:cubicBezTo>
                      <a:pt x="962034" y="302092"/>
                      <a:pt x="958465" y="304235"/>
                      <a:pt x="955611" y="306377"/>
                    </a:cubicBezTo>
                    <a:cubicBezTo>
                      <a:pt x="952756" y="308520"/>
                      <a:pt x="949901" y="310662"/>
                      <a:pt x="947046" y="312091"/>
                    </a:cubicBezTo>
                    <a:cubicBezTo>
                      <a:pt x="903512" y="340657"/>
                      <a:pt x="855696" y="363511"/>
                      <a:pt x="805025" y="379222"/>
                    </a:cubicBezTo>
                    <a:cubicBezTo>
                      <a:pt x="800743" y="380651"/>
                      <a:pt x="796461" y="382079"/>
                      <a:pt x="791465" y="383507"/>
                    </a:cubicBezTo>
                    <a:cubicBezTo>
                      <a:pt x="790038" y="383507"/>
                      <a:pt x="788611" y="384222"/>
                      <a:pt x="787183" y="384222"/>
                    </a:cubicBezTo>
                    <a:cubicBezTo>
                      <a:pt x="784329" y="384936"/>
                      <a:pt x="781474" y="386364"/>
                      <a:pt x="778619" y="387078"/>
                    </a:cubicBezTo>
                    <a:cubicBezTo>
                      <a:pt x="776478" y="387078"/>
                      <a:pt x="774337" y="387792"/>
                      <a:pt x="772910" y="388507"/>
                    </a:cubicBezTo>
                    <a:cubicBezTo>
                      <a:pt x="770055" y="389221"/>
                      <a:pt x="767914" y="389221"/>
                      <a:pt x="765059" y="389935"/>
                    </a:cubicBezTo>
                    <a:cubicBezTo>
                      <a:pt x="762918" y="390649"/>
                      <a:pt x="760777" y="391363"/>
                      <a:pt x="758636" y="392077"/>
                    </a:cubicBezTo>
                    <a:cubicBezTo>
                      <a:pt x="756495" y="392077"/>
                      <a:pt x="755068" y="392792"/>
                      <a:pt x="752927" y="392792"/>
                    </a:cubicBezTo>
                    <a:cubicBezTo>
                      <a:pt x="742936" y="394934"/>
                      <a:pt x="732944" y="397077"/>
                      <a:pt x="723666" y="399219"/>
                    </a:cubicBezTo>
                    <a:cubicBezTo>
                      <a:pt x="722239" y="399219"/>
                      <a:pt x="721525" y="399219"/>
                      <a:pt x="720812" y="399219"/>
                    </a:cubicBezTo>
                    <a:cubicBezTo>
                      <a:pt x="717243" y="399933"/>
                      <a:pt x="713675" y="400647"/>
                      <a:pt x="710106" y="401362"/>
                    </a:cubicBezTo>
                    <a:cubicBezTo>
                      <a:pt x="709393" y="401362"/>
                      <a:pt x="709393" y="401362"/>
                      <a:pt x="708679" y="401362"/>
                    </a:cubicBezTo>
                    <a:cubicBezTo>
                      <a:pt x="688696" y="404218"/>
                      <a:pt x="669427" y="406361"/>
                      <a:pt x="649444" y="407789"/>
                    </a:cubicBezTo>
                    <a:cubicBezTo>
                      <a:pt x="648730" y="407789"/>
                      <a:pt x="648017" y="407789"/>
                      <a:pt x="647303" y="407789"/>
                    </a:cubicBezTo>
                    <a:cubicBezTo>
                      <a:pt x="643735" y="407789"/>
                      <a:pt x="640166" y="407789"/>
                      <a:pt x="636598" y="408503"/>
                    </a:cubicBezTo>
                    <a:cubicBezTo>
                      <a:pt x="635884" y="408503"/>
                      <a:pt x="635171" y="408503"/>
                      <a:pt x="634457" y="408503"/>
                    </a:cubicBezTo>
                    <a:cubicBezTo>
                      <a:pt x="629461" y="408503"/>
                      <a:pt x="625179" y="408503"/>
                      <a:pt x="620183" y="408503"/>
                    </a:cubicBezTo>
                    <a:cubicBezTo>
                      <a:pt x="620183" y="408503"/>
                      <a:pt x="619470" y="408503"/>
                      <a:pt x="619470" y="408503"/>
                    </a:cubicBezTo>
                    <a:cubicBezTo>
                      <a:pt x="616615" y="408503"/>
                      <a:pt x="613760" y="408503"/>
                      <a:pt x="611619" y="408503"/>
                    </a:cubicBezTo>
                    <a:cubicBezTo>
                      <a:pt x="609478" y="408503"/>
                      <a:pt x="607337" y="408503"/>
                      <a:pt x="605196" y="408503"/>
                    </a:cubicBezTo>
                    <a:cubicBezTo>
                      <a:pt x="603055" y="408503"/>
                      <a:pt x="600201" y="408503"/>
                      <a:pt x="598060" y="408503"/>
                    </a:cubicBezTo>
                    <a:cubicBezTo>
                      <a:pt x="595919" y="408503"/>
                      <a:pt x="593778" y="408503"/>
                      <a:pt x="591637" y="408503"/>
                    </a:cubicBezTo>
                    <a:cubicBezTo>
                      <a:pt x="588782" y="408503"/>
                      <a:pt x="586641" y="408503"/>
                      <a:pt x="583786" y="407789"/>
                    </a:cubicBezTo>
                    <a:cubicBezTo>
                      <a:pt x="581645" y="407789"/>
                      <a:pt x="580218" y="407789"/>
                      <a:pt x="578077" y="407789"/>
                    </a:cubicBezTo>
                    <a:cubicBezTo>
                      <a:pt x="574508" y="407789"/>
                      <a:pt x="570226" y="407075"/>
                      <a:pt x="565944" y="407075"/>
                    </a:cubicBezTo>
                    <a:cubicBezTo>
                      <a:pt x="565944" y="407075"/>
                      <a:pt x="565231" y="407075"/>
                      <a:pt x="565231" y="407075"/>
                    </a:cubicBezTo>
                    <a:cubicBezTo>
                      <a:pt x="565231" y="407075"/>
                      <a:pt x="565231" y="407075"/>
                      <a:pt x="484585" y="401362"/>
                    </a:cubicBezTo>
                    <a:cubicBezTo>
                      <a:pt x="484585" y="401362"/>
                      <a:pt x="484585" y="401362"/>
                      <a:pt x="416073" y="396362"/>
                    </a:cubicBezTo>
                    <a:cubicBezTo>
                      <a:pt x="414645" y="396362"/>
                      <a:pt x="412504" y="396362"/>
                      <a:pt x="410363" y="396362"/>
                    </a:cubicBezTo>
                    <a:cubicBezTo>
                      <a:pt x="409649" y="396362"/>
                      <a:pt x="408222" y="396362"/>
                      <a:pt x="406795" y="396362"/>
                    </a:cubicBezTo>
                    <a:cubicBezTo>
                      <a:pt x="401799" y="396362"/>
                      <a:pt x="397517" y="397077"/>
                      <a:pt x="392521" y="397791"/>
                    </a:cubicBezTo>
                    <a:cubicBezTo>
                      <a:pt x="391094" y="398505"/>
                      <a:pt x="389667" y="398505"/>
                      <a:pt x="388239" y="398505"/>
                    </a:cubicBezTo>
                    <a:cubicBezTo>
                      <a:pt x="388239" y="399219"/>
                      <a:pt x="388239" y="399219"/>
                      <a:pt x="388239" y="399219"/>
                    </a:cubicBezTo>
                    <a:cubicBezTo>
                      <a:pt x="386812" y="399219"/>
                      <a:pt x="385385" y="399933"/>
                      <a:pt x="383957" y="399933"/>
                    </a:cubicBezTo>
                    <a:cubicBezTo>
                      <a:pt x="383957" y="399933"/>
                      <a:pt x="383957" y="399933"/>
                      <a:pt x="383244" y="400647"/>
                    </a:cubicBezTo>
                    <a:cubicBezTo>
                      <a:pt x="381816" y="400647"/>
                      <a:pt x="380389" y="401362"/>
                      <a:pt x="378961" y="402076"/>
                    </a:cubicBezTo>
                    <a:cubicBezTo>
                      <a:pt x="378961" y="402076"/>
                      <a:pt x="378961" y="402076"/>
                      <a:pt x="21410" y="540624"/>
                    </a:cubicBezTo>
                    <a:cubicBezTo>
                      <a:pt x="19983" y="541338"/>
                      <a:pt x="17842" y="541338"/>
                      <a:pt x="15701" y="541338"/>
                    </a:cubicBezTo>
                    <a:cubicBezTo>
                      <a:pt x="12846" y="541338"/>
                      <a:pt x="9992" y="540624"/>
                      <a:pt x="7137" y="538481"/>
                    </a:cubicBezTo>
                    <a:cubicBezTo>
                      <a:pt x="2855" y="535625"/>
                      <a:pt x="0" y="530626"/>
                      <a:pt x="0" y="525626"/>
                    </a:cubicBezTo>
                    <a:cubicBezTo>
                      <a:pt x="0" y="525626"/>
                      <a:pt x="0" y="525626"/>
                      <a:pt x="0" y="209251"/>
                    </a:cubicBezTo>
                    <a:cubicBezTo>
                      <a:pt x="0" y="203538"/>
                      <a:pt x="3569" y="198538"/>
                      <a:pt x="7851" y="195682"/>
                    </a:cubicBezTo>
                    <a:cubicBezTo>
                      <a:pt x="7851" y="195682"/>
                      <a:pt x="7851" y="195682"/>
                      <a:pt x="309735" y="24282"/>
                    </a:cubicBezTo>
                    <a:cubicBezTo>
                      <a:pt x="311162" y="22853"/>
                      <a:pt x="313303" y="22139"/>
                      <a:pt x="315444" y="21425"/>
                    </a:cubicBezTo>
                    <a:cubicBezTo>
                      <a:pt x="316158" y="20711"/>
                      <a:pt x="316872" y="20711"/>
                      <a:pt x="317585" y="19997"/>
                    </a:cubicBezTo>
                    <a:cubicBezTo>
                      <a:pt x="318299" y="19283"/>
                      <a:pt x="319726" y="18568"/>
                      <a:pt x="320440" y="18568"/>
                    </a:cubicBezTo>
                    <a:cubicBezTo>
                      <a:pt x="321868" y="17854"/>
                      <a:pt x="322581" y="17140"/>
                      <a:pt x="324009" y="17140"/>
                    </a:cubicBezTo>
                    <a:cubicBezTo>
                      <a:pt x="324722" y="16426"/>
                      <a:pt x="325436" y="16426"/>
                      <a:pt x="326150" y="15712"/>
                    </a:cubicBezTo>
                    <a:cubicBezTo>
                      <a:pt x="327577" y="14998"/>
                      <a:pt x="329004" y="14998"/>
                      <a:pt x="329718" y="14283"/>
                    </a:cubicBezTo>
                    <a:cubicBezTo>
                      <a:pt x="330432" y="14283"/>
                      <a:pt x="331145" y="13569"/>
                      <a:pt x="331859" y="13569"/>
                    </a:cubicBezTo>
                    <a:cubicBezTo>
                      <a:pt x="333286" y="12855"/>
                      <a:pt x="334714" y="12141"/>
                      <a:pt x="336141" y="12141"/>
                    </a:cubicBezTo>
                    <a:cubicBezTo>
                      <a:pt x="336141" y="11427"/>
                      <a:pt x="336855" y="11427"/>
                      <a:pt x="337568" y="11427"/>
                    </a:cubicBezTo>
                    <a:cubicBezTo>
                      <a:pt x="338996" y="10713"/>
                      <a:pt x="340423" y="9998"/>
                      <a:pt x="341850" y="9998"/>
                    </a:cubicBezTo>
                    <a:cubicBezTo>
                      <a:pt x="342564" y="9284"/>
                      <a:pt x="342564" y="9284"/>
                      <a:pt x="342564" y="9284"/>
                    </a:cubicBezTo>
                    <a:cubicBezTo>
                      <a:pt x="344705" y="8570"/>
                      <a:pt x="346132" y="8570"/>
                      <a:pt x="347560" y="7856"/>
                    </a:cubicBezTo>
                    <a:cubicBezTo>
                      <a:pt x="348273" y="7856"/>
                      <a:pt x="348273" y="7856"/>
                      <a:pt x="348273" y="7856"/>
                    </a:cubicBezTo>
                    <a:cubicBezTo>
                      <a:pt x="359692" y="4285"/>
                      <a:pt x="370397" y="2143"/>
                      <a:pt x="381816" y="714"/>
                    </a:cubicBezTo>
                    <a:cubicBezTo>
                      <a:pt x="382530" y="714"/>
                      <a:pt x="383244" y="714"/>
                      <a:pt x="383244" y="714"/>
                    </a:cubicBezTo>
                    <a:cubicBezTo>
                      <a:pt x="384671" y="714"/>
                      <a:pt x="386098" y="714"/>
                      <a:pt x="386812" y="714"/>
                    </a:cubicBezTo>
                    <a:cubicBezTo>
                      <a:pt x="388239" y="714"/>
                      <a:pt x="388953" y="714"/>
                      <a:pt x="389667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0" name="Group 49"/>
          <p:cNvGrpSpPr>
            <a:grpSpLocks noChangeAspect="1"/>
          </p:cNvGrpSpPr>
          <p:nvPr/>
        </p:nvGrpSpPr>
        <p:grpSpPr>
          <a:xfrm>
            <a:off x="8320667" y="2152591"/>
            <a:ext cx="362562" cy="362562"/>
            <a:chOff x="5273675" y="2606675"/>
            <a:chExt cx="1644650" cy="1644650"/>
          </a:xfrm>
        </p:grpSpPr>
        <p:sp>
          <p:nvSpPr>
            <p:cNvPr id="51" name="AutoShape 71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5791200" y="2790825"/>
              <a:ext cx="608013" cy="1306513"/>
              <a:chOff x="5791200" y="2790825"/>
              <a:chExt cx="608013" cy="1306513"/>
            </a:xfrm>
          </p:grpSpPr>
          <p:sp>
            <p:nvSpPr>
              <p:cNvPr id="53" name="Freeform 52"/>
              <p:cNvSpPr>
                <a:spLocks noChangeArrowheads="1"/>
              </p:cNvSpPr>
              <p:nvPr/>
            </p:nvSpPr>
            <p:spPr bwMode="auto">
              <a:xfrm>
                <a:off x="5791200" y="2925762"/>
                <a:ext cx="608013" cy="819151"/>
              </a:xfrm>
              <a:custGeom>
                <a:avLst/>
                <a:gdLst>
                  <a:gd name="connsiteX0" fmla="*/ 488950 w 608013"/>
                  <a:gd name="connsiteY0" fmla="*/ 703263 h 819151"/>
                  <a:gd name="connsiteX1" fmla="*/ 608013 w 608013"/>
                  <a:gd name="connsiteY1" fmla="*/ 703263 h 819151"/>
                  <a:gd name="connsiteX2" fmla="*/ 608013 w 608013"/>
                  <a:gd name="connsiteY2" fmla="*/ 768351 h 819151"/>
                  <a:gd name="connsiteX3" fmla="*/ 506413 w 608013"/>
                  <a:gd name="connsiteY3" fmla="*/ 768351 h 819151"/>
                  <a:gd name="connsiteX4" fmla="*/ 0 w 608013"/>
                  <a:gd name="connsiteY4" fmla="*/ 703263 h 819151"/>
                  <a:gd name="connsiteX5" fmla="*/ 119063 w 608013"/>
                  <a:gd name="connsiteY5" fmla="*/ 703263 h 819151"/>
                  <a:gd name="connsiteX6" fmla="*/ 100013 w 608013"/>
                  <a:gd name="connsiteY6" fmla="*/ 768351 h 819151"/>
                  <a:gd name="connsiteX7" fmla="*/ 0 w 608013"/>
                  <a:gd name="connsiteY7" fmla="*/ 768351 h 819151"/>
                  <a:gd name="connsiteX8" fmla="*/ 269875 w 608013"/>
                  <a:gd name="connsiteY8" fmla="*/ 652463 h 819151"/>
                  <a:gd name="connsiteX9" fmla="*/ 336551 w 608013"/>
                  <a:gd name="connsiteY9" fmla="*/ 652463 h 819151"/>
                  <a:gd name="connsiteX10" fmla="*/ 336551 w 608013"/>
                  <a:gd name="connsiteY10" fmla="*/ 703263 h 819151"/>
                  <a:gd name="connsiteX11" fmla="*/ 354013 w 608013"/>
                  <a:gd name="connsiteY11" fmla="*/ 703263 h 819151"/>
                  <a:gd name="connsiteX12" fmla="*/ 373063 w 608013"/>
                  <a:gd name="connsiteY12" fmla="*/ 768351 h 819151"/>
                  <a:gd name="connsiteX13" fmla="*/ 336551 w 608013"/>
                  <a:gd name="connsiteY13" fmla="*/ 768351 h 819151"/>
                  <a:gd name="connsiteX14" fmla="*/ 336551 w 608013"/>
                  <a:gd name="connsiteY14" fmla="*/ 819151 h 819151"/>
                  <a:gd name="connsiteX15" fmla="*/ 269875 w 608013"/>
                  <a:gd name="connsiteY15" fmla="*/ 819151 h 819151"/>
                  <a:gd name="connsiteX16" fmla="*/ 269875 w 608013"/>
                  <a:gd name="connsiteY16" fmla="*/ 768351 h 819151"/>
                  <a:gd name="connsiteX17" fmla="*/ 234950 w 608013"/>
                  <a:gd name="connsiteY17" fmla="*/ 768351 h 819151"/>
                  <a:gd name="connsiteX18" fmla="*/ 250825 w 608013"/>
                  <a:gd name="connsiteY18" fmla="*/ 703263 h 819151"/>
                  <a:gd name="connsiteX19" fmla="*/ 269875 w 608013"/>
                  <a:gd name="connsiteY19" fmla="*/ 703263 h 819151"/>
                  <a:gd name="connsiteX20" fmla="*/ 304801 w 608013"/>
                  <a:gd name="connsiteY20" fmla="*/ 63500 h 819151"/>
                  <a:gd name="connsiteX21" fmla="*/ 217488 w 608013"/>
                  <a:gd name="connsiteY21" fmla="*/ 150813 h 819151"/>
                  <a:gd name="connsiteX22" fmla="*/ 304801 w 608013"/>
                  <a:gd name="connsiteY22" fmla="*/ 238126 h 819151"/>
                  <a:gd name="connsiteX23" fmla="*/ 392114 w 608013"/>
                  <a:gd name="connsiteY23" fmla="*/ 150813 h 819151"/>
                  <a:gd name="connsiteX24" fmla="*/ 304801 w 608013"/>
                  <a:gd name="connsiteY24" fmla="*/ 63500 h 819151"/>
                  <a:gd name="connsiteX25" fmla="*/ 304800 w 608013"/>
                  <a:gd name="connsiteY25" fmla="*/ 0 h 819151"/>
                  <a:gd name="connsiteX26" fmla="*/ 454025 w 608013"/>
                  <a:gd name="connsiteY26" fmla="*/ 150813 h 819151"/>
                  <a:gd name="connsiteX27" fmla="*/ 304800 w 608013"/>
                  <a:gd name="connsiteY27" fmla="*/ 301626 h 819151"/>
                  <a:gd name="connsiteX28" fmla="*/ 155575 w 608013"/>
                  <a:gd name="connsiteY28" fmla="*/ 150813 h 819151"/>
                  <a:gd name="connsiteX29" fmla="*/ 304800 w 608013"/>
                  <a:gd name="connsiteY29" fmla="*/ 0 h 819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08013" h="819151">
                    <a:moveTo>
                      <a:pt x="488950" y="703263"/>
                    </a:moveTo>
                    <a:lnTo>
                      <a:pt x="608013" y="703263"/>
                    </a:lnTo>
                    <a:lnTo>
                      <a:pt x="608013" y="768351"/>
                    </a:lnTo>
                    <a:lnTo>
                      <a:pt x="506413" y="768351"/>
                    </a:lnTo>
                    <a:close/>
                    <a:moveTo>
                      <a:pt x="0" y="703263"/>
                    </a:moveTo>
                    <a:lnTo>
                      <a:pt x="119063" y="703263"/>
                    </a:lnTo>
                    <a:lnTo>
                      <a:pt x="100013" y="768351"/>
                    </a:lnTo>
                    <a:lnTo>
                      <a:pt x="0" y="768351"/>
                    </a:lnTo>
                    <a:close/>
                    <a:moveTo>
                      <a:pt x="269875" y="652463"/>
                    </a:moveTo>
                    <a:lnTo>
                      <a:pt x="336551" y="652463"/>
                    </a:lnTo>
                    <a:lnTo>
                      <a:pt x="336551" y="703263"/>
                    </a:lnTo>
                    <a:lnTo>
                      <a:pt x="354013" y="703263"/>
                    </a:lnTo>
                    <a:lnTo>
                      <a:pt x="373063" y="768351"/>
                    </a:lnTo>
                    <a:lnTo>
                      <a:pt x="336551" y="768351"/>
                    </a:lnTo>
                    <a:lnTo>
                      <a:pt x="336551" y="819151"/>
                    </a:lnTo>
                    <a:lnTo>
                      <a:pt x="269875" y="819151"/>
                    </a:lnTo>
                    <a:lnTo>
                      <a:pt x="269875" y="768351"/>
                    </a:lnTo>
                    <a:lnTo>
                      <a:pt x="234950" y="768351"/>
                    </a:lnTo>
                    <a:lnTo>
                      <a:pt x="250825" y="703263"/>
                    </a:lnTo>
                    <a:lnTo>
                      <a:pt x="269875" y="703263"/>
                    </a:lnTo>
                    <a:close/>
                    <a:moveTo>
                      <a:pt x="304801" y="63500"/>
                    </a:moveTo>
                    <a:cubicBezTo>
                      <a:pt x="256579" y="63500"/>
                      <a:pt x="217488" y="102591"/>
                      <a:pt x="217488" y="150813"/>
                    </a:cubicBezTo>
                    <a:cubicBezTo>
                      <a:pt x="217488" y="199035"/>
                      <a:pt x="256579" y="238126"/>
                      <a:pt x="304801" y="238126"/>
                    </a:cubicBezTo>
                    <a:cubicBezTo>
                      <a:pt x="353023" y="238126"/>
                      <a:pt x="392114" y="199035"/>
                      <a:pt x="392114" y="150813"/>
                    </a:cubicBezTo>
                    <a:cubicBezTo>
                      <a:pt x="392114" y="102591"/>
                      <a:pt x="353023" y="63500"/>
                      <a:pt x="304801" y="63500"/>
                    </a:cubicBezTo>
                    <a:close/>
                    <a:moveTo>
                      <a:pt x="304800" y="0"/>
                    </a:moveTo>
                    <a:cubicBezTo>
                      <a:pt x="387215" y="0"/>
                      <a:pt x="454025" y="67521"/>
                      <a:pt x="454025" y="150813"/>
                    </a:cubicBezTo>
                    <a:cubicBezTo>
                      <a:pt x="454025" y="234105"/>
                      <a:pt x="387215" y="301626"/>
                      <a:pt x="304800" y="301626"/>
                    </a:cubicBezTo>
                    <a:cubicBezTo>
                      <a:pt x="222385" y="301626"/>
                      <a:pt x="155575" y="234105"/>
                      <a:pt x="155575" y="150813"/>
                    </a:cubicBezTo>
                    <a:cubicBezTo>
                      <a:pt x="155575" y="67521"/>
                      <a:pt x="222385" y="0"/>
                      <a:pt x="304800" y="0"/>
                    </a:cubicBezTo>
                    <a:close/>
                  </a:path>
                </a:pathLst>
              </a:custGeom>
              <a:solidFill>
                <a:srgbClr val="4033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5826125" y="2790825"/>
                <a:ext cx="536575" cy="1306513"/>
              </a:xfrm>
              <a:custGeom>
                <a:avLst/>
                <a:gdLst>
                  <a:gd name="connsiteX0" fmla="*/ 218763 w 536575"/>
                  <a:gd name="connsiteY0" fmla="*/ 458788 h 1306513"/>
                  <a:gd name="connsiteX1" fmla="*/ 269357 w 536575"/>
                  <a:gd name="connsiteY1" fmla="*/ 466644 h 1306513"/>
                  <a:gd name="connsiteX2" fmla="*/ 317812 w 536575"/>
                  <a:gd name="connsiteY2" fmla="*/ 459502 h 1306513"/>
                  <a:gd name="connsiteX3" fmla="*/ 536575 w 536575"/>
                  <a:gd name="connsiteY3" fmla="*/ 1265805 h 1306513"/>
                  <a:gd name="connsiteX4" fmla="*/ 513773 w 536575"/>
                  <a:gd name="connsiteY4" fmla="*/ 1306513 h 1306513"/>
                  <a:gd name="connsiteX5" fmla="*/ 473155 w 536575"/>
                  <a:gd name="connsiteY5" fmla="*/ 1282945 h 1306513"/>
                  <a:gd name="connsiteX6" fmla="*/ 267931 w 536575"/>
                  <a:gd name="connsiteY6" fmla="*/ 527349 h 1306513"/>
                  <a:gd name="connsiteX7" fmla="*/ 63420 w 536575"/>
                  <a:gd name="connsiteY7" fmla="*/ 1282945 h 1306513"/>
                  <a:gd name="connsiteX8" fmla="*/ 22803 w 536575"/>
                  <a:gd name="connsiteY8" fmla="*/ 1306513 h 1306513"/>
                  <a:gd name="connsiteX9" fmla="*/ 0 w 536575"/>
                  <a:gd name="connsiteY9" fmla="*/ 1265805 h 1306513"/>
                  <a:gd name="connsiteX10" fmla="*/ 218763 w 536575"/>
                  <a:gd name="connsiteY10" fmla="*/ 458788 h 1306513"/>
                  <a:gd name="connsiteX11" fmla="*/ 234950 w 536575"/>
                  <a:gd name="connsiteY11" fmla="*/ 0 h 1306513"/>
                  <a:gd name="connsiteX12" fmla="*/ 301625 w 536575"/>
                  <a:gd name="connsiteY12" fmla="*/ 0 h 1306513"/>
                  <a:gd name="connsiteX13" fmla="*/ 301625 w 536575"/>
                  <a:gd name="connsiteY13" fmla="*/ 105649 h 1306513"/>
                  <a:gd name="connsiteX14" fmla="*/ 269706 w 536575"/>
                  <a:gd name="connsiteY14" fmla="*/ 102794 h 1306513"/>
                  <a:gd name="connsiteX15" fmla="*/ 234950 w 536575"/>
                  <a:gd name="connsiteY15" fmla="*/ 106363 h 1306513"/>
                  <a:gd name="connsiteX16" fmla="*/ 234950 w 536575"/>
                  <a:gd name="connsiteY16" fmla="*/ 0 h 1306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36575" h="1306513">
                    <a:moveTo>
                      <a:pt x="218763" y="458788"/>
                    </a:moveTo>
                    <a:cubicBezTo>
                      <a:pt x="235153" y="463787"/>
                      <a:pt x="252255" y="466644"/>
                      <a:pt x="269357" y="466644"/>
                    </a:cubicBezTo>
                    <a:cubicBezTo>
                      <a:pt x="286459" y="466644"/>
                      <a:pt x="302848" y="463787"/>
                      <a:pt x="317812" y="459502"/>
                    </a:cubicBezTo>
                    <a:cubicBezTo>
                      <a:pt x="317812" y="459502"/>
                      <a:pt x="317812" y="459502"/>
                      <a:pt x="536575" y="1265805"/>
                    </a:cubicBezTo>
                    <a:cubicBezTo>
                      <a:pt x="536575" y="1265805"/>
                      <a:pt x="536575" y="1265805"/>
                      <a:pt x="513773" y="1306513"/>
                    </a:cubicBezTo>
                    <a:cubicBezTo>
                      <a:pt x="513773" y="1306513"/>
                      <a:pt x="513773" y="1306513"/>
                      <a:pt x="473155" y="1282945"/>
                    </a:cubicBezTo>
                    <a:cubicBezTo>
                      <a:pt x="473155" y="1282945"/>
                      <a:pt x="473155" y="1282945"/>
                      <a:pt x="267931" y="527349"/>
                    </a:cubicBezTo>
                    <a:cubicBezTo>
                      <a:pt x="267931" y="527349"/>
                      <a:pt x="267931" y="527349"/>
                      <a:pt x="63420" y="1282945"/>
                    </a:cubicBezTo>
                    <a:cubicBezTo>
                      <a:pt x="63420" y="1282945"/>
                      <a:pt x="63420" y="1282945"/>
                      <a:pt x="22803" y="1306513"/>
                    </a:cubicBezTo>
                    <a:cubicBezTo>
                      <a:pt x="22803" y="1306513"/>
                      <a:pt x="22803" y="1306513"/>
                      <a:pt x="0" y="1265805"/>
                    </a:cubicBezTo>
                    <a:cubicBezTo>
                      <a:pt x="0" y="1265805"/>
                      <a:pt x="0" y="1265805"/>
                      <a:pt x="218763" y="458788"/>
                    </a:cubicBezTo>
                    <a:close/>
                    <a:moveTo>
                      <a:pt x="234950" y="0"/>
                    </a:moveTo>
                    <a:cubicBezTo>
                      <a:pt x="234950" y="0"/>
                      <a:pt x="234950" y="0"/>
                      <a:pt x="301625" y="0"/>
                    </a:cubicBezTo>
                    <a:cubicBezTo>
                      <a:pt x="301625" y="0"/>
                      <a:pt x="301625" y="0"/>
                      <a:pt x="301625" y="105649"/>
                    </a:cubicBezTo>
                    <a:cubicBezTo>
                      <a:pt x="291695" y="104221"/>
                      <a:pt x="280346" y="102794"/>
                      <a:pt x="269706" y="102794"/>
                    </a:cubicBezTo>
                    <a:cubicBezTo>
                      <a:pt x="258357" y="102794"/>
                      <a:pt x="245590" y="104221"/>
                      <a:pt x="234950" y="106363"/>
                    </a:cubicBezTo>
                    <a:cubicBezTo>
                      <a:pt x="234950" y="106363"/>
                      <a:pt x="234950" y="106363"/>
                      <a:pt x="234950" y="0"/>
                    </a:cubicBezTo>
                    <a:close/>
                  </a:path>
                </a:pathLst>
              </a:custGeom>
              <a:solidFill>
                <a:srgbClr val="160E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0E6116D8-3047-4F9C-A825-B65A72584E2B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clrChange>
              <a:clrFrom>
                <a:srgbClr val="1F1450"/>
              </a:clrFrom>
              <a:clrTo>
                <a:srgbClr val="1F145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7556" y="217461"/>
            <a:ext cx="1245794" cy="259876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1B590382-8AD8-446F-AA85-349BBA93F697}"/>
              </a:ext>
            </a:extLst>
          </p:cNvPr>
          <p:cNvSpPr/>
          <p:nvPr/>
        </p:nvSpPr>
        <p:spPr>
          <a:xfrm>
            <a:off x="1326784" y="5905144"/>
            <a:ext cx="3365085" cy="58169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400">
                <a:solidFill>
                  <a:srgbClr val="00269E"/>
                </a:solidFill>
                <a:cs typeface="Henderson BCG Sans" panose="020B0502030402020204" pitchFamily="34" charset="0"/>
              </a:rPr>
              <a:t>To learn more about this opportunity please visit CommCorp’s website at: </a:t>
            </a:r>
            <a:r>
              <a:rPr lang="en-US" sz="1400" b="1">
                <a:solidFill>
                  <a:srgbClr val="00269E"/>
                </a:solidFill>
                <a:cs typeface="Henderson BCG Sans" panose="020B0502030402020204" pitchFamily="34" charset="0"/>
              </a:rPr>
              <a:t>commcorp.org/available-funding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AB716BA-8E96-4E59-B03A-9FB2ED31694F}"/>
              </a:ext>
            </a:extLst>
          </p:cNvPr>
          <p:cNvGrpSpPr/>
          <p:nvPr/>
        </p:nvGrpSpPr>
        <p:grpSpPr>
          <a:xfrm>
            <a:off x="670158" y="5947745"/>
            <a:ext cx="504159" cy="496562"/>
            <a:chOff x="1" y="8180427"/>
            <a:chExt cx="800099" cy="771525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9E33C21-F865-440C-A41E-5FC71A70F3FB}"/>
                </a:ext>
              </a:extLst>
            </p:cNvPr>
            <p:cNvSpPr/>
            <p:nvPr/>
          </p:nvSpPr>
          <p:spPr>
            <a:xfrm>
              <a:off x="1" y="8180427"/>
              <a:ext cx="800099" cy="771525"/>
            </a:xfrm>
            <a:prstGeom prst="rect">
              <a:avLst/>
            </a:prstGeom>
            <a:solidFill>
              <a:srgbClr val="001C76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Karla" pitchFamily="2" charset="0"/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E8761F65-EB86-41B8-AC09-E915F8D77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3825" y="8289965"/>
              <a:ext cx="552450" cy="552450"/>
            </a:xfrm>
            <a:prstGeom prst="rect">
              <a:avLst/>
            </a:prstGeom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415B2306-E21C-42DD-8F32-C4E93903B1EC}"/>
              </a:ext>
            </a:extLst>
          </p:cNvPr>
          <p:cNvSpPr txBox="1"/>
          <p:nvPr/>
        </p:nvSpPr>
        <p:spPr>
          <a:xfrm>
            <a:off x="5016572" y="5829643"/>
            <a:ext cx="3101388" cy="6647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Are you interested in hiring talent?</a:t>
            </a:r>
          </a:p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0000"/>
                </a:solidFill>
                <a:cs typeface="Henderson BCG Sans" panose="020B0502030402020204" pitchFamily="34" charset="0"/>
              </a:rPr>
              <a:t>Reach out to your local Masshire Career Center or visit the talent access portal at </a:t>
            </a:r>
            <a:r>
              <a:rPr lang="en-US" sz="1200" b="1">
                <a:solidFill>
                  <a:srgbClr val="000000"/>
                </a:solidFill>
                <a:cs typeface="Henderson BCG Sans" panose="020B0502030402020204" pitchFamily="34" charset="0"/>
              </a:rPr>
              <a:t>https://commcorp.softr.io</a:t>
            </a:r>
            <a:endParaRPr lang="en-US" sz="1200">
              <a:solidFill>
                <a:srgbClr val="000000"/>
              </a:solidFill>
              <a:cs typeface="Henderson BCG Sans" panose="020B05020304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7E16C1E-CA71-4A65-BF6F-73156D7F12E2}"/>
              </a:ext>
            </a:extLst>
          </p:cNvPr>
          <p:cNvSpPr txBox="1"/>
          <p:nvPr/>
        </p:nvSpPr>
        <p:spPr>
          <a:xfrm>
            <a:off x="8461959" y="5829643"/>
            <a:ext cx="3101388" cy="6647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00269E"/>
                </a:solidFill>
                <a:cs typeface="Henderson BCG Sans" panose="020B0502030402020204" pitchFamily="34" charset="0"/>
              </a:rPr>
              <a:t>*If you are interested in recruiting for an occupation not listed here, please reach out to a CommCorp representative at </a:t>
            </a:r>
            <a:r>
              <a:rPr lang="en-US" sz="1200" b="1">
                <a:solidFill>
                  <a:srgbClr val="00269E"/>
                </a:solidFill>
                <a:cs typeface="Henderson BCG Sans" panose="020B0502030402020204" pitchFamily="34" charset="0"/>
              </a:rPr>
              <a:t>commcorp.org/cbe/contact/ </a:t>
            </a:r>
          </a:p>
        </p:txBody>
      </p:sp>
    </p:spTree>
    <p:extLst>
      <p:ext uri="{BB962C8B-B14F-4D97-AF65-F5344CB8AC3E}">
        <p14:creationId xmlns:p14="http://schemas.microsoft.com/office/powerpoint/2010/main" val="71613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raining partner-facing grant summ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2032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86" imgH="286" progId="TCLayout.ActiveDocument.1">
                  <p:embed/>
                </p:oleObj>
              </mc:Choice>
              <mc:Fallback>
                <p:oleObj name="think-cell Slide" r:id="rId11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13BA9B84-D188-4F80-BDE7-AD2E23D8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04699"/>
          </a:xfrm>
        </p:spPr>
        <p:txBody>
          <a:bodyPr vert="horz"/>
          <a:lstStyle/>
          <a:p>
            <a:r>
              <a:rPr lang="en-US" sz="2200"/>
              <a:t>Summary of key facts for three newest ARPA funded program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9E7172E-DEDD-4FF5-9B53-34D6FB70872F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30000" y="304800"/>
            <a:ext cx="10007600" cy="228600"/>
          </a:xfrm>
        </p:spPr>
        <p:txBody>
          <a:bodyPr/>
          <a:lstStyle/>
          <a:p>
            <a:r>
              <a:rPr lang="en-US"/>
              <a:t>ARPA pipeline training grants</a:t>
            </a:r>
          </a:p>
        </p:txBody>
      </p:sp>
      <p:sp>
        <p:nvSpPr>
          <p:cNvPr id="13" name="Round Diagonal Corner Rectangle 12">
            <a:extLst>
              <a:ext uri="{FF2B5EF4-FFF2-40B4-BE49-F238E27FC236}">
                <a16:creationId xmlns:a16="http://schemas.microsoft.com/office/drawing/2014/main" id="{4B336FB8-6564-4D04-8F54-51D617F3E383}"/>
              </a:ext>
            </a:extLst>
          </p:cNvPr>
          <p:cNvSpPr/>
          <p:nvPr/>
        </p:nvSpPr>
        <p:spPr>
          <a:xfrm>
            <a:off x="626600" y="5557956"/>
            <a:ext cx="10936754" cy="575768"/>
          </a:xfrm>
          <a:prstGeom prst="round2DiagRect">
            <a:avLst/>
          </a:prstGeom>
          <a:noFill/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A6A6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>
                <a:solidFill>
                  <a:srgbClr val="403393"/>
                </a:solidFill>
              </a:rPr>
              <a:t>Not included: Other supports and funding programs e.g., Workforce training fund, MassSTEP (ESOL), etc.</a:t>
            </a:r>
          </a:p>
        </p:txBody>
      </p:sp>
      <p:grpSp>
        <p:nvGrpSpPr>
          <p:cNvPr id="156" name="Group 155"/>
          <p:cNvGrpSpPr/>
          <p:nvPr/>
        </p:nvGrpSpPr>
        <p:grpSpPr>
          <a:xfrm rot="5400000">
            <a:off x="5980866" y="5404701"/>
            <a:ext cx="312876" cy="313631"/>
            <a:chOff x="5937564" y="3833745"/>
            <a:chExt cx="306171" cy="306910"/>
          </a:xfrm>
        </p:grpSpPr>
        <p:sp>
          <p:nvSpPr>
            <p:cNvPr id="157" name="Freeform 94"/>
            <p:cNvSpPr>
              <a:spLocks/>
            </p:cNvSpPr>
            <p:nvPr/>
          </p:nvSpPr>
          <p:spPr bwMode="gray">
            <a:xfrm>
              <a:off x="5937564" y="3833745"/>
              <a:ext cx="306171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rgbClr val="403393"/>
            </a:solidFill>
            <a:ln>
              <a:solidFill>
                <a:srgbClr val="403393"/>
              </a:solidFill>
            </a:ln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E6F73"/>
                </a:solidFill>
              </a:endParaRPr>
            </a:p>
          </p:txBody>
        </p:sp>
        <p:sp>
          <p:nvSpPr>
            <p:cNvPr id="158" name="Freeform 95"/>
            <p:cNvSpPr>
              <a:spLocks/>
            </p:cNvSpPr>
            <p:nvPr/>
          </p:nvSpPr>
          <p:spPr bwMode="gray">
            <a:xfrm>
              <a:off x="6053995" y="3876005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6E6F73"/>
                </a:solidFill>
              </a:endParaRPr>
            </a:p>
          </p:txBody>
        </p:sp>
      </p:grp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1B53C3BD-F583-4515-B7D8-9A82B87EA92E}"/>
              </a:ext>
            </a:extLst>
          </p:cNvPr>
          <p:cNvSpPr/>
          <p:nvPr/>
        </p:nvSpPr>
        <p:spPr>
          <a:xfrm>
            <a:off x="1508343" y="1542985"/>
            <a:ext cx="1596909" cy="605672"/>
          </a:xfrm>
          <a:prstGeom prst="round2Same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DA0C6F5-EC12-447B-B7A2-A2C95E6C264E}"/>
              </a:ext>
            </a:extLst>
          </p:cNvPr>
          <p:cNvGrpSpPr/>
          <p:nvPr/>
        </p:nvGrpSpPr>
        <p:grpSpPr>
          <a:xfrm>
            <a:off x="1563673" y="1624019"/>
            <a:ext cx="448056" cy="443605"/>
            <a:chOff x="4932728" y="2266057"/>
            <a:chExt cx="2328132" cy="2325886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DA3CA583-6A6A-4531-950D-D63A1F821D66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932728" y="2266057"/>
              <a:ext cx="2328132" cy="232588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gradFill flip="none" rotWithShape="1">
                <a:gsLst>
                  <a:gs pos="0">
                    <a:srgbClr val="1F1450"/>
                  </a:gs>
                  <a:gs pos="100000">
                    <a:srgbClr val="403393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/>
              <a:endParaRPr lang="en-US" kern="0">
                <a:solidFill>
                  <a:srgbClr val="403393"/>
                </a:solidFill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1C8B2AAB-E2CA-475C-9580-5B13E43849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73675" y="2606675"/>
              <a:ext cx="1646238" cy="1644650"/>
              <a:chOff x="5273675" y="2606675"/>
              <a:chExt cx="1646238" cy="1644650"/>
            </a:xfrm>
          </p:grpSpPr>
          <p:sp>
            <p:nvSpPr>
              <p:cNvPr id="85" name="AutoShape 3">
                <a:extLst>
                  <a:ext uri="{FF2B5EF4-FFF2-40B4-BE49-F238E27FC236}">
                    <a16:creationId xmlns:a16="http://schemas.microsoft.com/office/drawing/2014/main" id="{0495F5ED-125F-42FC-884F-B40FD76F698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86" name="Group 85">
                <a:extLst>
                  <a:ext uri="{FF2B5EF4-FFF2-40B4-BE49-F238E27FC236}">
                    <a16:creationId xmlns:a16="http://schemas.microsoft.com/office/drawing/2014/main" id="{6DAD99EF-A605-45D4-8DF4-2818E5E6B60D}"/>
                  </a:ext>
                </a:extLst>
              </p:cNvPr>
              <p:cNvGrpSpPr/>
              <p:nvPr/>
            </p:nvGrpSpPr>
            <p:grpSpPr>
              <a:xfrm>
                <a:off x="5519738" y="2911475"/>
                <a:ext cx="1154113" cy="963613"/>
                <a:chOff x="5519738" y="2911475"/>
                <a:chExt cx="1154113" cy="963613"/>
              </a:xfrm>
            </p:grpSpPr>
            <p:sp>
              <p:nvSpPr>
                <p:cNvPr id="87" name="Freeform 25">
                  <a:extLst>
                    <a:ext uri="{FF2B5EF4-FFF2-40B4-BE49-F238E27FC236}">
                      <a16:creationId xmlns:a16="http://schemas.microsoft.com/office/drawing/2014/main" id="{66C4E7BD-33A4-425D-8F58-144FE314B0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05462" y="3319463"/>
                  <a:ext cx="982662" cy="474662"/>
                </a:xfrm>
                <a:custGeom>
                  <a:avLst/>
                  <a:gdLst>
                    <a:gd name="connsiteX0" fmla="*/ 770723 w 982662"/>
                    <a:gd name="connsiteY0" fmla="*/ 255587 h 474662"/>
                    <a:gd name="connsiteX1" fmla="*/ 975526 w 982662"/>
                    <a:gd name="connsiteY1" fmla="*/ 255587 h 474662"/>
                    <a:gd name="connsiteX2" fmla="*/ 982662 w 982662"/>
                    <a:gd name="connsiteY2" fmla="*/ 262723 h 474662"/>
                    <a:gd name="connsiteX3" fmla="*/ 982662 w 982662"/>
                    <a:gd name="connsiteY3" fmla="*/ 467526 h 474662"/>
                    <a:gd name="connsiteX4" fmla="*/ 975526 w 982662"/>
                    <a:gd name="connsiteY4" fmla="*/ 474662 h 474662"/>
                    <a:gd name="connsiteX5" fmla="*/ 770723 w 982662"/>
                    <a:gd name="connsiteY5" fmla="*/ 474662 h 474662"/>
                    <a:gd name="connsiteX6" fmla="*/ 763587 w 982662"/>
                    <a:gd name="connsiteY6" fmla="*/ 467526 h 474662"/>
                    <a:gd name="connsiteX7" fmla="*/ 763587 w 982662"/>
                    <a:gd name="connsiteY7" fmla="*/ 262723 h 474662"/>
                    <a:gd name="connsiteX8" fmla="*/ 770723 w 982662"/>
                    <a:gd name="connsiteY8" fmla="*/ 255587 h 474662"/>
                    <a:gd name="connsiteX9" fmla="*/ 516723 w 982662"/>
                    <a:gd name="connsiteY9" fmla="*/ 255587 h 474662"/>
                    <a:gd name="connsiteX10" fmla="*/ 721526 w 982662"/>
                    <a:gd name="connsiteY10" fmla="*/ 255587 h 474662"/>
                    <a:gd name="connsiteX11" fmla="*/ 728662 w 982662"/>
                    <a:gd name="connsiteY11" fmla="*/ 262723 h 474662"/>
                    <a:gd name="connsiteX12" fmla="*/ 728662 w 982662"/>
                    <a:gd name="connsiteY12" fmla="*/ 467526 h 474662"/>
                    <a:gd name="connsiteX13" fmla="*/ 721526 w 982662"/>
                    <a:gd name="connsiteY13" fmla="*/ 474662 h 474662"/>
                    <a:gd name="connsiteX14" fmla="*/ 516723 w 982662"/>
                    <a:gd name="connsiteY14" fmla="*/ 474662 h 474662"/>
                    <a:gd name="connsiteX15" fmla="*/ 509587 w 982662"/>
                    <a:gd name="connsiteY15" fmla="*/ 467526 h 474662"/>
                    <a:gd name="connsiteX16" fmla="*/ 509587 w 982662"/>
                    <a:gd name="connsiteY16" fmla="*/ 262723 h 474662"/>
                    <a:gd name="connsiteX17" fmla="*/ 516723 w 982662"/>
                    <a:gd name="connsiteY17" fmla="*/ 255587 h 474662"/>
                    <a:gd name="connsiteX18" fmla="*/ 261136 w 982662"/>
                    <a:gd name="connsiteY18" fmla="*/ 255587 h 474662"/>
                    <a:gd name="connsiteX19" fmla="*/ 465939 w 982662"/>
                    <a:gd name="connsiteY19" fmla="*/ 255587 h 474662"/>
                    <a:gd name="connsiteX20" fmla="*/ 473075 w 982662"/>
                    <a:gd name="connsiteY20" fmla="*/ 262723 h 474662"/>
                    <a:gd name="connsiteX21" fmla="*/ 473075 w 982662"/>
                    <a:gd name="connsiteY21" fmla="*/ 467526 h 474662"/>
                    <a:gd name="connsiteX22" fmla="*/ 465939 w 982662"/>
                    <a:gd name="connsiteY22" fmla="*/ 474662 h 474662"/>
                    <a:gd name="connsiteX23" fmla="*/ 261136 w 982662"/>
                    <a:gd name="connsiteY23" fmla="*/ 474662 h 474662"/>
                    <a:gd name="connsiteX24" fmla="*/ 254000 w 982662"/>
                    <a:gd name="connsiteY24" fmla="*/ 467526 h 474662"/>
                    <a:gd name="connsiteX25" fmla="*/ 254000 w 982662"/>
                    <a:gd name="connsiteY25" fmla="*/ 262723 h 474662"/>
                    <a:gd name="connsiteX26" fmla="*/ 261136 w 982662"/>
                    <a:gd name="connsiteY26" fmla="*/ 255587 h 474662"/>
                    <a:gd name="connsiteX27" fmla="*/ 7136 w 982662"/>
                    <a:gd name="connsiteY27" fmla="*/ 255587 h 474662"/>
                    <a:gd name="connsiteX28" fmla="*/ 211939 w 982662"/>
                    <a:gd name="connsiteY28" fmla="*/ 255587 h 474662"/>
                    <a:gd name="connsiteX29" fmla="*/ 219075 w 982662"/>
                    <a:gd name="connsiteY29" fmla="*/ 262723 h 474662"/>
                    <a:gd name="connsiteX30" fmla="*/ 219075 w 982662"/>
                    <a:gd name="connsiteY30" fmla="*/ 467526 h 474662"/>
                    <a:gd name="connsiteX31" fmla="*/ 211939 w 982662"/>
                    <a:gd name="connsiteY31" fmla="*/ 474662 h 474662"/>
                    <a:gd name="connsiteX32" fmla="*/ 7136 w 982662"/>
                    <a:gd name="connsiteY32" fmla="*/ 474662 h 474662"/>
                    <a:gd name="connsiteX33" fmla="*/ 0 w 982662"/>
                    <a:gd name="connsiteY33" fmla="*/ 467526 h 474662"/>
                    <a:gd name="connsiteX34" fmla="*/ 0 w 982662"/>
                    <a:gd name="connsiteY34" fmla="*/ 262723 h 474662"/>
                    <a:gd name="connsiteX35" fmla="*/ 7136 w 982662"/>
                    <a:gd name="connsiteY35" fmla="*/ 255587 h 474662"/>
                    <a:gd name="connsiteX36" fmla="*/ 770723 w 982662"/>
                    <a:gd name="connsiteY36" fmla="*/ 0 h 474662"/>
                    <a:gd name="connsiteX37" fmla="*/ 975526 w 982662"/>
                    <a:gd name="connsiteY37" fmla="*/ 0 h 474662"/>
                    <a:gd name="connsiteX38" fmla="*/ 982662 w 982662"/>
                    <a:gd name="connsiteY38" fmla="*/ 7108 h 474662"/>
                    <a:gd name="connsiteX39" fmla="*/ 982662 w 982662"/>
                    <a:gd name="connsiteY39" fmla="*/ 210381 h 474662"/>
                    <a:gd name="connsiteX40" fmla="*/ 975526 w 982662"/>
                    <a:gd name="connsiteY40" fmla="*/ 217488 h 474662"/>
                    <a:gd name="connsiteX41" fmla="*/ 770723 w 982662"/>
                    <a:gd name="connsiteY41" fmla="*/ 217488 h 474662"/>
                    <a:gd name="connsiteX42" fmla="*/ 763587 w 982662"/>
                    <a:gd name="connsiteY42" fmla="*/ 210381 h 474662"/>
                    <a:gd name="connsiteX43" fmla="*/ 763587 w 982662"/>
                    <a:gd name="connsiteY43" fmla="*/ 7108 h 474662"/>
                    <a:gd name="connsiteX44" fmla="*/ 770723 w 982662"/>
                    <a:gd name="connsiteY44" fmla="*/ 0 h 474662"/>
                    <a:gd name="connsiteX45" fmla="*/ 516723 w 982662"/>
                    <a:gd name="connsiteY45" fmla="*/ 0 h 474662"/>
                    <a:gd name="connsiteX46" fmla="*/ 721526 w 982662"/>
                    <a:gd name="connsiteY46" fmla="*/ 0 h 474662"/>
                    <a:gd name="connsiteX47" fmla="*/ 728662 w 982662"/>
                    <a:gd name="connsiteY47" fmla="*/ 7108 h 474662"/>
                    <a:gd name="connsiteX48" fmla="*/ 728662 w 982662"/>
                    <a:gd name="connsiteY48" fmla="*/ 210381 h 474662"/>
                    <a:gd name="connsiteX49" fmla="*/ 721526 w 982662"/>
                    <a:gd name="connsiteY49" fmla="*/ 217488 h 474662"/>
                    <a:gd name="connsiteX50" fmla="*/ 516723 w 982662"/>
                    <a:gd name="connsiteY50" fmla="*/ 217488 h 474662"/>
                    <a:gd name="connsiteX51" fmla="*/ 509587 w 982662"/>
                    <a:gd name="connsiteY51" fmla="*/ 210381 h 474662"/>
                    <a:gd name="connsiteX52" fmla="*/ 509587 w 982662"/>
                    <a:gd name="connsiteY52" fmla="*/ 7108 h 474662"/>
                    <a:gd name="connsiteX53" fmla="*/ 516723 w 982662"/>
                    <a:gd name="connsiteY53" fmla="*/ 0 h 474662"/>
                    <a:gd name="connsiteX54" fmla="*/ 261136 w 982662"/>
                    <a:gd name="connsiteY54" fmla="*/ 0 h 474662"/>
                    <a:gd name="connsiteX55" fmla="*/ 465939 w 982662"/>
                    <a:gd name="connsiteY55" fmla="*/ 0 h 474662"/>
                    <a:gd name="connsiteX56" fmla="*/ 473075 w 982662"/>
                    <a:gd name="connsiteY56" fmla="*/ 7108 h 474662"/>
                    <a:gd name="connsiteX57" fmla="*/ 473075 w 982662"/>
                    <a:gd name="connsiteY57" fmla="*/ 210381 h 474662"/>
                    <a:gd name="connsiteX58" fmla="*/ 465939 w 982662"/>
                    <a:gd name="connsiteY58" fmla="*/ 217488 h 474662"/>
                    <a:gd name="connsiteX59" fmla="*/ 261136 w 982662"/>
                    <a:gd name="connsiteY59" fmla="*/ 217488 h 474662"/>
                    <a:gd name="connsiteX60" fmla="*/ 254000 w 982662"/>
                    <a:gd name="connsiteY60" fmla="*/ 210381 h 474662"/>
                    <a:gd name="connsiteX61" fmla="*/ 254000 w 982662"/>
                    <a:gd name="connsiteY61" fmla="*/ 7108 h 474662"/>
                    <a:gd name="connsiteX62" fmla="*/ 261136 w 982662"/>
                    <a:gd name="connsiteY62" fmla="*/ 0 h 474662"/>
                    <a:gd name="connsiteX63" fmla="*/ 7136 w 982662"/>
                    <a:gd name="connsiteY63" fmla="*/ 0 h 474662"/>
                    <a:gd name="connsiteX64" fmla="*/ 211939 w 982662"/>
                    <a:gd name="connsiteY64" fmla="*/ 0 h 474662"/>
                    <a:gd name="connsiteX65" fmla="*/ 219075 w 982662"/>
                    <a:gd name="connsiteY65" fmla="*/ 7108 h 474662"/>
                    <a:gd name="connsiteX66" fmla="*/ 219075 w 982662"/>
                    <a:gd name="connsiteY66" fmla="*/ 210381 h 474662"/>
                    <a:gd name="connsiteX67" fmla="*/ 211939 w 982662"/>
                    <a:gd name="connsiteY67" fmla="*/ 217488 h 474662"/>
                    <a:gd name="connsiteX68" fmla="*/ 7136 w 982662"/>
                    <a:gd name="connsiteY68" fmla="*/ 217488 h 474662"/>
                    <a:gd name="connsiteX69" fmla="*/ 0 w 982662"/>
                    <a:gd name="connsiteY69" fmla="*/ 210381 h 474662"/>
                    <a:gd name="connsiteX70" fmla="*/ 0 w 982662"/>
                    <a:gd name="connsiteY70" fmla="*/ 7108 h 474662"/>
                    <a:gd name="connsiteX71" fmla="*/ 7136 w 982662"/>
                    <a:gd name="connsiteY71" fmla="*/ 0 h 474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982662" h="474662">
                      <a:moveTo>
                        <a:pt x="770723" y="255587"/>
                      </a:moveTo>
                      <a:cubicBezTo>
                        <a:pt x="770723" y="255587"/>
                        <a:pt x="770723" y="255587"/>
                        <a:pt x="975526" y="255587"/>
                      </a:cubicBezTo>
                      <a:cubicBezTo>
                        <a:pt x="979808" y="255587"/>
                        <a:pt x="982662" y="258442"/>
                        <a:pt x="982662" y="262723"/>
                      </a:cubicBezTo>
                      <a:cubicBezTo>
                        <a:pt x="982662" y="262723"/>
                        <a:pt x="982662" y="262723"/>
                        <a:pt x="982662" y="467526"/>
                      </a:cubicBezTo>
                      <a:cubicBezTo>
                        <a:pt x="982662" y="471094"/>
                        <a:pt x="979808" y="474662"/>
                        <a:pt x="975526" y="474662"/>
                      </a:cubicBezTo>
                      <a:cubicBezTo>
                        <a:pt x="975526" y="474662"/>
                        <a:pt x="975526" y="474662"/>
                        <a:pt x="770723" y="474662"/>
                      </a:cubicBezTo>
                      <a:cubicBezTo>
                        <a:pt x="767155" y="474662"/>
                        <a:pt x="763587" y="471094"/>
                        <a:pt x="763587" y="467526"/>
                      </a:cubicBezTo>
                      <a:cubicBezTo>
                        <a:pt x="763587" y="467526"/>
                        <a:pt x="763587" y="467526"/>
                        <a:pt x="763587" y="262723"/>
                      </a:cubicBezTo>
                      <a:cubicBezTo>
                        <a:pt x="763587" y="258442"/>
                        <a:pt x="767155" y="255587"/>
                        <a:pt x="770723" y="255587"/>
                      </a:cubicBezTo>
                      <a:close/>
                      <a:moveTo>
                        <a:pt x="516723" y="255587"/>
                      </a:moveTo>
                      <a:cubicBezTo>
                        <a:pt x="516723" y="255587"/>
                        <a:pt x="516723" y="255587"/>
                        <a:pt x="721526" y="255587"/>
                      </a:cubicBezTo>
                      <a:cubicBezTo>
                        <a:pt x="725094" y="255587"/>
                        <a:pt x="728662" y="258442"/>
                        <a:pt x="728662" y="262723"/>
                      </a:cubicBezTo>
                      <a:cubicBezTo>
                        <a:pt x="728662" y="262723"/>
                        <a:pt x="728662" y="262723"/>
                        <a:pt x="728662" y="467526"/>
                      </a:cubicBezTo>
                      <a:cubicBezTo>
                        <a:pt x="728662" y="471094"/>
                        <a:pt x="725094" y="474662"/>
                        <a:pt x="721526" y="474662"/>
                      </a:cubicBezTo>
                      <a:cubicBezTo>
                        <a:pt x="721526" y="474662"/>
                        <a:pt x="721526" y="474662"/>
                        <a:pt x="516723" y="474662"/>
                      </a:cubicBezTo>
                      <a:cubicBezTo>
                        <a:pt x="512442" y="474662"/>
                        <a:pt x="509587" y="471094"/>
                        <a:pt x="509587" y="467526"/>
                      </a:cubicBezTo>
                      <a:cubicBezTo>
                        <a:pt x="509587" y="467526"/>
                        <a:pt x="509587" y="467526"/>
                        <a:pt x="509587" y="262723"/>
                      </a:cubicBezTo>
                      <a:cubicBezTo>
                        <a:pt x="509587" y="258442"/>
                        <a:pt x="512442" y="255587"/>
                        <a:pt x="516723" y="255587"/>
                      </a:cubicBezTo>
                      <a:close/>
                      <a:moveTo>
                        <a:pt x="261136" y="255587"/>
                      </a:moveTo>
                      <a:cubicBezTo>
                        <a:pt x="261136" y="255587"/>
                        <a:pt x="261136" y="255587"/>
                        <a:pt x="465939" y="255587"/>
                      </a:cubicBezTo>
                      <a:cubicBezTo>
                        <a:pt x="470220" y="255587"/>
                        <a:pt x="473075" y="258442"/>
                        <a:pt x="473075" y="262723"/>
                      </a:cubicBezTo>
                      <a:cubicBezTo>
                        <a:pt x="473075" y="262723"/>
                        <a:pt x="473075" y="262723"/>
                        <a:pt x="473075" y="467526"/>
                      </a:cubicBezTo>
                      <a:cubicBezTo>
                        <a:pt x="473075" y="471094"/>
                        <a:pt x="470220" y="474662"/>
                        <a:pt x="465939" y="474662"/>
                      </a:cubicBezTo>
                      <a:cubicBezTo>
                        <a:pt x="465939" y="474662"/>
                        <a:pt x="465939" y="474662"/>
                        <a:pt x="261136" y="474662"/>
                      </a:cubicBezTo>
                      <a:cubicBezTo>
                        <a:pt x="257568" y="474662"/>
                        <a:pt x="254000" y="471094"/>
                        <a:pt x="254000" y="467526"/>
                      </a:cubicBezTo>
                      <a:cubicBezTo>
                        <a:pt x="254000" y="467526"/>
                        <a:pt x="254000" y="467526"/>
                        <a:pt x="254000" y="262723"/>
                      </a:cubicBezTo>
                      <a:cubicBezTo>
                        <a:pt x="254000" y="258442"/>
                        <a:pt x="257568" y="255587"/>
                        <a:pt x="261136" y="255587"/>
                      </a:cubicBezTo>
                      <a:close/>
                      <a:moveTo>
                        <a:pt x="7136" y="255587"/>
                      </a:moveTo>
                      <a:cubicBezTo>
                        <a:pt x="7136" y="255587"/>
                        <a:pt x="7136" y="255587"/>
                        <a:pt x="211939" y="255587"/>
                      </a:cubicBezTo>
                      <a:cubicBezTo>
                        <a:pt x="215507" y="255587"/>
                        <a:pt x="219075" y="258442"/>
                        <a:pt x="219075" y="262723"/>
                      </a:cubicBezTo>
                      <a:cubicBezTo>
                        <a:pt x="219075" y="262723"/>
                        <a:pt x="219075" y="262723"/>
                        <a:pt x="219075" y="467526"/>
                      </a:cubicBezTo>
                      <a:cubicBezTo>
                        <a:pt x="219075" y="471094"/>
                        <a:pt x="215507" y="474662"/>
                        <a:pt x="211939" y="474662"/>
                      </a:cubicBezTo>
                      <a:cubicBezTo>
                        <a:pt x="211939" y="474662"/>
                        <a:pt x="211939" y="474662"/>
                        <a:pt x="7136" y="474662"/>
                      </a:cubicBezTo>
                      <a:cubicBezTo>
                        <a:pt x="2854" y="474662"/>
                        <a:pt x="0" y="471094"/>
                        <a:pt x="0" y="467526"/>
                      </a:cubicBezTo>
                      <a:cubicBezTo>
                        <a:pt x="0" y="467526"/>
                        <a:pt x="0" y="467526"/>
                        <a:pt x="0" y="262723"/>
                      </a:cubicBezTo>
                      <a:cubicBezTo>
                        <a:pt x="0" y="258442"/>
                        <a:pt x="2854" y="255587"/>
                        <a:pt x="7136" y="255587"/>
                      </a:cubicBezTo>
                      <a:close/>
                      <a:moveTo>
                        <a:pt x="770723" y="0"/>
                      </a:moveTo>
                      <a:cubicBezTo>
                        <a:pt x="770723" y="0"/>
                        <a:pt x="770723" y="0"/>
                        <a:pt x="975526" y="0"/>
                      </a:cubicBezTo>
                      <a:cubicBezTo>
                        <a:pt x="979808" y="0"/>
                        <a:pt x="982662" y="2843"/>
                        <a:pt x="982662" y="7108"/>
                      </a:cubicBezTo>
                      <a:cubicBezTo>
                        <a:pt x="982662" y="7108"/>
                        <a:pt x="982662" y="7108"/>
                        <a:pt x="982662" y="210381"/>
                      </a:cubicBezTo>
                      <a:cubicBezTo>
                        <a:pt x="982662" y="214645"/>
                        <a:pt x="979808" y="217488"/>
                        <a:pt x="975526" y="217488"/>
                      </a:cubicBezTo>
                      <a:cubicBezTo>
                        <a:pt x="975526" y="217488"/>
                        <a:pt x="975526" y="217488"/>
                        <a:pt x="770723" y="217488"/>
                      </a:cubicBezTo>
                      <a:cubicBezTo>
                        <a:pt x="767155" y="217488"/>
                        <a:pt x="763587" y="214645"/>
                        <a:pt x="763587" y="210381"/>
                      </a:cubicBezTo>
                      <a:cubicBezTo>
                        <a:pt x="763587" y="210381"/>
                        <a:pt x="763587" y="210381"/>
                        <a:pt x="763587" y="7108"/>
                      </a:cubicBezTo>
                      <a:cubicBezTo>
                        <a:pt x="763587" y="2843"/>
                        <a:pt x="767155" y="0"/>
                        <a:pt x="770723" y="0"/>
                      </a:cubicBezTo>
                      <a:close/>
                      <a:moveTo>
                        <a:pt x="516723" y="0"/>
                      </a:moveTo>
                      <a:cubicBezTo>
                        <a:pt x="516723" y="0"/>
                        <a:pt x="516723" y="0"/>
                        <a:pt x="721526" y="0"/>
                      </a:cubicBezTo>
                      <a:cubicBezTo>
                        <a:pt x="725094" y="0"/>
                        <a:pt x="728662" y="2843"/>
                        <a:pt x="728662" y="7108"/>
                      </a:cubicBezTo>
                      <a:cubicBezTo>
                        <a:pt x="728662" y="7108"/>
                        <a:pt x="728662" y="7108"/>
                        <a:pt x="728662" y="210381"/>
                      </a:cubicBezTo>
                      <a:cubicBezTo>
                        <a:pt x="728662" y="214645"/>
                        <a:pt x="725094" y="217488"/>
                        <a:pt x="721526" y="217488"/>
                      </a:cubicBezTo>
                      <a:cubicBezTo>
                        <a:pt x="721526" y="217488"/>
                        <a:pt x="721526" y="217488"/>
                        <a:pt x="516723" y="217488"/>
                      </a:cubicBezTo>
                      <a:cubicBezTo>
                        <a:pt x="512442" y="217488"/>
                        <a:pt x="509587" y="214645"/>
                        <a:pt x="509587" y="210381"/>
                      </a:cubicBezTo>
                      <a:cubicBezTo>
                        <a:pt x="509587" y="210381"/>
                        <a:pt x="509587" y="210381"/>
                        <a:pt x="509587" y="7108"/>
                      </a:cubicBezTo>
                      <a:cubicBezTo>
                        <a:pt x="509587" y="2843"/>
                        <a:pt x="512442" y="0"/>
                        <a:pt x="516723" y="0"/>
                      </a:cubicBezTo>
                      <a:close/>
                      <a:moveTo>
                        <a:pt x="261136" y="0"/>
                      </a:moveTo>
                      <a:cubicBezTo>
                        <a:pt x="261136" y="0"/>
                        <a:pt x="261136" y="0"/>
                        <a:pt x="465939" y="0"/>
                      </a:cubicBezTo>
                      <a:cubicBezTo>
                        <a:pt x="470220" y="0"/>
                        <a:pt x="473075" y="2843"/>
                        <a:pt x="473075" y="7108"/>
                      </a:cubicBezTo>
                      <a:cubicBezTo>
                        <a:pt x="473075" y="7108"/>
                        <a:pt x="473075" y="7108"/>
                        <a:pt x="473075" y="210381"/>
                      </a:cubicBezTo>
                      <a:cubicBezTo>
                        <a:pt x="473075" y="214645"/>
                        <a:pt x="470220" y="217488"/>
                        <a:pt x="465939" y="217488"/>
                      </a:cubicBezTo>
                      <a:cubicBezTo>
                        <a:pt x="465939" y="217488"/>
                        <a:pt x="465939" y="217488"/>
                        <a:pt x="261136" y="217488"/>
                      </a:cubicBezTo>
                      <a:cubicBezTo>
                        <a:pt x="257568" y="217488"/>
                        <a:pt x="254000" y="214645"/>
                        <a:pt x="254000" y="210381"/>
                      </a:cubicBezTo>
                      <a:cubicBezTo>
                        <a:pt x="254000" y="210381"/>
                        <a:pt x="254000" y="210381"/>
                        <a:pt x="254000" y="7108"/>
                      </a:cubicBezTo>
                      <a:cubicBezTo>
                        <a:pt x="254000" y="2843"/>
                        <a:pt x="257568" y="0"/>
                        <a:pt x="261136" y="0"/>
                      </a:cubicBezTo>
                      <a:close/>
                      <a:moveTo>
                        <a:pt x="7136" y="0"/>
                      </a:moveTo>
                      <a:cubicBezTo>
                        <a:pt x="7136" y="0"/>
                        <a:pt x="7136" y="0"/>
                        <a:pt x="211939" y="0"/>
                      </a:cubicBezTo>
                      <a:cubicBezTo>
                        <a:pt x="215507" y="0"/>
                        <a:pt x="219075" y="2843"/>
                        <a:pt x="219075" y="7108"/>
                      </a:cubicBezTo>
                      <a:cubicBezTo>
                        <a:pt x="219075" y="7108"/>
                        <a:pt x="219075" y="7108"/>
                        <a:pt x="219075" y="210381"/>
                      </a:cubicBezTo>
                      <a:cubicBezTo>
                        <a:pt x="219075" y="214645"/>
                        <a:pt x="215507" y="217488"/>
                        <a:pt x="211939" y="217488"/>
                      </a:cubicBezTo>
                      <a:cubicBezTo>
                        <a:pt x="211939" y="217488"/>
                        <a:pt x="211939" y="217488"/>
                        <a:pt x="7136" y="217488"/>
                      </a:cubicBezTo>
                      <a:cubicBezTo>
                        <a:pt x="2854" y="217488"/>
                        <a:pt x="0" y="214645"/>
                        <a:pt x="0" y="210381"/>
                      </a:cubicBezTo>
                      <a:cubicBezTo>
                        <a:pt x="0" y="210381"/>
                        <a:pt x="0" y="210381"/>
                        <a:pt x="0" y="7108"/>
                      </a:cubicBezTo>
                      <a:cubicBezTo>
                        <a:pt x="0" y="2843"/>
                        <a:pt x="2854" y="0"/>
                        <a:pt x="7136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88" name="Freeform 24">
                  <a:extLst>
                    <a:ext uri="{FF2B5EF4-FFF2-40B4-BE49-F238E27FC236}">
                      <a16:creationId xmlns:a16="http://schemas.microsoft.com/office/drawing/2014/main" id="{7F8D71F6-F0D3-405C-8F46-064F682A83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9738" y="2911475"/>
                  <a:ext cx="1154113" cy="963613"/>
                </a:xfrm>
                <a:custGeom>
                  <a:avLst/>
                  <a:gdLst>
                    <a:gd name="connsiteX0" fmla="*/ 92866 w 1154113"/>
                    <a:gd name="connsiteY0" fmla="*/ 150813 h 963613"/>
                    <a:gd name="connsiteX1" fmla="*/ 163567 w 1154113"/>
                    <a:gd name="connsiteY1" fmla="*/ 150813 h 963613"/>
                    <a:gd name="connsiteX2" fmla="*/ 163567 w 1154113"/>
                    <a:gd name="connsiteY2" fmla="*/ 211469 h 963613"/>
                    <a:gd name="connsiteX3" fmla="*/ 179278 w 1154113"/>
                    <a:gd name="connsiteY3" fmla="*/ 227168 h 963613"/>
                    <a:gd name="connsiteX4" fmla="*/ 320678 w 1154113"/>
                    <a:gd name="connsiteY4" fmla="*/ 227168 h 963613"/>
                    <a:gd name="connsiteX5" fmla="*/ 336390 w 1154113"/>
                    <a:gd name="connsiteY5" fmla="*/ 211469 h 963613"/>
                    <a:gd name="connsiteX6" fmla="*/ 336390 w 1154113"/>
                    <a:gd name="connsiteY6" fmla="*/ 150813 h 963613"/>
                    <a:gd name="connsiteX7" fmla="*/ 817723 w 1154113"/>
                    <a:gd name="connsiteY7" fmla="*/ 150813 h 963613"/>
                    <a:gd name="connsiteX8" fmla="*/ 817723 w 1154113"/>
                    <a:gd name="connsiteY8" fmla="*/ 211469 h 963613"/>
                    <a:gd name="connsiteX9" fmla="*/ 833434 w 1154113"/>
                    <a:gd name="connsiteY9" fmla="*/ 227168 h 963613"/>
                    <a:gd name="connsiteX10" fmla="*/ 974835 w 1154113"/>
                    <a:gd name="connsiteY10" fmla="*/ 227168 h 963613"/>
                    <a:gd name="connsiteX11" fmla="*/ 990546 w 1154113"/>
                    <a:gd name="connsiteY11" fmla="*/ 211469 h 963613"/>
                    <a:gd name="connsiteX12" fmla="*/ 990546 w 1154113"/>
                    <a:gd name="connsiteY12" fmla="*/ 150813 h 963613"/>
                    <a:gd name="connsiteX13" fmla="*/ 1061247 w 1154113"/>
                    <a:gd name="connsiteY13" fmla="*/ 150813 h 963613"/>
                    <a:gd name="connsiteX14" fmla="*/ 1068388 w 1154113"/>
                    <a:gd name="connsiteY14" fmla="*/ 157949 h 963613"/>
                    <a:gd name="connsiteX15" fmla="*/ 1068388 w 1154113"/>
                    <a:gd name="connsiteY15" fmla="*/ 362752 h 963613"/>
                    <a:gd name="connsiteX16" fmla="*/ 1061247 w 1154113"/>
                    <a:gd name="connsiteY16" fmla="*/ 369888 h 963613"/>
                    <a:gd name="connsiteX17" fmla="*/ 92866 w 1154113"/>
                    <a:gd name="connsiteY17" fmla="*/ 369888 h 963613"/>
                    <a:gd name="connsiteX18" fmla="*/ 85725 w 1154113"/>
                    <a:gd name="connsiteY18" fmla="*/ 362752 h 963613"/>
                    <a:gd name="connsiteX19" fmla="*/ 85725 w 1154113"/>
                    <a:gd name="connsiteY19" fmla="*/ 157949 h 963613"/>
                    <a:gd name="connsiteX20" fmla="*/ 92866 w 1154113"/>
                    <a:gd name="connsiteY20" fmla="*/ 150813 h 963613"/>
                    <a:gd name="connsiteX21" fmla="*/ 336550 w 1154113"/>
                    <a:gd name="connsiteY21" fmla="*/ 71438 h 963613"/>
                    <a:gd name="connsiteX22" fmla="*/ 817563 w 1154113"/>
                    <a:gd name="connsiteY22" fmla="*/ 71438 h 963613"/>
                    <a:gd name="connsiteX23" fmla="*/ 817563 w 1154113"/>
                    <a:gd name="connsiteY23" fmla="*/ 101601 h 963613"/>
                    <a:gd name="connsiteX24" fmla="*/ 336550 w 1154113"/>
                    <a:gd name="connsiteY24" fmla="*/ 101601 h 963613"/>
                    <a:gd name="connsiteX25" fmla="*/ 15712 w 1154113"/>
                    <a:gd name="connsiteY25" fmla="*/ 71438 h 963613"/>
                    <a:gd name="connsiteX26" fmla="*/ 163547 w 1154113"/>
                    <a:gd name="connsiteY26" fmla="*/ 71438 h 963613"/>
                    <a:gd name="connsiteX27" fmla="*/ 163547 w 1154113"/>
                    <a:gd name="connsiteY27" fmla="*/ 102843 h 963613"/>
                    <a:gd name="connsiteX28" fmla="*/ 31424 w 1154113"/>
                    <a:gd name="connsiteY28" fmla="*/ 102843 h 963613"/>
                    <a:gd name="connsiteX29" fmla="*/ 31424 w 1154113"/>
                    <a:gd name="connsiteY29" fmla="*/ 932209 h 963613"/>
                    <a:gd name="connsiteX30" fmla="*/ 1122689 w 1154113"/>
                    <a:gd name="connsiteY30" fmla="*/ 932209 h 963613"/>
                    <a:gd name="connsiteX31" fmla="*/ 1122689 w 1154113"/>
                    <a:gd name="connsiteY31" fmla="*/ 102843 h 963613"/>
                    <a:gd name="connsiteX32" fmla="*/ 990566 w 1154113"/>
                    <a:gd name="connsiteY32" fmla="*/ 102843 h 963613"/>
                    <a:gd name="connsiteX33" fmla="*/ 990566 w 1154113"/>
                    <a:gd name="connsiteY33" fmla="*/ 71438 h 963613"/>
                    <a:gd name="connsiteX34" fmla="*/ 1138401 w 1154113"/>
                    <a:gd name="connsiteY34" fmla="*/ 71438 h 963613"/>
                    <a:gd name="connsiteX35" fmla="*/ 1154113 w 1154113"/>
                    <a:gd name="connsiteY35" fmla="*/ 87140 h 963613"/>
                    <a:gd name="connsiteX36" fmla="*/ 1154113 w 1154113"/>
                    <a:gd name="connsiteY36" fmla="*/ 947911 h 963613"/>
                    <a:gd name="connsiteX37" fmla="*/ 1138401 w 1154113"/>
                    <a:gd name="connsiteY37" fmla="*/ 963613 h 963613"/>
                    <a:gd name="connsiteX38" fmla="*/ 15712 w 1154113"/>
                    <a:gd name="connsiteY38" fmla="*/ 963613 h 963613"/>
                    <a:gd name="connsiteX39" fmla="*/ 0 w 1154113"/>
                    <a:gd name="connsiteY39" fmla="*/ 947911 h 963613"/>
                    <a:gd name="connsiteX40" fmla="*/ 0 w 1154113"/>
                    <a:gd name="connsiteY40" fmla="*/ 87140 h 963613"/>
                    <a:gd name="connsiteX41" fmla="*/ 15712 w 1154113"/>
                    <a:gd name="connsiteY41" fmla="*/ 71438 h 963613"/>
                    <a:gd name="connsiteX42" fmla="*/ 856425 w 1154113"/>
                    <a:gd name="connsiteY42" fmla="*/ 0 h 963613"/>
                    <a:gd name="connsiteX43" fmla="*/ 951737 w 1154113"/>
                    <a:gd name="connsiteY43" fmla="*/ 0 h 963613"/>
                    <a:gd name="connsiteX44" fmla="*/ 958850 w 1154113"/>
                    <a:gd name="connsiteY44" fmla="*/ 7153 h 963613"/>
                    <a:gd name="connsiteX45" fmla="*/ 958850 w 1154113"/>
                    <a:gd name="connsiteY45" fmla="*/ 70095 h 963613"/>
                    <a:gd name="connsiteX46" fmla="*/ 958850 w 1154113"/>
                    <a:gd name="connsiteY46" fmla="*/ 101565 h 963613"/>
                    <a:gd name="connsiteX47" fmla="*/ 958850 w 1154113"/>
                    <a:gd name="connsiteY47" fmla="*/ 150202 h 963613"/>
                    <a:gd name="connsiteX48" fmla="*/ 958850 w 1154113"/>
                    <a:gd name="connsiteY48" fmla="*/ 188111 h 963613"/>
                    <a:gd name="connsiteX49" fmla="*/ 951737 w 1154113"/>
                    <a:gd name="connsiteY49" fmla="*/ 195263 h 963613"/>
                    <a:gd name="connsiteX50" fmla="*/ 856425 w 1154113"/>
                    <a:gd name="connsiteY50" fmla="*/ 195263 h 963613"/>
                    <a:gd name="connsiteX51" fmla="*/ 849312 w 1154113"/>
                    <a:gd name="connsiteY51" fmla="*/ 188111 h 963613"/>
                    <a:gd name="connsiteX52" fmla="*/ 849312 w 1154113"/>
                    <a:gd name="connsiteY52" fmla="*/ 150202 h 963613"/>
                    <a:gd name="connsiteX53" fmla="*/ 849312 w 1154113"/>
                    <a:gd name="connsiteY53" fmla="*/ 101565 h 963613"/>
                    <a:gd name="connsiteX54" fmla="*/ 849312 w 1154113"/>
                    <a:gd name="connsiteY54" fmla="*/ 70095 h 963613"/>
                    <a:gd name="connsiteX55" fmla="*/ 849312 w 1154113"/>
                    <a:gd name="connsiteY55" fmla="*/ 7153 h 963613"/>
                    <a:gd name="connsiteX56" fmla="*/ 856425 w 1154113"/>
                    <a:gd name="connsiteY56" fmla="*/ 0 h 963613"/>
                    <a:gd name="connsiteX57" fmla="*/ 202375 w 1154113"/>
                    <a:gd name="connsiteY57" fmla="*/ 0 h 963613"/>
                    <a:gd name="connsiteX58" fmla="*/ 297687 w 1154113"/>
                    <a:gd name="connsiteY58" fmla="*/ 0 h 963613"/>
                    <a:gd name="connsiteX59" fmla="*/ 304800 w 1154113"/>
                    <a:gd name="connsiteY59" fmla="*/ 7153 h 963613"/>
                    <a:gd name="connsiteX60" fmla="*/ 304800 w 1154113"/>
                    <a:gd name="connsiteY60" fmla="*/ 70095 h 963613"/>
                    <a:gd name="connsiteX61" fmla="*/ 304800 w 1154113"/>
                    <a:gd name="connsiteY61" fmla="*/ 101565 h 963613"/>
                    <a:gd name="connsiteX62" fmla="*/ 304800 w 1154113"/>
                    <a:gd name="connsiteY62" fmla="*/ 150202 h 963613"/>
                    <a:gd name="connsiteX63" fmla="*/ 304800 w 1154113"/>
                    <a:gd name="connsiteY63" fmla="*/ 188111 h 963613"/>
                    <a:gd name="connsiteX64" fmla="*/ 297687 w 1154113"/>
                    <a:gd name="connsiteY64" fmla="*/ 195263 h 963613"/>
                    <a:gd name="connsiteX65" fmla="*/ 202375 w 1154113"/>
                    <a:gd name="connsiteY65" fmla="*/ 195263 h 963613"/>
                    <a:gd name="connsiteX66" fmla="*/ 195262 w 1154113"/>
                    <a:gd name="connsiteY66" fmla="*/ 188111 h 963613"/>
                    <a:gd name="connsiteX67" fmla="*/ 195262 w 1154113"/>
                    <a:gd name="connsiteY67" fmla="*/ 150202 h 963613"/>
                    <a:gd name="connsiteX68" fmla="*/ 195262 w 1154113"/>
                    <a:gd name="connsiteY68" fmla="*/ 101565 h 963613"/>
                    <a:gd name="connsiteX69" fmla="*/ 195262 w 1154113"/>
                    <a:gd name="connsiteY69" fmla="*/ 70095 h 963613"/>
                    <a:gd name="connsiteX70" fmla="*/ 195262 w 1154113"/>
                    <a:gd name="connsiteY70" fmla="*/ 7153 h 963613"/>
                    <a:gd name="connsiteX71" fmla="*/ 202375 w 1154113"/>
                    <a:gd name="connsiteY71" fmla="*/ 0 h 963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</a:cxnLst>
                  <a:rect l="l" t="t" r="r" b="b"/>
                  <a:pathLst>
                    <a:path w="1154113" h="963613">
                      <a:moveTo>
                        <a:pt x="92866" y="150813"/>
                      </a:moveTo>
                      <a:cubicBezTo>
                        <a:pt x="92866" y="150813"/>
                        <a:pt x="92866" y="150813"/>
                        <a:pt x="163567" y="150813"/>
                      </a:cubicBezTo>
                      <a:lnTo>
                        <a:pt x="163567" y="211469"/>
                      </a:lnTo>
                      <a:cubicBezTo>
                        <a:pt x="163567" y="220032"/>
                        <a:pt x="170708" y="227168"/>
                        <a:pt x="179278" y="227168"/>
                      </a:cubicBezTo>
                      <a:cubicBezTo>
                        <a:pt x="179278" y="227168"/>
                        <a:pt x="179278" y="227168"/>
                        <a:pt x="320678" y="227168"/>
                      </a:cubicBezTo>
                      <a:cubicBezTo>
                        <a:pt x="329248" y="227168"/>
                        <a:pt x="336390" y="220032"/>
                        <a:pt x="336390" y="211469"/>
                      </a:cubicBezTo>
                      <a:cubicBezTo>
                        <a:pt x="336390" y="211469"/>
                        <a:pt x="336390" y="211469"/>
                        <a:pt x="336390" y="150813"/>
                      </a:cubicBezTo>
                      <a:cubicBezTo>
                        <a:pt x="336390" y="150813"/>
                        <a:pt x="336390" y="150813"/>
                        <a:pt x="817723" y="150813"/>
                      </a:cubicBezTo>
                      <a:cubicBezTo>
                        <a:pt x="817723" y="150813"/>
                        <a:pt x="817723" y="150813"/>
                        <a:pt x="817723" y="211469"/>
                      </a:cubicBezTo>
                      <a:cubicBezTo>
                        <a:pt x="817723" y="220032"/>
                        <a:pt x="824864" y="227168"/>
                        <a:pt x="833434" y="227168"/>
                      </a:cubicBezTo>
                      <a:cubicBezTo>
                        <a:pt x="833434" y="227168"/>
                        <a:pt x="833434" y="227168"/>
                        <a:pt x="974835" y="227168"/>
                      </a:cubicBezTo>
                      <a:cubicBezTo>
                        <a:pt x="983405" y="227168"/>
                        <a:pt x="990546" y="220032"/>
                        <a:pt x="990546" y="211469"/>
                      </a:cubicBezTo>
                      <a:cubicBezTo>
                        <a:pt x="990546" y="211469"/>
                        <a:pt x="990546" y="211469"/>
                        <a:pt x="990546" y="150813"/>
                      </a:cubicBezTo>
                      <a:cubicBezTo>
                        <a:pt x="990546" y="150813"/>
                        <a:pt x="990546" y="150813"/>
                        <a:pt x="1061247" y="150813"/>
                      </a:cubicBezTo>
                      <a:cubicBezTo>
                        <a:pt x="1065532" y="150813"/>
                        <a:pt x="1068388" y="154381"/>
                        <a:pt x="1068388" y="157949"/>
                      </a:cubicBezTo>
                      <a:cubicBezTo>
                        <a:pt x="1068388" y="157949"/>
                        <a:pt x="1068388" y="157949"/>
                        <a:pt x="1068388" y="362752"/>
                      </a:cubicBezTo>
                      <a:cubicBezTo>
                        <a:pt x="1068388" y="367034"/>
                        <a:pt x="1065532" y="369888"/>
                        <a:pt x="1061247" y="369888"/>
                      </a:cubicBezTo>
                      <a:cubicBezTo>
                        <a:pt x="1061247" y="369888"/>
                        <a:pt x="1061247" y="369888"/>
                        <a:pt x="92866" y="369888"/>
                      </a:cubicBezTo>
                      <a:cubicBezTo>
                        <a:pt x="88581" y="369888"/>
                        <a:pt x="85725" y="367034"/>
                        <a:pt x="85725" y="362752"/>
                      </a:cubicBezTo>
                      <a:cubicBezTo>
                        <a:pt x="85725" y="362752"/>
                        <a:pt x="85725" y="362752"/>
                        <a:pt x="85725" y="157949"/>
                      </a:cubicBezTo>
                      <a:cubicBezTo>
                        <a:pt x="85725" y="154381"/>
                        <a:pt x="88581" y="150813"/>
                        <a:pt x="92866" y="150813"/>
                      </a:cubicBezTo>
                      <a:close/>
                      <a:moveTo>
                        <a:pt x="336550" y="71438"/>
                      </a:moveTo>
                      <a:lnTo>
                        <a:pt x="817563" y="71438"/>
                      </a:lnTo>
                      <a:lnTo>
                        <a:pt x="817563" y="101601"/>
                      </a:lnTo>
                      <a:lnTo>
                        <a:pt x="336550" y="101601"/>
                      </a:lnTo>
                      <a:close/>
                      <a:moveTo>
                        <a:pt x="15712" y="71438"/>
                      </a:moveTo>
                      <a:cubicBezTo>
                        <a:pt x="15712" y="71438"/>
                        <a:pt x="15712" y="71438"/>
                        <a:pt x="163547" y="71438"/>
                      </a:cubicBezTo>
                      <a:cubicBezTo>
                        <a:pt x="163547" y="71438"/>
                        <a:pt x="163547" y="71438"/>
                        <a:pt x="163547" y="102843"/>
                      </a:cubicBezTo>
                      <a:cubicBezTo>
                        <a:pt x="163547" y="102843"/>
                        <a:pt x="163547" y="102843"/>
                        <a:pt x="31424" y="102843"/>
                      </a:cubicBezTo>
                      <a:cubicBezTo>
                        <a:pt x="31424" y="102843"/>
                        <a:pt x="31424" y="102843"/>
                        <a:pt x="31424" y="932209"/>
                      </a:cubicBezTo>
                      <a:cubicBezTo>
                        <a:pt x="31424" y="932209"/>
                        <a:pt x="31424" y="932209"/>
                        <a:pt x="1122689" y="932209"/>
                      </a:cubicBezTo>
                      <a:cubicBezTo>
                        <a:pt x="1122689" y="932209"/>
                        <a:pt x="1122689" y="932209"/>
                        <a:pt x="1122689" y="102843"/>
                      </a:cubicBezTo>
                      <a:cubicBezTo>
                        <a:pt x="1122689" y="102843"/>
                        <a:pt x="1122689" y="102843"/>
                        <a:pt x="990566" y="102843"/>
                      </a:cubicBezTo>
                      <a:cubicBezTo>
                        <a:pt x="990566" y="102843"/>
                        <a:pt x="990566" y="102843"/>
                        <a:pt x="990566" y="71438"/>
                      </a:cubicBezTo>
                      <a:cubicBezTo>
                        <a:pt x="990566" y="71438"/>
                        <a:pt x="990566" y="71438"/>
                        <a:pt x="1138401" y="71438"/>
                      </a:cubicBezTo>
                      <a:cubicBezTo>
                        <a:pt x="1146971" y="71438"/>
                        <a:pt x="1154113" y="78576"/>
                        <a:pt x="1154113" y="87140"/>
                      </a:cubicBezTo>
                      <a:cubicBezTo>
                        <a:pt x="1154113" y="87140"/>
                        <a:pt x="1154113" y="87140"/>
                        <a:pt x="1154113" y="947911"/>
                      </a:cubicBezTo>
                      <a:cubicBezTo>
                        <a:pt x="1154113" y="956476"/>
                        <a:pt x="1146971" y="963613"/>
                        <a:pt x="1138401" y="963613"/>
                      </a:cubicBezTo>
                      <a:cubicBezTo>
                        <a:pt x="1138401" y="963613"/>
                        <a:pt x="1138401" y="963613"/>
                        <a:pt x="15712" y="963613"/>
                      </a:cubicBezTo>
                      <a:cubicBezTo>
                        <a:pt x="7142" y="963613"/>
                        <a:pt x="0" y="956476"/>
                        <a:pt x="0" y="947911"/>
                      </a:cubicBezTo>
                      <a:cubicBezTo>
                        <a:pt x="0" y="947911"/>
                        <a:pt x="0" y="947911"/>
                        <a:pt x="0" y="87140"/>
                      </a:cubicBezTo>
                      <a:cubicBezTo>
                        <a:pt x="0" y="78576"/>
                        <a:pt x="7142" y="71438"/>
                        <a:pt x="15712" y="71438"/>
                      </a:cubicBezTo>
                      <a:close/>
                      <a:moveTo>
                        <a:pt x="856425" y="0"/>
                      </a:moveTo>
                      <a:cubicBezTo>
                        <a:pt x="856425" y="0"/>
                        <a:pt x="856425" y="0"/>
                        <a:pt x="951737" y="0"/>
                      </a:cubicBezTo>
                      <a:cubicBezTo>
                        <a:pt x="955294" y="0"/>
                        <a:pt x="958850" y="3576"/>
                        <a:pt x="958850" y="7153"/>
                      </a:cubicBezTo>
                      <a:cubicBezTo>
                        <a:pt x="958850" y="7153"/>
                        <a:pt x="958850" y="7153"/>
                        <a:pt x="958850" y="70095"/>
                      </a:cubicBezTo>
                      <a:cubicBezTo>
                        <a:pt x="958850" y="70095"/>
                        <a:pt x="958850" y="70095"/>
                        <a:pt x="958850" y="101565"/>
                      </a:cubicBezTo>
                      <a:cubicBezTo>
                        <a:pt x="958850" y="101565"/>
                        <a:pt x="958850" y="101565"/>
                        <a:pt x="958850" y="150202"/>
                      </a:cubicBezTo>
                      <a:cubicBezTo>
                        <a:pt x="958850" y="150202"/>
                        <a:pt x="958850" y="150202"/>
                        <a:pt x="958850" y="188111"/>
                      </a:cubicBezTo>
                      <a:cubicBezTo>
                        <a:pt x="958850" y="192402"/>
                        <a:pt x="955294" y="195263"/>
                        <a:pt x="951737" y="195263"/>
                      </a:cubicBezTo>
                      <a:cubicBezTo>
                        <a:pt x="951737" y="195263"/>
                        <a:pt x="951737" y="195263"/>
                        <a:pt x="856425" y="195263"/>
                      </a:cubicBezTo>
                      <a:cubicBezTo>
                        <a:pt x="852869" y="195263"/>
                        <a:pt x="849312" y="192402"/>
                        <a:pt x="849312" y="188111"/>
                      </a:cubicBezTo>
                      <a:cubicBezTo>
                        <a:pt x="849312" y="188111"/>
                        <a:pt x="849312" y="188111"/>
                        <a:pt x="849312" y="150202"/>
                      </a:cubicBezTo>
                      <a:cubicBezTo>
                        <a:pt x="849312" y="150202"/>
                        <a:pt x="849312" y="150202"/>
                        <a:pt x="849312" y="101565"/>
                      </a:cubicBezTo>
                      <a:cubicBezTo>
                        <a:pt x="849312" y="101565"/>
                        <a:pt x="849312" y="101565"/>
                        <a:pt x="849312" y="70095"/>
                      </a:cubicBezTo>
                      <a:cubicBezTo>
                        <a:pt x="849312" y="70095"/>
                        <a:pt x="849312" y="70095"/>
                        <a:pt x="849312" y="7153"/>
                      </a:cubicBezTo>
                      <a:cubicBezTo>
                        <a:pt x="849312" y="3576"/>
                        <a:pt x="852869" y="0"/>
                        <a:pt x="856425" y="0"/>
                      </a:cubicBezTo>
                      <a:close/>
                      <a:moveTo>
                        <a:pt x="202375" y="0"/>
                      </a:moveTo>
                      <a:cubicBezTo>
                        <a:pt x="202375" y="0"/>
                        <a:pt x="202375" y="0"/>
                        <a:pt x="297687" y="0"/>
                      </a:cubicBezTo>
                      <a:cubicBezTo>
                        <a:pt x="301243" y="0"/>
                        <a:pt x="304800" y="3576"/>
                        <a:pt x="304800" y="7153"/>
                      </a:cubicBezTo>
                      <a:cubicBezTo>
                        <a:pt x="304800" y="7153"/>
                        <a:pt x="304800" y="7153"/>
                        <a:pt x="304800" y="70095"/>
                      </a:cubicBezTo>
                      <a:cubicBezTo>
                        <a:pt x="304800" y="70095"/>
                        <a:pt x="304800" y="70095"/>
                        <a:pt x="304800" y="101565"/>
                      </a:cubicBezTo>
                      <a:cubicBezTo>
                        <a:pt x="304800" y="101565"/>
                        <a:pt x="304800" y="101565"/>
                        <a:pt x="304800" y="150202"/>
                      </a:cubicBezTo>
                      <a:cubicBezTo>
                        <a:pt x="304800" y="150202"/>
                        <a:pt x="304800" y="150202"/>
                        <a:pt x="304800" y="188111"/>
                      </a:cubicBezTo>
                      <a:cubicBezTo>
                        <a:pt x="304800" y="192402"/>
                        <a:pt x="301243" y="195263"/>
                        <a:pt x="297687" y="195263"/>
                      </a:cubicBezTo>
                      <a:cubicBezTo>
                        <a:pt x="297687" y="195263"/>
                        <a:pt x="297687" y="195263"/>
                        <a:pt x="202375" y="195263"/>
                      </a:cubicBezTo>
                      <a:cubicBezTo>
                        <a:pt x="198818" y="195263"/>
                        <a:pt x="195262" y="192402"/>
                        <a:pt x="195262" y="188111"/>
                      </a:cubicBezTo>
                      <a:cubicBezTo>
                        <a:pt x="195262" y="188111"/>
                        <a:pt x="195262" y="188111"/>
                        <a:pt x="195262" y="150202"/>
                      </a:cubicBezTo>
                      <a:cubicBezTo>
                        <a:pt x="195262" y="150202"/>
                        <a:pt x="195262" y="150202"/>
                        <a:pt x="195262" y="101565"/>
                      </a:cubicBezTo>
                      <a:cubicBezTo>
                        <a:pt x="195262" y="101565"/>
                        <a:pt x="195262" y="101565"/>
                        <a:pt x="195262" y="70095"/>
                      </a:cubicBezTo>
                      <a:cubicBezTo>
                        <a:pt x="195262" y="70095"/>
                        <a:pt x="195262" y="70095"/>
                        <a:pt x="195262" y="7153"/>
                      </a:cubicBezTo>
                      <a:cubicBezTo>
                        <a:pt x="195262" y="3576"/>
                        <a:pt x="198818" y="0"/>
                        <a:pt x="20237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29EA7FC9-CB2E-47E1-A91C-F81DE5BDE2AC}"/>
              </a:ext>
            </a:extLst>
          </p:cNvPr>
          <p:cNvSpPr/>
          <p:nvPr/>
        </p:nvSpPr>
        <p:spPr>
          <a:xfrm>
            <a:off x="3199963" y="1542985"/>
            <a:ext cx="1596909" cy="605672"/>
          </a:xfrm>
          <a:prstGeom prst="round2Same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197B51E0-5389-4912-8774-D8207D4C78EF}"/>
              </a:ext>
            </a:extLst>
          </p:cNvPr>
          <p:cNvGrpSpPr/>
          <p:nvPr/>
        </p:nvGrpSpPr>
        <p:grpSpPr>
          <a:xfrm>
            <a:off x="3294669" y="1624019"/>
            <a:ext cx="448056" cy="443605"/>
            <a:chOff x="4933236" y="2265159"/>
            <a:chExt cx="2325527" cy="2327682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643C05DC-815D-48BB-B50B-0C4C127537A5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933236" y="2265159"/>
              <a:ext cx="2325527" cy="2327682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1B32DA0-03A7-41FE-AB9F-7CE90287EF5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73802" y="2606040"/>
              <a:ext cx="1644396" cy="1645920"/>
              <a:chOff x="5273799" y="2606040"/>
              <a:chExt cx="1644396" cy="1645920"/>
            </a:xfrm>
          </p:grpSpPr>
          <p:sp>
            <p:nvSpPr>
              <p:cNvPr id="98" name="AutoShape 13">
                <a:extLst>
                  <a:ext uri="{FF2B5EF4-FFF2-40B4-BE49-F238E27FC236}">
                    <a16:creationId xmlns:a16="http://schemas.microsoft.com/office/drawing/2014/main" id="{37195747-3390-414D-A19D-FDA3115647B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15904FED-0864-455C-9A03-974326EF5B24}"/>
                  </a:ext>
                </a:extLst>
              </p:cNvPr>
              <p:cNvGrpSpPr/>
              <p:nvPr/>
            </p:nvGrpSpPr>
            <p:grpSpPr>
              <a:xfrm>
                <a:off x="5407149" y="2775204"/>
                <a:ext cx="1379220" cy="1306068"/>
                <a:chOff x="5407149" y="2775204"/>
                <a:chExt cx="1379220" cy="1306068"/>
              </a:xfrm>
            </p:grpSpPr>
            <p:sp>
              <p:nvSpPr>
                <p:cNvPr id="100" name="Freeform 15">
                  <a:extLst>
                    <a:ext uri="{FF2B5EF4-FFF2-40B4-BE49-F238E27FC236}">
                      <a16:creationId xmlns:a16="http://schemas.microsoft.com/office/drawing/2014/main" id="{F87AA19F-4829-4F8E-B2AA-3FAA93CDC7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602983" y="3357372"/>
                  <a:ext cx="987552" cy="308229"/>
                </a:xfrm>
                <a:custGeom>
                  <a:avLst/>
                  <a:gdLst>
                    <a:gd name="T0" fmla="*/ 10 w 1384"/>
                    <a:gd name="T1" fmla="*/ 183 h 431"/>
                    <a:gd name="T2" fmla="*/ 0 w 1384"/>
                    <a:gd name="T3" fmla="*/ 10 h 431"/>
                    <a:gd name="T4" fmla="*/ 292 w 1384"/>
                    <a:gd name="T5" fmla="*/ 0 h 431"/>
                    <a:gd name="T6" fmla="*/ 302 w 1384"/>
                    <a:gd name="T7" fmla="*/ 173 h 431"/>
                    <a:gd name="T8" fmla="*/ 662 w 1384"/>
                    <a:gd name="T9" fmla="*/ 173 h 431"/>
                    <a:gd name="T10" fmla="*/ 652 w 1384"/>
                    <a:gd name="T11" fmla="*/ 0 h 431"/>
                    <a:gd name="T12" fmla="*/ 361 w 1384"/>
                    <a:gd name="T13" fmla="*/ 10 h 431"/>
                    <a:gd name="T14" fmla="*/ 371 w 1384"/>
                    <a:gd name="T15" fmla="*/ 183 h 431"/>
                    <a:gd name="T16" fmla="*/ 662 w 1384"/>
                    <a:gd name="T17" fmla="*/ 173 h 431"/>
                    <a:gd name="T18" fmla="*/ 1023 w 1384"/>
                    <a:gd name="T19" fmla="*/ 10 h 431"/>
                    <a:gd name="T20" fmla="*/ 732 w 1384"/>
                    <a:gd name="T21" fmla="*/ 0 h 431"/>
                    <a:gd name="T22" fmla="*/ 722 w 1384"/>
                    <a:gd name="T23" fmla="*/ 173 h 431"/>
                    <a:gd name="T24" fmla="*/ 1013 w 1384"/>
                    <a:gd name="T25" fmla="*/ 183 h 431"/>
                    <a:gd name="T26" fmla="*/ 1384 w 1384"/>
                    <a:gd name="T27" fmla="*/ 173 h 431"/>
                    <a:gd name="T28" fmla="*/ 1374 w 1384"/>
                    <a:gd name="T29" fmla="*/ 0 h 431"/>
                    <a:gd name="T30" fmla="*/ 1082 w 1384"/>
                    <a:gd name="T31" fmla="*/ 10 h 431"/>
                    <a:gd name="T32" fmla="*/ 1092 w 1384"/>
                    <a:gd name="T33" fmla="*/ 183 h 431"/>
                    <a:gd name="T34" fmla="*/ 1384 w 1384"/>
                    <a:gd name="T35" fmla="*/ 173 h 431"/>
                    <a:gd name="T36" fmla="*/ 302 w 1384"/>
                    <a:gd name="T37" fmla="*/ 258 h 431"/>
                    <a:gd name="T38" fmla="*/ 10 w 1384"/>
                    <a:gd name="T39" fmla="*/ 248 h 431"/>
                    <a:gd name="T40" fmla="*/ 0 w 1384"/>
                    <a:gd name="T41" fmla="*/ 421 h 431"/>
                    <a:gd name="T42" fmla="*/ 292 w 1384"/>
                    <a:gd name="T43" fmla="*/ 431 h 431"/>
                    <a:gd name="T44" fmla="*/ 662 w 1384"/>
                    <a:gd name="T45" fmla="*/ 421 h 431"/>
                    <a:gd name="T46" fmla="*/ 652 w 1384"/>
                    <a:gd name="T47" fmla="*/ 248 h 431"/>
                    <a:gd name="T48" fmla="*/ 361 w 1384"/>
                    <a:gd name="T49" fmla="*/ 258 h 431"/>
                    <a:gd name="T50" fmla="*/ 371 w 1384"/>
                    <a:gd name="T51" fmla="*/ 431 h 431"/>
                    <a:gd name="T52" fmla="*/ 662 w 1384"/>
                    <a:gd name="T53" fmla="*/ 421 h 431"/>
                    <a:gd name="T54" fmla="*/ 1023 w 1384"/>
                    <a:gd name="T55" fmla="*/ 258 h 431"/>
                    <a:gd name="T56" fmla="*/ 732 w 1384"/>
                    <a:gd name="T57" fmla="*/ 248 h 431"/>
                    <a:gd name="T58" fmla="*/ 722 w 1384"/>
                    <a:gd name="T59" fmla="*/ 421 h 431"/>
                    <a:gd name="T60" fmla="*/ 1013 w 1384"/>
                    <a:gd name="T61" fmla="*/ 431 h 431"/>
                    <a:gd name="T62" fmla="*/ 1384 w 1384"/>
                    <a:gd name="T63" fmla="*/ 421 h 431"/>
                    <a:gd name="T64" fmla="*/ 1374 w 1384"/>
                    <a:gd name="T65" fmla="*/ 248 h 431"/>
                    <a:gd name="T66" fmla="*/ 1082 w 1384"/>
                    <a:gd name="T67" fmla="*/ 258 h 431"/>
                    <a:gd name="T68" fmla="*/ 1092 w 1384"/>
                    <a:gd name="T69" fmla="*/ 431 h 431"/>
                    <a:gd name="T70" fmla="*/ 1384 w 1384"/>
                    <a:gd name="T71" fmla="*/ 421 h 4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384" h="431">
                      <a:moveTo>
                        <a:pt x="292" y="183"/>
                      </a:moveTo>
                      <a:cubicBezTo>
                        <a:pt x="10" y="183"/>
                        <a:pt x="10" y="183"/>
                        <a:pt x="10" y="183"/>
                      </a:cubicBezTo>
                      <a:cubicBezTo>
                        <a:pt x="4" y="183"/>
                        <a:pt x="0" y="179"/>
                        <a:pt x="0" y="173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5"/>
                        <a:pt x="4" y="0"/>
                        <a:pt x="10" y="0"/>
                      </a:cubicBezTo>
                      <a:cubicBezTo>
                        <a:pt x="292" y="0"/>
                        <a:pt x="292" y="0"/>
                        <a:pt x="292" y="0"/>
                      </a:cubicBezTo>
                      <a:cubicBezTo>
                        <a:pt x="297" y="0"/>
                        <a:pt x="302" y="5"/>
                        <a:pt x="302" y="10"/>
                      </a:cubicBezTo>
                      <a:cubicBezTo>
                        <a:pt x="302" y="173"/>
                        <a:pt x="302" y="173"/>
                        <a:pt x="302" y="173"/>
                      </a:cubicBezTo>
                      <a:cubicBezTo>
                        <a:pt x="302" y="179"/>
                        <a:pt x="297" y="183"/>
                        <a:pt x="292" y="183"/>
                      </a:cubicBezTo>
                      <a:close/>
                      <a:moveTo>
                        <a:pt x="662" y="173"/>
                      </a:moveTo>
                      <a:cubicBezTo>
                        <a:pt x="662" y="10"/>
                        <a:pt x="662" y="10"/>
                        <a:pt x="662" y="10"/>
                      </a:cubicBezTo>
                      <a:cubicBezTo>
                        <a:pt x="662" y="5"/>
                        <a:pt x="658" y="0"/>
                        <a:pt x="652" y="0"/>
                      </a:cubicBezTo>
                      <a:cubicBezTo>
                        <a:pt x="371" y="0"/>
                        <a:pt x="371" y="0"/>
                        <a:pt x="371" y="0"/>
                      </a:cubicBezTo>
                      <a:cubicBezTo>
                        <a:pt x="365" y="0"/>
                        <a:pt x="361" y="5"/>
                        <a:pt x="361" y="10"/>
                      </a:cubicBezTo>
                      <a:cubicBezTo>
                        <a:pt x="361" y="173"/>
                        <a:pt x="361" y="173"/>
                        <a:pt x="361" y="173"/>
                      </a:cubicBezTo>
                      <a:cubicBezTo>
                        <a:pt x="361" y="179"/>
                        <a:pt x="365" y="183"/>
                        <a:pt x="371" y="183"/>
                      </a:cubicBezTo>
                      <a:cubicBezTo>
                        <a:pt x="652" y="183"/>
                        <a:pt x="652" y="183"/>
                        <a:pt x="652" y="183"/>
                      </a:cubicBezTo>
                      <a:cubicBezTo>
                        <a:pt x="658" y="183"/>
                        <a:pt x="662" y="179"/>
                        <a:pt x="662" y="173"/>
                      </a:cubicBezTo>
                      <a:close/>
                      <a:moveTo>
                        <a:pt x="1023" y="173"/>
                      </a:moveTo>
                      <a:cubicBezTo>
                        <a:pt x="1023" y="10"/>
                        <a:pt x="1023" y="10"/>
                        <a:pt x="1023" y="10"/>
                      </a:cubicBezTo>
                      <a:cubicBezTo>
                        <a:pt x="1023" y="5"/>
                        <a:pt x="1019" y="0"/>
                        <a:pt x="1013" y="0"/>
                      </a:cubicBezTo>
                      <a:cubicBezTo>
                        <a:pt x="732" y="0"/>
                        <a:pt x="732" y="0"/>
                        <a:pt x="732" y="0"/>
                      </a:cubicBezTo>
                      <a:cubicBezTo>
                        <a:pt x="726" y="0"/>
                        <a:pt x="722" y="5"/>
                        <a:pt x="722" y="10"/>
                      </a:cubicBezTo>
                      <a:cubicBezTo>
                        <a:pt x="722" y="173"/>
                        <a:pt x="722" y="173"/>
                        <a:pt x="722" y="173"/>
                      </a:cubicBezTo>
                      <a:cubicBezTo>
                        <a:pt x="722" y="179"/>
                        <a:pt x="726" y="183"/>
                        <a:pt x="732" y="183"/>
                      </a:cubicBezTo>
                      <a:cubicBezTo>
                        <a:pt x="1013" y="183"/>
                        <a:pt x="1013" y="183"/>
                        <a:pt x="1013" y="183"/>
                      </a:cubicBezTo>
                      <a:cubicBezTo>
                        <a:pt x="1019" y="183"/>
                        <a:pt x="1023" y="179"/>
                        <a:pt x="1023" y="173"/>
                      </a:cubicBezTo>
                      <a:close/>
                      <a:moveTo>
                        <a:pt x="1384" y="173"/>
                      </a:moveTo>
                      <a:cubicBezTo>
                        <a:pt x="1384" y="10"/>
                        <a:pt x="1384" y="10"/>
                        <a:pt x="1384" y="10"/>
                      </a:cubicBezTo>
                      <a:cubicBezTo>
                        <a:pt x="1384" y="5"/>
                        <a:pt x="1380" y="0"/>
                        <a:pt x="1374" y="0"/>
                      </a:cubicBezTo>
                      <a:cubicBezTo>
                        <a:pt x="1092" y="0"/>
                        <a:pt x="1092" y="0"/>
                        <a:pt x="1092" y="0"/>
                      </a:cubicBezTo>
                      <a:cubicBezTo>
                        <a:pt x="1087" y="0"/>
                        <a:pt x="1082" y="5"/>
                        <a:pt x="1082" y="10"/>
                      </a:cubicBezTo>
                      <a:cubicBezTo>
                        <a:pt x="1082" y="173"/>
                        <a:pt x="1082" y="173"/>
                        <a:pt x="1082" y="173"/>
                      </a:cubicBezTo>
                      <a:cubicBezTo>
                        <a:pt x="1082" y="179"/>
                        <a:pt x="1087" y="183"/>
                        <a:pt x="1092" y="183"/>
                      </a:cubicBezTo>
                      <a:cubicBezTo>
                        <a:pt x="1374" y="183"/>
                        <a:pt x="1374" y="183"/>
                        <a:pt x="1374" y="183"/>
                      </a:cubicBezTo>
                      <a:cubicBezTo>
                        <a:pt x="1380" y="183"/>
                        <a:pt x="1384" y="179"/>
                        <a:pt x="1384" y="173"/>
                      </a:cubicBezTo>
                      <a:close/>
                      <a:moveTo>
                        <a:pt x="302" y="421"/>
                      </a:moveTo>
                      <a:cubicBezTo>
                        <a:pt x="302" y="258"/>
                        <a:pt x="302" y="258"/>
                        <a:pt x="302" y="258"/>
                      </a:cubicBezTo>
                      <a:cubicBezTo>
                        <a:pt x="302" y="253"/>
                        <a:pt x="297" y="248"/>
                        <a:pt x="292" y="248"/>
                      </a:cubicBezTo>
                      <a:cubicBezTo>
                        <a:pt x="10" y="248"/>
                        <a:pt x="10" y="248"/>
                        <a:pt x="10" y="248"/>
                      </a:cubicBezTo>
                      <a:cubicBezTo>
                        <a:pt x="4" y="248"/>
                        <a:pt x="0" y="253"/>
                        <a:pt x="0" y="258"/>
                      </a:cubicBezTo>
                      <a:cubicBezTo>
                        <a:pt x="0" y="421"/>
                        <a:pt x="0" y="421"/>
                        <a:pt x="0" y="421"/>
                      </a:cubicBezTo>
                      <a:cubicBezTo>
                        <a:pt x="0" y="427"/>
                        <a:pt x="4" y="431"/>
                        <a:pt x="10" y="431"/>
                      </a:cubicBezTo>
                      <a:cubicBezTo>
                        <a:pt x="292" y="431"/>
                        <a:pt x="292" y="431"/>
                        <a:pt x="292" y="431"/>
                      </a:cubicBezTo>
                      <a:cubicBezTo>
                        <a:pt x="297" y="431"/>
                        <a:pt x="302" y="427"/>
                        <a:pt x="302" y="421"/>
                      </a:cubicBezTo>
                      <a:close/>
                      <a:moveTo>
                        <a:pt x="662" y="421"/>
                      </a:moveTo>
                      <a:cubicBezTo>
                        <a:pt x="662" y="258"/>
                        <a:pt x="662" y="258"/>
                        <a:pt x="662" y="258"/>
                      </a:cubicBezTo>
                      <a:cubicBezTo>
                        <a:pt x="662" y="253"/>
                        <a:pt x="658" y="248"/>
                        <a:pt x="65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5" y="248"/>
                        <a:pt x="361" y="253"/>
                        <a:pt x="361" y="258"/>
                      </a:cubicBezTo>
                      <a:cubicBezTo>
                        <a:pt x="361" y="421"/>
                        <a:pt x="361" y="421"/>
                        <a:pt x="361" y="421"/>
                      </a:cubicBezTo>
                      <a:cubicBezTo>
                        <a:pt x="361" y="427"/>
                        <a:pt x="365" y="431"/>
                        <a:pt x="371" y="431"/>
                      </a:cubicBezTo>
                      <a:cubicBezTo>
                        <a:pt x="652" y="431"/>
                        <a:pt x="652" y="431"/>
                        <a:pt x="652" y="431"/>
                      </a:cubicBezTo>
                      <a:cubicBezTo>
                        <a:pt x="658" y="431"/>
                        <a:pt x="662" y="427"/>
                        <a:pt x="662" y="421"/>
                      </a:cubicBezTo>
                      <a:close/>
                      <a:moveTo>
                        <a:pt x="1023" y="421"/>
                      </a:moveTo>
                      <a:cubicBezTo>
                        <a:pt x="1023" y="258"/>
                        <a:pt x="1023" y="258"/>
                        <a:pt x="1023" y="258"/>
                      </a:cubicBezTo>
                      <a:cubicBezTo>
                        <a:pt x="1023" y="253"/>
                        <a:pt x="1019" y="248"/>
                        <a:pt x="1013" y="248"/>
                      </a:cubicBezTo>
                      <a:cubicBezTo>
                        <a:pt x="732" y="248"/>
                        <a:pt x="732" y="248"/>
                        <a:pt x="732" y="248"/>
                      </a:cubicBezTo>
                      <a:cubicBezTo>
                        <a:pt x="726" y="248"/>
                        <a:pt x="722" y="253"/>
                        <a:pt x="722" y="258"/>
                      </a:cubicBezTo>
                      <a:cubicBezTo>
                        <a:pt x="722" y="421"/>
                        <a:pt x="722" y="421"/>
                        <a:pt x="722" y="421"/>
                      </a:cubicBezTo>
                      <a:cubicBezTo>
                        <a:pt x="722" y="427"/>
                        <a:pt x="726" y="431"/>
                        <a:pt x="732" y="431"/>
                      </a:cubicBezTo>
                      <a:cubicBezTo>
                        <a:pt x="1013" y="431"/>
                        <a:pt x="1013" y="431"/>
                        <a:pt x="1013" y="431"/>
                      </a:cubicBezTo>
                      <a:cubicBezTo>
                        <a:pt x="1019" y="431"/>
                        <a:pt x="1023" y="427"/>
                        <a:pt x="1023" y="421"/>
                      </a:cubicBezTo>
                      <a:close/>
                      <a:moveTo>
                        <a:pt x="1384" y="421"/>
                      </a:moveTo>
                      <a:cubicBezTo>
                        <a:pt x="1384" y="258"/>
                        <a:pt x="1384" y="258"/>
                        <a:pt x="1384" y="258"/>
                      </a:cubicBezTo>
                      <a:cubicBezTo>
                        <a:pt x="1384" y="253"/>
                        <a:pt x="1380" y="248"/>
                        <a:pt x="1374" y="248"/>
                      </a:cubicBezTo>
                      <a:cubicBezTo>
                        <a:pt x="1092" y="248"/>
                        <a:pt x="1092" y="248"/>
                        <a:pt x="1092" y="248"/>
                      </a:cubicBezTo>
                      <a:cubicBezTo>
                        <a:pt x="1087" y="248"/>
                        <a:pt x="1082" y="253"/>
                        <a:pt x="1082" y="258"/>
                      </a:cubicBezTo>
                      <a:cubicBezTo>
                        <a:pt x="1082" y="421"/>
                        <a:pt x="1082" y="421"/>
                        <a:pt x="1082" y="421"/>
                      </a:cubicBezTo>
                      <a:cubicBezTo>
                        <a:pt x="1082" y="427"/>
                        <a:pt x="1087" y="431"/>
                        <a:pt x="1092" y="431"/>
                      </a:cubicBezTo>
                      <a:cubicBezTo>
                        <a:pt x="1374" y="431"/>
                        <a:pt x="1374" y="431"/>
                        <a:pt x="1374" y="431"/>
                      </a:cubicBezTo>
                      <a:cubicBezTo>
                        <a:pt x="1380" y="431"/>
                        <a:pt x="1384" y="427"/>
                        <a:pt x="1384" y="421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1" name="Freeform 16">
                  <a:extLst>
                    <a:ext uri="{FF2B5EF4-FFF2-40B4-BE49-F238E27FC236}">
                      <a16:creationId xmlns:a16="http://schemas.microsoft.com/office/drawing/2014/main" id="{D5587551-985F-4143-81E2-4211697D28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07149" y="2775204"/>
                  <a:ext cx="1379220" cy="1306068"/>
                </a:xfrm>
                <a:custGeom>
                  <a:avLst/>
                  <a:gdLst>
                    <a:gd name="T0" fmla="*/ 1687 w 1932"/>
                    <a:gd name="T1" fmla="*/ 15 h 1828"/>
                    <a:gd name="T2" fmla="*/ 1735 w 1932"/>
                    <a:gd name="T3" fmla="*/ 587 h 1828"/>
                    <a:gd name="T4" fmla="*/ 1719 w 1932"/>
                    <a:gd name="T5" fmla="*/ 604 h 1828"/>
                    <a:gd name="T6" fmla="*/ 1417 w 1932"/>
                    <a:gd name="T7" fmla="*/ 604 h 1828"/>
                    <a:gd name="T8" fmla="*/ 1401 w 1932"/>
                    <a:gd name="T9" fmla="*/ 587 h 1828"/>
                    <a:gd name="T10" fmla="*/ 1449 w 1932"/>
                    <a:gd name="T11" fmla="*/ 15 h 1828"/>
                    <a:gd name="T12" fmla="*/ 1465 w 1932"/>
                    <a:gd name="T13" fmla="*/ 0 h 1828"/>
                    <a:gd name="T14" fmla="*/ 1671 w 1932"/>
                    <a:gd name="T15" fmla="*/ 0 h 1828"/>
                    <a:gd name="T16" fmla="*/ 1687 w 1932"/>
                    <a:gd name="T17" fmla="*/ 15 h 1828"/>
                    <a:gd name="T18" fmla="*/ 1932 w 1932"/>
                    <a:gd name="T19" fmla="*/ 1706 h 1828"/>
                    <a:gd name="T20" fmla="*/ 1932 w 1932"/>
                    <a:gd name="T21" fmla="*/ 1806 h 1828"/>
                    <a:gd name="T22" fmla="*/ 1910 w 1932"/>
                    <a:gd name="T23" fmla="*/ 1828 h 1828"/>
                    <a:gd name="T24" fmla="*/ 22 w 1932"/>
                    <a:gd name="T25" fmla="*/ 1828 h 1828"/>
                    <a:gd name="T26" fmla="*/ 0 w 1932"/>
                    <a:gd name="T27" fmla="*/ 1806 h 1828"/>
                    <a:gd name="T28" fmla="*/ 0 w 1932"/>
                    <a:gd name="T29" fmla="*/ 1706 h 1828"/>
                    <a:gd name="T30" fmla="*/ 22 w 1932"/>
                    <a:gd name="T31" fmla="*/ 1684 h 1828"/>
                    <a:gd name="T32" fmla="*/ 98 w 1932"/>
                    <a:gd name="T33" fmla="*/ 1684 h 1828"/>
                    <a:gd name="T34" fmla="*/ 98 w 1932"/>
                    <a:gd name="T35" fmla="*/ 1647 h 1828"/>
                    <a:gd name="T36" fmla="*/ 120 w 1932"/>
                    <a:gd name="T37" fmla="*/ 1625 h 1828"/>
                    <a:gd name="T38" fmla="*/ 1812 w 1932"/>
                    <a:gd name="T39" fmla="*/ 1625 h 1828"/>
                    <a:gd name="T40" fmla="*/ 1834 w 1932"/>
                    <a:gd name="T41" fmla="*/ 1647 h 1828"/>
                    <a:gd name="T42" fmla="*/ 1834 w 1932"/>
                    <a:gd name="T43" fmla="*/ 1684 h 1828"/>
                    <a:gd name="T44" fmla="*/ 1910 w 1932"/>
                    <a:gd name="T45" fmla="*/ 1684 h 1828"/>
                    <a:gd name="T46" fmla="*/ 1932 w 1932"/>
                    <a:gd name="T47" fmla="*/ 1706 h 1828"/>
                    <a:gd name="T48" fmla="*/ 1812 w 1932"/>
                    <a:gd name="T49" fmla="*/ 670 h 1828"/>
                    <a:gd name="T50" fmla="*/ 1790 w 1932"/>
                    <a:gd name="T51" fmla="*/ 648 h 1828"/>
                    <a:gd name="T52" fmla="*/ 1286 w 1932"/>
                    <a:gd name="T53" fmla="*/ 648 h 1828"/>
                    <a:gd name="T54" fmla="*/ 713 w 1932"/>
                    <a:gd name="T55" fmla="*/ 459 h 1828"/>
                    <a:gd name="T56" fmla="*/ 693 w 1932"/>
                    <a:gd name="T57" fmla="*/ 462 h 1828"/>
                    <a:gd name="T58" fmla="*/ 684 w 1932"/>
                    <a:gd name="T59" fmla="*/ 480 h 1828"/>
                    <a:gd name="T60" fmla="*/ 684 w 1932"/>
                    <a:gd name="T61" fmla="*/ 638 h 1828"/>
                    <a:gd name="T62" fmla="*/ 147 w 1932"/>
                    <a:gd name="T63" fmla="*/ 459 h 1828"/>
                    <a:gd name="T64" fmla="*/ 127 w 1932"/>
                    <a:gd name="T65" fmla="*/ 462 h 1828"/>
                    <a:gd name="T66" fmla="*/ 118 w 1932"/>
                    <a:gd name="T67" fmla="*/ 480 h 1828"/>
                    <a:gd name="T68" fmla="*/ 118 w 1932"/>
                    <a:gd name="T69" fmla="*/ 1581 h 1828"/>
                    <a:gd name="T70" fmla="*/ 162 w 1932"/>
                    <a:gd name="T71" fmla="*/ 1581 h 1828"/>
                    <a:gd name="T72" fmla="*/ 162 w 1932"/>
                    <a:gd name="T73" fmla="*/ 510 h 1828"/>
                    <a:gd name="T74" fmla="*/ 699 w 1932"/>
                    <a:gd name="T75" fmla="*/ 689 h 1828"/>
                    <a:gd name="T76" fmla="*/ 719 w 1932"/>
                    <a:gd name="T77" fmla="*/ 686 h 1828"/>
                    <a:gd name="T78" fmla="*/ 728 w 1932"/>
                    <a:gd name="T79" fmla="*/ 668 h 1828"/>
                    <a:gd name="T80" fmla="*/ 728 w 1932"/>
                    <a:gd name="T81" fmla="*/ 510 h 1828"/>
                    <a:gd name="T82" fmla="*/ 1275 w 1932"/>
                    <a:gd name="T83" fmla="*/ 691 h 1828"/>
                    <a:gd name="T84" fmla="*/ 1282 w 1932"/>
                    <a:gd name="T85" fmla="*/ 692 h 1828"/>
                    <a:gd name="T86" fmla="*/ 1768 w 1932"/>
                    <a:gd name="T87" fmla="*/ 692 h 1828"/>
                    <a:gd name="T88" fmla="*/ 1768 w 1932"/>
                    <a:gd name="T89" fmla="*/ 1581 h 1828"/>
                    <a:gd name="T90" fmla="*/ 1812 w 1932"/>
                    <a:gd name="T91" fmla="*/ 1581 h 1828"/>
                    <a:gd name="T92" fmla="*/ 1812 w 1932"/>
                    <a:gd name="T93" fmla="*/ 670 h 18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932" h="1828">
                      <a:moveTo>
                        <a:pt x="1687" y="15"/>
                      </a:moveTo>
                      <a:cubicBezTo>
                        <a:pt x="1735" y="587"/>
                        <a:pt x="1735" y="587"/>
                        <a:pt x="1735" y="587"/>
                      </a:cubicBezTo>
                      <a:cubicBezTo>
                        <a:pt x="1736" y="596"/>
                        <a:pt x="1728" y="604"/>
                        <a:pt x="1719" y="604"/>
                      </a:cubicBezTo>
                      <a:cubicBezTo>
                        <a:pt x="1417" y="604"/>
                        <a:pt x="1417" y="604"/>
                        <a:pt x="1417" y="604"/>
                      </a:cubicBezTo>
                      <a:cubicBezTo>
                        <a:pt x="1407" y="604"/>
                        <a:pt x="1400" y="596"/>
                        <a:pt x="1401" y="587"/>
                      </a:cubicBezTo>
                      <a:cubicBezTo>
                        <a:pt x="1449" y="15"/>
                        <a:pt x="1449" y="15"/>
                        <a:pt x="1449" y="15"/>
                      </a:cubicBezTo>
                      <a:cubicBezTo>
                        <a:pt x="1450" y="6"/>
                        <a:pt x="1457" y="0"/>
                        <a:pt x="1465" y="0"/>
                      </a:cubicBezTo>
                      <a:cubicBezTo>
                        <a:pt x="1671" y="0"/>
                        <a:pt x="1671" y="0"/>
                        <a:pt x="1671" y="0"/>
                      </a:cubicBezTo>
                      <a:cubicBezTo>
                        <a:pt x="1679" y="0"/>
                        <a:pt x="1686" y="6"/>
                        <a:pt x="1687" y="15"/>
                      </a:cubicBezTo>
                      <a:close/>
                      <a:moveTo>
                        <a:pt x="1932" y="1706"/>
                      </a:moveTo>
                      <a:cubicBezTo>
                        <a:pt x="1932" y="1806"/>
                        <a:pt x="1932" y="1806"/>
                        <a:pt x="1932" y="1806"/>
                      </a:cubicBezTo>
                      <a:cubicBezTo>
                        <a:pt x="1932" y="1818"/>
                        <a:pt x="1923" y="1828"/>
                        <a:pt x="1910" y="1828"/>
                      </a:cubicBezTo>
                      <a:cubicBezTo>
                        <a:pt x="22" y="1828"/>
                        <a:pt x="22" y="1828"/>
                        <a:pt x="22" y="1828"/>
                      </a:cubicBezTo>
                      <a:cubicBezTo>
                        <a:pt x="9" y="1828"/>
                        <a:pt x="0" y="1818"/>
                        <a:pt x="0" y="1806"/>
                      </a:cubicBezTo>
                      <a:cubicBezTo>
                        <a:pt x="0" y="1706"/>
                        <a:pt x="0" y="1706"/>
                        <a:pt x="0" y="1706"/>
                      </a:cubicBezTo>
                      <a:cubicBezTo>
                        <a:pt x="0" y="1694"/>
                        <a:pt x="9" y="1684"/>
                        <a:pt x="22" y="1684"/>
                      </a:cubicBezTo>
                      <a:cubicBezTo>
                        <a:pt x="98" y="1684"/>
                        <a:pt x="98" y="1684"/>
                        <a:pt x="98" y="1684"/>
                      </a:cubicBezTo>
                      <a:cubicBezTo>
                        <a:pt x="98" y="1647"/>
                        <a:pt x="98" y="1647"/>
                        <a:pt x="98" y="1647"/>
                      </a:cubicBezTo>
                      <a:cubicBezTo>
                        <a:pt x="98" y="1635"/>
                        <a:pt x="108" y="1625"/>
                        <a:pt x="120" y="1625"/>
                      </a:cubicBezTo>
                      <a:cubicBezTo>
                        <a:pt x="1812" y="1625"/>
                        <a:pt x="1812" y="1625"/>
                        <a:pt x="1812" y="1625"/>
                      </a:cubicBezTo>
                      <a:cubicBezTo>
                        <a:pt x="1824" y="1625"/>
                        <a:pt x="1834" y="1635"/>
                        <a:pt x="1834" y="1647"/>
                      </a:cubicBezTo>
                      <a:cubicBezTo>
                        <a:pt x="1834" y="1684"/>
                        <a:pt x="1834" y="1684"/>
                        <a:pt x="1834" y="1684"/>
                      </a:cubicBezTo>
                      <a:cubicBezTo>
                        <a:pt x="1910" y="1684"/>
                        <a:pt x="1910" y="1684"/>
                        <a:pt x="1910" y="1684"/>
                      </a:cubicBezTo>
                      <a:cubicBezTo>
                        <a:pt x="1923" y="1684"/>
                        <a:pt x="1932" y="1694"/>
                        <a:pt x="1932" y="1706"/>
                      </a:cubicBezTo>
                      <a:close/>
                      <a:moveTo>
                        <a:pt x="1812" y="670"/>
                      </a:moveTo>
                      <a:cubicBezTo>
                        <a:pt x="1812" y="658"/>
                        <a:pt x="1802" y="648"/>
                        <a:pt x="1790" y="648"/>
                      </a:cubicBezTo>
                      <a:cubicBezTo>
                        <a:pt x="1286" y="648"/>
                        <a:pt x="1286" y="648"/>
                        <a:pt x="1286" y="648"/>
                      </a:cubicBezTo>
                      <a:cubicBezTo>
                        <a:pt x="713" y="459"/>
                        <a:pt x="713" y="459"/>
                        <a:pt x="713" y="459"/>
                      </a:cubicBezTo>
                      <a:cubicBezTo>
                        <a:pt x="706" y="457"/>
                        <a:pt x="699" y="458"/>
                        <a:pt x="693" y="462"/>
                      </a:cubicBezTo>
                      <a:cubicBezTo>
                        <a:pt x="687" y="466"/>
                        <a:pt x="684" y="473"/>
                        <a:pt x="684" y="480"/>
                      </a:cubicBezTo>
                      <a:cubicBezTo>
                        <a:pt x="684" y="638"/>
                        <a:pt x="684" y="638"/>
                        <a:pt x="684" y="638"/>
                      </a:cubicBezTo>
                      <a:cubicBezTo>
                        <a:pt x="147" y="459"/>
                        <a:pt x="147" y="459"/>
                        <a:pt x="147" y="459"/>
                      </a:cubicBezTo>
                      <a:cubicBezTo>
                        <a:pt x="140" y="457"/>
                        <a:pt x="133" y="458"/>
                        <a:pt x="127" y="462"/>
                      </a:cubicBezTo>
                      <a:cubicBezTo>
                        <a:pt x="121" y="466"/>
                        <a:pt x="118" y="473"/>
                        <a:pt x="118" y="480"/>
                      </a:cubicBezTo>
                      <a:cubicBezTo>
                        <a:pt x="118" y="1581"/>
                        <a:pt x="118" y="1581"/>
                        <a:pt x="118" y="1581"/>
                      </a:cubicBezTo>
                      <a:cubicBezTo>
                        <a:pt x="162" y="1581"/>
                        <a:pt x="162" y="1581"/>
                        <a:pt x="162" y="1581"/>
                      </a:cubicBezTo>
                      <a:cubicBezTo>
                        <a:pt x="162" y="510"/>
                        <a:pt x="162" y="510"/>
                        <a:pt x="162" y="510"/>
                      </a:cubicBezTo>
                      <a:cubicBezTo>
                        <a:pt x="699" y="689"/>
                        <a:pt x="699" y="689"/>
                        <a:pt x="699" y="689"/>
                      </a:cubicBezTo>
                      <a:cubicBezTo>
                        <a:pt x="706" y="691"/>
                        <a:pt x="713" y="690"/>
                        <a:pt x="719" y="686"/>
                      </a:cubicBezTo>
                      <a:cubicBezTo>
                        <a:pt x="725" y="682"/>
                        <a:pt x="728" y="675"/>
                        <a:pt x="728" y="668"/>
                      </a:cubicBezTo>
                      <a:cubicBezTo>
                        <a:pt x="728" y="510"/>
                        <a:pt x="728" y="510"/>
                        <a:pt x="728" y="510"/>
                      </a:cubicBezTo>
                      <a:cubicBezTo>
                        <a:pt x="1275" y="691"/>
                        <a:pt x="1275" y="691"/>
                        <a:pt x="1275" y="691"/>
                      </a:cubicBezTo>
                      <a:cubicBezTo>
                        <a:pt x="1277" y="692"/>
                        <a:pt x="1280" y="692"/>
                        <a:pt x="1282" y="692"/>
                      </a:cubicBezTo>
                      <a:cubicBezTo>
                        <a:pt x="1768" y="692"/>
                        <a:pt x="1768" y="692"/>
                        <a:pt x="1768" y="692"/>
                      </a:cubicBezTo>
                      <a:cubicBezTo>
                        <a:pt x="1768" y="1581"/>
                        <a:pt x="1768" y="1581"/>
                        <a:pt x="1768" y="1581"/>
                      </a:cubicBezTo>
                      <a:cubicBezTo>
                        <a:pt x="1812" y="1581"/>
                        <a:pt x="1812" y="1581"/>
                        <a:pt x="1812" y="1581"/>
                      </a:cubicBezTo>
                      <a:lnTo>
                        <a:pt x="1812" y="67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C2E09950-C548-41EF-BAF4-0F21CBA8DAC1}"/>
              </a:ext>
            </a:extLst>
          </p:cNvPr>
          <p:cNvSpPr/>
          <p:nvPr/>
        </p:nvSpPr>
        <p:spPr>
          <a:xfrm>
            <a:off x="4891583" y="1542985"/>
            <a:ext cx="1596909" cy="605672"/>
          </a:xfrm>
          <a:prstGeom prst="round2Same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52FFD7AE-5DFE-4894-883C-EDB973FDDD99}"/>
              </a:ext>
            </a:extLst>
          </p:cNvPr>
          <p:cNvGrpSpPr/>
          <p:nvPr/>
        </p:nvGrpSpPr>
        <p:grpSpPr>
          <a:xfrm>
            <a:off x="4974516" y="1624019"/>
            <a:ext cx="448056" cy="443605"/>
            <a:chOff x="4050458" y="448551"/>
            <a:chExt cx="2325527" cy="2327682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898C0C99-A6E8-412E-A126-B348636A4BE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050458" y="448551"/>
              <a:ext cx="2325527" cy="2327682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91" name="bcgIcons_BusinessModels">
              <a:extLst>
                <a:ext uri="{FF2B5EF4-FFF2-40B4-BE49-F238E27FC236}">
                  <a16:creationId xmlns:a16="http://schemas.microsoft.com/office/drawing/2014/main" id="{B8EB5EE3-9031-428E-8089-44272899872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391024" y="789432"/>
              <a:ext cx="1644396" cy="1645920"/>
              <a:chOff x="1682" y="0"/>
              <a:chExt cx="4316" cy="4320"/>
            </a:xfrm>
          </p:grpSpPr>
          <p:sp>
            <p:nvSpPr>
              <p:cNvPr id="92" name="AutoShape 3">
                <a:extLst>
                  <a:ext uri="{FF2B5EF4-FFF2-40B4-BE49-F238E27FC236}">
                    <a16:creationId xmlns:a16="http://schemas.microsoft.com/office/drawing/2014/main" id="{D9A7E0BD-19F5-4269-819C-E99289DECEA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3" name="Freeform 4">
                <a:extLst>
                  <a:ext uri="{FF2B5EF4-FFF2-40B4-BE49-F238E27FC236}">
                    <a16:creationId xmlns:a16="http://schemas.microsoft.com/office/drawing/2014/main" id="{A83CD4F9-1EB0-4EBB-9464-DD6986AE8E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9" y="1147"/>
                <a:ext cx="2458" cy="2333"/>
              </a:xfrm>
              <a:custGeom>
                <a:avLst/>
                <a:gdLst>
                  <a:gd name="T0" fmla="*/ 44 w 1312"/>
                  <a:gd name="T1" fmla="*/ 654 h 1244"/>
                  <a:gd name="T2" fmla="*/ 132 w 1312"/>
                  <a:gd name="T3" fmla="*/ 924 h 1244"/>
                  <a:gd name="T4" fmla="*/ 91 w 1312"/>
                  <a:gd name="T5" fmla="*/ 942 h 1244"/>
                  <a:gd name="T6" fmla="*/ 0 w 1312"/>
                  <a:gd name="T7" fmla="*/ 660 h 1244"/>
                  <a:gd name="T8" fmla="*/ 44 w 1312"/>
                  <a:gd name="T9" fmla="*/ 654 h 1244"/>
                  <a:gd name="T10" fmla="*/ 1268 w 1312"/>
                  <a:gd name="T11" fmla="*/ 654 h 1244"/>
                  <a:gd name="T12" fmla="*/ 1180 w 1312"/>
                  <a:gd name="T13" fmla="*/ 924 h 1244"/>
                  <a:gd name="T14" fmla="*/ 1221 w 1312"/>
                  <a:gd name="T15" fmla="*/ 942 h 1244"/>
                  <a:gd name="T16" fmla="*/ 1312 w 1312"/>
                  <a:gd name="T17" fmla="*/ 660 h 1244"/>
                  <a:gd name="T18" fmla="*/ 1268 w 1312"/>
                  <a:gd name="T19" fmla="*/ 654 h 1244"/>
                  <a:gd name="T20" fmla="*/ 902 w 1312"/>
                  <a:gd name="T21" fmla="*/ 39 h 1244"/>
                  <a:gd name="T22" fmla="*/ 1101 w 1312"/>
                  <a:gd name="T23" fmla="*/ 184 h 1244"/>
                  <a:gd name="T24" fmla="*/ 1131 w 1312"/>
                  <a:gd name="T25" fmla="*/ 151 h 1244"/>
                  <a:gd name="T26" fmla="*/ 923 w 1312"/>
                  <a:gd name="T27" fmla="*/ 0 h 1244"/>
                  <a:gd name="T28" fmla="*/ 902 w 1312"/>
                  <a:gd name="T29" fmla="*/ 39 h 1244"/>
                  <a:gd name="T30" fmla="*/ 790 w 1312"/>
                  <a:gd name="T31" fmla="*/ 1244 h 1244"/>
                  <a:gd name="T32" fmla="*/ 787 w 1312"/>
                  <a:gd name="T33" fmla="*/ 1202 h 1244"/>
                  <a:gd name="T34" fmla="*/ 787 w 1312"/>
                  <a:gd name="T35" fmla="*/ 1200 h 1244"/>
                  <a:gd name="T36" fmla="*/ 525 w 1312"/>
                  <a:gd name="T37" fmla="*/ 1200 h 1244"/>
                  <a:gd name="T38" fmla="*/ 525 w 1312"/>
                  <a:gd name="T39" fmla="*/ 1202 h 1244"/>
                  <a:gd name="T40" fmla="*/ 522 w 1312"/>
                  <a:gd name="T41" fmla="*/ 1244 h 1244"/>
                  <a:gd name="T42" fmla="*/ 790 w 1312"/>
                  <a:gd name="T43" fmla="*/ 1244 h 1244"/>
                  <a:gd name="T44" fmla="*/ 211 w 1312"/>
                  <a:gd name="T45" fmla="*/ 184 h 1244"/>
                  <a:gd name="T46" fmla="*/ 410 w 1312"/>
                  <a:gd name="T47" fmla="*/ 39 h 1244"/>
                  <a:gd name="T48" fmla="*/ 389 w 1312"/>
                  <a:gd name="T49" fmla="*/ 0 h 1244"/>
                  <a:gd name="T50" fmla="*/ 181 w 1312"/>
                  <a:gd name="T51" fmla="*/ 151 h 1244"/>
                  <a:gd name="T52" fmla="*/ 211 w 1312"/>
                  <a:gd name="T53" fmla="*/ 184 h 1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312" h="1244">
                    <a:moveTo>
                      <a:pt x="44" y="654"/>
                    </a:moveTo>
                    <a:cubicBezTo>
                      <a:pt x="132" y="924"/>
                      <a:pt x="132" y="924"/>
                      <a:pt x="132" y="924"/>
                    </a:cubicBezTo>
                    <a:cubicBezTo>
                      <a:pt x="118" y="929"/>
                      <a:pt x="104" y="935"/>
                      <a:pt x="91" y="942"/>
                    </a:cubicBezTo>
                    <a:cubicBezTo>
                      <a:pt x="0" y="660"/>
                      <a:pt x="0" y="660"/>
                      <a:pt x="0" y="660"/>
                    </a:cubicBezTo>
                    <a:cubicBezTo>
                      <a:pt x="15" y="659"/>
                      <a:pt x="29" y="657"/>
                      <a:pt x="44" y="654"/>
                    </a:cubicBezTo>
                    <a:close/>
                    <a:moveTo>
                      <a:pt x="1268" y="654"/>
                    </a:moveTo>
                    <a:cubicBezTo>
                      <a:pt x="1180" y="924"/>
                      <a:pt x="1180" y="924"/>
                      <a:pt x="1180" y="924"/>
                    </a:cubicBezTo>
                    <a:cubicBezTo>
                      <a:pt x="1194" y="929"/>
                      <a:pt x="1208" y="935"/>
                      <a:pt x="1221" y="942"/>
                    </a:cubicBezTo>
                    <a:cubicBezTo>
                      <a:pt x="1312" y="660"/>
                      <a:pt x="1312" y="660"/>
                      <a:pt x="1312" y="660"/>
                    </a:cubicBezTo>
                    <a:cubicBezTo>
                      <a:pt x="1297" y="659"/>
                      <a:pt x="1283" y="657"/>
                      <a:pt x="1268" y="654"/>
                    </a:cubicBezTo>
                    <a:close/>
                    <a:moveTo>
                      <a:pt x="902" y="39"/>
                    </a:moveTo>
                    <a:cubicBezTo>
                      <a:pt x="1101" y="184"/>
                      <a:pt x="1101" y="184"/>
                      <a:pt x="1101" y="184"/>
                    </a:cubicBezTo>
                    <a:cubicBezTo>
                      <a:pt x="1110" y="172"/>
                      <a:pt x="1120" y="161"/>
                      <a:pt x="1131" y="151"/>
                    </a:cubicBezTo>
                    <a:cubicBezTo>
                      <a:pt x="923" y="0"/>
                      <a:pt x="923" y="0"/>
                      <a:pt x="923" y="0"/>
                    </a:cubicBezTo>
                    <a:cubicBezTo>
                      <a:pt x="917" y="14"/>
                      <a:pt x="910" y="27"/>
                      <a:pt x="902" y="39"/>
                    </a:cubicBezTo>
                    <a:close/>
                    <a:moveTo>
                      <a:pt x="790" y="1244"/>
                    </a:moveTo>
                    <a:cubicBezTo>
                      <a:pt x="788" y="1230"/>
                      <a:pt x="787" y="1216"/>
                      <a:pt x="787" y="1202"/>
                    </a:cubicBezTo>
                    <a:cubicBezTo>
                      <a:pt x="787" y="1201"/>
                      <a:pt x="787" y="1200"/>
                      <a:pt x="787" y="1200"/>
                    </a:cubicBezTo>
                    <a:cubicBezTo>
                      <a:pt x="525" y="1200"/>
                      <a:pt x="525" y="1200"/>
                      <a:pt x="525" y="1200"/>
                    </a:cubicBezTo>
                    <a:cubicBezTo>
                      <a:pt x="525" y="1200"/>
                      <a:pt x="525" y="1201"/>
                      <a:pt x="525" y="1202"/>
                    </a:cubicBezTo>
                    <a:cubicBezTo>
                      <a:pt x="525" y="1216"/>
                      <a:pt x="524" y="1230"/>
                      <a:pt x="522" y="1244"/>
                    </a:cubicBezTo>
                    <a:lnTo>
                      <a:pt x="790" y="1244"/>
                    </a:lnTo>
                    <a:close/>
                    <a:moveTo>
                      <a:pt x="211" y="184"/>
                    </a:moveTo>
                    <a:cubicBezTo>
                      <a:pt x="410" y="39"/>
                      <a:pt x="410" y="39"/>
                      <a:pt x="410" y="39"/>
                    </a:cubicBezTo>
                    <a:cubicBezTo>
                      <a:pt x="402" y="27"/>
                      <a:pt x="395" y="14"/>
                      <a:pt x="389" y="0"/>
                    </a:cubicBezTo>
                    <a:cubicBezTo>
                      <a:pt x="181" y="151"/>
                      <a:pt x="181" y="151"/>
                      <a:pt x="181" y="151"/>
                    </a:cubicBezTo>
                    <a:cubicBezTo>
                      <a:pt x="192" y="161"/>
                      <a:pt x="202" y="172"/>
                      <a:pt x="211" y="18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94" name="Freeform 5">
                <a:extLst>
                  <a:ext uri="{FF2B5EF4-FFF2-40B4-BE49-F238E27FC236}">
                    <a16:creationId xmlns:a16="http://schemas.microsoft.com/office/drawing/2014/main" id="{8CF44F9B-47D3-4D51-A5B1-80863621D7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00" y="442"/>
                <a:ext cx="3476" cy="3432"/>
              </a:xfrm>
              <a:custGeom>
                <a:avLst/>
                <a:gdLst>
                  <a:gd name="T0" fmla="*/ 928 w 1856"/>
                  <a:gd name="T1" fmla="*/ 503 h 1830"/>
                  <a:gd name="T2" fmla="*/ 677 w 1856"/>
                  <a:gd name="T3" fmla="*/ 252 h 1830"/>
                  <a:gd name="T4" fmla="*/ 677 w 1856"/>
                  <a:gd name="T5" fmla="*/ 252 h 1830"/>
                  <a:gd name="T6" fmla="*/ 928 w 1856"/>
                  <a:gd name="T7" fmla="*/ 0 h 1830"/>
                  <a:gd name="T8" fmla="*/ 1179 w 1856"/>
                  <a:gd name="T9" fmla="*/ 252 h 1830"/>
                  <a:gd name="T10" fmla="*/ 1179 w 1856"/>
                  <a:gd name="T11" fmla="*/ 252 h 1830"/>
                  <a:gd name="T12" fmla="*/ 928 w 1856"/>
                  <a:gd name="T13" fmla="*/ 503 h 1830"/>
                  <a:gd name="T14" fmla="*/ 502 w 1856"/>
                  <a:gd name="T15" fmla="*/ 742 h 1830"/>
                  <a:gd name="T16" fmla="*/ 502 w 1856"/>
                  <a:gd name="T17" fmla="*/ 742 h 1830"/>
                  <a:gd name="T18" fmla="*/ 251 w 1856"/>
                  <a:gd name="T19" fmla="*/ 491 h 1830"/>
                  <a:gd name="T20" fmla="*/ 0 w 1856"/>
                  <a:gd name="T21" fmla="*/ 742 h 1830"/>
                  <a:gd name="T22" fmla="*/ 0 w 1856"/>
                  <a:gd name="T23" fmla="*/ 742 h 1830"/>
                  <a:gd name="T24" fmla="*/ 251 w 1856"/>
                  <a:gd name="T25" fmla="*/ 993 h 1830"/>
                  <a:gd name="T26" fmla="*/ 502 w 1856"/>
                  <a:gd name="T27" fmla="*/ 742 h 1830"/>
                  <a:gd name="T28" fmla="*/ 1605 w 1856"/>
                  <a:gd name="T29" fmla="*/ 491 h 1830"/>
                  <a:gd name="T30" fmla="*/ 1354 w 1856"/>
                  <a:gd name="T31" fmla="*/ 742 h 1830"/>
                  <a:gd name="T32" fmla="*/ 1354 w 1856"/>
                  <a:gd name="T33" fmla="*/ 742 h 1830"/>
                  <a:gd name="T34" fmla="*/ 1605 w 1856"/>
                  <a:gd name="T35" fmla="*/ 993 h 1830"/>
                  <a:gd name="T36" fmla="*/ 1856 w 1856"/>
                  <a:gd name="T37" fmla="*/ 742 h 1830"/>
                  <a:gd name="T38" fmla="*/ 1856 w 1856"/>
                  <a:gd name="T39" fmla="*/ 742 h 1830"/>
                  <a:gd name="T40" fmla="*/ 1605 w 1856"/>
                  <a:gd name="T41" fmla="*/ 491 h 1830"/>
                  <a:gd name="T42" fmla="*/ 502 w 1856"/>
                  <a:gd name="T43" fmla="*/ 1327 h 1830"/>
                  <a:gd name="T44" fmla="*/ 251 w 1856"/>
                  <a:gd name="T45" fmla="*/ 1578 h 1830"/>
                  <a:gd name="T46" fmla="*/ 251 w 1856"/>
                  <a:gd name="T47" fmla="*/ 1578 h 1830"/>
                  <a:gd name="T48" fmla="*/ 502 w 1856"/>
                  <a:gd name="T49" fmla="*/ 1830 h 1830"/>
                  <a:gd name="T50" fmla="*/ 753 w 1856"/>
                  <a:gd name="T51" fmla="*/ 1578 h 1830"/>
                  <a:gd name="T52" fmla="*/ 753 w 1856"/>
                  <a:gd name="T53" fmla="*/ 1578 h 1830"/>
                  <a:gd name="T54" fmla="*/ 502 w 1856"/>
                  <a:gd name="T55" fmla="*/ 1327 h 1830"/>
                  <a:gd name="T56" fmla="*/ 1354 w 1856"/>
                  <a:gd name="T57" fmla="*/ 1327 h 1830"/>
                  <a:gd name="T58" fmla="*/ 1103 w 1856"/>
                  <a:gd name="T59" fmla="*/ 1578 h 1830"/>
                  <a:gd name="T60" fmla="*/ 1103 w 1856"/>
                  <a:gd name="T61" fmla="*/ 1578 h 1830"/>
                  <a:gd name="T62" fmla="*/ 1354 w 1856"/>
                  <a:gd name="T63" fmla="*/ 1830 h 1830"/>
                  <a:gd name="T64" fmla="*/ 1605 w 1856"/>
                  <a:gd name="T65" fmla="*/ 1578 h 1830"/>
                  <a:gd name="T66" fmla="*/ 1605 w 1856"/>
                  <a:gd name="T67" fmla="*/ 1578 h 1830"/>
                  <a:gd name="T68" fmla="*/ 1354 w 1856"/>
                  <a:gd name="T69" fmla="*/ 1327 h 18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56" h="1830">
                    <a:moveTo>
                      <a:pt x="928" y="503"/>
                    </a:moveTo>
                    <a:cubicBezTo>
                      <a:pt x="789" y="503"/>
                      <a:pt x="677" y="390"/>
                      <a:pt x="677" y="252"/>
                    </a:cubicBezTo>
                    <a:cubicBezTo>
                      <a:pt x="677" y="252"/>
                      <a:pt x="677" y="252"/>
                      <a:pt x="677" y="252"/>
                    </a:cubicBezTo>
                    <a:cubicBezTo>
                      <a:pt x="677" y="113"/>
                      <a:pt x="789" y="0"/>
                      <a:pt x="928" y="0"/>
                    </a:cubicBezTo>
                    <a:cubicBezTo>
                      <a:pt x="1067" y="0"/>
                      <a:pt x="1179" y="113"/>
                      <a:pt x="1179" y="252"/>
                    </a:cubicBezTo>
                    <a:cubicBezTo>
                      <a:pt x="1179" y="252"/>
                      <a:pt x="1179" y="252"/>
                      <a:pt x="1179" y="252"/>
                    </a:cubicBezTo>
                    <a:cubicBezTo>
                      <a:pt x="1179" y="390"/>
                      <a:pt x="1067" y="503"/>
                      <a:pt x="928" y="503"/>
                    </a:cubicBezTo>
                    <a:close/>
                    <a:moveTo>
                      <a:pt x="502" y="742"/>
                    </a:moveTo>
                    <a:cubicBezTo>
                      <a:pt x="502" y="742"/>
                      <a:pt x="502" y="742"/>
                      <a:pt x="502" y="742"/>
                    </a:cubicBezTo>
                    <a:cubicBezTo>
                      <a:pt x="502" y="603"/>
                      <a:pt x="390" y="491"/>
                      <a:pt x="251" y="491"/>
                    </a:cubicBezTo>
                    <a:cubicBezTo>
                      <a:pt x="113" y="491"/>
                      <a:pt x="0" y="603"/>
                      <a:pt x="0" y="742"/>
                    </a:cubicBezTo>
                    <a:cubicBezTo>
                      <a:pt x="0" y="742"/>
                      <a:pt x="0" y="742"/>
                      <a:pt x="0" y="742"/>
                    </a:cubicBezTo>
                    <a:cubicBezTo>
                      <a:pt x="0" y="881"/>
                      <a:pt x="113" y="993"/>
                      <a:pt x="251" y="993"/>
                    </a:cubicBezTo>
                    <a:cubicBezTo>
                      <a:pt x="390" y="993"/>
                      <a:pt x="502" y="881"/>
                      <a:pt x="502" y="742"/>
                    </a:cubicBezTo>
                    <a:close/>
                    <a:moveTo>
                      <a:pt x="1605" y="491"/>
                    </a:moveTo>
                    <a:cubicBezTo>
                      <a:pt x="1466" y="491"/>
                      <a:pt x="1354" y="603"/>
                      <a:pt x="1354" y="742"/>
                    </a:cubicBezTo>
                    <a:cubicBezTo>
                      <a:pt x="1354" y="742"/>
                      <a:pt x="1354" y="742"/>
                      <a:pt x="1354" y="742"/>
                    </a:cubicBezTo>
                    <a:cubicBezTo>
                      <a:pt x="1354" y="881"/>
                      <a:pt x="1466" y="993"/>
                      <a:pt x="1605" y="993"/>
                    </a:cubicBezTo>
                    <a:cubicBezTo>
                      <a:pt x="1743" y="993"/>
                      <a:pt x="1856" y="881"/>
                      <a:pt x="1856" y="742"/>
                    </a:cubicBezTo>
                    <a:cubicBezTo>
                      <a:pt x="1856" y="742"/>
                      <a:pt x="1856" y="742"/>
                      <a:pt x="1856" y="742"/>
                    </a:cubicBezTo>
                    <a:cubicBezTo>
                      <a:pt x="1856" y="603"/>
                      <a:pt x="1743" y="491"/>
                      <a:pt x="1605" y="491"/>
                    </a:cubicBezTo>
                    <a:close/>
                    <a:moveTo>
                      <a:pt x="502" y="1327"/>
                    </a:moveTo>
                    <a:cubicBezTo>
                      <a:pt x="364" y="1327"/>
                      <a:pt x="251" y="1440"/>
                      <a:pt x="251" y="1578"/>
                    </a:cubicBezTo>
                    <a:cubicBezTo>
                      <a:pt x="251" y="1578"/>
                      <a:pt x="251" y="1578"/>
                      <a:pt x="251" y="1578"/>
                    </a:cubicBezTo>
                    <a:cubicBezTo>
                      <a:pt x="251" y="1717"/>
                      <a:pt x="364" y="1830"/>
                      <a:pt x="502" y="1830"/>
                    </a:cubicBezTo>
                    <a:cubicBezTo>
                      <a:pt x="641" y="1830"/>
                      <a:pt x="753" y="1717"/>
                      <a:pt x="753" y="1578"/>
                    </a:cubicBezTo>
                    <a:cubicBezTo>
                      <a:pt x="753" y="1578"/>
                      <a:pt x="753" y="1578"/>
                      <a:pt x="753" y="1578"/>
                    </a:cubicBezTo>
                    <a:cubicBezTo>
                      <a:pt x="753" y="1440"/>
                      <a:pt x="641" y="1327"/>
                      <a:pt x="502" y="1327"/>
                    </a:cubicBezTo>
                    <a:close/>
                    <a:moveTo>
                      <a:pt x="1354" y="1327"/>
                    </a:moveTo>
                    <a:cubicBezTo>
                      <a:pt x="1215" y="1327"/>
                      <a:pt x="1103" y="1440"/>
                      <a:pt x="1103" y="1578"/>
                    </a:cubicBezTo>
                    <a:cubicBezTo>
                      <a:pt x="1103" y="1578"/>
                      <a:pt x="1103" y="1578"/>
                      <a:pt x="1103" y="1578"/>
                    </a:cubicBezTo>
                    <a:cubicBezTo>
                      <a:pt x="1103" y="1717"/>
                      <a:pt x="1215" y="1830"/>
                      <a:pt x="1354" y="1830"/>
                    </a:cubicBezTo>
                    <a:cubicBezTo>
                      <a:pt x="1492" y="1830"/>
                      <a:pt x="1605" y="1717"/>
                      <a:pt x="1605" y="1578"/>
                    </a:cubicBezTo>
                    <a:cubicBezTo>
                      <a:pt x="1605" y="1578"/>
                      <a:pt x="1605" y="1578"/>
                      <a:pt x="1605" y="1578"/>
                    </a:cubicBezTo>
                    <a:cubicBezTo>
                      <a:pt x="1605" y="1440"/>
                      <a:pt x="1492" y="1327"/>
                      <a:pt x="1354" y="132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</p:grp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CBE84C39-B3AA-4E2F-8362-ACCA758F8904}"/>
              </a:ext>
            </a:extLst>
          </p:cNvPr>
          <p:cNvSpPr/>
          <p:nvPr/>
        </p:nvSpPr>
        <p:spPr>
          <a:xfrm>
            <a:off x="6583203" y="1542985"/>
            <a:ext cx="1596909" cy="605672"/>
          </a:xfrm>
          <a:prstGeom prst="round2Same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DE53D3D9-2132-43C3-9CE6-362AF4866510}"/>
              </a:ext>
            </a:extLst>
          </p:cNvPr>
          <p:cNvGrpSpPr/>
          <p:nvPr/>
        </p:nvGrpSpPr>
        <p:grpSpPr>
          <a:xfrm>
            <a:off x="6654362" y="1624019"/>
            <a:ext cx="448056" cy="443605"/>
            <a:chOff x="6209776" y="2764442"/>
            <a:chExt cx="2325528" cy="2327682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92D4414F-D1C6-470F-BFF9-00A9F253CD5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6209776" y="2764442"/>
              <a:ext cx="2325528" cy="2327682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44DEB3E7-77E4-4D17-9D1F-9970A549DFB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50342" y="3105323"/>
              <a:ext cx="1644396" cy="1645920"/>
              <a:chOff x="5273802" y="2606040"/>
              <a:chExt cx="1644396" cy="1645920"/>
            </a:xfrm>
          </p:grpSpPr>
          <p:sp>
            <p:nvSpPr>
              <p:cNvPr id="118" name="AutoShape 137">
                <a:extLst>
                  <a:ext uri="{FF2B5EF4-FFF2-40B4-BE49-F238E27FC236}">
                    <a16:creationId xmlns:a16="http://schemas.microsoft.com/office/drawing/2014/main" id="{140569BF-F781-48E0-BB7A-720974A375C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2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90614FD8-5B09-4664-9BD8-BC82E33C23D9}"/>
                  </a:ext>
                </a:extLst>
              </p:cNvPr>
              <p:cNvGrpSpPr/>
              <p:nvPr/>
            </p:nvGrpSpPr>
            <p:grpSpPr>
              <a:xfrm>
                <a:off x="5542026" y="2758058"/>
                <a:ext cx="1106424" cy="1305307"/>
                <a:chOff x="5542026" y="2758058"/>
                <a:chExt cx="1106424" cy="1305307"/>
              </a:xfrm>
            </p:grpSpPr>
            <p:sp>
              <p:nvSpPr>
                <p:cNvPr id="120" name="Freeform 16">
                  <a:extLst>
                    <a:ext uri="{FF2B5EF4-FFF2-40B4-BE49-F238E27FC236}">
                      <a16:creationId xmlns:a16="http://schemas.microsoft.com/office/drawing/2014/main" id="{04ADDE06-CC23-4277-961C-4A0ABE0F5D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9339" y="3079623"/>
                  <a:ext cx="1051798" cy="983742"/>
                </a:xfrm>
                <a:custGeom>
                  <a:avLst/>
                  <a:gdLst>
                    <a:gd name="connsiteX0" fmla="*/ 355348 w 1051798"/>
                    <a:gd name="connsiteY0" fmla="*/ 742188 h 983742"/>
                    <a:gd name="connsiteX1" fmla="*/ 488112 w 1051798"/>
                    <a:gd name="connsiteY1" fmla="*/ 820158 h 983742"/>
                    <a:gd name="connsiteX2" fmla="*/ 525899 w 1051798"/>
                    <a:gd name="connsiteY2" fmla="*/ 823413 h 983742"/>
                    <a:gd name="connsiteX3" fmla="*/ 523045 w 1051798"/>
                    <a:gd name="connsiteY3" fmla="*/ 823659 h 983742"/>
                    <a:gd name="connsiteX4" fmla="*/ 528754 w 1051798"/>
                    <a:gd name="connsiteY4" fmla="*/ 823659 h 983742"/>
                    <a:gd name="connsiteX5" fmla="*/ 525899 w 1051798"/>
                    <a:gd name="connsiteY5" fmla="*/ 823413 h 983742"/>
                    <a:gd name="connsiteX6" fmla="*/ 563687 w 1051798"/>
                    <a:gd name="connsiteY6" fmla="*/ 820158 h 983742"/>
                    <a:gd name="connsiteX7" fmla="*/ 696450 w 1051798"/>
                    <a:gd name="connsiteY7" fmla="*/ 742188 h 983742"/>
                    <a:gd name="connsiteX8" fmla="*/ 923376 w 1051798"/>
                    <a:gd name="connsiteY8" fmla="*/ 780780 h 983742"/>
                    <a:gd name="connsiteX9" fmla="*/ 1051111 w 1051798"/>
                    <a:gd name="connsiteY9" fmla="*/ 966590 h 983742"/>
                    <a:gd name="connsiteX10" fmla="*/ 1038980 w 1051798"/>
                    <a:gd name="connsiteY10" fmla="*/ 983742 h 983742"/>
                    <a:gd name="connsiteX11" fmla="*/ 12818 w 1051798"/>
                    <a:gd name="connsiteY11" fmla="*/ 983742 h 983742"/>
                    <a:gd name="connsiteX12" fmla="*/ 687 w 1051798"/>
                    <a:gd name="connsiteY12" fmla="*/ 966590 h 983742"/>
                    <a:gd name="connsiteX13" fmla="*/ 128422 w 1051798"/>
                    <a:gd name="connsiteY13" fmla="*/ 780780 h 983742"/>
                    <a:gd name="connsiteX14" fmla="*/ 355348 w 1051798"/>
                    <a:gd name="connsiteY14" fmla="*/ 742188 h 983742"/>
                    <a:gd name="connsiteX15" fmla="*/ 525923 w 1051798"/>
                    <a:gd name="connsiteY15" fmla="*/ 0 h 983742"/>
                    <a:gd name="connsiteX16" fmla="*/ 801459 w 1051798"/>
                    <a:gd name="connsiteY16" fmla="*/ 282893 h 983742"/>
                    <a:gd name="connsiteX17" fmla="*/ 792179 w 1051798"/>
                    <a:gd name="connsiteY17" fmla="*/ 378619 h 983742"/>
                    <a:gd name="connsiteX18" fmla="*/ 760771 w 1051798"/>
                    <a:gd name="connsiteY18" fmla="*/ 422910 h 983742"/>
                    <a:gd name="connsiteX19" fmla="*/ 740784 w 1051798"/>
                    <a:gd name="connsiteY19" fmla="*/ 422910 h 983742"/>
                    <a:gd name="connsiteX20" fmla="*/ 737928 w 1051798"/>
                    <a:gd name="connsiteY20" fmla="*/ 214313 h 983742"/>
                    <a:gd name="connsiteX21" fmla="*/ 374593 w 1051798"/>
                    <a:gd name="connsiteY21" fmla="*/ 227171 h 983742"/>
                    <a:gd name="connsiteX22" fmla="*/ 306780 w 1051798"/>
                    <a:gd name="connsiteY22" fmla="*/ 418624 h 983742"/>
                    <a:gd name="connsiteX23" fmla="*/ 288221 w 1051798"/>
                    <a:gd name="connsiteY23" fmla="*/ 417195 h 983742"/>
                    <a:gd name="connsiteX24" fmla="*/ 261095 w 1051798"/>
                    <a:gd name="connsiteY24" fmla="*/ 382191 h 983742"/>
                    <a:gd name="connsiteX25" fmla="*/ 261095 w 1051798"/>
                    <a:gd name="connsiteY25" fmla="*/ 381476 h 983742"/>
                    <a:gd name="connsiteX26" fmla="*/ 250388 w 1051798"/>
                    <a:gd name="connsiteY26" fmla="*/ 282893 h 983742"/>
                    <a:gd name="connsiteX27" fmla="*/ 525923 w 1051798"/>
                    <a:gd name="connsiteY27" fmla="*/ 0 h 9837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051798" h="983742">
                      <a:moveTo>
                        <a:pt x="355348" y="742188"/>
                      </a:moveTo>
                      <a:cubicBezTo>
                        <a:pt x="355348" y="742188"/>
                        <a:pt x="399603" y="804564"/>
                        <a:pt x="488112" y="820158"/>
                      </a:cubicBezTo>
                      <a:lnTo>
                        <a:pt x="525899" y="823413"/>
                      </a:lnTo>
                      <a:lnTo>
                        <a:pt x="523045" y="823659"/>
                      </a:lnTo>
                      <a:cubicBezTo>
                        <a:pt x="528754" y="823659"/>
                        <a:pt x="528754" y="823659"/>
                        <a:pt x="528754" y="823659"/>
                      </a:cubicBezTo>
                      <a:lnTo>
                        <a:pt x="525899" y="823413"/>
                      </a:lnTo>
                      <a:lnTo>
                        <a:pt x="563687" y="820158"/>
                      </a:lnTo>
                      <a:cubicBezTo>
                        <a:pt x="652196" y="804564"/>
                        <a:pt x="696450" y="742188"/>
                        <a:pt x="696450" y="742188"/>
                      </a:cubicBezTo>
                      <a:cubicBezTo>
                        <a:pt x="696450" y="742188"/>
                        <a:pt x="844166" y="743617"/>
                        <a:pt x="923376" y="780780"/>
                      </a:cubicBezTo>
                      <a:cubicBezTo>
                        <a:pt x="987600" y="810081"/>
                        <a:pt x="1034698" y="922996"/>
                        <a:pt x="1051111" y="966590"/>
                      </a:cubicBezTo>
                      <a:cubicBezTo>
                        <a:pt x="1053965" y="974452"/>
                        <a:pt x="1047543" y="983742"/>
                        <a:pt x="1038980" y="983742"/>
                      </a:cubicBezTo>
                      <a:lnTo>
                        <a:pt x="12818" y="983742"/>
                      </a:lnTo>
                      <a:cubicBezTo>
                        <a:pt x="4255" y="983742"/>
                        <a:pt x="-2167" y="974452"/>
                        <a:pt x="687" y="966590"/>
                      </a:cubicBezTo>
                      <a:cubicBezTo>
                        <a:pt x="17100" y="922996"/>
                        <a:pt x="64198" y="810081"/>
                        <a:pt x="128422" y="780780"/>
                      </a:cubicBezTo>
                      <a:cubicBezTo>
                        <a:pt x="207632" y="743617"/>
                        <a:pt x="355348" y="742188"/>
                        <a:pt x="355348" y="742188"/>
                      </a:cubicBezTo>
                      <a:close/>
                      <a:moveTo>
                        <a:pt x="525923" y="0"/>
                      </a:moveTo>
                      <a:cubicBezTo>
                        <a:pt x="682250" y="0"/>
                        <a:pt x="801459" y="126445"/>
                        <a:pt x="801459" y="282893"/>
                      </a:cubicBezTo>
                      <a:cubicBezTo>
                        <a:pt x="801459" y="316468"/>
                        <a:pt x="802886" y="349330"/>
                        <a:pt x="792179" y="378619"/>
                      </a:cubicBezTo>
                      <a:cubicBezTo>
                        <a:pt x="791465" y="378619"/>
                        <a:pt x="786468" y="392906"/>
                        <a:pt x="760771" y="422910"/>
                      </a:cubicBezTo>
                      <a:cubicBezTo>
                        <a:pt x="760771" y="422910"/>
                        <a:pt x="760771" y="422910"/>
                        <a:pt x="740784" y="422910"/>
                      </a:cubicBezTo>
                      <a:cubicBezTo>
                        <a:pt x="740784" y="422910"/>
                        <a:pt x="740784" y="412195"/>
                        <a:pt x="737928" y="214313"/>
                      </a:cubicBezTo>
                      <a:cubicBezTo>
                        <a:pt x="706520" y="372904"/>
                        <a:pt x="374593" y="227171"/>
                        <a:pt x="374593" y="227171"/>
                      </a:cubicBezTo>
                      <a:cubicBezTo>
                        <a:pt x="291790" y="252889"/>
                        <a:pt x="306780" y="418624"/>
                        <a:pt x="306780" y="418624"/>
                      </a:cubicBezTo>
                      <a:cubicBezTo>
                        <a:pt x="306780" y="418624"/>
                        <a:pt x="306780" y="418624"/>
                        <a:pt x="288221" y="417195"/>
                      </a:cubicBezTo>
                      <a:cubicBezTo>
                        <a:pt x="288221" y="417195"/>
                        <a:pt x="288221" y="407194"/>
                        <a:pt x="261095" y="382191"/>
                      </a:cubicBezTo>
                      <a:cubicBezTo>
                        <a:pt x="261095" y="382191"/>
                        <a:pt x="261095" y="382191"/>
                        <a:pt x="261095" y="381476"/>
                      </a:cubicBezTo>
                      <a:cubicBezTo>
                        <a:pt x="249674" y="350758"/>
                        <a:pt x="250388" y="317897"/>
                        <a:pt x="250388" y="282893"/>
                      </a:cubicBezTo>
                      <a:cubicBezTo>
                        <a:pt x="250388" y="126445"/>
                        <a:pt x="369596" y="0"/>
                        <a:pt x="525923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Freeform 23">
                  <a:extLst>
                    <a:ext uri="{FF2B5EF4-FFF2-40B4-BE49-F238E27FC236}">
                      <a16:creationId xmlns:a16="http://schemas.microsoft.com/office/drawing/2014/main" id="{0094F2D2-3D7E-4D1F-B9FE-D7B1AAD5C3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2026" y="2758058"/>
                  <a:ext cx="1106424" cy="1075182"/>
                </a:xfrm>
                <a:custGeom>
                  <a:avLst/>
                  <a:gdLst>
                    <a:gd name="connsiteX0" fmla="*/ 271272 w 1106424"/>
                    <a:gd name="connsiteY0" fmla="*/ 741807 h 1075182"/>
                    <a:gd name="connsiteX1" fmla="*/ 307675 w 1106424"/>
                    <a:gd name="connsiteY1" fmla="*/ 758940 h 1075182"/>
                    <a:gd name="connsiteX2" fmla="*/ 331943 w 1106424"/>
                    <a:gd name="connsiteY2" fmla="*/ 786067 h 1075182"/>
                    <a:gd name="connsiteX3" fmla="*/ 339794 w 1106424"/>
                    <a:gd name="connsiteY3" fmla="*/ 793919 h 1075182"/>
                    <a:gd name="connsiteX4" fmla="*/ 423306 w 1106424"/>
                    <a:gd name="connsiteY4" fmla="*/ 969530 h 1075182"/>
                    <a:gd name="connsiteX5" fmla="*/ 553212 w 1106424"/>
                    <a:gd name="connsiteY5" fmla="*/ 1035206 h 1075182"/>
                    <a:gd name="connsiteX6" fmla="*/ 683119 w 1106424"/>
                    <a:gd name="connsiteY6" fmla="*/ 969530 h 1075182"/>
                    <a:gd name="connsiteX7" fmla="*/ 766630 w 1106424"/>
                    <a:gd name="connsiteY7" fmla="*/ 793919 h 1075182"/>
                    <a:gd name="connsiteX8" fmla="*/ 773768 w 1106424"/>
                    <a:gd name="connsiteY8" fmla="*/ 786067 h 1075182"/>
                    <a:gd name="connsiteX9" fmla="*/ 798750 w 1106424"/>
                    <a:gd name="connsiteY9" fmla="*/ 758940 h 1075182"/>
                    <a:gd name="connsiteX10" fmla="*/ 835152 w 1106424"/>
                    <a:gd name="connsiteY10" fmla="*/ 741807 h 1075182"/>
                    <a:gd name="connsiteX11" fmla="*/ 835152 w 1106424"/>
                    <a:gd name="connsiteY11" fmla="*/ 745376 h 1075182"/>
                    <a:gd name="connsiteX12" fmla="*/ 793753 w 1106424"/>
                    <a:gd name="connsiteY12" fmla="*/ 811052 h 1075182"/>
                    <a:gd name="connsiteX13" fmla="*/ 703818 w 1106424"/>
                    <a:gd name="connsiteY13" fmla="*/ 993088 h 1075182"/>
                    <a:gd name="connsiteX14" fmla="*/ 699536 w 1106424"/>
                    <a:gd name="connsiteY14" fmla="*/ 997371 h 1075182"/>
                    <a:gd name="connsiteX15" fmla="*/ 699536 w 1106424"/>
                    <a:gd name="connsiteY15" fmla="*/ 1044486 h 1075182"/>
                    <a:gd name="connsiteX16" fmla="*/ 698822 w 1106424"/>
                    <a:gd name="connsiteY16" fmla="*/ 1045200 h 1075182"/>
                    <a:gd name="connsiteX17" fmla="*/ 668130 w 1106424"/>
                    <a:gd name="connsiteY17" fmla="*/ 1074468 h 1075182"/>
                    <a:gd name="connsiteX18" fmla="*/ 668130 w 1106424"/>
                    <a:gd name="connsiteY18" fmla="*/ 1020215 h 1075182"/>
                    <a:gd name="connsiteX19" fmla="*/ 553212 w 1106424"/>
                    <a:gd name="connsiteY19" fmla="*/ 1066616 h 1075182"/>
                    <a:gd name="connsiteX20" fmla="*/ 438295 w 1106424"/>
                    <a:gd name="connsiteY20" fmla="*/ 1020215 h 1075182"/>
                    <a:gd name="connsiteX21" fmla="*/ 438295 w 1106424"/>
                    <a:gd name="connsiteY21" fmla="*/ 1075182 h 1075182"/>
                    <a:gd name="connsiteX22" fmla="*/ 407603 w 1106424"/>
                    <a:gd name="connsiteY22" fmla="*/ 1045200 h 1075182"/>
                    <a:gd name="connsiteX23" fmla="*/ 406889 w 1106424"/>
                    <a:gd name="connsiteY23" fmla="*/ 1044486 h 1075182"/>
                    <a:gd name="connsiteX24" fmla="*/ 406889 w 1106424"/>
                    <a:gd name="connsiteY24" fmla="*/ 997371 h 1075182"/>
                    <a:gd name="connsiteX25" fmla="*/ 401893 w 1106424"/>
                    <a:gd name="connsiteY25" fmla="*/ 993088 h 1075182"/>
                    <a:gd name="connsiteX26" fmla="*/ 312671 w 1106424"/>
                    <a:gd name="connsiteY26" fmla="*/ 811052 h 1075182"/>
                    <a:gd name="connsiteX27" fmla="*/ 271986 w 1106424"/>
                    <a:gd name="connsiteY27" fmla="*/ 746804 h 1075182"/>
                    <a:gd name="connsiteX28" fmla="*/ 271272 w 1106424"/>
                    <a:gd name="connsiteY28" fmla="*/ 741807 h 1075182"/>
                    <a:gd name="connsiteX29" fmla="*/ 1039368 w 1106424"/>
                    <a:gd name="connsiteY29" fmla="*/ 321564 h 1075182"/>
                    <a:gd name="connsiteX30" fmla="*/ 1062228 w 1106424"/>
                    <a:gd name="connsiteY30" fmla="*/ 363855 h 1075182"/>
                    <a:gd name="connsiteX31" fmla="*/ 1106424 w 1106424"/>
                    <a:gd name="connsiteY31" fmla="*/ 371094 h 1075182"/>
                    <a:gd name="connsiteX32" fmla="*/ 1073658 w 1106424"/>
                    <a:gd name="connsiteY32" fmla="*/ 402336 h 1075182"/>
                    <a:gd name="connsiteX33" fmla="*/ 1082802 w 1106424"/>
                    <a:gd name="connsiteY33" fmla="*/ 446532 h 1075182"/>
                    <a:gd name="connsiteX34" fmla="*/ 1039368 w 1106424"/>
                    <a:gd name="connsiteY34" fmla="*/ 425196 h 1075182"/>
                    <a:gd name="connsiteX35" fmla="*/ 999363 w 1106424"/>
                    <a:gd name="connsiteY35" fmla="*/ 446532 h 1075182"/>
                    <a:gd name="connsiteX36" fmla="*/ 1007364 w 1106424"/>
                    <a:gd name="connsiteY36" fmla="*/ 402336 h 1075182"/>
                    <a:gd name="connsiteX37" fmla="*/ 973074 w 1106424"/>
                    <a:gd name="connsiteY37" fmla="*/ 371094 h 1075182"/>
                    <a:gd name="connsiteX38" fmla="*/ 1019937 w 1106424"/>
                    <a:gd name="connsiteY38" fmla="*/ 363855 h 1075182"/>
                    <a:gd name="connsiteX39" fmla="*/ 67056 w 1106424"/>
                    <a:gd name="connsiteY39" fmla="*/ 321564 h 1075182"/>
                    <a:gd name="connsiteX40" fmla="*/ 88011 w 1106424"/>
                    <a:gd name="connsiteY40" fmla="*/ 363855 h 1075182"/>
                    <a:gd name="connsiteX41" fmla="*/ 133731 w 1106424"/>
                    <a:gd name="connsiteY41" fmla="*/ 371094 h 1075182"/>
                    <a:gd name="connsiteX42" fmla="*/ 101346 w 1106424"/>
                    <a:gd name="connsiteY42" fmla="*/ 402336 h 1075182"/>
                    <a:gd name="connsiteX43" fmla="*/ 108585 w 1106424"/>
                    <a:gd name="connsiteY43" fmla="*/ 446532 h 1075182"/>
                    <a:gd name="connsiteX44" fmla="*/ 67056 w 1106424"/>
                    <a:gd name="connsiteY44" fmla="*/ 425196 h 1075182"/>
                    <a:gd name="connsiteX45" fmla="*/ 26670 w 1106424"/>
                    <a:gd name="connsiteY45" fmla="*/ 446532 h 1075182"/>
                    <a:gd name="connsiteX46" fmla="*/ 33147 w 1106424"/>
                    <a:gd name="connsiteY46" fmla="*/ 402336 h 1075182"/>
                    <a:gd name="connsiteX47" fmla="*/ 0 w 1106424"/>
                    <a:gd name="connsiteY47" fmla="*/ 371094 h 1075182"/>
                    <a:gd name="connsiteX48" fmla="*/ 45720 w 1106424"/>
                    <a:gd name="connsiteY48" fmla="*/ 363855 h 1075182"/>
                    <a:gd name="connsiteX49" fmla="*/ 865251 w 1106424"/>
                    <a:gd name="connsiteY49" fmla="*/ 125349 h 1075182"/>
                    <a:gd name="connsiteX50" fmla="*/ 895731 w 1106424"/>
                    <a:gd name="connsiteY50" fmla="*/ 188595 h 1075182"/>
                    <a:gd name="connsiteX51" fmla="*/ 963549 w 1106424"/>
                    <a:gd name="connsiteY51" fmla="*/ 195834 h 1075182"/>
                    <a:gd name="connsiteX52" fmla="*/ 915162 w 1106424"/>
                    <a:gd name="connsiteY52" fmla="*/ 244602 h 1075182"/>
                    <a:gd name="connsiteX53" fmla="*/ 926592 w 1106424"/>
                    <a:gd name="connsiteY53" fmla="*/ 313182 h 1075182"/>
                    <a:gd name="connsiteX54" fmla="*/ 865251 w 1106424"/>
                    <a:gd name="connsiteY54" fmla="*/ 278892 h 1075182"/>
                    <a:gd name="connsiteX55" fmla="*/ 804672 w 1106424"/>
                    <a:gd name="connsiteY55" fmla="*/ 313182 h 1075182"/>
                    <a:gd name="connsiteX56" fmla="*/ 814578 w 1106424"/>
                    <a:gd name="connsiteY56" fmla="*/ 244602 h 1075182"/>
                    <a:gd name="connsiteX57" fmla="*/ 767334 w 1106424"/>
                    <a:gd name="connsiteY57" fmla="*/ 195834 h 1075182"/>
                    <a:gd name="connsiteX58" fmla="*/ 835152 w 1106424"/>
                    <a:gd name="connsiteY58" fmla="*/ 188595 h 1075182"/>
                    <a:gd name="connsiteX59" fmla="*/ 240030 w 1106424"/>
                    <a:gd name="connsiteY59" fmla="*/ 125349 h 1075182"/>
                    <a:gd name="connsiteX60" fmla="*/ 271272 w 1106424"/>
                    <a:gd name="connsiteY60" fmla="*/ 188595 h 1075182"/>
                    <a:gd name="connsiteX61" fmla="*/ 339090 w 1106424"/>
                    <a:gd name="connsiteY61" fmla="*/ 195834 h 1075182"/>
                    <a:gd name="connsiteX62" fmla="*/ 289941 w 1106424"/>
                    <a:gd name="connsiteY62" fmla="*/ 244602 h 1075182"/>
                    <a:gd name="connsiteX63" fmla="*/ 299847 w 1106424"/>
                    <a:gd name="connsiteY63" fmla="*/ 313182 h 1075182"/>
                    <a:gd name="connsiteX64" fmla="*/ 240030 w 1106424"/>
                    <a:gd name="connsiteY64" fmla="*/ 278892 h 1075182"/>
                    <a:gd name="connsiteX65" fmla="*/ 181356 w 1106424"/>
                    <a:gd name="connsiteY65" fmla="*/ 313182 h 1075182"/>
                    <a:gd name="connsiteX66" fmla="*/ 192024 w 1106424"/>
                    <a:gd name="connsiteY66" fmla="*/ 244602 h 1075182"/>
                    <a:gd name="connsiteX67" fmla="*/ 142875 w 1106424"/>
                    <a:gd name="connsiteY67" fmla="*/ 195834 h 1075182"/>
                    <a:gd name="connsiteX68" fmla="*/ 209931 w 1106424"/>
                    <a:gd name="connsiteY68" fmla="*/ 188595 h 1075182"/>
                    <a:gd name="connsiteX69" fmla="*/ 552450 w 1106424"/>
                    <a:gd name="connsiteY69" fmla="*/ 0 h 1075182"/>
                    <a:gd name="connsiteX70" fmla="*/ 591693 w 1106424"/>
                    <a:gd name="connsiteY70" fmla="*/ 83820 h 1075182"/>
                    <a:gd name="connsiteX71" fmla="*/ 678180 w 1106424"/>
                    <a:gd name="connsiteY71" fmla="*/ 97155 h 1075182"/>
                    <a:gd name="connsiteX72" fmla="*/ 616077 w 1106424"/>
                    <a:gd name="connsiteY72" fmla="*/ 158877 h 1075182"/>
                    <a:gd name="connsiteX73" fmla="*/ 631698 w 1106424"/>
                    <a:gd name="connsiteY73" fmla="*/ 250317 h 1075182"/>
                    <a:gd name="connsiteX74" fmla="*/ 552450 w 1106424"/>
                    <a:gd name="connsiteY74" fmla="*/ 205740 h 1075182"/>
                    <a:gd name="connsiteX75" fmla="*/ 476250 w 1106424"/>
                    <a:gd name="connsiteY75" fmla="*/ 250317 h 1075182"/>
                    <a:gd name="connsiteX76" fmla="*/ 490347 w 1106424"/>
                    <a:gd name="connsiteY76" fmla="*/ 158877 h 1075182"/>
                    <a:gd name="connsiteX77" fmla="*/ 428244 w 1106424"/>
                    <a:gd name="connsiteY77" fmla="*/ 97155 h 1075182"/>
                    <a:gd name="connsiteX78" fmla="*/ 514731 w 1106424"/>
                    <a:gd name="connsiteY78" fmla="*/ 83820 h 1075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1106424" h="1075182">
                      <a:moveTo>
                        <a:pt x="271272" y="741807"/>
                      </a:moveTo>
                      <a:lnTo>
                        <a:pt x="307675" y="758940"/>
                      </a:lnTo>
                      <a:cubicBezTo>
                        <a:pt x="311957" y="768934"/>
                        <a:pt x="319095" y="779642"/>
                        <a:pt x="331943" y="786067"/>
                      </a:cubicBezTo>
                      <a:cubicBezTo>
                        <a:pt x="335512" y="787494"/>
                        <a:pt x="338367" y="790350"/>
                        <a:pt x="339794" y="793919"/>
                      </a:cubicBezTo>
                      <a:cubicBezTo>
                        <a:pt x="364776" y="858881"/>
                        <a:pt x="407603" y="955967"/>
                        <a:pt x="423306" y="969530"/>
                      </a:cubicBezTo>
                      <a:cubicBezTo>
                        <a:pt x="448288" y="991660"/>
                        <a:pt x="516810" y="1035206"/>
                        <a:pt x="553212" y="1035206"/>
                      </a:cubicBezTo>
                      <a:cubicBezTo>
                        <a:pt x="589615" y="1035206"/>
                        <a:pt x="658137" y="991660"/>
                        <a:pt x="683119" y="969530"/>
                      </a:cubicBezTo>
                      <a:cubicBezTo>
                        <a:pt x="698822" y="955967"/>
                        <a:pt x="741648" y="858881"/>
                        <a:pt x="766630" y="793919"/>
                      </a:cubicBezTo>
                      <a:cubicBezTo>
                        <a:pt x="768058" y="790350"/>
                        <a:pt x="770913" y="787494"/>
                        <a:pt x="773768" y="786067"/>
                      </a:cubicBezTo>
                      <a:cubicBezTo>
                        <a:pt x="786616" y="779642"/>
                        <a:pt x="794467" y="768934"/>
                        <a:pt x="798750" y="758940"/>
                      </a:cubicBezTo>
                      <a:cubicBezTo>
                        <a:pt x="798750" y="758940"/>
                        <a:pt x="798750" y="758940"/>
                        <a:pt x="835152" y="741807"/>
                      </a:cubicBezTo>
                      <a:cubicBezTo>
                        <a:pt x="835152" y="743235"/>
                        <a:pt x="835152" y="743949"/>
                        <a:pt x="835152" y="745376"/>
                      </a:cubicBezTo>
                      <a:cubicBezTo>
                        <a:pt x="833011" y="758940"/>
                        <a:pt x="824446" y="792492"/>
                        <a:pt x="793753" y="811052"/>
                      </a:cubicBezTo>
                      <a:cubicBezTo>
                        <a:pt x="779478" y="846745"/>
                        <a:pt x="729514" y="970958"/>
                        <a:pt x="703818" y="993088"/>
                      </a:cubicBezTo>
                      <a:cubicBezTo>
                        <a:pt x="702391" y="994515"/>
                        <a:pt x="700963" y="995943"/>
                        <a:pt x="699536" y="997371"/>
                      </a:cubicBezTo>
                      <a:cubicBezTo>
                        <a:pt x="699536" y="997371"/>
                        <a:pt x="699536" y="997371"/>
                        <a:pt x="699536" y="1044486"/>
                      </a:cubicBezTo>
                      <a:cubicBezTo>
                        <a:pt x="699536" y="1044486"/>
                        <a:pt x="699536" y="1044486"/>
                        <a:pt x="698822" y="1045200"/>
                      </a:cubicBezTo>
                      <a:cubicBezTo>
                        <a:pt x="698108" y="1045200"/>
                        <a:pt x="688115" y="1059477"/>
                        <a:pt x="668130" y="1074468"/>
                      </a:cubicBezTo>
                      <a:cubicBezTo>
                        <a:pt x="668130" y="1074468"/>
                        <a:pt x="668130" y="1074468"/>
                        <a:pt x="668130" y="1020215"/>
                      </a:cubicBezTo>
                      <a:cubicBezTo>
                        <a:pt x="633155" y="1043058"/>
                        <a:pt x="586760" y="1066616"/>
                        <a:pt x="553212" y="1066616"/>
                      </a:cubicBezTo>
                      <a:cubicBezTo>
                        <a:pt x="519665" y="1066616"/>
                        <a:pt x="473270" y="1043058"/>
                        <a:pt x="438295" y="1020215"/>
                      </a:cubicBezTo>
                      <a:cubicBezTo>
                        <a:pt x="438295" y="1020215"/>
                        <a:pt x="438295" y="1020215"/>
                        <a:pt x="438295" y="1075182"/>
                      </a:cubicBezTo>
                      <a:cubicBezTo>
                        <a:pt x="419023" y="1060191"/>
                        <a:pt x="409030" y="1046628"/>
                        <a:pt x="407603" y="1045200"/>
                      </a:cubicBezTo>
                      <a:cubicBezTo>
                        <a:pt x="407603" y="1045200"/>
                        <a:pt x="407603" y="1045200"/>
                        <a:pt x="406889" y="1044486"/>
                      </a:cubicBezTo>
                      <a:cubicBezTo>
                        <a:pt x="406889" y="1044486"/>
                        <a:pt x="406889" y="1044486"/>
                        <a:pt x="406889" y="997371"/>
                      </a:cubicBezTo>
                      <a:cubicBezTo>
                        <a:pt x="405461" y="995943"/>
                        <a:pt x="403320" y="994515"/>
                        <a:pt x="401893" y="993088"/>
                      </a:cubicBezTo>
                      <a:cubicBezTo>
                        <a:pt x="376911" y="970958"/>
                        <a:pt x="326946" y="846745"/>
                        <a:pt x="312671" y="811052"/>
                      </a:cubicBezTo>
                      <a:cubicBezTo>
                        <a:pt x="283406" y="793205"/>
                        <a:pt x="274127" y="763223"/>
                        <a:pt x="271986" y="746804"/>
                      </a:cubicBezTo>
                      <a:cubicBezTo>
                        <a:pt x="271272" y="745376"/>
                        <a:pt x="271272" y="743235"/>
                        <a:pt x="271272" y="741807"/>
                      </a:cubicBezTo>
                      <a:close/>
                      <a:moveTo>
                        <a:pt x="1039368" y="321564"/>
                      </a:moveTo>
                      <a:lnTo>
                        <a:pt x="1062228" y="363855"/>
                      </a:lnTo>
                      <a:lnTo>
                        <a:pt x="1106424" y="371094"/>
                      </a:lnTo>
                      <a:lnTo>
                        <a:pt x="1073658" y="402336"/>
                      </a:lnTo>
                      <a:lnTo>
                        <a:pt x="1082802" y="446532"/>
                      </a:lnTo>
                      <a:lnTo>
                        <a:pt x="1039368" y="425196"/>
                      </a:lnTo>
                      <a:lnTo>
                        <a:pt x="999363" y="446532"/>
                      </a:lnTo>
                      <a:lnTo>
                        <a:pt x="1007364" y="402336"/>
                      </a:lnTo>
                      <a:lnTo>
                        <a:pt x="973074" y="371094"/>
                      </a:lnTo>
                      <a:lnTo>
                        <a:pt x="1019937" y="363855"/>
                      </a:lnTo>
                      <a:close/>
                      <a:moveTo>
                        <a:pt x="67056" y="321564"/>
                      </a:moveTo>
                      <a:lnTo>
                        <a:pt x="88011" y="363855"/>
                      </a:lnTo>
                      <a:lnTo>
                        <a:pt x="133731" y="371094"/>
                      </a:lnTo>
                      <a:lnTo>
                        <a:pt x="101346" y="402336"/>
                      </a:lnTo>
                      <a:lnTo>
                        <a:pt x="108585" y="446532"/>
                      </a:lnTo>
                      <a:lnTo>
                        <a:pt x="67056" y="425196"/>
                      </a:lnTo>
                      <a:lnTo>
                        <a:pt x="26670" y="446532"/>
                      </a:lnTo>
                      <a:lnTo>
                        <a:pt x="33147" y="402336"/>
                      </a:lnTo>
                      <a:lnTo>
                        <a:pt x="0" y="371094"/>
                      </a:lnTo>
                      <a:lnTo>
                        <a:pt x="45720" y="363855"/>
                      </a:lnTo>
                      <a:close/>
                      <a:moveTo>
                        <a:pt x="865251" y="125349"/>
                      </a:moveTo>
                      <a:lnTo>
                        <a:pt x="895731" y="188595"/>
                      </a:lnTo>
                      <a:lnTo>
                        <a:pt x="963549" y="195834"/>
                      </a:lnTo>
                      <a:lnTo>
                        <a:pt x="915162" y="244602"/>
                      </a:lnTo>
                      <a:lnTo>
                        <a:pt x="926592" y="313182"/>
                      </a:lnTo>
                      <a:lnTo>
                        <a:pt x="865251" y="278892"/>
                      </a:lnTo>
                      <a:lnTo>
                        <a:pt x="804672" y="313182"/>
                      </a:lnTo>
                      <a:lnTo>
                        <a:pt x="814578" y="244602"/>
                      </a:lnTo>
                      <a:lnTo>
                        <a:pt x="767334" y="195834"/>
                      </a:lnTo>
                      <a:lnTo>
                        <a:pt x="835152" y="188595"/>
                      </a:lnTo>
                      <a:close/>
                      <a:moveTo>
                        <a:pt x="240030" y="125349"/>
                      </a:moveTo>
                      <a:lnTo>
                        <a:pt x="271272" y="188595"/>
                      </a:lnTo>
                      <a:lnTo>
                        <a:pt x="339090" y="195834"/>
                      </a:lnTo>
                      <a:lnTo>
                        <a:pt x="289941" y="244602"/>
                      </a:lnTo>
                      <a:lnTo>
                        <a:pt x="299847" y="313182"/>
                      </a:lnTo>
                      <a:lnTo>
                        <a:pt x="240030" y="278892"/>
                      </a:lnTo>
                      <a:lnTo>
                        <a:pt x="181356" y="313182"/>
                      </a:lnTo>
                      <a:lnTo>
                        <a:pt x="192024" y="244602"/>
                      </a:lnTo>
                      <a:lnTo>
                        <a:pt x="142875" y="195834"/>
                      </a:lnTo>
                      <a:lnTo>
                        <a:pt x="209931" y="188595"/>
                      </a:lnTo>
                      <a:close/>
                      <a:moveTo>
                        <a:pt x="552450" y="0"/>
                      </a:moveTo>
                      <a:lnTo>
                        <a:pt x="591693" y="83820"/>
                      </a:lnTo>
                      <a:lnTo>
                        <a:pt x="678180" y="97155"/>
                      </a:lnTo>
                      <a:lnTo>
                        <a:pt x="616077" y="158877"/>
                      </a:lnTo>
                      <a:lnTo>
                        <a:pt x="631698" y="250317"/>
                      </a:lnTo>
                      <a:lnTo>
                        <a:pt x="552450" y="205740"/>
                      </a:lnTo>
                      <a:lnTo>
                        <a:pt x="476250" y="250317"/>
                      </a:lnTo>
                      <a:lnTo>
                        <a:pt x="490347" y="158877"/>
                      </a:lnTo>
                      <a:lnTo>
                        <a:pt x="428244" y="97155"/>
                      </a:lnTo>
                      <a:lnTo>
                        <a:pt x="514731" y="8382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6" name="Rectangle: Top Corners Rounded 25">
            <a:extLst>
              <a:ext uri="{FF2B5EF4-FFF2-40B4-BE49-F238E27FC236}">
                <a16:creationId xmlns:a16="http://schemas.microsoft.com/office/drawing/2014/main" id="{963ACB9C-6A09-4AC3-90BF-CF6720900775}"/>
              </a:ext>
            </a:extLst>
          </p:cNvPr>
          <p:cNvSpPr/>
          <p:nvPr/>
        </p:nvSpPr>
        <p:spPr>
          <a:xfrm>
            <a:off x="8274823" y="1542985"/>
            <a:ext cx="1596909" cy="605672"/>
          </a:xfrm>
          <a:prstGeom prst="round2Same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6D7D019-0E88-48C6-AD08-DEDA6A7D2A90}"/>
              </a:ext>
            </a:extLst>
          </p:cNvPr>
          <p:cNvGrpSpPr/>
          <p:nvPr/>
        </p:nvGrpSpPr>
        <p:grpSpPr>
          <a:xfrm>
            <a:off x="8342734" y="1624019"/>
            <a:ext cx="448056" cy="443605"/>
            <a:chOff x="8147037" y="3100437"/>
            <a:chExt cx="2325887" cy="2328131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2FAEAA62-13FB-4B61-AB91-C6B49856B845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8147037" y="3100437"/>
              <a:ext cx="2325887" cy="2328131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133AA7B3-E9DA-4C77-A5C5-F34F2192457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487655" y="3441384"/>
              <a:ext cx="1644650" cy="1646237"/>
              <a:chOff x="5273675" y="2605088"/>
              <a:chExt cx="1644650" cy="1646237"/>
            </a:xfrm>
          </p:grpSpPr>
          <p:sp>
            <p:nvSpPr>
              <p:cNvPr id="111" name="AutoShape 3">
                <a:extLst>
                  <a:ext uri="{FF2B5EF4-FFF2-40B4-BE49-F238E27FC236}">
                    <a16:creationId xmlns:a16="http://schemas.microsoft.com/office/drawing/2014/main" id="{C4B79166-B403-4B34-ACEE-F716C47FDD1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5088"/>
                <a:ext cx="1644650" cy="16462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398C1670-87D0-4732-804E-F594BD082202}"/>
                  </a:ext>
                </a:extLst>
              </p:cNvPr>
              <p:cNvGrpSpPr/>
              <p:nvPr/>
            </p:nvGrpSpPr>
            <p:grpSpPr>
              <a:xfrm>
                <a:off x="5497179" y="2775744"/>
                <a:ext cx="1197643" cy="1304925"/>
                <a:chOff x="5497974" y="2774950"/>
                <a:chExt cx="1197643" cy="1304925"/>
              </a:xfrm>
            </p:grpSpPr>
            <p:sp>
              <p:nvSpPr>
                <p:cNvPr id="113" name="Freeform 5">
                  <a:extLst>
                    <a:ext uri="{FF2B5EF4-FFF2-40B4-BE49-F238E27FC236}">
                      <a16:creationId xmlns:a16="http://schemas.microsoft.com/office/drawing/2014/main" id="{CAF5474A-3188-41B5-88E2-30D28B1F70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0088" y="2838450"/>
                  <a:ext cx="633413" cy="246062"/>
                </a:xfrm>
                <a:custGeom>
                  <a:avLst/>
                  <a:gdLst>
                    <a:gd name="connsiteX0" fmla="*/ 368300 w 633413"/>
                    <a:gd name="connsiteY0" fmla="*/ 0 h 246062"/>
                    <a:gd name="connsiteX1" fmla="*/ 595540 w 633413"/>
                    <a:gd name="connsiteY1" fmla="*/ 0 h 246062"/>
                    <a:gd name="connsiteX2" fmla="*/ 595540 w 633413"/>
                    <a:gd name="connsiteY2" fmla="*/ 718 h 246062"/>
                    <a:gd name="connsiteX3" fmla="*/ 594111 w 633413"/>
                    <a:gd name="connsiteY3" fmla="*/ 10043 h 246062"/>
                    <a:gd name="connsiteX4" fmla="*/ 622694 w 633413"/>
                    <a:gd name="connsiteY4" fmla="*/ 39456 h 246062"/>
                    <a:gd name="connsiteX5" fmla="*/ 631984 w 633413"/>
                    <a:gd name="connsiteY5" fmla="*/ 37304 h 246062"/>
                    <a:gd name="connsiteX6" fmla="*/ 633413 w 633413"/>
                    <a:gd name="connsiteY6" fmla="*/ 38021 h 246062"/>
                    <a:gd name="connsiteX7" fmla="*/ 633413 w 633413"/>
                    <a:gd name="connsiteY7" fmla="*/ 209476 h 246062"/>
                    <a:gd name="connsiteX8" fmla="*/ 631984 w 633413"/>
                    <a:gd name="connsiteY8" fmla="*/ 210910 h 246062"/>
                    <a:gd name="connsiteX9" fmla="*/ 622694 w 633413"/>
                    <a:gd name="connsiteY9" fmla="*/ 208758 h 246062"/>
                    <a:gd name="connsiteX10" fmla="*/ 594111 w 633413"/>
                    <a:gd name="connsiteY10" fmla="*/ 237454 h 246062"/>
                    <a:gd name="connsiteX11" fmla="*/ 594825 w 633413"/>
                    <a:gd name="connsiteY11" fmla="*/ 245345 h 246062"/>
                    <a:gd name="connsiteX12" fmla="*/ 594825 w 633413"/>
                    <a:gd name="connsiteY12" fmla="*/ 246062 h 246062"/>
                    <a:gd name="connsiteX13" fmla="*/ 368300 w 633413"/>
                    <a:gd name="connsiteY13" fmla="*/ 246062 h 246062"/>
                    <a:gd name="connsiteX14" fmla="*/ 369015 w 633413"/>
                    <a:gd name="connsiteY14" fmla="*/ 244627 h 246062"/>
                    <a:gd name="connsiteX15" fmla="*/ 426182 w 633413"/>
                    <a:gd name="connsiteY15" fmla="*/ 123390 h 246062"/>
                    <a:gd name="connsiteX16" fmla="*/ 369015 w 633413"/>
                    <a:gd name="connsiteY16" fmla="*/ 1435 h 246062"/>
                    <a:gd name="connsiteX17" fmla="*/ 368300 w 633413"/>
                    <a:gd name="connsiteY17" fmla="*/ 0 h 246062"/>
                    <a:gd name="connsiteX18" fmla="*/ 38611 w 633413"/>
                    <a:gd name="connsiteY18" fmla="*/ 0 h 246062"/>
                    <a:gd name="connsiteX19" fmla="*/ 265985 w 633413"/>
                    <a:gd name="connsiteY19" fmla="*/ 0 h 246062"/>
                    <a:gd name="connsiteX20" fmla="*/ 265270 w 633413"/>
                    <a:gd name="connsiteY20" fmla="*/ 1435 h 246062"/>
                    <a:gd name="connsiteX21" fmla="*/ 208069 w 633413"/>
                    <a:gd name="connsiteY21" fmla="*/ 123390 h 246062"/>
                    <a:gd name="connsiteX22" fmla="*/ 265270 w 633413"/>
                    <a:gd name="connsiteY22" fmla="*/ 244627 h 246062"/>
                    <a:gd name="connsiteX23" fmla="*/ 265985 w 633413"/>
                    <a:gd name="connsiteY23" fmla="*/ 246062 h 246062"/>
                    <a:gd name="connsiteX24" fmla="*/ 38611 w 633413"/>
                    <a:gd name="connsiteY24" fmla="*/ 246062 h 246062"/>
                    <a:gd name="connsiteX25" fmla="*/ 38611 w 633413"/>
                    <a:gd name="connsiteY25" fmla="*/ 245345 h 246062"/>
                    <a:gd name="connsiteX26" fmla="*/ 40041 w 633413"/>
                    <a:gd name="connsiteY26" fmla="*/ 237454 h 246062"/>
                    <a:gd name="connsiteX27" fmla="*/ 10725 w 633413"/>
                    <a:gd name="connsiteY27" fmla="*/ 208758 h 246062"/>
                    <a:gd name="connsiteX28" fmla="*/ 2145 w 633413"/>
                    <a:gd name="connsiteY28" fmla="*/ 210193 h 246062"/>
                    <a:gd name="connsiteX29" fmla="*/ 0 w 633413"/>
                    <a:gd name="connsiteY29" fmla="*/ 209476 h 246062"/>
                    <a:gd name="connsiteX30" fmla="*/ 0 w 633413"/>
                    <a:gd name="connsiteY30" fmla="*/ 38739 h 246062"/>
                    <a:gd name="connsiteX31" fmla="*/ 2145 w 633413"/>
                    <a:gd name="connsiteY31" fmla="*/ 37304 h 246062"/>
                    <a:gd name="connsiteX32" fmla="*/ 10725 w 633413"/>
                    <a:gd name="connsiteY32" fmla="*/ 39456 h 246062"/>
                    <a:gd name="connsiteX33" fmla="*/ 40041 w 633413"/>
                    <a:gd name="connsiteY33" fmla="*/ 10043 h 246062"/>
                    <a:gd name="connsiteX34" fmla="*/ 38611 w 633413"/>
                    <a:gd name="connsiteY34" fmla="*/ 718 h 246062"/>
                    <a:gd name="connsiteX35" fmla="*/ 38611 w 633413"/>
                    <a:gd name="connsiteY35" fmla="*/ 0 h 246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633413" h="246062">
                      <a:moveTo>
                        <a:pt x="368300" y="0"/>
                      </a:moveTo>
                      <a:cubicBezTo>
                        <a:pt x="368300" y="0"/>
                        <a:pt x="368300" y="0"/>
                        <a:pt x="595540" y="0"/>
                      </a:cubicBezTo>
                      <a:cubicBezTo>
                        <a:pt x="595540" y="0"/>
                        <a:pt x="595540" y="0"/>
                        <a:pt x="595540" y="718"/>
                      </a:cubicBezTo>
                      <a:cubicBezTo>
                        <a:pt x="594825" y="3587"/>
                        <a:pt x="594111" y="7174"/>
                        <a:pt x="594111" y="10043"/>
                      </a:cubicBezTo>
                      <a:cubicBezTo>
                        <a:pt x="594111" y="25826"/>
                        <a:pt x="606973" y="39456"/>
                        <a:pt x="622694" y="39456"/>
                      </a:cubicBezTo>
                      <a:cubicBezTo>
                        <a:pt x="625553" y="39456"/>
                        <a:pt x="629126" y="38021"/>
                        <a:pt x="631984" y="37304"/>
                      </a:cubicBezTo>
                      <a:cubicBezTo>
                        <a:pt x="632699" y="37304"/>
                        <a:pt x="633413" y="37304"/>
                        <a:pt x="633413" y="38021"/>
                      </a:cubicBezTo>
                      <a:cubicBezTo>
                        <a:pt x="633413" y="38021"/>
                        <a:pt x="633413" y="38021"/>
                        <a:pt x="633413" y="209476"/>
                      </a:cubicBezTo>
                      <a:cubicBezTo>
                        <a:pt x="633413" y="210193"/>
                        <a:pt x="632699" y="210910"/>
                        <a:pt x="631984" y="210910"/>
                      </a:cubicBezTo>
                      <a:cubicBezTo>
                        <a:pt x="629126" y="209476"/>
                        <a:pt x="625553" y="208758"/>
                        <a:pt x="622694" y="208758"/>
                      </a:cubicBezTo>
                      <a:cubicBezTo>
                        <a:pt x="606973" y="208758"/>
                        <a:pt x="594111" y="221671"/>
                        <a:pt x="594111" y="237454"/>
                      </a:cubicBezTo>
                      <a:cubicBezTo>
                        <a:pt x="594111" y="240323"/>
                        <a:pt x="594111" y="242475"/>
                        <a:pt x="594825" y="245345"/>
                      </a:cubicBezTo>
                      <a:cubicBezTo>
                        <a:pt x="594825" y="245345"/>
                        <a:pt x="594825" y="245345"/>
                        <a:pt x="594825" y="246062"/>
                      </a:cubicBezTo>
                      <a:cubicBezTo>
                        <a:pt x="594825" y="246062"/>
                        <a:pt x="594825" y="246062"/>
                        <a:pt x="368300" y="246062"/>
                      </a:cubicBezTo>
                      <a:cubicBezTo>
                        <a:pt x="368300" y="245345"/>
                        <a:pt x="368300" y="245345"/>
                        <a:pt x="369015" y="244627"/>
                      </a:cubicBezTo>
                      <a:cubicBezTo>
                        <a:pt x="398313" y="223823"/>
                        <a:pt x="426182" y="176476"/>
                        <a:pt x="426182" y="123390"/>
                      </a:cubicBezTo>
                      <a:cubicBezTo>
                        <a:pt x="426182" y="69586"/>
                        <a:pt x="398313" y="22956"/>
                        <a:pt x="369015" y="1435"/>
                      </a:cubicBezTo>
                      <a:cubicBezTo>
                        <a:pt x="368300" y="718"/>
                        <a:pt x="368300" y="718"/>
                        <a:pt x="368300" y="0"/>
                      </a:cubicBezTo>
                      <a:close/>
                      <a:moveTo>
                        <a:pt x="38611" y="0"/>
                      </a:moveTo>
                      <a:cubicBezTo>
                        <a:pt x="38611" y="0"/>
                        <a:pt x="38611" y="0"/>
                        <a:pt x="265985" y="0"/>
                      </a:cubicBezTo>
                      <a:cubicBezTo>
                        <a:pt x="266700" y="718"/>
                        <a:pt x="265985" y="718"/>
                        <a:pt x="265270" y="1435"/>
                      </a:cubicBezTo>
                      <a:cubicBezTo>
                        <a:pt x="236670" y="22956"/>
                        <a:pt x="208069" y="69586"/>
                        <a:pt x="208069" y="123390"/>
                      </a:cubicBezTo>
                      <a:cubicBezTo>
                        <a:pt x="208069" y="176476"/>
                        <a:pt x="236670" y="223823"/>
                        <a:pt x="265270" y="244627"/>
                      </a:cubicBezTo>
                      <a:cubicBezTo>
                        <a:pt x="265985" y="245345"/>
                        <a:pt x="266700" y="245345"/>
                        <a:pt x="265985" y="246062"/>
                      </a:cubicBezTo>
                      <a:cubicBezTo>
                        <a:pt x="265985" y="246062"/>
                        <a:pt x="265985" y="246062"/>
                        <a:pt x="38611" y="246062"/>
                      </a:cubicBezTo>
                      <a:cubicBezTo>
                        <a:pt x="38611" y="246062"/>
                        <a:pt x="38611" y="246062"/>
                        <a:pt x="38611" y="245345"/>
                      </a:cubicBezTo>
                      <a:cubicBezTo>
                        <a:pt x="39326" y="242475"/>
                        <a:pt x="40041" y="240323"/>
                        <a:pt x="40041" y="237454"/>
                      </a:cubicBezTo>
                      <a:cubicBezTo>
                        <a:pt x="40041" y="221671"/>
                        <a:pt x="26456" y="208758"/>
                        <a:pt x="10725" y="208758"/>
                      </a:cubicBezTo>
                      <a:cubicBezTo>
                        <a:pt x="7865" y="208758"/>
                        <a:pt x="4290" y="209476"/>
                        <a:pt x="2145" y="210193"/>
                      </a:cubicBezTo>
                      <a:cubicBezTo>
                        <a:pt x="715" y="210910"/>
                        <a:pt x="0" y="210193"/>
                        <a:pt x="0" y="209476"/>
                      </a:cubicBezTo>
                      <a:cubicBezTo>
                        <a:pt x="0" y="209476"/>
                        <a:pt x="0" y="209476"/>
                        <a:pt x="0" y="38739"/>
                      </a:cubicBezTo>
                      <a:cubicBezTo>
                        <a:pt x="0" y="37304"/>
                        <a:pt x="715" y="37304"/>
                        <a:pt x="2145" y="37304"/>
                      </a:cubicBezTo>
                      <a:cubicBezTo>
                        <a:pt x="4290" y="38021"/>
                        <a:pt x="7865" y="39456"/>
                        <a:pt x="10725" y="39456"/>
                      </a:cubicBezTo>
                      <a:cubicBezTo>
                        <a:pt x="26456" y="39456"/>
                        <a:pt x="40041" y="25826"/>
                        <a:pt x="40041" y="10043"/>
                      </a:cubicBezTo>
                      <a:cubicBezTo>
                        <a:pt x="40041" y="7174"/>
                        <a:pt x="39326" y="3587"/>
                        <a:pt x="38611" y="718"/>
                      </a:cubicBezTo>
                      <a:cubicBezTo>
                        <a:pt x="38611" y="718"/>
                        <a:pt x="38611" y="718"/>
                        <a:pt x="3861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114" name="Freeform 6">
                  <a:extLst>
                    <a:ext uri="{FF2B5EF4-FFF2-40B4-BE49-F238E27FC236}">
                      <a16:creationId xmlns:a16="http://schemas.microsoft.com/office/drawing/2014/main" id="{5A2042F3-E2DA-4646-87A8-0B97441C19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7974" y="2774950"/>
                  <a:ext cx="1197643" cy="1304925"/>
                </a:xfrm>
                <a:custGeom>
                  <a:avLst/>
                  <a:gdLst>
                    <a:gd name="connsiteX0" fmla="*/ 1077708 w 1197643"/>
                    <a:gd name="connsiteY0" fmla="*/ 315913 h 1304925"/>
                    <a:gd name="connsiteX1" fmla="*/ 1066261 w 1197643"/>
                    <a:gd name="connsiteY1" fmla="*/ 318056 h 1304925"/>
                    <a:gd name="connsiteX2" fmla="*/ 1044083 w 1197643"/>
                    <a:gd name="connsiteY2" fmla="*/ 337344 h 1304925"/>
                    <a:gd name="connsiteX3" fmla="*/ 1041936 w 1197643"/>
                    <a:gd name="connsiteY3" fmla="*/ 366634 h 1304925"/>
                    <a:gd name="connsiteX4" fmla="*/ 1065545 w 1197643"/>
                    <a:gd name="connsiteY4" fmla="*/ 434499 h 1304925"/>
                    <a:gd name="connsiteX5" fmla="*/ 1074130 w 1197643"/>
                    <a:gd name="connsiteY5" fmla="*/ 617379 h 1304925"/>
                    <a:gd name="connsiteX6" fmla="*/ 1071984 w 1197643"/>
                    <a:gd name="connsiteY6" fmla="*/ 623809 h 1304925"/>
                    <a:gd name="connsiteX7" fmla="*/ 966816 w 1197643"/>
                    <a:gd name="connsiteY7" fmla="*/ 788829 h 1304925"/>
                    <a:gd name="connsiteX8" fmla="*/ 946069 w 1197643"/>
                    <a:gd name="connsiteY8" fmla="*/ 805260 h 1304925"/>
                    <a:gd name="connsiteX9" fmla="*/ 920314 w 1197643"/>
                    <a:gd name="connsiteY9" fmla="*/ 814547 h 1304925"/>
                    <a:gd name="connsiteX10" fmla="*/ 885258 w 1197643"/>
                    <a:gd name="connsiteY10" fmla="*/ 795973 h 1304925"/>
                    <a:gd name="connsiteX11" fmla="*/ 882396 w 1197643"/>
                    <a:gd name="connsiteY11" fmla="*/ 756682 h 1304925"/>
                    <a:gd name="connsiteX12" fmla="*/ 931045 w 1197643"/>
                    <a:gd name="connsiteY12" fmla="*/ 646669 h 1304925"/>
                    <a:gd name="connsiteX13" fmla="*/ 917452 w 1197643"/>
                    <a:gd name="connsiteY13" fmla="*/ 605235 h 1304925"/>
                    <a:gd name="connsiteX14" fmla="*/ 901713 w 1197643"/>
                    <a:gd name="connsiteY14" fmla="*/ 600949 h 1304925"/>
                    <a:gd name="connsiteX15" fmla="*/ 873811 w 1197643"/>
                    <a:gd name="connsiteY15" fmla="*/ 616665 h 1304925"/>
                    <a:gd name="connsiteX16" fmla="*/ 710693 w 1197643"/>
                    <a:gd name="connsiteY16" fmla="*/ 875268 h 1304925"/>
                    <a:gd name="connsiteX17" fmla="*/ 688515 w 1197643"/>
                    <a:gd name="connsiteY17" fmla="*/ 950278 h 1304925"/>
                    <a:gd name="connsiteX18" fmla="*/ 689946 w 1197643"/>
                    <a:gd name="connsiteY18" fmla="*/ 1273175 h 1304925"/>
                    <a:gd name="connsiteX19" fmla="*/ 956800 w 1197643"/>
                    <a:gd name="connsiteY19" fmla="*/ 1273175 h 1304925"/>
                    <a:gd name="connsiteX20" fmla="*/ 956800 w 1197643"/>
                    <a:gd name="connsiteY20" fmla="*/ 1096010 h 1304925"/>
                    <a:gd name="connsiteX21" fmla="*/ 956800 w 1197643"/>
                    <a:gd name="connsiteY21" fmla="*/ 1091724 h 1304925"/>
                    <a:gd name="connsiteX22" fmla="*/ 993287 w 1197643"/>
                    <a:gd name="connsiteY22" fmla="*/ 995998 h 1304925"/>
                    <a:gd name="connsiteX23" fmla="*/ 1059822 w 1197643"/>
                    <a:gd name="connsiteY23" fmla="*/ 896700 h 1304925"/>
                    <a:gd name="connsiteX24" fmla="*/ 1153543 w 1197643"/>
                    <a:gd name="connsiteY24" fmla="*/ 672386 h 1304925"/>
                    <a:gd name="connsiteX25" fmla="*/ 1156405 w 1197643"/>
                    <a:gd name="connsiteY25" fmla="*/ 659527 h 1304925"/>
                    <a:gd name="connsiteX26" fmla="*/ 1138519 w 1197643"/>
                    <a:gd name="connsiteY26" fmla="*/ 408067 h 1304925"/>
                    <a:gd name="connsiteX27" fmla="*/ 1113479 w 1197643"/>
                    <a:gd name="connsiteY27" fmla="*/ 340916 h 1304925"/>
                    <a:gd name="connsiteX28" fmla="*/ 1077708 w 1197643"/>
                    <a:gd name="connsiteY28" fmla="*/ 315913 h 1304925"/>
                    <a:gd name="connsiteX29" fmla="*/ 118348 w 1197643"/>
                    <a:gd name="connsiteY29" fmla="*/ 315913 h 1304925"/>
                    <a:gd name="connsiteX30" fmla="*/ 82577 w 1197643"/>
                    <a:gd name="connsiteY30" fmla="*/ 340916 h 1304925"/>
                    <a:gd name="connsiteX31" fmla="*/ 57537 w 1197643"/>
                    <a:gd name="connsiteY31" fmla="*/ 408067 h 1304925"/>
                    <a:gd name="connsiteX32" fmla="*/ 39651 w 1197643"/>
                    <a:gd name="connsiteY32" fmla="*/ 659527 h 1304925"/>
                    <a:gd name="connsiteX33" fmla="*/ 42513 w 1197643"/>
                    <a:gd name="connsiteY33" fmla="*/ 672386 h 1304925"/>
                    <a:gd name="connsiteX34" fmla="*/ 136234 w 1197643"/>
                    <a:gd name="connsiteY34" fmla="*/ 896700 h 1304925"/>
                    <a:gd name="connsiteX35" fmla="*/ 202768 w 1197643"/>
                    <a:gd name="connsiteY35" fmla="*/ 995998 h 1304925"/>
                    <a:gd name="connsiteX36" fmla="*/ 239255 w 1197643"/>
                    <a:gd name="connsiteY36" fmla="*/ 1091724 h 1304925"/>
                    <a:gd name="connsiteX37" fmla="*/ 239255 w 1197643"/>
                    <a:gd name="connsiteY37" fmla="*/ 1096010 h 1304925"/>
                    <a:gd name="connsiteX38" fmla="*/ 239255 w 1197643"/>
                    <a:gd name="connsiteY38" fmla="*/ 1273175 h 1304925"/>
                    <a:gd name="connsiteX39" fmla="*/ 506109 w 1197643"/>
                    <a:gd name="connsiteY39" fmla="*/ 1273175 h 1304925"/>
                    <a:gd name="connsiteX40" fmla="*/ 507540 w 1197643"/>
                    <a:gd name="connsiteY40" fmla="*/ 950278 h 1304925"/>
                    <a:gd name="connsiteX41" fmla="*/ 485362 w 1197643"/>
                    <a:gd name="connsiteY41" fmla="*/ 875268 h 1304925"/>
                    <a:gd name="connsiteX42" fmla="*/ 322245 w 1197643"/>
                    <a:gd name="connsiteY42" fmla="*/ 616665 h 1304925"/>
                    <a:gd name="connsiteX43" fmla="*/ 294343 w 1197643"/>
                    <a:gd name="connsiteY43" fmla="*/ 600949 h 1304925"/>
                    <a:gd name="connsiteX44" fmla="*/ 278604 w 1197643"/>
                    <a:gd name="connsiteY44" fmla="*/ 605235 h 1304925"/>
                    <a:gd name="connsiteX45" fmla="*/ 265010 w 1197643"/>
                    <a:gd name="connsiteY45" fmla="*/ 646669 h 1304925"/>
                    <a:gd name="connsiteX46" fmla="*/ 313659 w 1197643"/>
                    <a:gd name="connsiteY46" fmla="*/ 756682 h 1304925"/>
                    <a:gd name="connsiteX47" fmla="*/ 310798 w 1197643"/>
                    <a:gd name="connsiteY47" fmla="*/ 795973 h 1304925"/>
                    <a:gd name="connsiteX48" fmla="*/ 275742 w 1197643"/>
                    <a:gd name="connsiteY48" fmla="*/ 814547 h 1304925"/>
                    <a:gd name="connsiteX49" fmla="*/ 249986 w 1197643"/>
                    <a:gd name="connsiteY49" fmla="*/ 805260 h 1304925"/>
                    <a:gd name="connsiteX50" fmla="*/ 229239 w 1197643"/>
                    <a:gd name="connsiteY50" fmla="*/ 788829 h 1304925"/>
                    <a:gd name="connsiteX51" fmla="*/ 124071 w 1197643"/>
                    <a:gd name="connsiteY51" fmla="*/ 623809 h 1304925"/>
                    <a:gd name="connsiteX52" fmla="*/ 121925 w 1197643"/>
                    <a:gd name="connsiteY52" fmla="*/ 617379 h 1304925"/>
                    <a:gd name="connsiteX53" fmla="*/ 130510 w 1197643"/>
                    <a:gd name="connsiteY53" fmla="*/ 434499 h 1304925"/>
                    <a:gd name="connsiteX54" fmla="*/ 154119 w 1197643"/>
                    <a:gd name="connsiteY54" fmla="*/ 366634 h 1304925"/>
                    <a:gd name="connsiteX55" fmla="*/ 151973 w 1197643"/>
                    <a:gd name="connsiteY55" fmla="*/ 337344 h 1304925"/>
                    <a:gd name="connsiteX56" fmla="*/ 129795 w 1197643"/>
                    <a:gd name="connsiteY56" fmla="*/ 318056 h 1304925"/>
                    <a:gd name="connsiteX57" fmla="*/ 118348 w 1197643"/>
                    <a:gd name="connsiteY57" fmla="*/ 315913 h 1304925"/>
                    <a:gd name="connsiteX58" fmla="*/ 1078223 w 1197643"/>
                    <a:gd name="connsiteY58" fmla="*/ 284163 h 1304925"/>
                    <a:gd name="connsiteX59" fmla="*/ 1143202 w 1197643"/>
                    <a:gd name="connsiteY59" fmla="*/ 329912 h 1304925"/>
                    <a:gd name="connsiteX60" fmla="*/ 1168195 w 1197643"/>
                    <a:gd name="connsiteY60" fmla="*/ 396390 h 1304925"/>
                    <a:gd name="connsiteX61" fmla="*/ 1186760 w 1197643"/>
                    <a:gd name="connsiteY61" fmla="*/ 665877 h 1304925"/>
                    <a:gd name="connsiteX62" fmla="*/ 1183904 w 1197643"/>
                    <a:gd name="connsiteY62" fmla="*/ 679458 h 1304925"/>
                    <a:gd name="connsiteX63" fmla="*/ 1086077 w 1197643"/>
                    <a:gd name="connsiteY63" fmla="*/ 913919 h 1304925"/>
                    <a:gd name="connsiteX64" fmla="*/ 1020383 w 1197643"/>
                    <a:gd name="connsiteY64" fmla="*/ 1013279 h 1304925"/>
                    <a:gd name="connsiteX65" fmla="*/ 988964 w 1197643"/>
                    <a:gd name="connsiteY65" fmla="*/ 1096198 h 1304925"/>
                    <a:gd name="connsiteX66" fmla="*/ 989678 w 1197643"/>
                    <a:gd name="connsiteY66" fmla="*/ 1289199 h 1304925"/>
                    <a:gd name="connsiteX67" fmla="*/ 973969 w 1197643"/>
                    <a:gd name="connsiteY67" fmla="*/ 1304925 h 1304925"/>
                    <a:gd name="connsiteX68" fmla="*/ 667635 w 1197643"/>
                    <a:gd name="connsiteY68" fmla="*/ 1304925 h 1304925"/>
                    <a:gd name="connsiteX69" fmla="*/ 659780 w 1197643"/>
                    <a:gd name="connsiteY69" fmla="*/ 1291344 h 1304925"/>
                    <a:gd name="connsiteX70" fmla="*/ 658352 w 1197643"/>
                    <a:gd name="connsiteY70" fmla="*/ 950375 h 1304925"/>
                    <a:gd name="connsiteX71" fmla="*/ 684773 w 1197643"/>
                    <a:gd name="connsiteY71" fmla="*/ 858163 h 1304925"/>
                    <a:gd name="connsiteX72" fmla="*/ 849008 w 1197643"/>
                    <a:gd name="connsiteY72" fmla="*/ 599398 h 1304925"/>
                    <a:gd name="connsiteX73" fmla="*/ 902563 w 1197643"/>
                    <a:gd name="connsiteY73" fmla="*/ 569376 h 1304925"/>
                    <a:gd name="connsiteX74" fmla="*/ 933267 w 1197643"/>
                    <a:gd name="connsiteY74" fmla="*/ 577954 h 1304925"/>
                    <a:gd name="connsiteX75" fmla="*/ 960402 w 1197643"/>
                    <a:gd name="connsiteY75" fmla="*/ 659443 h 1304925"/>
                    <a:gd name="connsiteX76" fmla="*/ 911845 w 1197643"/>
                    <a:gd name="connsiteY76" fmla="*/ 769525 h 1304925"/>
                    <a:gd name="connsiteX77" fmla="*/ 921128 w 1197643"/>
                    <a:gd name="connsiteY77" fmla="*/ 783107 h 1304925"/>
                    <a:gd name="connsiteX78" fmla="*/ 926841 w 1197643"/>
                    <a:gd name="connsiteY78" fmla="*/ 780963 h 1304925"/>
                    <a:gd name="connsiteX79" fmla="*/ 948263 w 1197643"/>
                    <a:gd name="connsiteY79" fmla="*/ 763807 h 1304925"/>
                    <a:gd name="connsiteX80" fmla="*/ 1042519 w 1197643"/>
                    <a:gd name="connsiteY80" fmla="*/ 616554 h 1304925"/>
                    <a:gd name="connsiteX81" fmla="*/ 1043947 w 1197643"/>
                    <a:gd name="connsiteY81" fmla="*/ 609406 h 1304925"/>
                    <a:gd name="connsiteX82" fmla="*/ 1036093 w 1197643"/>
                    <a:gd name="connsiteY82" fmla="*/ 444997 h 1304925"/>
                    <a:gd name="connsiteX83" fmla="*/ 1013243 w 1197643"/>
                    <a:gd name="connsiteY83" fmla="*/ 376375 h 1304925"/>
                    <a:gd name="connsiteX84" fmla="*/ 1056801 w 1197643"/>
                    <a:gd name="connsiteY84" fmla="*/ 287737 h 1304925"/>
                    <a:gd name="connsiteX85" fmla="*/ 1078223 w 1197643"/>
                    <a:gd name="connsiteY85" fmla="*/ 284163 h 1304925"/>
                    <a:gd name="connsiteX86" fmla="*/ 119420 w 1197643"/>
                    <a:gd name="connsiteY86" fmla="*/ 284163 h 1304925"/>
                    <a:gd name="connsiteX87" fmla="*/ 140842 w 1197643"/>
                    <a:gd name="connsiteY87" fmla="*/ 287737 h 1304925"/>
                    <a:gd name="connsiteX88" fmla="*/ 184400 w 1197643"/>
                    <a:gd name="connsiteY88" fmla="*/ 376375 h 1304925"/>
                    <a:gd name="connsiteX89" fmla="*/ 161550 w 1197643"/>
                    <a:gd name="connsiteY89" fmla="*/ 444997 h 1304925"/>
                    <a:gd name="connsiteX90" fmla="*/ 153695 w 1197643"/>
                    <a:gd name="connsiteY90" fmla="*/ 609406 h 1304925"/>
                    <a:gd name="connsiteX91" fmla="*/ 155123 w 1197643"/>
                    <a:gd name="connsiteY91" fmla="*/ 616554 h 1304925"/>
                    <a:gd name="connsiteX92" fmla="*/ 249380 w 1197643"/>
                    <a:gd name="connsiteY92" fmla="*/ 763807 h 1304925"/>
                    <a:gd name="connsiteX93" fmla="*/ 270802 w 1197643"/>
                    <a:gd name="connsiteY93" fmla="*/ 780963 h 1304925"/>
                    <a:gd name="connsiteX94" fmla="*/ 276514 w 1197643"/>
                    <a:gd name="connsiteY94" fmla="*/ 783107 h 1304925"/>
                    <a:gd name="connsiteX95" fmla="*/ 285797 w 1197643"/>
                    <a:gd name="connsiteY95" fmla="*/ 769525 h 1304925"/>
                    <a:gd name="connsiteX96" fmla="*/ 237241 w 1197643"/>
                    <a:gd name="connsiteY96" fmla="*/ 659443 h 1304925"/>
                    <a:gd name="connsiteX97" fmla="*/ 264375 w 1197643"/>
                    <a:gd name="connsiteY97" fmla="*/ 577954 h 1304925"/>
                    <a:gd name="connsiteX98" fmla="*/ 295080 w 1197643"/>
                    <a:gd name="connsiteY98" fmla="*/ 569376 h 1304925"/>
                    <a:gd name="connsiteX99" fmla="*/ 348635 w 1197643"/>
                    <a:gd name="connsiteY99" fmla="*/ 599398 h 1304925"/>
                    <a:gd name="connsiteX100" fmla="*/ 512870 w 1197643"/>
                    <a:gd name="connsiteY100" fmla="*/ 858163 h 1304925"/>
                    <a:gd name="connsiteX101" fmla="*/ 539290 w 1197643"/>
                    <a:gd name="connsiteY101" fmla="*/ 950375 h 1304925"/>
                    <a:gd name="connsiteX102" fmla="*/ 537862 w 1197643"/>
                    <a:gd name="connsiteY102" fmla="*/ 1291344 h 1304925"/>
                    <a:gd name="connsiteX103" fmla="*/ 530007 w 1197643"/>
                    <a:gd name="connsiteY103" fmla="*/ 1304925 h 1304925"/>
                    <a:gd name="connsiteX104" fmla="*/ 224387 w 1197643"/>
                    <a:gd name="connsiteY104" fmla="*/ 1304925 h 1304925"/>
                    <a:gd name="connsiteX105" fmla="*/ 223673 w 1197643"/>
                    <a:gd name="connsiteY105" fmla="*/ 1304925 h 1304925"/>
                    <a:gd name="connsiteX106" fmla="*/ 207964 w 1197643"/>
                    <a:gd name="connsiteY106" fmla="*/ 1289199 h 1304925"/>
                    <a:gd name="connsiteX107" fmla="*/ 208678 w 1197643"/>
                    <a:gd name="connsiteY107" fmla="*/ 1096198 h 1304925"/>
                    <a:gd name="connsiteX108" fmla="*/ 177259 w 1197643"/>
                    <a:gd name="connsiteY108" fmla="*/ 1013279 h 1304925"/>
                    <a:gd name="connsiteX109" fmla="*/ 111565 w 1197643"/>
                    <a:gd name="connsiteY109" fmla="*/ 913919 h 1304925"/>
                    <a:gd name="connsiteX110" fmla="*/ 13738 w 1197643"/>
                    <a:gd name="connsiteY110" fmla="*/ 679458 h 1304925"/>
                    <a:gd name="connsiteX111" fmla="*/ 10882 w 1197643"/>
                    <a:gd name="connsiteY111" fmla="*/ 665877 h 1304925"/>
                    <a:gd name="connsiteX112" fmla="*/ 29448 w 1197643"/>
                    <a:gd name="connsiteY112" fmla="*/ 396390 h 1304925"/>
                    <a:gd name="connsiteX113" fmla="*/ 54440 w 1197643"/>
                    <a:gd name="connsiteY113" fmla="*/ 329912 h 1304925"/>
                    <a:gd name="connsiteX114" fmla="*/ 119420 w 1197643"/>
                    <a:gd name="connsiteY114" fmla="*/ 284163 h 1304925"/>
                    <a:gd name="connsiteX115" fmla="*/ 586062 w 1197643"/>
                    <a:gd name="connsiteY115" fmla="*/ 84138 h 1304925"/>
                    <a:gd name="connsiteX116" fmla="*/ 611739 w 1197643"/>
                    <a:gd name="connsiteY116" fmla="*/ 84138 h 1304925"/>
                    <a:gd name="connsiteX117" fmla="*/ 611739 w 1197643"/>
                    <a:gd name="connsiteY117" fmla="*/ 102626 h 1304925"/>
                    <a:gd name="connsiteX118" fmla="*/ 641694 w 1197643"/>
                    <a:gd name="connsiteY118" fmla="*/ 112581 h 1304925"/>
                    <a:gd name="connsiteX119" fmla="*/ 633849 w 1197643"/>
                    <a:gd name="connsiteY119" fmla="*/ 136046 h 1304925"/>
                    <a:gd name="connsiteX120" fmla="*/ 600327 w 1197643"/>
                    <a:gd name="connsiteY120" fmla="*/ 125380 h 1304925"/>
                    <a:gd name="connsiteX121" fmla="*/ 585349 w 1197643"/>
                    <a:gd name="connsiteY121" fmla="*/ 130357 h 1304925"/>
                    <a:gd name="connsiteX122" fmla="*/ 579643 w 1197643"/>
                    <a:gd name="connsiteY122" fmla="*/ 144579 h 1304925"/>
                    <a:gd name="connsiteX123" fmla="*/ 611025 w 1197643"/>
                    <a:gd name="connsiteY123" fmla="*/ 172310 h 1304925"/>
                    <a:gd name="connsiteX124" fmla="*/ 635275 w 1197643"/>
                    <a:gd name="connsiteY124" fmla="*/ 187954 h 1304925"/>
                    <a:gd name="connsiteX125" fmla="*/ 645260 w 1197643"/>
                    <a:gd name="connsiteY125" fmla="*/ 202886 h 1304925"/>
                    <a:gd name="connsiteX126" fmla="*/ 648826 w 1197643"/>
                    <a:gd name="connsiteY126" fmla="*/ 222085 h 1304925"/>
                    <a:gd name="connsiteX127" fmla="*/ 638841 w 1197643"/>
                    <a:gd name="connsiteY127" fmla="*/ 249105 h 1304925"/>
                    <a:gd name="connsiteX128" fmla="*/ 611739 w 1197643"/>
                    <a:gd name="connsiteY128" fmla="*/ 264749 h 1304925"/>
                    <a:gd name="connsiteX129" fmla="*/ 611739 w 1197643"/>
                    <a:gd name="connsiteY129" fmla="*/ 288925 h 1304925"/>
                    <a:gd name="connsiteX130" fmla="*/ 586062 w 1197643"/>
                    <a:gd name="connsiteY130" fmla="*/ 288925 h 1304925"/>
                    <a:gd name="connsiteX131" fmla="*/ 586062 w 1197643"/>
                    <a:gd name="connsiteY131" fmla="*/ 266171 h 1304925"/>
                    <a:gd name="connsiteX132" fmla="*/ 550401 w 1197643"/>
                    <a:gd name="connsiteY132" fmla="*/ 254794 h 1304925"/>
                    <a:gd name="connsiteX133" fmla="*/ 561813 w 1197643"/>
                    <a:gd name="connsiteY133" fmla="*/ 229907 h 1304925"/>
                    <a:gd name="connsiteX134" fmla="*/ 594621 w 1197643"/>
                    <a:gd name="connsiteY134" fmla="*/ 241284 h 1304925"/>
                    <a:gd name="connsiteX135" fmla="*/ 620297 w 1197643"/>
                    <a:gd name="connsiteY135" fmla="*/ 224218 h 1304925"/>
                    <a:gd name="connsiteX136" fmla="*/ 613878 w 1197643"/>
                    <a:gd name="connsiteY136" fmla="*/ 208575 h 1304925"/>
                    <a:gd name="connsiteX137" fmla="*/ 588915 w 1197643"/>
                    <a:gd name="connsiteY137" fmla="*/ 191509 h 1304925"/>
                    <a:gd name="connsiteX138" fmla="*/ 564666 w 1197643"/>
                    <a:gd name="connsiteY138" fmla="*/ 177288 h 1304925"/>
                    <a:gd name="connsiteX139" fmla="*/ 553967 w 1197643"/>
                    <a:gd name="connsiteY139" fmla="*/ 162355 h 1304925"/>
                    <a:gd name="connsiteX140" fmla="*/ 551114 w 1197643"/>
                    <a:gd name="connsiteY140" fmla="*/ 144579 h 1304925"/>
                    <a:gd name="connsiteX141" fmla="*/ 561100 w 1197643"/>
                    <a:gd name="connsiteY141" fmla="*/ 118980 h 1304925"/>
                    <a:gd name="connsiteX142" fmla="*/ 586062 w 1197643"/>
                    <a:gd name="connsiteY142" fmla="*/ 104048 h 1304925"/>
                    <a:gd name="connsiteX143" fmla="*/ 586062 w 1197643"/>
                    <a:gd name="connsiteY143" fmla="*/ 84138 h 1304925"/>
                    <a:gd name="connsiteX144" fmla="*/ 248776 w 1197643"/>
                    <a:gd name="connsiteY144" fmla="*/ 31750 h 1304925"/>
                    <a:gd name="connsiteX145" fmla="*/ 248776 w 1197643"/>
                    <a:gd name="connsiteY145" fmla="*/ 341312 h 1304925"/>
                    <a:gd name="connsiteX146" fmla="*/ 947276 w 1197643"/>
                    <a:gd name="connsiteY146" fmla="*/ 341312 h 1304925"/>
                    <a:gd name="connsiteX147" fmla="*/ 947276 w 1197643"/>
                    <a:gd name="connsiteY147" fmla="*/ 31750 h 1304925"/>
                    <a:gd name="connsiteX148" fmla="*/ 248776 w 1197643"/>
                    <a:gd name="connsiteY148" fmla="*/ 31750 h 1304925"/>
                    <a:gd name="connsiteX149" fmla="*/ 226319 w 1197643"/>
                    <a:gd name="connsiteY149" fmla="*/ 0 h 1304925"/>
                    <a:gd name="connsiteX150" fmla="*/ 969734 w 1197643"/>
                    <a:gd name="connsiteY150" fmla="*/ 0 h 1304925"/>
                    <a:gd name="connsiteX151" fmla="*/ 979026 w 1197643"/>
                    <a:gd name="connsiteY151" fmla="*/ 8576 h 1304925"/>
                    <a:gd name="connsiteX152" fmla="*/ 979026 w 1197643"/>
                    <a:gd name="connsiteY152" fmla="*/ 363771 h 1304925"/>
                    <a:gd name="connsiteX153" fmla="*/ 969734 w 1197643"/>
                    <a:gd name="connsiteY153" fmla="*/ 373062 h 1304925"/>
                    <a:gd name="connsiteX154" fmla="*/ 226319 w 1197643"/>
                    <a:gd name="connsiteY154" fmla="*/ 373062 h 1304925"/>
                    <a:gd name="connsiteX155" fmla="*/ 217026 w 1197643"/>
                    <a:gd name="connsiteY155" fmla="*/ 363771 h 1304925"/>
                    <a:gd name="connsiteX156" fmla="*/ 217026 w 1197643"/>
                    <a:gd name="connsiteY156" fmla="*/ 8576 h 1304925"/>
                    <a:gd name="connsiteX157" fmla="*/ 226319 w 1197643"/>
                    <a:gd name="connsiteY157" fmla="*/ 0 h 1304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</a:cxnLst>
                  <a:rect l="l" t="t" r="r" b="b"/>
                  <a:pathLst>
                    <a:path w="1197643" h="1304925">
                      <a:moveTo>
                        <a:pt x="1077708" y="315913"/>
                      </a:moveTo>
                      <a:cubicBezTo>
                        <a:pt x="1074130" y="315913"/>
                        <a:pt x="1069838" y="316627"/>
                        <a:pt x="1066261" y="318056"/>
                      </a:cubicBezTo>
                      <a:cubicBezTo>
                        <a:pt x="1056245" y="321628"/>
                        <a:pt x="1048375" y="328057"/>
                        <a:pt x="1044083" y="337344"/>
                      </a:cubicBezTo>
                      <a:cubicBezTo>
                        <a:pt x="1039075" y="346631"/>
                        <a:pt x="1039075" y="356632"/>
                        <a:pt x="1041936" y="366634"/>
                      </a:cubicBezTo>
                      <a:cubicBezTo>
                        <a:pt x="1041936" y="366634"/>
                        <a:pt x="1041936" y="366634"/>
                        <a:pt x="1065545" y="434499"/>
                      </a:cubicBezTo>
                      <a:cubicBezTo>
                        <a:pt x="1085577" y="493792"/>
                        <a:pt x="1088439" y="556657"/>
                        <a:pt x="1074130" y="617379"/>
                      </a:cubicBezTo>
                      <a:cubicBezTo>
                        <a:pt x="1074130" y="617379"/>
                        <a:pt x="1074130" y="617379"/>
                        <a:pt x="1071984" y="623809"/>
                      </a:cubicBezTo>
                      <a:cubicBezTo>
                        <a:pt x="1056245" y="688817"/>
                        <a:pt x="1019043" y="746681"/>
                        <a:pt x="966816" y="788829"/>
                      </a:cubicBezTo>
                      <a:cubicBezTo>
                        <a:pt x="966816" y="788829"/>
                        <a:pt x="966816" y="788829"/>
                        <a:pt x="946069" y="805260"/>
                      </a:cubicBezTo>
                      <a:cubicBezTo>
                        <a:pt x="938199" y="811689"/>
                        <a:pt x="929614" y="814547"/>
                        <a:pt x="920314" y="814547"/>
                      </a:cubicBezTo>
                      <a:cubicBezTo>
                        <a:pt x="906005" y="814547"/>
                        <a:pt x="893127" y="807403"/>
                        <a:pt x="885258" y="795973"/>
                      </a:cubicBezTo>
                      <a:cubicBezTo>
                        <a:pt x="878103" y="783829"/>
                        <a:pt x="876673" y="769541"/>
                        <a:pt x="882396" y="756682"/>
                      </a:cubicBezTo>
                      <a:cubicBezTo>
                        <a:pt x="882396" y="756682"/>
                        <a:pt x="882396" y="756682"/>
                        <a:pt x="931045" y="646669"/>
                      </a:cubicBezTo>
                      <a:cubicBezTo>
                        <a:pt x="937484" y="631667"/>
                        <a:pt x="931760" y="613807"/>
                        <a:pt x="917452" y="605235"/>
                      </a:cubicBezTo>
                      <a:cubicBezTo>
                        <a:pt x="912444" y="602377"/>
                        <a:pt x="906721" y="600949"/>
                        <a:pt x="901713" y="600949"/>
                      </a:cubicBezTo>
                      <a:cubicBezTo>
                        <a:pt x="890266" y="600949"/>
                        <a:pt x="880250" y="606664"/>
                        <a:pt x="873811" y="616665"/>
                      </a:cubicBezTo>
                      <a:cubicBezTo>
                        <a:pt x="873811" y="616665"/>
                        <a:pt x="873811" y="616665"/>
                        <a:pt x="710693" y="875268"/>
                      </a:cubicBezTo>
                      <a:cubicBezTo>
                        <a:pt x="696385" y="897414"/>
                        <a:pt x="688515" y="923846"/>
                        <a:pt x="688515" y="950278"/>
                      </a:cubicBezTo>
                      <a:cubicBezTo>
                        <a:pt x="688515" y="950278"/>
                        <a:pt x="688515" y="950278"/>
                        <a:pt x="689946" y="1273175"/>
                      </a:cubicBezTo>
                      <a:cubicBezTo>
                        <a:pt x="689946" y="1273175"/>
                        <a:pt x="689946" y="1273175"/>
                        <a:pt x="956800" y="1273175"/>
                      </a:cubicBezTo>
                      <a:cubicBezTo>
                        <a:pt x="956800" y="1273175"/>
                        <a:pt x="956800" y="1273175"/>
                        <a:pt x="956800" y="1096010"/>
                      </a:cubicBezTo>
                      <a:cubicBezTo>
                        <a:pt x="956800" y="1094581"/>
                        <a:pt x="956800" y="1093153"/>
                        <a:pt x="956800" y="1091724"/>
                      </a:cubicBezTo>
                      <a:cubicBezTo>
                        <a:pt x="961808" y="1057434"/>
                        <a:pt x="974686" y="1024573"/>
                        <a:pt x="993287" y="995998"/>
                      </a:cubicBezTo>
                      <a:cubicBezTo>
                        <a:pt x="993287" y="995998"/>
                        <a:pt x="993287" y="995998"/>
                        <a:pt x="1059822" y="896700"/>
                      </a:cubicBezTo>
                      <a:cubicBezTo>
                        <a:pt x="1104894" y="828120"/>
                        <a:pt x="1136373" y="753110"/>
                        <a:pt x="1153543" y="672386"/>
                      </a:cubicBezTo>
                      <a:cubicBezTo>
                        <a:pt x="1153543" y="672386"/>
                        <a:pt x="1153543" y="672386"/>
                        <a:pt x="1156405" y="659527"/>
                      </a:cubicBezTo>
                      <a:cubicBezTo>
                        <a:pt x="1174290" y="575945"/>
                        <a:pt x="1168567" y="488792"/>
                        <a:pt x="1138519" y="408067"/>
                      </a:cubicBezTo>
                      <a:cubicBezTo>
                        <a:pt x="1138519" y="408067"/>
                        <a:pt x="1138519" y="408067"/>
                        <a:pt x="1113479" y="340916"/>
                      </a:cubicBezTo>
                      <a:cubicBezTo>
                        <a:pt x="1107756" y="325914"/>
                        <a:pt x="1093447" y="315913"/>
                        <a:pt x="1077708" y="315913"/>
                      </a:cubicBezTo>
                      <a:close/>
                      <a:moveTo>
                        <a:pt x="118348" y="315913"/>
                      </a:moveTo>
                      <a:cubicBezTo>
                        <a:pt x="102609" y="315913"/>
                        <a:pt x="88300" y="325914"/>
                        <a:pt x="82577" y="340916"/>
                      </a:cubicBezTo>
                      <a:cubicBezTo>
                        <a:pt x="82577" y="340916"/>
                        <a:pt x="82577" y="340916"/>
                        <a:pt x="57537" y="408067"/>
                      </a:cubicBezTo>
                      <a:cubicBezTo>
                        <a:pt x="27489" y="488792"/>
                        <a:pt x="21765" y="575945"/>
                        <a:pt x="39651" y="659527"/>
                      </a:cubicBezTo>
                      <a:cubicBezTo>
                        <a:pt x="39651" y="659527"/>
                        <a:pt x="39651" y="659527"/>
                        <a:pt x="42513" y="672386"/>
                      </a:cubicBezTo>
                      <a:cubicBezTo>
                        <a:pt x="59683" y="753110"/>
                        <a:pt x="91162" y="828120"/>
                        <a:pt x="136234" y="896700"/>
                      </a:cubicBezTo>
                      <a:cubicBezTo>
                        <a:pt x="136234" y="896700"/>
                        <a:pt x="136234" y="896700"/>
                        <a:pt x="202768" y="995998"/>
                      </a:cubicBezTo>
                      <a:cubicBezTo>
                        <a:pt x="221369" y="1024573"/>
                        <a:pt x="234247" y="1057434"/>
                        <a:pt x="239255" y="1091724"/>
                      </a:cubicBezTo>
                      <a:cubicBezTo>
                        <a:pt x="239255" y="1093153"/>
                        <a:pt x="239255" y="1094581"/>
                        <a:pt x="239255" y="1096010"/>
                      </a:cubicBezTo>
                      <a:cubicBezTo>
                        <a:pt x="239255" y="1096010"/>
                        <a:pt x="239255" y="1096010"/>
                        <a:pt x="239255" y="1273175"/>
                      </a:cubicBezTo>
                      <a:cubicBezTo>
                        <a:pt x="239255" y="1273175"/>
                        <a:pt x="239255" y="1273175"/>
                        <a:pt x="506109" y="1273175"/>
                      </a:cubicBezTo>
                      <a:cubicBezTo>
                        <a:pt x="506109" y="1273175"/>
                        <a:pt x="506109" y="1273175"/>
                        <a:pt x="507540" y="950278"/>
                      </a:cubicBezTo>
                      <a:cubicBezTo>
                        <a:pt x="507540" y="923846"/>
                        <a:pt x="499671" y="897414"/>
                        <a:pt x="485362" y="875268"/>
                      </a:cubicBezTo>
                      <a:cubicBezTo>
                        <a:pt x="485362" y="875268"/>
                        <a:pt x="485362" y="875268"/>
                        <a:pt x="322245" y="616665"/>
                      </a:cubicBezTo>
                      <a:cubicBezTo>
                        <a:pt x="315806" y="606664"/>
                        <a:pt x="305790" y="600949"/>
                        <a:pt x="294343" y="600949"/>
                      </a:cubicBezTo>
                      <a:cubicBezTo>
                        <a:pt x="289335" y="600949"/>
                        <a:pt x="283612" y="602377"/>
                        <a:pt x="278604" y="605235"/>
                      </a:cubicBezTo>
                      <a:cubicBezTo>
                        <a:pt x="264295" y="613807"/>
                        <a:pt x="258572" y="631667"/>
                        <a:pt x="265010" y="646669"/>
                      </a:cubicBezTo>
                      <a:cubicBezTo>
                        <a:pt x="265010" y="646669"/>
                        <a:pt x="265010" y="646669"/>
                        <a:pt x="313659" y="756682"/>
                      </a:cubicBezTo>
                      <a:cubicBezTo>
                        <a:pt x="319383" y="769541"/>
                        <a:pt x="317952" y="783829"/>
                        <a:pt x="310798" y="795973"/>
                      </a:cubicBezTo>
                      <a:cubicBezTo>
                        <a:pt x="302928" y="807403"/>
                        <a:pt x="290050" y="814547"/>
                        <a:pt x="275742" y="814547"/>
                      </a:cubicBezTo>
                      <a:cubicBezTo>
                        <a:pt x="266441" y="814547"/>
                        <a:pt x="257856" y="811689"/>
                        <a:pt x="249986" y="805260"/>
                      </a:cubicBezTo>
                      <a:cubicBezTo>
                        <a:pt x="249986" y="805260"/>
                        <a:pt x="249986" y="805260"/>
                        <a:pt x="229239" y="788829"/>
                      </a:cubicBezTo>
                      <a:cubicBezTo>
                        <a:pt x="177013" y="746681"/>
                        <a:pt x="139811" y="688817"/>
                        <a:pt x="124071" y="623809"/>
                      </a:cubicBezTo>
                      <a:cubicBezTo>
                        <a:pt x="124071" y="623809"/>
                        <a:pt x="124071" y="623809"/>
                        <a:pt x="121925" y="617379"/>
                      </a:cubicBezTo>
                      <a:cubicBezTo>
                        <a:pt x="107616" y="556657"/>
                        <a:pt x="110478" y="493792"/>
                        <a:pt x="130510" y="434499"/>
                      </a:cubicBezTo>
                      <a:cubicBezTo>
                        <a:pt x="130510" y="434499"/>
                        <a:pt x="130510" y="434499"/>
                        <a:pt x="154119" y="366634"/>
                      </a:cubicBezTo>
                      <a:cubicBezTo>
                        <a:pt x="157696" y="356632"/>
                        <a:pt x="156981" y="346631"/>
                        <a:pt x="151973" y="337344"/>
                      </a:cubicBezTo>
                      <a:cubicBezTo>
                        <a:pt x="147680" y="328057"/>
                        <a:pt x="139811" y="321628"/>
                        <a:pt x="129795" y="318056"/>
                      </a:cubicBezTo>
                      <a:cubicBezTo>
                        <a:pt x="126218" y="316627"/>
                        <a:pt x="121925" y="315913"/>
                        <a:pt x="118348" y="315913"/>
                      </a:cubicBezTo>
                      <a:close/>
                      <a:moveTo>
                        <a:pt x="1078223" y="284163"/>
                      </a:moveTo>
                      <a:cubicBezTo>
                        <a:pt x="1106785" y="284163"/>
                        <a:pt x="1133206" y="302034"/>
                        <a:pt x="1143202" y="329912"/>
                      </a:cubicBezTo>
                      <a:cubicBezTo>
                        <a:pt x="1143202" y="329912"/>
                        <a:pt x="1143202" y="329912"/>
                        <a:pt x="1168195" y="396390"/>
                      </a:cubicBezTo>
                      <a:cubicBezTo>
                        <a:pt x="1199614" y="482883"/>
                        <a:pt x="1206040" y="576524"/>
                        <a:pt x="1186760" y="665877"/>
                      </a:cubicBezTo>
                      <a:cubicBezTo>
                        <a:pt x="1186760" y="665877"/>
                        <a:pt x="1186760" y="665877"/>
                        <a:pt x="1183904" y="679458"/>
                      </a:cubicBezTo>
                      <a:cubicBezTo>
                        <a:pt x="1166767" y="763092"/>
                        <a:pt x="1133206" y="842437"/>
                        <a:pt x="1086077" y="913919"/>
                      </a:cubicBezTo>
                      <a:cubicBezTo>
                        <a:pt x="1086077" y="913919"/>
                        <a:pt x="1086077" y="913919"/>
                        <a:pt x="1020383" y="1013279"/>
                      </a:cubicBezTo>
                      <a:cubicBezTo>
                        <a:pt x="1003960" y="1038298"/>
                        <a:pt x="993249" y="1066890"/>
                        <a:pt x="988964" y="1096198"/>
                      </a:cubicBezTo>
                      <a:cubicBezTo>
                        <a:pt x="988964" y="1096198"/>
                        <a:pt x="988964" y="1096198"/>
                        <a:pt x="989678" y="1289199"/>
                      </a:cubicBezTo>
                      <a:cubicBezTo>
                        <a:pt x="989678" y="1297777"/>
                        <a:pt x="982538" y="1304925"/>
                        <a:pt x="973969" y="1304925"/>
                      </a:cubicBezTo>
                      <a:cubicBezTo>
                        <a:pt x="973969" y="1304925"/>
                        <a:pt x="973969" y="1304925"/>
                        <a:pt x="667635" y="1304925"/>
                      </a:cubicBezTo>
                      <a:cubicBezTo>
                        <a:pt x="662637" y="1302066"/>
                        <a:pt x="659780" y="1296347"/>
                        <a:pt x="659780" y="1291344"/>
                      </a:cubicBezTo>
                      <a:cubicBezTo>
                        <a:pt x="659780" y="1291344"/>
                        <a:pt x="659780" y="1291344"/>
                        <a:pt x="658352" y="950375"/>
                      </a:cubicBezTo>
                      <a:cubicBezTo>
                        <a:pt x="658352" y="917493"/>
                        <a:pt x="667635" y="886041"/>
                        <a:pt x="684773" y="858163"/>
                      </a:cubicBezTo>
                      <a:cubicBezTo>
                        <a:pt x="684773" y="858163"/>
                        <a:pt x="684773" y="858163"/>
                        <a:pt x="849008" y="599398"/>
                      </a:cubicBezTo>
                      <a:cubicBezTo>
                        <a:pt x="860433" y="580098"/>
                        <a:pt x="881141" y="569376"/>
                        <a:pt x="902563" y="569376"/>
                      </a:cubicBezTo>
                      <a:cubicBezTo>
                        <a:pt x="912559" y="569376"/>
                        <a:pt x="923984" y="572235"/>
                        <a:pt x="933267" y="577954"/>
                      </a:cubicBezTo>
                      <a:cubicBezTo>
                        <a:pt x="961830" y="594395"/>
                        <a:pt x="973969" y="629421"/>
                        <a:pt x="960402" y="659443"/>
                      </a:cubicBezTo>
                      <a:cubicBezTo>
                        <a:pt x="960402" y="659443"/>
                        <a:pt x="960402" y="659443"/>
                        <a:pt x="911845" y="769525"/>
                      </a:cubicBezTo>
                      <a:cubicBezTo>
                        <a:pt x="908989" y="776674"/>
                        <a:pt x="914702" y="783107"/>
                        <a:pt x="921128" y="783107"/>
                      </a:cubicBezTo>
                      <a:cubicBezTo>
                        <a:pt x="922556" y="783107"/>
                        <a:pt x="924699" y="782392"/>
                        <a:pt x="926841" y="780963"/>
                      </a:cubicBezTo>
                      <a:cubicBezTo>
                        <a:pt x="926841" y="780963"/>
                        <a:pt x="926841" y="780963"/>
                        <a:pt x="948263" y="763807"/>
                      </a:cubicBezTo>
                      <a:cubicBezTo>
                        <a:pt x="994677" y="726636"/>
                        <a:pt x="1028238" y="674454"/>
                        <a:pt x="1042519" y="616554"/>
                      </a:cubicBezTo>
                      <a:cubicBezTo>
                        <a:pt x="1042519" y="616554"/>
                        <a:pt x="1042519" y="616554"/>
                        <a:pt x="1043947" y="609406"/>
                      </a:cubicBezTo>
                      <a:cubicBezTo>
                        <a:pt x="1057515" y="555080"/>
                        <a:pt x="1054658" y="497894"/>
                        <a:pt x="1036093" y="444997"/>
                      </a:cubicBezTo>
                      <a:cubicBezTo>
                        <a:pt x="1036093" y="444997"/>
                        <a:pt x="1036093" y="444997"/>
                        <a:pt x="1013243" y="376375"/>
                      </a:cubicBezTo>
                      <a:cubicBezTo>
                        <a:pt x="1000389" y="339919"/>
                        <a:pt x="1019669" y="299889"/>
                        <a:pt x="1056801" y="287737"/>
                      </a:cubicBezTo>
                      <a:cubicBezTo>
                        <a:pt x="1063941" y="285593"/>
                        <a:pt x="1071082" y="284163"/>
                        <a:pt x="1078223" y="284163"/>
                      </a:cubicBezTo>
                      <a:close/>
                      <a:moveTo>
                        <a:pt x="119420" y="284163"/>
                      </a:moveTo>
                      <a:cubicBezTo>
                        <a:pt x="126561" y="284163"/>
                        <a:pt x="133701" y="285593"/>
                        <a:pt x="140842" y="287737"/>
                      </a:cubicBezTo>
                      <a:cubicBezTo>
                        <a:pt x="177973" y="299889"/>
                        <a:pt x="197253" y="339919"/>
                        <a:pt x="184400" y="376375"/>
                      </a:cubicBezTo>
                      <a:cubicBezTo>
                        <a:pt x="184400" y="376375"/>
                        <a:pt x="184400" y="376375"/>
                        <a:pt x="161550" y="444997"/>
                      </a:cubicBezTo>
                      <a:cubicBezTo>
                        <a:pt x="142984" y="497894"/>
                        <a:pt x="140128" y="555080"/>
                        <a:pt x="153695" y="609406"/>
                      </a:cubicBezTo>
                      <a:cubicBezTo>
                        <a:pt x="153695" y="609406"/>
                        <a:pt x="153695" y="609406"/>
                        <a:pt x="155123" y="616554"/>
                      </a:cubicBezTo>
                      <a:cubicBezTo>
                        <a:pt x="169404" y="674454"/>
                        <a:pt x="202966" y="726636"/>
                        <a:pt x="249380" y="763807"/>
                      </a:cubicBezTo>
                      <a:cubicBezTo>
                        <a:pt x="249380" y="763807"/>
                        <a:pt x="249380" y="763807"/>
                        <a:pt x="270802" y="780963"/>
                      </a:cubicBezTo>
                      <a:cubicBezTo>
                        <a:pt x="272944" y="782392"/>
                        <a:pt x="275086" y="783107"/>
                        <a:pt x="276514" y="783107"/>
                      </a:cubicBezTo>
                      <a:cubicBezTo>
                        <a:pt x="282941" y="783107"/>
                        <a:pt x="288653" y="776674"/>
                        <a:pt x="285797" y="769525"/>
                      </a:cubicBezTo>
                      <a:cubicBezTo>
                        <a:pt x="285797" y="769525"/>
                        <a:pt x="285797" y="769525"/>
                        <a:pt x="237241" y="659443"/>
                      </a:cubicBezTo>
                      <a:cubicBezTo>
                        <a:pt x="223673" y="629421"/>
                        <a:pt x="235813" y="594395"/>
                        <a:pt x="264375" y="577954"/>
                      </a:cubicBezTo>
                      <a:cubicBezTo>
                        <a:pt x="273658" y="572235"/>
                        <a:pt x="285083" y="569376"/>
                        <a:pt x="295080" y="569376"/>
                      </a:cubicBezTo>
                      <a:cubicBezTo>
                        <a:pt x="316502" y="569376"/>
                        <a:pt x="337210" y="580098"/>
                        <a:pt x="348635" y="599398"/>
                      </a:cubicBezTo>
                      <a:cubicBezTo>
                        <a:pt x="348635" y="599398"/>
                        <a:pt x="348635" y="599398"/>
                        <a:pt x="512870" y="858163"/>
                      </a:cubicBezTo>
                      <a:cubicBezTo>
                        <a:pt x="530007" y="886041"/>
                        <a:pt x="539290" y="917493"/>
                        <a:pt x="539290" y="950375"/>
                      </a:cubicBezTo>
                      <a:cubicBezTo>
                        <a:pt x="539290" y="950375"/>
                        <a:pt x="539290" y="950375"/>
                        <a:pt x="537862" y="1291344"/>
                      </a:cubicBezTo>
                      <a:cubicBezTo>
                        <a:pt x="537862" y="1296347"/>
                        <a:pt x="535006" y="1302066"/>
                        <a:pt x="530007" y="1304925"/>
                      </a:cubicBezTo>
                      <a:cubicBezTo>
                        <a:pt x="530007" y="1304925"/>
                        <a:pt x="530007" y="1304925"/>
                        <a:pt x="224387" y="1304925"/>
                      </a:cubicBezTo>
                      <a:cubicBezTo>
                        <a:pt x="223673" y="1304925"/>
                        <a:pt x="223673" y="1304925"/>
                        <a:pt x="223673" y="1304925"/>
                      </a:cubicBezTo>
                      <a:cubicBezTo>
                        <a:pt x="215105" y="1304925"/>
                        <a:pt x="207964" y="1297777"/>
                        <a:pt x="207964" y="1289199"/>
                      </a:cubicBezTo>
                      <a:cubicBezTo>
                        <a:pt x="207964" y="1289199"/>
                        <a:pt x="207964" y="1289199"/>
                        <a:pt x="208678" y="1096198"/>
                      </a:cubicBezTo>
                      <a:cubicBezTo>
                        <a:pt x="204394" y="1066890"/>
                        <a:pt x="193683" y="1038298"/>
                        <a:pt x="177259" y="1013279"/>
                      </a:cubicBezTo>
                      <a:cubicBezTo>
                        <a:pt x="177259" y="1013279"/>
                        <a:pt x="177259" y="1013279"/>
                        <a:pt x="111565" y="913919"/>
                      </a:cubicBezTo>
                      <a:cubicBezTo>
                        <a:pt x="64437" y="842437"/>
                        <a:pt x="30876" y="763092"/>
                        <a:pt x="13738" y="679458"/>
                      </a:cubicBezTo>
                      <a:cubicBezTo>
                        <a:pt x="13738" y="679458"/>
                        <a:pt x="13738" y="679458"/>
                        <a:pt x="10882" y="665877"/>
                      </a:cubicBezTo>
                      <a:cubicBezTo>
                        <a:pt x="-8398" y="576524"/>
                        <a:pt x="-1971" y="482883"/>
                        <a:pt x="29448" y="396390"/>
                      </a:cubicBezTo>
                      <a:cubicBezTo>
                        <a:pt x="29448" y="396390"/>
                        <a:pt x="29448" y="396390"/>
                        <a:pt x="54440" y="329912"/>
                      </a:cubicBezTo>
                      <a:cubicBezTo>
                        <a:pt x="64437" y="302034"/>
                        <a:pt x="90857" y="284163"/>
                        <a:pt x="119420" y="284163"/>
                      </a:cubicBezTo>
                      <a:close/>
                      <a:moveTo>
                        <a:pt x="586062" y="84138"/>
                      </a:moveTo>
                      <a:cubicBezTo>
                        <a:pt x="611739" y="84138"/>
                        <a:pt x="611739" y="84138"/>
                        <a:pt x="611739" y="84138"/>
                      </a:cubicBezTo>
                      <a:cubicBezTo>
                        <a:pt x="611739" y="102626"/>
                        <a:pt x="611739" y="102626"/>
                        <a:pt x="611739" y="102626"/>
                      </a:cubicBezTo>
                      <a:cubicBezTo>
                        <a:pt x="624577" y="104048"/>
                        <a:pt x="635988" y="106892"/>
                        <a:pt x="641694" y="112581"/>
                      </a:cubicBezTo>
                      <a:cubicBezTo>
                        <a:pt x="633849" y="136046"/>
                        <a:pt x="633849" y="136046"/>
                        <a:pt x="633849" y="136046"/>
                      </a:cubicBezTo>
                      <a:cubicBezTo>
                        <a:pt x="623150" y="128935"/>
                        <a:pt x="611739" y="125380"/>
                        <a:pt x="600327" y="125380"/>
                      </a:cubicBezTo>
                      <a:cubicBezTo>
                        <a:pt x="593908" y="125380"/>
                        <a:pt x="588915" y="127513"/>
                        <a:pt x="585349" y="130357"/>
                      </a:cubicBezTo>
                      <a:cubicBezTo>
                        <a:pt x="581070" y="133913"/>
                        <a:pt x="579643" y="138890"/>
                        <a:pt x="579643" y="144579"/>
                      </a:cubicBezTo>
                      <a:cubicBezTo>
                        <a:pt x="579643" y="153112"/>
                        <a:pt x="589629" y="163066"/>
                        <a:pt x="611025" y="172310"/>
                      </a:cubicBezTo>
                      <a:cubicBezTo>
                        <a:pt x="621724" y="177999"/>
                        <a:pt x="630282" y="183687"/>
                        <a:pt x="635275" y="187954"/>
                      </a:cubicBezTo>
                      <a:cubicBezTo>
                        <a:pt x="639554" y="192220"/>
                        <a:pt x="642407" y="197198"/>
                        <a:pt x="645260" y="202886"/>
                      </a:cubicBezTo>
                      <a:cubicBezTo>
                        <a:pt x="647400" y="209286"/>
                        <a:pt x="648826" y="214974"/>
                        <a:pt x="648826" y="222085"/>
                      </a:cubicBezTo>
                      <a:cubicBezTo>
                        <a:pt x="648826" y="232751"/>
                        <a:pt x="645973" y="241284"/>
                        <a:pt x="638841" y="249105"/>
                      </a:cubicBezTo>
                      <a:cubicBezTo>
                        <a:pt x="633135" y="256216"/>
                        <a:pt x="623150" y="261905"/>
                        <a:pt x="611739" y="264749"/>
                      </a:cubicBezTo>
                      <a:cubicBezTo>
                        <a:pt x="611739" y="288925"/>
                        <a:pt x="611739" y="288925"/>
                        <a:pt x="611739" y="288925"/>
                      </a:cubicBezTo>
                      <a:cubicBezTo>
                        <a:pt x="586062" y="288925"/>
                        <a:pt x="586062" y="288925"/>
                        <a:pt x="586062" y="288925"/>
                      </a:cubicBezTo>
                      <a:cubicBezTo>
                        <a:pt x="586062" y="266171"/>
                        <a:pt x="586062" y="266171"/>
                        <a:pt x="586062" y="266171"/>
                      </a:cubicBezTo>
                      <a:cubicBezTo>
                        <a:pt x="573224" y="266171"/>
                        <a:pt x="561813" y="261905"/>
                        <a:pt x="550401" y="254794"/>
                      </a:cubicBezTo>
                      <a:cubicBezTo>
                        <a:pt x="561813" y="229907"/>
                        <a:pt x="561813" y="229907"/>
                        <a:pt x="561813" y="229907"/>
                      </a:cubicBezTo>
                      <a:cubicBezTo>
                        <a:pt x="572511" y="237728"/>
                        <a:pt x="583923" y="241284"/>
                        <a:pt x="594621" y="241284"/>
                      </a:cubicBezTo>
                      <a:cubicBezTo>
                        <a:pt x="611739" y="241284"/>
                        <a:pt x="620297" y="235595"/>
                        <a:pt x="620297" y="224218"/>
                      </a:cubicBezTo>
                      <a:cubicBezTo>
                        <a:pt x="620297" y="218530"/>
                        <a:pt x="618158" y="213552"/>
                        <a:pt x="613878" y="208575"/>
                      </a:cubicBezTo>
                      <a:cubicBezTo>
                        <a:pt x="609599" y="203597"/>
                        <a:pt x="601040" y="197909"/>
                        <a:pt x="588915" y="191509"/>
                      </a:cubicBezTo>
                      <a:cubicBezTo>
                        <a:pt x="576791" y="185821"/>
                        <a:pt x="569658" y="180843"/>
                        <a:pt x="564666" y="177288"/>
                      </a:cubicBezTo>
                      <a:cubicBezTo>
                        <a:pt x="560386" y="172310"/>
                        <a:pt x="557533" y="168044"/>
                        <a:pt x="553967" y="162355"/>
                      </a:cubicBezTo>
                      <a:cubicBezTo>
                        <a:pt x="551828" y="156667"/>
                        <a:pt x="551114" y="150978"/>
                        <a:pt x="551114" y="144579"/>
                      </a:cubicBezTo>
                      <a:cubicBezTo>
                        <a:pt x="551114" y="133913"/>
                        <a:pt x="553967" y="125380"/>
                        <a:pt x="561100" y="118980"/>
                      </a:cubicBezTo>
                      <a:cubicBezTo>
                        <a:pt x="567519" y="111870"/>
                        <a:pt x="575364" y="106892"/>
                        <a:pt x="586062" y="104048"/>
                      </a:cubicBezTo>
                      <a:cubicBezTo>
                        <a:pt x="586062" y="84138"/>
                        <a:pt x="586062" y="84138"/>
                        <a:pt x="586062" y="84138"/>
                      </a:cubicBezTo>
                      <a:close/>
                      <a:moveTo>
                        <a:pt x="248776" y="31750"/>
                      </a:moveTo>
                      <a:cubicBezTo>
                        <a:pt x="248776" y="31750"/>
                        <a:pt x="248776" y="31750"/>
                        <a:pt x="248776" y="341312"/>
                      </a:cubicBezTo>
                      <a:cubicBezTo>
                        <a:pt x="248776" y="341312"/>
                        <a:pt x="248776" y="341312"/>
                        <a:pt x="947276" y="341312"/>
                      </a:cubicBezTo>
                      <a:cubicBezTo>
                        <a:pt x="947276" y="341312"/>
                        <a:pt x="947276" y="341312"/>
                        <a:pt x="947276" y="31750"/>
                      </a:cubicBezTo>
                      <a:cubicBezTo>
                        <a:pt x="947276" y="31750"/>
                        <a:pt x="947276" y="31750"/>
                        <a:pt x="248776" y="31750"/>
                      </a:cubicBezTo>
                      <a:close/>
                      <a:moveTo>
                        <a:pt x="226319" y="0"/>
                      </a:moveTo>
                      <a:cubicBezTo>
                        <a:pt x="969734" y="0"/>
                        <a:pt x="969734" y="0"/>
                        <a:pt x="969734" y="0"/>
                      </a:cubicBezTo>
                      <a:cubicBezTo>
                        <a:pt x="975452" y="0"/>
                        <a:pt x="979026" y="3574"/>
                        <a:pt x="979026" y="8576"/>
                      </a:cubicBezTo>
                      <a:cubicBezTo>
                        <a:pt x="979026" y="363771"/>
                        <a:pt x="979026" y="363771"/>
                        <a:pt x="979026" y="363771"/>
                      </a:cubicBezTo>
                      <a:cubicBezTo>
                        <a:pt x="979026" y="368774"/>
                        <a:pt x="975452" y="373062"/>
                        <a:pt x="969734" y="373062"/>
                      </a:cubicBezTo>
                      <a:cubicBezTo>
                        <a:pt x="226319" y="373062"/>
                        <a:pt x="226319" y="373062"/>
                        <a:pt x="226319" y="373062"/>
                      </a:cubicBezTo>
                      <a:cubicBezTo>
                        <a:pt x="221315" y="373062"/>
                        <a:pt x="217026" y="368774"/>
                        <a:pt x="217026" y="363771"/>
                      </a:cubicBezTo>
                      <a:cubicBezTo>
                        <a:pt x="217026" y="8576"/>
                        <a:pt x="217026" y="8576"/>
                        <a:pt x="217026" y="8576"/>
                      </a:cubicBezTo>
                      <a:cubicBezTo>
                        <a:pt x="217026" y="3574"/>
                        <a:pt x="221315" y="0"/>
                        <a:pt x="226319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5C48DBA4-B31A-43E9-9800-54335014A055}"/>
              </a:ext>
            </a:extLst>
          </p:cNvPr>
          <p:cNvSpPr/>
          <p:nvPr/>
        </p:nvSpPr>
        <p:spPr>
          <a:xfrm>
            <a:off x="9966445" y="1542985"/>
            <a:ext cx="1596909" cy="605672"/>
          </a:xfrm>
          <a:prstGeom prst="round2Same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40D0AE74-E3C6-4D77-B9F3-256EC375A8B9}"/>
              </a:ext>
            </a:extLst>
          </p:cNvPr>
          <p:cNvGrpSpPr/>
          <p:nvPr/>
        </p:nvGrpSpPr>
        <p:grpSpPr>
          <a:xfrm>
            <a:off x="10039630" y="1624019"/>
            <a:ext cx="448056" cy="443605"/>
            <a:chOff x="10508424" y="3168682"/>
            <a:chExt cx="2325527" cy="2327683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D8CF487D-2E6A-432F-8B92-08540F0E2F73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10508424" y="3168682"/>
              <a:ext cx="2325527" cy="2327683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04" name="bcgIcons_PriceTag">
              <a:extLst>
                <a:ext uri="{FF2B5EF4-FFF2-40B4-BE49-F238E27FC236}">
                  <a16:creationId xmlns:a16="http://schemas.microsoft.com/office/drawing/2014/main" id="{3AC36B3B-28CB-4340-9680-A38DD271BD9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848989" y="3509563"/>
              <a:ext cx="1644396" cy="1645920"/>
              <a:chOff x="1682" y="0"/>
              <a:chExt cx="4316" cy="4320"/>
            </a:xfrm>
          </p:grpSpPr>
          <p:sp>
            <p:nvSpPr>
              <p:cNvPr id="105" name="AutoShape 3">
                <a:extLst>
                  <a:ext uri="{FF2B5EF4-FFF2-40B4-BE49-F238E27FC236}">
                    <a16:creationId xmlns:a16="http://schemas.microsoft.com/office/drawing/2014/main" id="{7EC44D17-C811-45EA-9E56-2F4CCBDE0FF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5">
                <a:extLst>
                  <a:ext uri="{FF2B5EF4-FFF2-40B4-BE49-F238E27FC236}">
                    <a16:creationId xmlns:a16="http://schemas.microsoft.com/office/drawing/2014/main" id="{FD7B0AAE-790D-45F3-9A74-6C7D16588B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2" y="675"/>
                <a:ext cx="2894" cy="2966"/>
              </a:xfrm>
              <a:custGeom>
                <a:avLst/>
                <a:gdLst>
                  <a:gd name="T0" fmla="*/ 704 w 1545"/>
                  <a:gd name="T1" fmla="*/ 1582 h 1582"/>
                  <a:gd name="T2" fmla="*/ 674 w 1545"/>
                  <a:gd name="T3" fmla="*/ 1571 h 1582"/>
                  <a:gd name="T4" fmla="*/ 15 w 1545"/>
                  <a:gd name="T5" fmla="*/ 959 h 1582"/>
                  <a:gd name="T6" fmla="*/ 1 w 1545"/>
                  <a:gd name="T7" fmla="*/ 929 h 1582"/>
                  <a:gd name="T8" fmla="*/ 12 w 1545"/>
                  <a:gd name="T9" fmla="*/ 897 h 1582"/>
                  <a:gd name="T10" fmla="*/ 717 w 1545"/>
                  <a:gd name="T11" fmla="*/ 136 h 1582"/>
                  <a:gd name="T12" fmla="*/ 727 w 1545"/>
                  <a:gd name="T13" fmla="*/ 130 h 1582"/>
                  <a:gd name="T14" fmla="*/ 1136 w 1545"/>
                  <a:gd name="T15" fmla="*/ 4 h 1582"/>
                  <a:gd name="T16" fmla="*/ 1139 w 1545"/>
                  <a:gd name="T17" fmla="*/ 3 h 1582"/>
                  <a:gd name="T18" fmla="*/ 1180 w 1545"/>
                  <a:gd name="T19" fmla="*/ 13 h 1582"/>
                  <a:gd name="T20" fmla="*/ 1529 w 1545"/>
                  <a:gd name="T21" fmla="*/ 336 h 1582"/>
                  <a:gd name="T22" fmla="*/ 1542 w 1545"/>
                  <a:gd name="T23" fmla="*/ 379 h 1582"/>
                  <a:gd name="T24" fmla="*/ 1542 w 1545"/>
                  <a:gd name="T25" fmla="*/ 380 h 1582"/>
                  <a:gd name="T26" fmla="*/ 1447 w 1545"/>
                  <a:gd name="T27" fmla="*/ 797 h 1582"/>
                  <a:gd name="T28" fmla="*/ 1441 w 1545"/>
                  <a:gd name="T29" fmla="*/ 807 h 1582"/>
                  <a:gd name="T30" fmla="*/ 736 w 1545"/>
                  <a:gd name="T31" fmla="*/ 1568 h 1582"/>
                  <a:gd name="T32" fmla="*/ 706 w 1545"/>
                  <a:gd name="T33" fmla="*/ 1582 h 1582"/>
                  <a:gd name="T34" fmla="*/ 704 w 1545"/>
                  <a:gd name="T35" fmla="*/ 1582 h 1582"/>
                  <a:gd name="T36" fmla="*/ 704 w 1545"/>
                  <a:gd name="T37" fmla="*/ 1538 h 1582"/>
                  <a:gd name="T38" fmla="*/ 704 w 1545"/>
                  <a:gd name="T39" fmla="*/ 1538 h 1582"/>
                  <a:gd name="T40" fmla="*/ 704 w 1545"/>
                  <a:gd name="T41" fmla="*/ 1538 h 1582"/>
                  <a:gd name="T42" fmla="*/ 746 w 1545"/>
                  <a:gd name="T43" fmla="*/ 171 h 1582"/>
                  <a:gd name="T44" fmla="*/ 45 w 1545"/>
                  <a:gd name="T45" fmla="*/ 927 h 1582"/>
                  <a:gd name="T46" fmla="*/ 704 w 1545"/>
                  <a:gd name="T47" fmla="*/ 1538 h 1582"/>
                  <a:gd name="T48" fmla="*/ 1405 w 1545"/>
                  <a:gd name="T49" fmla="*/ 782 h 1582"/>
                  <a:gd name="T50" fmla="*/ 1499 w 1545"/>
                  <a:gd name="T51" fmla="*/ 371 h 1582"/>
                  <a:gd name="T52" fmla="*/ 1499 w 1545"/>
                  <a:gd name="T53" fmla="*/ 369 h 1582"/>
                  <a:gd name="T54" fmla="*/ 1151 w 1545"/>
                  <a:gd name="T55" fmla="*/ 46 h 1582"/>
                  <a:gd name="T56" fmla="*/ 1147 w 1545"/>
                  <a:gd name="T57" fmla="*/ 46 h 1582"/>
                  <a:gd name="T58" fmla="*/ 746 w 1545"/>
                  <a:gd name="T59" fmla="*/ 171 h 15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45" h="1582">
                    <a:moveTo>
                      <a:pt x="704" y="1582"/>
                    </a:moveTo>
                    <a:cubicBezTo>
                      <a:pt x="693" y="1582"/>
                      <a:pt x="682" y="1578"/>
                      <a:pt x="674" y="1571"/>
                    </a:cubicBezTo>
                    <a:cubicBezTo>
                      <a:pt x="15" y="959"/>
                      <a:pt x="15" y="959"/>
                      <a:pt x="15" y="959"/>
                    </a:cubicBezTo>
                    <a:cubicBezTo>
                      <a:pt x="6" y="951"/>
                      <a:pt x="1" y="941"/>
                      <a:pt x="1" y="929"/>
                    </a:cubicBezTo>
                    <a:cubicBezTo>
                      <a:pt x="0" y="917"/>
                      <a:pt x="4" y="906"/>
                      <a:pt x="12" y="897"/>
                    </a:cubicBezTo>
                    <a:cubicBezTo>
                      <a:pt x="717" y="136"/>
                      <a:pt x="717" y="136"/>
                      <a:pt x="717" y="136"/>
                    </a:cubicBezTo>
                    <a:cubicBezTo>
                      <a:pt x="720" y="134"/>
                      <a:pt x="723" y="132"/>
                      <a:pt x="727" y="130"/>
                    </a:cubicBezTo>
                    <a:cubicBezTo>
                      <a:pt x="1136" y="4"/>
                      <a:pt x="1136" y="4"/>
                      <a:pt x="1136" y="4"/>
                    </a:cubicBezTo>
                    <a:cubicBezTo>
                      <a:pt x="1137" y="3"/>
                      <a:pt x="1138" y="3"/>
                      <a:pt x="1139" y="3"/>
                    </a:cubicBezTo>
                    <a:cubicBezTo>
                      <a:pt x="1150" y="1"/>
                      <a:pt x="1166" y="0"/>
                      <a:pt x="1180" y="13"/>
                    </a:cubicBezTo>
                    <a:cubicBezTo>
                      <a:pt x="1529" y="336"/>
                      <a:pt x="1529" y="336"/>
                      <a:pt x="1529" y="336"/>
                    </a:cubicBezTo>
                    <a:cubicBezTo>
                      <a:pt x="1540" y="347"/>
                      <a:pt x="1545" y="363"/>
                      <a:pt x="1542" y="379"/>
                    </a:cubicBezTo>
                    <a:cubicBezTo>
                      <a:pt x="1542" y="380"/>
                      <a:pt x="1542" y="380"/>
                      <a:pt x="1542" y="380"/>
                    </a:cubicBezTo>
                    <a:cubicBezTo>
                      <a:pt x="1447" y="797"/>
                      <a:pt x="1447" y="797"/>
                      <a:pt x="1447" y="797"/>
                    </a:cubicBezTo>
                    <a:cubicBezTo>
                      <a:pt x="1446" y="801"/>
                      <a:pt x="1444" y="805"/>
                      <a:pt x="1441" y="807"/>
                    </a:cubicBezTo>
                    <a:cubicBezTo>
                      <a:pt x="736" y="1568"/>
                      <a:pt x="736" y="1568"/>
                      <a:pt x="736" y="1568"/>
                    </a:cubicBezTo>
                    <a:cubicBezTo>
                      <a:pt x="728" y="1577"/>
                      <a:pt x="718" y="1582"/>
                      <a:pt x="706" y="1582"/>
                    </a:cubicBezTo>
                    <a:cubicBezTo>
                      <a:pt x="705" y="1582"/>
                      <a:pt x="705" y="1582"/>
                      <a:pt x="704" y="1582"/>
                    </a:cubicBezTo>
                    <a:close/>
                    <a:moveTo>
                      <a:pt x="704" y="1538"/>
                    </a:moveTo>
                    <a:cubicBezTo>
                      <a:pt x="704" y="1538"/>
                      <a:pt x="704" y="1538"/>
                      <a:pt x="704" y="1538"/>
                    </a:cubicBezTo>
                    <a:cubicBezTo>
                      <a:pt x="704" y="1538"/>
                      <a:pt x="704" y="1538"/>
                      <a:pt x="704" y="1538"/>
                    </a:cubicBezTo>
                    <a:close/>
                    <a:moveTo>
                      <a:pt x="746" y="171"/>
                    </a:moveTo>
                    <a:cubicBezTo>
                      <a:pt x="45" y="927"/>
                      <a:pt x="45" y="927"/>
                      <a:pt x="45" y="927"/>
                    </a:cubicBezTo>
                    <a:cubicBezTo>
                      <a:pt x="704" y="1538"/>
                      <a:pt x="704" y="1538"/>
                      <a:pt x="704" y="1538"/>
                    </a:cubicBezTo>
                    <a:cubicBezTo>
                      <a:pt x="1405" y="782"/>
                      <a:pt x="1405" y="782"/>
                      <a:pt x="1405" y="782"/>
                    </a:cubicBezTo>
                    <a:cubicBezTo>
                      <a:pt x="1499" y="371"/>
                      <a:pt x="1499" y="371"/>
                      <a:pt x="1499" y="371"/>
                    </a:cubicBezTo>
                    <a:cubicBezTo>
                      <a:pt x="1499" y="370"/>
                      <a:pt x="1499" y="369"/>
                      <a:pt x="1499" y="369"/>
                    </a:cubicBezTo>
                    <a:cubicBezTo>
                      <a:pt x="1151" y="46"/>
                      <a:pt x="1151" y="46"/>
                      <a:pt x="1151" y="46"/>
                    </a:cubicBezTo>
                    <a:cubicBezTo>
                      <a:pt x="1150" y="46"/>
                      <a:pt x="1149" y="46"/>
                      <a:pt x="1147" y="46"/>
                    </a:cubicBezTo>
                    <a:lnTo>
                      <a:pt x="746" y="17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6">
                <a:extLst>
                  <a:ext uri="{FF2B5EF4-FFF2-40B4-BE49-F238E27FC236}">
                    <a16:creationId xmlns:a16="http://schemas.microsoft.com/office/drawing/2014/main" id="{B0A7A3E4-ABC5-4D30-A366-7C7D5C01CD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87" y="848"/>
                <a:ext cx="2527" cy="2600"/>
              </a:xfrm>
              <a:custGeom>
                <a:avLst/>
                <a:gdLst>
                  <a:gd name="T0" fmla="*/ 1035 w 1349"/>
                  <a:gd name="T1" fmla="*/ 0 h 1387"/>
                  <a:gd name="T2" fmla="*/ 665 w 1349"/>
                  <a:gd name="T3" fmla="*/ 115 h 1387"/>
                  <a:gd name="T4" fmla="*/ 0 w 1349"/>
                  <a:gd name="T5" fmla="*/ 833 h 1387"/>
                  <a:gd name="T6" fmla="*/ 598 w 1349"/>
                  <a:gd name="T7" fmla="*/ 1387 h 1387"/>
                  <a:gd name="T8" fmla="*/ 1263 w 1349"/>
                  <a:gd name="T9" fmla="*/ 669 h 1387"/>
                  <a:gd name="T10" fmla="*/ 1349 w 1349"/>
                  <a:gd name="T11" fmla="*/ 292 h 1387"/>
                  <a:gd name="T12" fmla="*/ 1035 w 1349"/>
                  <a:gd name="T13" fmla="*/ 0 h 1387"/>
                  <a:gd name="T14" fmla="*/ 1141 w 1349"/>
                  <a:gd name="T15" fmla="*/ 325 h 1387"/>
                  <a:gd name="T16" fmla="*/ 1023 w 1349"/>
                  <a:gd name="T17" fmla="*/ 329 h 1387"/>
                  <a:gd name="T18" fmla="*/ 1018 w 1349"/>
                  <a:gd name="T19" fmla="*/ 210 h 1387"/>
                  <a:gd name="T20" fmla="*/ 1137 w 1349"/>
                  <a:gd name="T21" fmla="*/ 206 h 1387"/>
                  <a:gd name="T22" fmla="*/ 1141 w 1349"/>
                  <a:gd name="T23" fmla="*/ 325 h 1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49" h="1387">
                    <a:moveTo>
                      <a:pt x="1035" y="0"/>
                    </a:moveTo>
                    <a:cubicBezTo>
                      <a:pt x="665" y="115"/>
                      <a:pt x="665" y="115"/>
                      <a:pt x="665" y="115"/>
                    </a:cubicBezTo>
                    <a:cubicBezTo>
                      <a:pt x="0" y="833"/>
                      <a:pt x="0" y="833"/>
                      <a:pt x="0" y="833"/>
                    </a:cubicBezTo>
                    <a:cubicBezTo>
                      <a:pt x="598" y="1387"/>
                      <a:pt x="598" y="1387"/>
                      <a:pt x="598" y="1387"/>
                    </a:cubicBezTo>
                    <a:cubicBezTo>
                      <a:pt x="1263" y="669"/>
                      <a:pt x="1263" y="669"/>
                      <a:pt x="1263" y="669"/>
                    </a:cubicBezTo>
                    <a:cubicBezTo>
                      <a:pt x="1349" y="292"/>
                      <a:pt x="1349" y="292"/>
                      <a:pt x="1349" y="292"/>
                    </a:cubicBezTo>
                    <a:lnTo>
                      <a:pt x="1035" y="0"/>
                    </a:lnTo>
                    <a:close/>
                    <a:moveTo>
                      <a:pt x="1141" y="325"/>
                    </a:moveTo>
                    <a:cubicBezTo>
                      <a:pt x="1110" y="359"/>
                      <a:pt x="1057" y="361"/>
                      <a:pt x="1023" y="329"/>
                    </a:cubicBezTo>
                    <a:cubicBezTo>
                      <a:pt x="989" y="298"/>
                      <a:pt x="987" y="244"/>
                      <a:pt x="1018" y="210"/>
                    </a:cubicBezTo>
                    <a:cubicBezTo>
                      <a:pt x="1050" y="176"/>
                      <a:pt x="1103" y="174"/>
                      <a:pt x="1137" y="206"/>
                    </a:cubicBezTo>
                    <a:cubicBezTo>
                      <a:pt x="1171" y="237"/>
                      <a:pt x="1173" y="290"/>
                      <a:pt x="1141" y="32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Rectangle 3"/>
          <p:cNvSpPr/>
          <p:nvPr/>
        </p:nvSpPr>
        <p:spPr>
          <a:xfrm rot="16200000">
            <a:off x="542996" y="2351706"/>
            <a:ext cx="1005348" cy="735925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Font typeface="Trebuchet MS" panose="020B0603020202020204" pitchFamily="34" charset="0"/>
              <a:buChar char="​"/>
            </a:pPr>
            <a:r>
              <a:rPr lang="en-US" sz="1200">
                <a:solidFill>
                  <a:srgbClr val="403393"/>
                </a:solidFill>
                <a:latin typeface="Karla" panose="020B0004030503030003" pitchFamily="34" charset="0"/>
              </a:rPr>
              <a:t>WCTF</a:t>
            </a:r>
          </a:p>
        </p:txBody>
      </p:sp>
      <p:sp>
        <p:nvSpPr>
          <p:cNvPr id="174" name="Round Same Side Corner Rectangle 173"/>
          <p:cNvSpPr/>
          <p:nvPr/>
        </p:nvSpPr>
        <p:spPr>
          <a:xfrm rot="16200000">
            <a:off x="151179" y="2696308"/>
            <a:ext cx="1005348" cy="47706"/>
          </a:xfrm>
          <a:prstGeom prst="round2SameRect">
            <a:avLst>
              <a:gd name="adj1" fmla="val 10799"/>
              <a:gd name="adj2" fmla="val 0"/>
            </a:avLst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i="1">
              <a:solidFill>
                <a:srgbClr val="FFFFFF"/>
              </a:solidFill>
            </a:endParaRP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DE56E3B-1274-4810-ADB1-8BDEBC5E3DD1}"/>
              </a:ext>
            </a:extLst>
          </p:cNvPr>
          <p:cNvGrpSpPr/>
          <p:nvPr/>
        </p:nvGrpSpPr>
        <p:grpSpPr>
          <a:xfrm>
            <a:off x="817315" y="2415636"/>
            <a:ext cx="467859" cy="467335"/>
            <a:chOff x="626600" y="2510623"/>
            <a:chExt cx="594295" cy="593630"/>
          </a:xfrm>
        </p:grpSpPr>
        <p:sp>
          <p:nvSpPr>
            <p:cNvPr id="123" name="Freeform 97">
              <a:extLst>
                <a:ext uri="{FF2B5EF4-FFF2-40B4-BE49-F238E27FC236}">
                  <a16:creationId xmlns:a16="http://schemas.microsoft.com/office/drawing/2014/main" id="{616C51B6-E51F-49A6-8451-861F9F31F25B}"/>
                </a:ext>
              </a:extLst>
            </p:cNvPr>
            <p:cNvSpPr/>
            <p:nvPr/>
          </p:nvSpPr>
          <p:spPr bwMode="gray">
            <a:xfrm>
              <a:off x="679040" y="2558522"/>
              <a:ext cx="489420" cy="489420"/>
            </a:xfrm>
            <a:custGeom>
              <a:avLst/>
              <a:gdLst>
                <a:gd name="connsiteX0" fmla="*/ 800100 w 1600200"/>
                <a:gd name="connsiteY0" fmla="*/ 95250 h 1600200"/>
                <a:gd name="connsiteX1" fmla="*/ 95250 w 1600200"/>
                <a:gd name="connsiteY1" fmla="*/ 800100 h 1600200"/>
                <a:gd name="connsiteX2" fmla="*/ 800100 w 1600200"/>
                <a:gd name="connsiteY2" fmla="*/ 1504950 h 1600200"/>
                <a:gd name="connsiteX3" fmla="*/ 1504950 w 1600200"/>
                <a:gd name="connsiteY3" fmla="*/ 800100 h 1600200"/>
                <a:gd name="connsiteX4" fmla="*/ 800100 w 1600200"/>
                <a:gd name="connsiteY4" fmla="*/ 95250 h 1600200"/>
                <a:gd name="connsiteX5" fmla="*/ 800100 w 1600200"/>
                <a:gd name="connsiteY5" fmla="*/ 0 h 1600200"/>
                <a:gd name="connsiteX6" fmla="*/ 1600200 w 1600200"/>
                <a:gd name="connsiteY6" fmla="*/ 800100 h 1600200"/>
                <a:gd name="connsiteX7" fmla="*/ 800100 w 1600200"/>
                <a:gd name="connsiteY7" fmla="*/ 1600200 h 1600200"/>
                <a:gd name="connsiteX8" fmla="*/ 0 w 1600200"/>
                <a:gd name="connsiteY8" fmla="*/ 800100 h 1600200"/>
                <a:gd name="connsiteX9" fmla="*/ 800100 w 1600200"/>
                <a:gd name="connsiteY9" fmla="*/ 0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00" h="1600200">
                  <a:moveTo>
                    <a:pt x="800100" y="95250"/>
                  </a:moveTo>
                  <a:cubicBezTo>
                    <a:pt x="410822" y="95250"/>
                    <a:pt x="95250" y="410822"/>
                    <a:pt x="95250" y="800100"/>
                  </a:cubicBezTo>
                  <a:cubicBezTo>
                    <a:pt x="95250" y="1189378"/>
                    <a:pt x="410822" y="1504950"/>
                    <a:pt x="800100" y="1504950"/>
                  </a:cubicBezTo>
                  <a:cubicBezTo>
                    <a:pt x="1189378" y="1504950"/>
                    <a:pt x="1504950" y="1189378"/>
                    <a:pt x="1504950" y="800100"/>
                  </a:cubicBezTo>
                  <a:cubicBezTo>
                    <a:pt x="1504950" y="410822"/>
                    <a:pt x="1189378" y="95250"/>
                    <a:pt x="800100" y="95250"/>
                  </a:cubicBezTo>
                  <a:close/>
                  <a:moveTo>
                    <a:pt x="800100" y="0"/>
                  </a:moveTo>
                  <a:cubicBezTo>
                    <a:pt x="1241983" y="0"/>
                    <a:pt x="1600200" y="358217"/>
                    <a:pt x="1600200" y="800100"/>
                  </a:cubicBezTo>
                  <a:cubicBezTo>
                    <a:pt x="1600200" y="1241983"/>
                    <a:pt x="1241983" y="1600200"/>
                    <a:pt x="800100" y="1600200"/>
                  </a:cubicBezTo>
                  <a:cubicBezTo>
                    <a:pt x="358217" y="1600200"/>
                    <a:pt x="0" y="1241983"/>
                    <a:pt x="0" y="800100"/>
                  </a:cubicBezTo>
                  <a:cubicBezTo>
                    <a:pt x="0" y="358217"/>
                    <a:pt x="358217" y="0"/>
                    <a:pt x="80010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24" name="Oval 123">
              <a:extLst>
                <a:ext uri="{FF2B5EF4-FFF2-40B4-BE49-F238E27FC236}">
                  <a16:creationId xmlns:a16="http://schemas.microsoft.com/office/drawing/2014/main" id="{458DA9EC-D362-48A3-88B2-AEC5DD1AF343}"/>
                </a:ext>
              </a:extLst>
            </p:cNvPr>
            <p:cNvSpPr/>
            <p:nvPr/>
          </p:nvSpPr>
          <p:spPr bwMode="gray">
            <a:xfrm>
              <a:off x="708171" y="2587655"/>
              <a:ext cx="431155" cy="431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25" name="Freeform 97">
              <a:extLst>
                <a:ext uri="{FF2B5EF4-FFF2-40B4-BE49-F238E27FC236}">
                  <a16:creationId xmlns:a16="http://schemas.microsoft.com/office/drawing/2014/main" id="{E6B19DEB-C8A6-411B-9797-3030C5B7C433}"/>
                </a:ext>
              </a:extLst>
            </p:cNvPr>
            <p:cNvSpPr/>
            <p:nvPr/>
          </p:nvSpPr>
          <p:spPr bwMode="gray">
            <a:xfrm>
              <a:off x="679040" y="2563048"/>
              <a:ext cx="489420" cy="489420"/>
            </a:xfrm>
            <a:custGeom>
              <a:avLst/>
              <a:gdLst>
                <a:gd name="connsiteX0" fmla="*/ 800100 w 1600200"/>
                <a:gd name="connsiteY0" fmla="*/ 95250 h 1600200"/>
                <a:gd name="connsiteX1" fmla="*/ 95250 w 1600200"/>
                <a:gd name="connsiteY1" fmla="*/ 800100 h 1600200"/>
                <a:gd name="connsiteX2" fmla="*/ 800100 w 1600200"/>
                <a:gd name="connsiteY2" fmla="*/ 1504950 h 1600200"/>
                <a:gd name="connsiteX3" fmla="*/ 1504950 w 1600200"/>
                <a:gd name="connsiteY3" fmla="*/ 800100 h 1600200"/>
                <a:gd name="connsiteX4" fmla="*/ 800100 w 1600200"/>
                <a:gd name="connsiteY4" fmla="*/ 95250 h 1600200"/>
                <a:gd name="connsiteX5" fmla="*/ 800100 w 1600200"/>
                <a:gd name="connsiteY5" fmla="*/ 0 h 1600200"/>
                <a:gd name="connsiteX6" fmla="*/ 1600200 w 1600200"/>
                <a:gd name="connsiteY6" fmla="*/ 800100 h 1600200"/>
                <a:gd name="connsiteX7" fmla="*/ 800100 w 1600200"/>
                <a:gd name="connsiteY7" fmla="*/ 1600200 h 1600200"/>
                <a:gd name="connsiteX8" fmla="*/ 0 w 1600200"/>
                <a:gd name="connsiteY8" fmla="*/ 800100 h 1600200"/>
                <a:gd name="connsiteX9" fmla="*/ 800100 w 1600200"/>
                <a:gd name="connsiteY9" fmla="*/ 0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00" h="1600200">
                  <a:moveTo>
                    <a:pt x="800100" y="95250"/>
                  </a:moveTo>
                  <a:cubicBezTo>
                    <a:pt x="410822" y="95250"/>
                    <a:pt x="95250" y="410822"/>
                    <a:pt x="95250" y="800100"/>
                  </a:cubicBezTo>
                  <a:cubicBezTo>
                    <a:pt x="95250" y="1189378"/>
                    <a:pt x="410822" y="1504950"/>
                    <a:pt x="800100" y="1504950"/>
                  </a:cubicBezTo>
                  <a:cubicBezTo>
                    <a:pt x="1189378" y="1504950"/>
                    <a:pt x="1504950" y="1189378"/>
                    <a:pt x="1504950" y="800100"/>
                  </a:cubicBezTo>
                  <a:cubicBezTo>
                    <a:pt x="1504950" y="410822"/>
                    <a:pt x="1189378" y="95250"/>
                    <a:pt x="800100" y="95250"/>
                  </a:cubicBezTo>
                  <a:close/>
                  <a:moveTo>
                    <a:pt x="800100" y="0"/>
                  </a:moveTo>
                  <a:cubicBezTo>
                    <a:pt x="1241983" y="0"/>
                    <a:pt x="1600200" y="358217"/>
                    <a:pt x="1600200" y="800100"/>
                  </a:cubicBezTo>
                  <a:cubicBezTo>
                    <a:pt x="1600200" y="1241983"/>
                    <a:pt x="1241983" y="1600200"/>
                    <a:pt x="800100" y="1600200"/>
                  </a:cubicBezTo>
                  <a:cubicBezTo>
                    <a:pt x="358217" y="1600200"/>
                    <a:pt x="0" y="1241983"/>
                    <a:pt x="0" y="800100"/>
                  </a:cubicBezTo>
                  <a:cubicBezTo>
                    <a:pt x="0" y="358217"/>
                    <a:pt x="358217" y="0"/>
                    <a:pt x="80010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26" name="Freeform 98">
              <a:extLst>
                <a:ext uri="{FF2B5EF4-FFF2-40B4-BE49-F238E27FC236}">
                  <a16:creationId xmlns:a16="http://schemas.microsoft.com/office/drawing/2014/main" id="{071E3217-10C3-4C71-8223-93687025E056}"/>
                </a:ext>
              </a:extLst>
            </p:cNvPr>
            <p:cNvSpPr/>
            <p:nvPr/>
          </p:nvSpPr>
          <p:spPr bwMode="gray">
            <a:xfrm>
              <a:off x="722225" y="2610468"/>
              <a:ext cx="446235" cy="442001"/>
            </a:xfrm>
            <a:custGeom>
              <a:avLst/>
              <a:gdLst>
                <a:gd name="connsiteX0" fmla="*/ 951001 w 1459001"/>
                <a:gd name="connsiteY0" fmla="*/ 0 h 1454150"/>
                <a:gd name="connsiteX1" fmla="*/ 1325855 w 1459001"/>
                <a:gd name="connsiteY1" fmla="*/ 213153 h 1454150"/>
                <a:gd name="connsiteX2" fmla="*/ 1396125 w 1459001"/>
                <a:gd name="connsiteY2" fmla="*/ 342615 h 1454150"/>
                <a:gd name="connsiteX3" fmla="*/ 1459001 w 1459001"/>
                <a:gd name="connsiteY3" fmla="*/ 654050 h 1454150"/>
                <a:gd name="connsiteX4" fmla="*/ 658901 w 1459001"/>
                <a:gd name="connsiteY4" fmla="*/ 1454150 h 1454150"/>
                <a:gd name="connsiteX5" fmla="*/ 93145 w 1459001"/>
                <a:gd name="connsiteY5" fmla="*/ 1219806 h 1454150"/>
                <a:gd name="connsiteX6" fmla="*/ 43634 w 1459001"/>
                <a:gd name="connsiteY6" fmla="*/ 1159799 h 1454150"/>
                <a:gd name="connsiteX7" fmla="*/ 0 w 1459001"/>
                <a:gd name="connsiteY7" fmla="*/ 897993 h 1454150"/>
                <a:gd name="connsiteX8" fmla="*/ 9442 w 1459001"/>
                <a:gd name="connsiteY8" fmla="*/ 928410 h 1454150"/>
                <a:gd name="connsiteX9" fmla="*/ 658901 w 1459001"/>
                <a:gd name="connsiteY9" fmla="*/ 1358900 h 1454150"/>
                <a:gd name="connsiteX10" fmla="*/ 1363751 w 1459001"/>
                <a:gd name="connsiteY10" fmla="*/ 654050 h 1454150"/>
                <a:gd name="connsiteX11" fmla="*/ 1052990 w 1459001"/>
                <a:gd name="connsiteY11" fmla="*/ 69577 h 1454150"/>
                <a:gd name="connsiteX12" fmla="*/ 941368 w 1459001"/>
                <a:gd name="connsiteY12" fmla="*/ 8991 h 1454150"/>
                <a:gd name="connsiteX0" fmla="*/ 941368 w 1459001"/>
                <a:gd name="connsiteY0" fmla="*/ 0 h 1445159"/>
                <a:gd name="connsiteX1" fmla="*/ 1325855 w 1459001"/>
                <a:gd name="connsiteY1" fmla="*/ 204162 h 1445159"/>
                <a:gd name="connsiteX2" fmla="*/ 1396125 w 1459001"/>
                <a:gd name="connsiteY2" fmla="*/ 333624 h 1445159"/>
                <a:gd name="connsiteX3" fmla="*/ 1459001 w 1459001"/>
                <a:gd name="connsiteY3" fmla="*/ 645059 h 1445159"/>
                <a:gd name="connsiteX4" fmla="*/ 658901 w 1459001"/>
                <a:gd name="connsiteY4" fmla="*/ 1445159 h 1445159"/>
                <a:gd name="connsiteX5" fmla="*/ 93145 w 1459001"/>
                <a:gd name="connsiteY5" fmla="*/ 1210815 h 1445159"/>
                <a:gd name="connsiteX6" fmla="*/ 43634 w 1459001"/>
                <a:gd name="connsiteY6" fmla="*/ 1150808 h 1445159"/>
                <a:gd name="connsiteX7" fmla="*/ 0 w 1459001"/>
                <a:gd name="connsiteY7" fmla="*/ 889002 h 1445159"/>
                <a:gd name="connsiteX8" fmla="*/ 9442 w 1459001"/>
                <a:gd name="connsiteY8" fmla="*/ 919419 h 1445159"/>
                <a:gd name="connsiteX9" fmla="*/ 658901 w 1459001"/>
                <a:gd name="connsiteY9" fmla="*/ 1349909 h 1445159"/>
                <a:gd name="connsiteX10" fmla="*/ 1363751 w 1459001"/>
                <a:gd name="connsiteY10" fmla="*/ 645059 h 1445159"/>
                <a:gd name="connsiteX11" fmla="*/ 1052990 w 1459001"/>
                <a:gd name="connsiteY11" fmla="*/ 60586 h 1445159"/>
                <a:gd name="connsiteX12" fmla="*/ 941368 w 1459001"/>
                <a:gd name="connsiteY12" fmla="*/ 0 h 144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001" h="1445159">
                  <a:moveTo>
                    <a:pt x="941368" y="0"/>
                  </a:moveTo>
                  <a:lnTo>
                    <a:pt x="1325855" y="204162"/>
                  </a:lnTo>
                  <a:lnTo>
                    <a:pt x="1396125" y="333624"/>
                  </a:lnTo>
                  <a:cubicBezTo>
                    <a:pt x="1436613" y="429347"/>
                    <a:pt x="1459001" y="534588"/>
                    <a:pt x="1459001" y="645059"/>
                  </a:cubicBezTo>
                  <a:cubicBezTo>
                    <a:pt x="1459001" y="1086942"/>
                    <a:pt x="1100784" y="1445159"/>
                    <a:pt x="658901" y="1445159"/>
                  </a:cubicBezTo>
                  <a:cubicBezTo>
                    <a:pt x="437960" y="1445159"/>
                    <a:pt x="237935" y="1355605"/>
                    <a:pt x="93145" y="1210815"/>
                  </a:cubicBezTo>
                  <a:lnTo>
                    <a:pt x="43634" y="1150808"/>
                  </a:lnTo>
                  <a:lnTo>
                    <a:pt x="0" y="889002"/>
                  </a:lnTo>
                  <a:lnTo>
                    <a:pt x="9442" y="919419"/>
                  </a:lnTo>
                  <a:cubicBezTo>
                    <a:pt x="116444" y="1172400"/>
                    <a:pt x="366943" y="1349909"/>
                    <a:pt x="658901" y="1349909"/>
                  </a:cubicBezTo>
                  <a:cubicBezTo>
                    <a:pt x="1048179" y="1349909"/>
                    <a:pt x="1363751" y="1034337"/>
                    <a:pt x="1363751" y="645059"/>
                  </a:cubicBezTo>
                  <a:cubicBezTo>
                    <a:pt x="1363751" y="401760"/>
                    <a:pt x="1240481" y="187253"/>
                    <a:pt x="1052990" y="60586"/>
                  </a:cubicBezTo>
                  <a:lnTo>
                    <a:pt x="94136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27" name="Freeform 98">
              <a:extLst>
                <a:ext uri="{FF2B5EF4-FFF2-40B4-BE49-F238E27FC236}">
                  <a16:creationId xmlns:a16="http://schemas.microsoft.com/office/drawing/2014/main" id="{AA13208C-BFFD-4324-9FEF-0355E9539C77}"/>
                </a:ext>
              </a:extLst>
            </p:cNvPr>
            <p:cNvSpPr/>
            <p:nvPr/>
          </p:nvSpPr>
          <p:spPr bwMode="gray">
            <a:xfrm>
              <a:off x="717407" y="2601417"/>
              <a:ext cx="446235" cy="442001"/>
            </a:xfrm>
            <a:custGeom>
              <a:avLst/>
              <a:gdLst>
                <a:gd name="connsiteX0" fmla="*/ 951001 w 1459001"/>
                <a:gd name="connsiteY0" fmla="*/ 0 h 1454150"/>
                <a:gd name="connsiteX1" fmla="*/ 1325855 w 1459001"/>
                <a:gd name="connsiteY1" fmla="*/ 213153 h 1454150"/>
                <a:gd name="connsiteX2" fmla="*/ 1396125 w 1459001"/>
                <a:gd name="connsiteY2" fmla="*/ 342615 h 1454150"/>
                <a:gd name="connsiteX3" fmla="*/ 1459001 w 1459001"/>
                <a:gd name="connsiteY3" fmla="*/ 654050 h 1454150"/>
                <a:gd name="connsiteX4" fmla="*/ 658901 w 1459001"/>
                <a:gd name="connsiteY4" fmla="*/ 1454150 h 1454150"/>
                <a:gd name="connsiteX5" fmla="*/ 93145 w 1459001"/>
                <a:gd name="connsiteY5" fmla="*/ 1219806 h 1454150"/>
                <a:gd name="connsiteX6" fmla="*/ 43634 w 1459001"/>
                <a:gd name="connsiteY6" fmla="*/ 1159799 h 1454150"/>
                <a:gd name="connsiteX7" fmla="*/ 0 w 1459001"/>
                <a:gd name="connsiteY7" fmla="*/ 897993 h 1454150"/>
                <a:gd name="connsiteX8" fmla="*/ 9442 w 1459001"/>
                <a:gd name="connsiteY8" fmla="*/ 928410 h 1454150"/>
                <a:gd name="connsiteX9" fmla="*/ 658901 w 1459001"/>
                <a:gd name="connsiteY9" fmla="*/ 1358900 h 1454150"/>
                <a:gd name="connsiteX10" fmla="*/ 1363751 w 1459001"/>
                <a:gd name="connsiteY10" fmla="*/ 654050 h 1454150"/>
                <a:gd name="connsiteX11" fmla="*/ 1052990 w 1459001"/>
                <a:gd name="connsiteY11" fmla="*/ 69577 h 1454150"/>
                <a:gd name="connsiteX12" fmla="*/ 941368 w 1459001"/>
                <a:gd name="connsiteY12" fmla="*/ 8991 h 1454150"/>
                <a:gd name="connsiteX0" fmla="*/ 941368 w 1459001"/>
                <a:gd name="connsiteY0" fmla="*/ 0 h 1445159"/>
                <a:gd name="connsiteX1" fmla="*/ 1325855 w 1459001"/>
                <a:gd name="connsiteY1" fmla="*/ 204162 h 1445159"/>
                <a:gd name="connsiteX2" fmla="*/ 1396125 w 1459001"/>
                <a:gd name="connsiteY2" fmla="*/ 333624 h 1445159"/>
                <a:gd name="connsiteX3" fmla="*/ 1459001 w 1459001"/>
                <a:gd name="connsiteY3" fmla="*/ 645059 h 1445159"/>
                <a:gd name="connsiteX4" fmla="*/ 658901 w 1459001"/>
                <a:gd name="connsiteY4" fmla="*/ 1445159 h 1445159"/>
                <a:gd name="connsiteX5" fmla="*/ 93145 w 1459001"/>
                <a:gd name="connsiteY5" fmla="*/ 1210815 h 1445159"/>
                <a:gd name="connsiteX6" fmla="*/ 43634 w 1459001"/>
                <a:gd name="connsiteY6" fmla="*/ 1150808 h 1445159"/>
                <a:gd name="connsiteX7" fmla="*/ 0 w 1459001"/>
                <a:gd name="connsiteY7" fmla="*/ 889002 h 1445159"/>
                <a:gd name="connsiteX8" fmla="*/ 9442 w 1459001"/>
                <a:gd name="connsiteY8" fmla="*/ 919419 h 1445159"/>
                <a:gd name="connsiteX9" fmla="*/ 658901 w 1459001"/>
                <a:gd name="connsiteY9" fmla="*/ 1349909 h 1445159"/>
                <a:gd name="connsiteX10" fmla="*/ 1363751 w 1459001"/>
                <a:gd name="connsiteY10" fmla="*/ 645059 h 1445159"/>
                <a:gd name="connsiteX11" fmla="*/ 1052990 w 1459001"/>
                <a:gd name="connsiteY11" fmla="*/ 60586 h 1445159"/>
                <a:gd name="connsiteX12" fmla="*/ 941368 w 1459001"/>
                <a:gd name="connsiteY12" fmla="*/ 0 h 144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001" h="1445159">
                  <a:moveTo>
                    <a:pt x="941368" y="0"/>
                  </a:moveTo>
                  <a:lnTo>
                    <a:pt x="1325855" y="204162"/>
                  </a:lnTo>
                  <a:lnTo>
                    <a:pt x="1396125" y="333624"/>
                  </a:lnTo>
                  <a:cubicBezTo>
                    <a:pt x="1436613" y="429347"/>
                    <a:pt x="1459001" y="534588"/>
                    <a:pt x="1459001" y="645059"/>
                  </a:cubicBezTo>
                  <a:cubicBezTo>
                    <a:pt x="1459001" y="1086942"/>
                    <a:pt x="1100784" y="1445159"/>
                    <a:pt x="658901" y="1445159"/>
                  </a:cubicBezTo>
                  <a:cubicBezTo>
                    <a:pt x="437960" y="1445159"/>
                    <a:pt x="237935" y="1355605"/>
                    <a:pt x="93145" y="1210815"/>
                  </a:cubicBezTo>
                  <a:lnTo>
                    <a:pt x="43634" y="1150808"/>
                  </a:lnTo>
                  <a:lnTo>
                    <a:pt x="0" y="889002"/>
                  </a:lnTo>
                  <a:lnTo>
                    <a:pt x="9442" y="919419"/>
                  </a:lnTo>
                  <a:cubicBezTo>
                    <a:pt x="116444" y="1172400"/>
                    <a:pt x="366943" y="1349909"/>
                    <a:pt x="658901" y="1349909"/>
                  </a:cubicBezTo>
                  <a:cubicBezTo>
                    <a:pt x="1048179" y="1349909"/>
                    <a:pt x="1363751" y="1034337"/>
                    <a:pt x="1363751" y="645059"/>
                  </a:cubicBezTo>
                  <a:cubicBezTo>
                    <a:pt x="1363751" y="401760"/>
                    <a:pt x="1240481" y="187253"/>
                    <a:pt x="1052990" y="60586"/>
                  </a:cubicBezTo>
                  <a:lnTo>
                    <a:pt x="94136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28" name="Chord 174">
              <a:extLst>
                <a:ext uri="{FF2B5EF4-FFF2-40B4-BE49-F238E27FC236}">
                  <a16:creationId xmlns:a16="http://schemas.microsoft.com/office/drawing/2014/main" id="{24C699F4-161C-4957-A116-7917F403539B}"/>
                </a:ext>
              </a:extLst>
            </p:cNvPr>
            <p:cNvSpPr/>
            <p:nvPr/>
          </p:nvSpPr>
          <p:spPr bwMode="gray">
            <a:xfrm rot="5400000">
              <a:off x="632509" y="2504714"/>
              <a:ext cx="582478" cy="594295"/>
            </a:xfrm>
            <a:custGeom>
              <a:avLst/>
              <a:gdLst>
                <a:gd name="connsiteX0" fmla="*/ 896255 w 914400"/>
                <a:gd name="connsiteY0" fmla="*/ 584724 h 914400"/>
                <a:gd name="connsiteX1" fmla="*/ 371550 w 914400"/>
                <a:gd name="connsiteY1" fmla="*/ 906306 h 914400"/>
                <a:gd name="connsiteX2" fmla="*/ 2028 w 914400"/>
                <a:gd name="connsiteY2" fmla="*/ 414185 h 914400"/>
                <a:gd name="connsiteX3" fmla="*/ 457200 w 914400"/>
                <a:gd name="connsiteY3" fmla="*/ 1 h 914400"/>
                <a:gd name="connsiteX4" fmla="*/ 896255 w 914400"/>
                <a:gd name="connsiteY4" fmla="*/ 584724 h 914400"/>
                <a:gd name="connsiteX0" fmla="*/ 896278 w 987718"/>
                <a:gd name="connsiteY0" fmla="*/ 584723 h 914461"/>
                <a:gd name="connsiteX1" fmla="*/ 371573 w 987718"/>
                <a:gd name="connsiteY1" fmla="*/ 906305 h 914461"/>
                <a:gd name="connsiteX2" fmla="*/ 2051 w 987718"/>
                <a:gd name="connsiteY2" fmla="*/ 414184 h 914461"/>
                <a:gd name="connsiteX3" fmla="*/ 457223 w 987718"/>
                <a:gd name="connsiteY3" fmla="*/ 0 h 914461"/>
                <a:gd name="connsiteX4" fmla="*/ 987718 w 987718"/>
                <a:gd name="connsiteY4" fmla="*/ 676163 h 914461"/>
                <a:gd name="connsiteX0" fmla="*/ 896278 w 896278"/>
                <a:gd name="connsiteY0" fmla="*/ 584723 h 914461"/>
                <a:gd name="connsiteX1" fmla="*/ 371573 w 896278"/>
                <a:gd name="connsiteY1" fmla="*/ 906305 h 914461"/>
                <a:gd name="connsiteX2" fmla="*/ 2051 w 896278"/>
                <a:gd name="connsiteY2" fmla="*/ 414184 h 914461"/>
                <a:gd name="connsiteX3" fmla="*/ 457223 w 896278"/>
                <a:gd name="connsiteY3" fmla="*/ 0 h 91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6278" h="914461">
                  <a:moveTo>
                    <a:pt x="896278" y="584723"/>
                  </a:moveTo>
                  <a:cubicBezTo>
                    <a:pt x="830497" y="811204"/>
                    <a:pt x="603238" y="950486"/>
                    <a:pt x="371573" y="906305"/>
                  </a:cubicBezTo>
                  <a:cubicBezTo>
                    <a:pt x="139908" y="862124"/>
                    <a:pt x="-20138" y="648978"/>
                    <a:pt x="2051" y="414184"/>
                  </a:cubicBezTo>
                  <a:cubicBezTo>
                    <a:pt x="24240" y="179390"/>
                    <a:pt x="221382" y="0"/>
                    <a:pt x="457223" y="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29" name="Freeform 96">
              <a:extLst>
                <a:ext uri="{FF2B5EF4-FFF2-40B4-BE49-F238E27FC236}">
                  <a16:creationId xmlns:a16="http://schemas.microsoft.com/office/drawing/2014/main" id="{3E7AA7CE-F303-48D1-A932-23FF69156E8E}"/>
                </a:ext>
              </a:extLst>
            </p:cNvPr>
            <p:cNvSpPr/>
            <p:nvPr/>
          </p:nvSpPr>
          <p:spPr bwMode="gray">
            <a:xfrm rot="5400000" flipH="1" flipV="1">
              <a:off x="885661" y="2769078"/>
              <a:ext cx="296240" cy="374110"/>
            </a:xfrm>
            <a:custGeom>
              <a:avLst/>
              <a:gdLst>
                <a:gd name="connsiteX0" fmla="*/ 22460 w 507221"/>
                <a:gd name="connsiteY0" fmla="*/ 32432 h 627952"/>
                <a:gd name="connsiteX1" fmla="*/ 33124 w 507221"/>
                <a:gd name="connsiteY1" fmla="*/ 0 h 627952"/>
                <a:gd name="connsiteX2" fmla="*/ 34553 w 507221"/>
                <a:gd name="connsiteY2" fmla="*/ 1885 h 627952"/>
                <a:gd name="connsiteX3" fmla="*/ 467646 w 507221"/>
                <a:gd name="connsiteY3" fmla="*/ 627059 h 627952"/>
                <a:gd name="connsiteX4" fmla="*/ 505815 w 507221"/>
                <a:gd name="connsiteY4" fmla="*/ 623449 h 627952"/>
                <a:gd name="connsiteX5" fmla="*/ 507221 w 507221"/>
                <a:gd name="connsiteY5" fmla="*/ 625303 h 627952"/>
                <a:gd name="connsiteX6" fmla="*/ 447509 w 507221"/>
                <a:gd name="connsiteY6" fmla="*/ 627952 h 627952"/>
                <a:gd name="connsiteX7" fmla="*/ 92880 w 507221"/>
                <a:gd name="connsiteY7" fmla="*/ 447073 h 627952"/>
                <a:gd name="connsiteX8" fmla="*/ 14454 w 507221"/>
                <a:gd name="connsiteY8" fmla="*/ 56780 h 627952"/>
                <a:gd name="connsiteX9" fmla="*/ 18656 w 507221"/>
                <a:gd name="connsiteY9" fmla="*/ 44000 h 627952"/>
                <a:gd name="connsiteX10" fmla="*/ 456822 w 507221"/>
                <a:gd name="connsiteY10" fmla="*/ 627539 h 627952"/>
                <a:gd name="connsiteX0" fmla="*/ 22460 w 507221"/>
                <a:gd name="connsiteY0" fmla="*/ 32432 h 627952"/>
                <a:gd name="connsiteX1" fmla="*/ 33124 w 507221"/>
                <a:gd name="connsiteY1" fmla="*/ 0 h 627952"/>
                <a:gd name="connsiteX2" fmla="*/ 22460 w 507221"/>
                <a:gd name="connsiteY2" fmla="*/ 32432 h 627952"/>
                <a:gd name="connsiteX3" fmla="*/ 467646 w 507221"/>
                <a:gd name="connsiteY3" fmla="*/ 627059 h 627952"/>
                <a:gd name="connsiteX4" fmla="*/ 505815 w 507221"/>
                <a:gd name="connsiteY4" fmla="*/ 623449 h 627952"/>
                <a:gd name="connsiteX5" fmla="*/ 507221 w 507221"/>
                <a:gd name="connsiteY5" fmla="*/ 625303 h 627952"/>
                <a:gd name="connsiteX6" fmla="*/ 467646 w 507221"/>
                <a:gd name="connsiteY6" fmla="*/ 627059 h 627952"/>
                <a:gd name="connsiteX7" fmla="*/ 447509 w 507221"/>
                <a:gd name="connsiteY7" fmla="*/ 627952 h 627952"/>
                <a:gd name="connsiteX8" fmla="*/ 92880 w 507221"/>
                <a:gd name="connsiteY8" fmla="*/ 447073 h 627952"/>
                <a:gd name="connsiteX9" fmla="*/ 14454 w 507221"/>
                <a:gd name="connsiteY9" fmla="*/ 56780 h 627952"/>
                <a:gd name="connsiteX10" fmla="*/ 18656 w 507221"/>
                <a:gd name="connsiteY10" fmla="*/ 44000 h 627952"/>
                <a:gd name="connsiteX11" fmla="*/ 456822 w 507221"/>
                <a:gd name="connsiteY11" fmla="*/ 627539 h 627952"/>
                <a:gd name="connsiteX12" fmla="*/ 447509 w 507221"/>
                <a:gd name="connsiteY12" fmla="*/ 627952 h 627952"/>
                <a:gd name="connsiteX0" fmla="*/ 467646 w 507221"/>
                <a:gd name="connsiteY0" fmla="*/ 583059 h 583952"/>
                <a:gd name="connsiteX1" fmla="*/ 505815 w 507221"/>
                <a:gd name="connsiteY1" fmla="*/ 579449 h 583952"/>
                <a:gd name="connsiteX2" fmla="*/ 507221 w 507221"/>
                <a:gd name="connsiteY2" fmla="*/ 581303 h 583952"/>
                <a:gd name="connsiteX3" fmla="*/ 467646 w 507221"/>
                <a:gd name="connsiteY3" fmla="*/ 583059 h 583952"/>
                <a:gd name="connsiteX4" fmla="*/ 447509 w 507221"/>
                <a:gd name="connsiteY4" fmla="*/ 583952 h 583952"/>
                <a:gd name="connsiteX5" fmla="*/ 92880 w 507221"/>
                <a:gd name="connsiteY5" fmla="*/ 403073 h 583952"/>
                <a:gd name="connsiteX6" fmla="*/ 14454 w 507221"/>
                <a:gd name="connsiteY6" fmla="*/ 12780 h 583952"/>
                <a:gd name="connsiteX7" fmla="*/ 18656 w 507221"/>
                <a:gd name="connsiteY7" fmla="*/ 0 h 583952"/>
                <a:gd name="connsiteX8" fmla="*/ 456822 w 507221"/>
                <a:gd name="connsiteY8" fmla="*/ 583539 h 583952"/>
                <a:gd name="connsiteX9" fmla="*/ 447509 w 507221"/>
                <a:gd name="connsiteY9" fmla="*/ 583952 h 583952"/>
                <a:gd name="connsiteX0" fmla="*/ 467646 w 505815"/>
                <a:gd name="connsiteY0" fmla="*/ 583059 h 583952"/>
                <a:gd name="connsiteX1" fmla="*/ 505815 w 505815"/>
                <a:gd name="connsiteY1" fmla="*/ 579449 h 583952"/>
                <a:gd name="connsiteX2" fmla="*/ 467646 w 505815"/>
                <a:gd name="connsiteY2" fmla="*/ 583059 h 583952"/>
                <a:gd name="connsiteX3" fmla="*/ 447509 w 505815"/>
                <a:gd name="connsiteY3" fmla="*/ 583952 h 583952"/>
                <a:gd name="connsiteX4" fmla="*/ 92880 w 505815"/>
                <a:gd name="connsiteY4" fmla="*/ 403073 h 583952"/>
                <a:gd name="connsiteX5" fmla="*/ 14454 w 505815"/>
                <a:gd name="connsiteY5" fmla="*/ 12780 h 583952"/>
                <a:gd name="connsiteX6" fmla="*/ 18656 w 505815"/>
                <a:gd name="connsiteY6" fmla="*/ 0 h 583952"/>
                <a:gd name="connsiteX7" fmla="*/ 456822 w 505815"/>
                <a:gd name="connsiteY7" fmla="*/ 583539 h 583952"/>
                <a:gd name="connsiteX8" fmla="*/ 447509 w 505815"/>
                <a:gd name="connsiteY8" fmla="*/ 583952 h 583952"/>
                <a:gd name="connsiteX0" fmla="*/ 447509 w 456822"/>
                <a:gd name="connsiteY0" fmla="*/ 583952 h 583952"/>
                <a:gd name="connsiteX1" fmla="*/ 92880 w 456822"/>
                <a:gd name="connsiteY1" fmla="*/ 403073 h 583952"/>
                <a:gd name="connsiteX2" fmla="*/ 14454 w 456822"/>
                <a:gd name="connsiteY2" fmla="*/ 12780 h 583952"/>
                <a:gd name="connsiteX3" fmla="*/ 18656 w 456822"/>
                <a:gd name="connsiteY3" fmla="*/ 0 h 583952"/>
                <a:gd name="connsiteX4" fmla="*/ 456822 w 456822"/>
                <a:gd name="connsiteY4" fmla="*/ 583539 h 583952"/>
                <a:gd name="connsiteX5" fmla="*/ 447509 w 456822"/>
                <a:gd name="connsiteY5" fmla="*/ 583952 h 583952"/>
                <a:gd name="connsiteX0" fmla="*/ 18656 w 456822"/>
                <a:gd name="connsiteY0" fmla="*/ 0 h 583952"/>
                <a:gd name="connsiteX1" fmla="*/ 456822 w 456822"/>
                <a:gd name="connsiteY1" fmla="*/ 583539 h 583952"/>
                <a:gd name="connsiteX2" fmla="*/ 447509 w 456822"/>
                <a:gd name="connsiteY2" fmla="*/ 583952 h 583952"/>
                <a:gd name="connsiteX3" fmla="*/ 92880 w 456822"/>
                <a:gd name="connsiteY3" fmla="*/ 403073 h 583952"/>
                <a:gd name="connsiteX4" fmla="*/ 14454 w 456822"/>
                <a:gd name="connsiteY4" fmla="*/ 12780 h 583952"/>
                <a:gd name="connsiteX5" fmla="*/ 110096 w 456822"/>
                <a:gd name="connsiteY5" fmla="*/ 91440 h 583952"/>
                <a:gd name="connsiteX0" fmla="*/ 18656 w 456822"/>
                <a:gd name="connsiteY0" fmla="*/ 0 h 583952"/>
                <a:gd name="connsiteX1" fmla="*/ 456822 w 456822"/>
                <a:gd name="connsiteY1" fmla="*/ 583539 h 583952"/>
                <a:gd name="connsiteX2" fmla="*/ 447509 w 456822"/>
                <a:gd name="connsiteY2" fmla="*/ 583952 h 583952"/>
                <a:gd name="connsiteX3" fmla="*/ 92880 w 456822"/>
                <a:gd name="connsiteY3" fmla="*/ 403073 h 583952"/>
                <a:gd name="connsiteX4" fmla="*/ 14454 w 456822"/>
                <a:gd name="connsiteY4" fmla="*/ 12780 h 583952"/>
                <a:gd name="connsiteX0" fmla="*/ 456822 w 456822"/>
                <a:gd name="connsiteY0" fmla="*/ 570759 h 571172"/>
                <a:gd name="connsiteX1" fmla="*/ 447509 w 456822"/>
                <a:gd name="connsiteY1" fmla="*/ 571172 h 571172"/>
                <a:gd name="connsiteX2" fmla="*/ 92880 w 456822"/>
                <a:gd name="connsiteY2" fmla="*/ 390293 h 571172"/>
                <a:gd name="connsiteX3" fmla="*/ 14454 w 456822"/>
                <a:gd name="connsiteY3" fmla="*/ 0 h 571172"/>
                <a:gd name="connsiteX0" fmla="*/ 455833 w 455833"/>
                <a:gd name="connsiteY0" fmla="*/ 575242 h 575655"/>
                <a:gd name="connsiteX1" fmla="*/ 446520 w 455833"/>
                <a:gd name="connsiteY1" fmla="*/ 575655 h 575655"/>
                <a:gd name="connsiteX2" fmla="*/ 91891 w 455833"/>
                <a:gd name="connsiteY2" fmla="*/ 394776 h 575655"/>
                <a:gd name="connsiteX3" fmla="*/ 12345 w 455833"/>
                <a:gd name="connsiteY3" fmla="*/ 0 h 5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833" h="575655">
                  <a:moveTo>
                    <a:pt x="455833" y="575242"/>
                  </a:moveTo>
                  <a:lnTo>
                    <a:pt x="446520" y="575655"/>
                  </a:lnTo>
                  <a:cubicBezTo>
                    <a:pt x="307991" y="572735"/>
                    <a:pt x="164254" y="490719"/>
                    <a:pt x="91891" y="394776"/>
                  </a:cubicBezTo>
                  <a:cubicBezTo>
                    <a:pt x="19529" y="298834"/>
                    <a:pt x="-22242" y="134174"/>
                    <a:pt x="12345" y="0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grpSp>
          <p:nvGrpSpPr>
            <p:cNvPr id="130" name="Group 37">
              <a:extLst>
                <a:ext uri="{FF2B5EF4-FFF2-40B4-BE49-F238E27FC236}">
                  <a16:creationId xmlns:a16="http://schemas.microsoft.com/office/drawing/2014/main" id="{6AF77800-48D7-4290-AAEE-F132D08F834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63728" y="2641841"/>
              <a:ext cx="320040" cy="320040"/>
              <a:chOff x="1682" y="0"/>
              <a:chExt cx="4316" cy="4320"/>
            </a:xfrm>
          </p:grpSpPr>
          <p:sp>
            <p:nvSpPr>
              <p:cNvPr id="131" name="AutoShape 36">
                <a:extLst>
                  <a:ext uri="{FF2B5EF4-FFF2-40B4-BE49-F238E27FC236}">
                    <a16:creationId xmlns:a16="http://schemas.microsoft.com/office/drawing/2014/main" id="{4E28E3EB-AFF7-4C70-84D2-51EE4B6DCE2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/>
              </a:p>
            </p:txBody>
          </p:sp>
          <p:sp>
            <p:nvSpPr>
              <p:cNvPr id="132" name="Freeform 38">
                <a:extLst>
                  <a:ext uri="{FF2B5EF4-FFF2-40B4-BE49-F238E27FC236}">
                    <a16:creationId xmlns:a16="http://schemas.microsoft.com/office/drawing/2014/main" id="{7FDCB811-9945-4C53-B80A-2934181B35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7" y="1554"/>
                <a:ext cx="3383" cy="2119"/>
              </a:xfrm>
              <a:custGeom>
                <a:avLst/>
                <a:gdLst>
                  <a:gd name="T0" fmla="*/ 363 w 1806"/>
                  <a:gd name="T1" fmla="*/ 602 h 1130"/>
                  <a:gd name="T2" fmla="*/ 511 w 1806"/>
                  <a:gd name="T3" fmla="*/ 433 h 1130"/>
                  <a:gd name="T4" fmla="*/ 595 w 1806"/>
                  <a:gd name="T5" fmla="*/ 686 h 1130"/>
                  <a:gd name="T6" fmla="*/ 1295 w 1806"/>
                  <a:gd name="T7" fmla="*/ 433 h 1130"/>
                  <a:gd name="T8" fmla="*/ 1211 w 1806"/>
                  <a:gd name="T9" fmla="*/ 686 h 1130"/>
                  <a:gd name="T10" fmla="*/ 1328 w 1806"/>
                  <a:gd name="T11" fmla="*/ 356 h 1130"/>
                  <a:gd name="T12" fmla="*/ 1195 w 1806"/>
                  <a:gd name="T13" fmla="*/ 717 h 1130"/>
                  <a:gd name="T14" fmla="*/ 1801 w 1806"/>
                  <a:gd name="T15" fmla="*/ 1100 h 1130"/>
                  <a:gd name="T16" fmla="*/ 26 w 1806"/>
                  <a:gd name="T17" fmla="*/ 1130 h 1130"/>
                  <a:gd name="T18" fmla="*/ 223 w 1806"/>
                  <a:gd name="T19" fmla="*/ 783 h 1130"/>
                  <a:gd name="T20" fmla="*/ 611 w 1806"/>
                  <a:gd name="T21" fmla="*/ 717 h 1130"/>
                  <a:gd name="T22" fmla="*/ 909 w 1806"/>
                  <a:gd name="T23" fmla="*/ 950 h 1130"/>
                  <a:gd name="T24" fmla="*/ 1329 w 1806"/>
                  <a:gd name="T25" fmla="*/ 193 h 1130"/>
                  <a:gd name="T26" fmla="*/ 1273 w 1806"/>
                  <a:gd name="T27" fmla="*/ 258 h 1130"/>
                  <a:gd name="T28" fmla="*/ 903 w 1806"/>
                  <a:gd name="T29" fmla="*/ 673 h 1130"/>
                  <a:gd name="T30" fmla="*/ 533 w 1806"/>
                  <a:gd name="T31" fmla="*/ 258 h 1130"/>
                  <a:gd name="T32" fmla="*/ 477 w 1806"/>
                  <a:gd name="T33" fmla="*/ 193 h 1130"/>
                  <a:gd name="T34" fmla="*/ 426 w 1806"/>
                  <a:gd name="T35" fmla="*/ 174 h 1130"/>
                  <a:gd name="T36" fmla="*/ 639 w 1806"/>
                  <a:gd name="T37" fmla="*/ 583 h 1130"/>
                  <a:gd name="T38" fmla="*/ 646 w 1806"/>
                  <a:gd name="T39" fmla="*/ 691 h 1130"/>
                  <a:gd name="T40" fmla="*/ 683 w 1806"/>
                  <a:gd name="T41" fmla="*/ 620 h 1130"/>
                  <a:gd name="T42" fmla="*/ 1123 w 1806"/>
                  <a:gd name="T43" fmla="*/ 620 h 1130"/>
                  <a:gd name="T44" fmla="*/ 1160 w 1806"/>
                  <a:gd name="T45" fmla="*/ 691 h 1130"/>
                  <a:gd name="T46" fmla="*/ 1167 w 1806"/>
                  <a:gd name="T47" fmla="*/ 583 h 1130"/>
                  <a:gd name="T48" fmla="*/ 1380 w 1806"/>
                  <a:gd name="T49" fmla="*/ 172 h 1130"/>
                  <a:gd name="T50" fmla="*/ 1329 w 1806"/>
                  <a:gd name="T51" fmla="*/ 193 h 1130"/>
                  <a:gd name="T52" fmla="*/ 432 w 1806"/>
                  <a:gd name="T53" fmla="*/ 5 h 1130"/>
                  <a:gd name="T54" fmla="*/ 455 w 1806"/>
                  <a:gd name="T55" fmla="*/ 127 h 1130"/>
                  <a:gd name="T56" fmla="*/ 471 w 1806"/>
                  <a:gd name="T57" fmla="*/ 24 h 1130"/>
                  <a:gd name="T58" fmla="*/ 1247 w 1806"/>
                  <a:gd name="T59" fmla="*/ 65 h 1130"/>
                  <a:gd name="T60" fmla="*/ 1270 w 1806"/>
                  <a:gd name="T61" fmla="*/ 166 h 1130"/>
                  <a:gd name="T62" fmla="*/ 1303 w 1806"/>
                  <a:gd name="T63" fmla="*/ 167 h 1130"/>
                  <a:gd name="T64" fmla="*/ 1360 w 1806"/>
                  <a:gd name="T65" fmla="*/ 92 h 1130"/>
                  <a:gd name="T66" fmla="*/ 1376 w 1806"/>
                  <a:gd name="T67" fmla="*/ 0 h 1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806" h="1130">
                    <a:moveTo>
                      <a:pt x="595" y="686"/>
                    </a:moveTo>
                    <a:cubicBezTo>
                      <a:pt x="550" y="696"/>
                      <a:pt x="460" y="699"/>
                      <a:pt x="363" y="602"/>
                    </a:cubicBezTo>
                    <a:cubicBezTo>
                      <a:pt x="466" y="592"/>
                      <a:pt x="473" y="444"/>
                      <a:pt x="477" y="354"/>
                    </a:cubicBezTo>
                    <a:cubicBezTo>
                      <a:pt x="487" y="377"/>
                      <a:pt x="499" y="405"/>
                      <a:pt x="511" y="433"/>
                    </a:cubicBezTo>
                    <a:cubicBezTo>
                      <a:pt x="551" y="525"/>
                      <a:pt x="577" y="572"/>
                      <a:pt x="595" y="598"/>
                    </a:cubicBezTo>
                    <a:lnTo>
                      <a:pt x="595" y="686"/>
                    </a:lnTo>
                    <a:close/>
                    <a:moveTo>
                      <a:pt x="1328" y="356"/>
                    </a:moveTo>
                    <a:cubicBezTo>
                      <a:pt x="1318" y="379"/>
                      <a:pt x="1307" y="406"/>
                      <a:pt x="1295" y="433"/>
                    </a:cubicBezTo>
                    <a:cubicBezTo>
                      <a:pt x="1255" y="525"/>
                      <a:pt x="1229" y="572"/>
                      <a:pt x="1211" y="598"/>
                    </a:cubicBezTo>
                    <a:cubicBezTo>
                      <a:pt x="1211" y="686"/>
                      <a:pt x="1211" y="686"/>
                      <a:pt x="1211" y="686"/>
                    </a:cubicBezTo>
                    <a:cubicBezTo>
                      <a:pt x="1255" y="696"/>
                      <a:pt x="1345" y="700"/>
                      <a:pt x="1443" y="602"/>
                    </a:cubicBezTo>
                    <a:cubicBezTo>
                      <a:pt x="1341" y="592"/>
                      <a:pt x="1332" y="446"/>
                      <a:pt x="1328" y="356"/>
                    </a:cubicBezTo>
                    <a:close/>
                    <a:moveTo>
                      <a:pt x="1195" y="717"/>
                    </a:moveTo>
                    <a:cubicBezTo>
                      <a:pt x="1195" y="717"/>
                      <a:pt x="1195" y="717"/>
                      <a:pt x="1195" y="717"/>
                    </a:cubicBezTo>
                    <a:cubicBezTo>
                      <a:pt x="1195" y="717"/>
                      <a:pt x="1447" y="720"/>
                      <a:pt x="1583" y="783"/>
                    </a:cubicBezTo>
                    <a:cubicBezTo>
                      <a:pt x="1693" y="833"/>
                      <a:pt x="1773" y="1026"/>
                      <a:pt x="1801" y="1100"/>
                    </a:cubicBezTo>
                    <a:cubicBezTo>
                      <a:pt x="1806" y="1114"/>
                      <a:pt x="1796" y="1130"/>
                      <a:pt x="1780" y="1130"/>
                    </a:cubicBezTo>
                    <a:cubicBezTo>
                      <a:pt x="26" y="1130"/>
                      <a:pt x="26" y="1130"/>
                      <a:pt x="26" y="1130"/>
                    </a:cubicBezTo>
                    <a:cubicBezTo>
                      <a:pt x="10" y="1130"/>
                      <a:pt x="0" y="1114"/>
                      <a:pt x="5" y="1100"/>
                    </a:cubicBezTo>
                    <a:cubicBezTo>
                      <a:pt x="33" y="1026"/>
                      <a:pt x="113" y="833"/>
                      <a:pt x="223" y="783"/>
                    </a:cubicBezTo>
                    <a:cubicBezTo>
                      <a:pt x="359" y="720"/>
                      <a:pt x="611" y="717"/>
                      <a:pt x="611" y="717"/>
                    </a:cubicBezTo>
                    <a:cubicBezTo>
                      <a:pt x="611" y="717"/>
                      <a:pt x="611" y="717"/>
                      <a:pt x="611" y="717"/>
                    </a:cubicBezTo>
                    <a:cubicBezTo>
                      <a:pt x="611" y="717"/>
                      <a:pt x="805" y="878"/>
                      <a:pt x="897" y="951"/>
                    </a:cubicBezTo>
                    <a:cubicBezTo>
                      <a:pt x="901" y="953"/>
                      <a:pt x="906" y="953"/>
                      <a:pt x="909" y="950"/>
                    </a:cubicBezTo>
                    <a:cubicBezTo>
                      <a:pt x="1034" y="850"/>
                      <a:pt x="1195" y="717"/>
                      <a:pt x="1195" y="717"/>
                    </a:cubicBezTo>
                    <a:close/>
                    <a:moveTo>
                      <a:pt x="1329" y="193"/>
                    </a:moveTo>
                    <a:cubicBezTo>
                      <a:pt x="1322" y="212"/>
                      <a:pt x="1308" y="234"/>
                      <a:pt x="1283" y="246"/>
                    </a:cubicBezTo>
                    <a:cubicBezTo>
                      <a:pt x="1278" y="249"/>
                      <a:pt x="1274" y="253"/>
                      <a:pt x="1273" y="258"/>
                    </a:cubicBezTo>
                    <a:cubicBezTo>
                      <a:pt x="1232" y="361"/>
                      <a:pt x="1157" y="534"/>
                      <a:pt x="1129" y="560"/>
                    </a:cubicBezTo>
                    <a:cubicBezTo>
                      <a:pt x="1084" y="599"/>
                      <a:pt x="968" y="673"/>
                      <a:pt x="903" y="673"/>
                    </a:cubicBezTo>
                    <a:cubicBezTo>
                      <a:pt x="838" y="673"/>
                      <a:pt x="722" y="599"/>
                      <a:pt x="677" y="560"/>
                    </a:cubicBezTo>
                    <a:cubicBezTo>
                      <a:pt x="649" y="534"/>
                      <a:pt x="574" y="361"/>
                      <a:pt x="533" y="258"/>
                    </a:cubicBezTo>
                    <a:cubicBezTo>
                      <a:pt x="532" y="253"/>
                      <a:pt x="528" y="249"/>
                      <a:pt x="523" y="246"/>
                    </a:cubicBezTo>
                    <a:cubicBezTo>
                      <a:pt x="498" y="234"/>
                      <a:pt x="484" y="212"/>
                      <a:pt x="477" y="193"/>
                    </a:cubicBezTo>
                    <a:cubicBezTo>
                      <a:pt x="426" y="169"/>
                      <a:pt x="426" y="169"/>
                      <a:pt x="426" y="169"/>
                    </a:cubicBezTo>
                    <a:cubicBezTo>
                      <a:pt x="426" y="171"/>
                      <a:pt x="426" y="173"/>
                      <a:pt x="426" y="174"/>
                    </a:cubicBezTo>
                    <a:cubicBezTo>
                      <a:pt x="431" y="202"/>
                      <a:pt x="446" y="252"/>
                      <a:pt x="495" y="281"/>
                    </a:cubicBezTo>
                    <a:cubicBezTo>
                      <a:pt x="517" y="337"/>
                      <a:pt x="594" y="528"/>
                      <a:pt x="639" y="583"/>
                    </a:cubicBezTo>
                    <a:cubicBezTo>
                      <a:pt x="639" y="681"/>
                      <a:pt x="639" y="681"/>
                      <a:pt x="639" y="681"/>
                    </a:cubicBezTo>
                    <a:cubicBezTo>
                      <a:pt x="646" y="691"/>
                      <a:pt x="646" y="691"/>
                      <a:pt x="646" y="691"/>
                    </a:cubicBezTo>
                    <a:cubicBezTo>
                      <a:pt x="648" y="693"/>
                      <a:pt x="660" y="709"/>
                      <a:pt x="683" y="729"/>
                    </a:cubicBezTo>
                    <a:cubicBezTo>
                      <a:pt x="683" y="620"/>
                      <a:pt x="683" y="620"/>
                      <a:pt x="683" y="620"/>
                    </a:cubicBezTo>
                    <a:cubicBezTo>
                      <a:pt x="742" y="663"/>
                      <a:pt x="838" y="717"/>
                      <a:pt x="903" y="717"/>
                    </a:cubicBezTo>
                    <a:cubicBezTo>
                      <a:pt x="968" y="717"/>
                      <a:pt x="1064" y="663"/>
                      <a:pt x="1123" y="620"/>
                    </a:cubicBezTo>
                    <a:cubicBezTo>
                      <a:pt x="1123" y="729"/>
                      <a:pt x="1123" y="729"/>
                      <a:pt x="1123" y="729"/>
                    </a:cubicBezTo>
                    <a:cubicBezTo>
                      <a:pt x="1146" y="709"/>
                      <a:pt x="1158" y="693"/>
                      <a:pt x="1160" y="691"/>
                    </a:cubicBezTo>
                    <a:cubicBezTo>
                      <a:pt x="1167" y="681"/>
                      <a:pt x="1167" y="681"/>
                      <a:pt x="1167" y="681"/>
                    </a:cubicBezTo>
                    <a:cubicBezTo>
                      <a:pt x="1167" y="583"/>
                      <a:pt x="1167" y="583"/>
                      <a:pt x="1167" y="583"/>
                    </a:cubicBezTo>
                    <a:cubicBezTo>
                      <a:pt x="1212" y="527"/>
                      <a:pt x="1289" y="337"/>
                      <a:pt x="1311" y="281"/>
                    </a:cubicBezTo>
                    <a:cubicBezTo>
                      <a:pt x="1363" y="251"/>
                      <a:pt x="1377" y="195"/>
                      <a:pt x="1380" y="172"/>
                    </a:cubicBezTo>
                    <a:cubicBezTo>
                      <a:pt x="1380" y="171"/>
                      <a:pt x="1380" y="170"/>
                      <a:pt x="1380" y="169"/>
                    </a:cubicBezTo>
                    <a:lnTo>
                      <a:pt x="1329" y="193"/>
                    </a:lnTo>
                    <a:close/>
                    <a:moveTo>
                      <a:pt x="471" y="24"/>
                    </a:moveTo>
                    <a:cubicBezTo>
                      <a:pt x="458" y="17"/>
                      <a:pt x="444" y="11"/>
                      <a:pt x="432" y="5"/>
                    </a:cubicBezTo>
                    <a:cubicBezTo>
                      <a:pt x="436" y="49"/>
                      <a:pt x="443" y="94"/>
                      <a:pt x="455" y="126"/>
                    </a:cubicBezTo>
                    <a:cubicBezTo>
                      <a:pt x="455" y="127"/>
                      <a:pt x="455" y="127"/>
                      <a:pt x="455" y="127"/>
                    </a:cubicBezTo>
                    <a:cubicBezTo>
                      <a:pt x="476" y="145"/>
                      <a:pt x="487" y="101"/>
                      <a:pt x="505" y="41"/>
                    </a:cubicBezTo>
                    <a:cubicBezTo>
                      <a:pt x="495" y="36"/>
                      <a:pt x="483" y="30"/>
                      <a:pt x="471" y="24"/>
                    </a:cubicBezTo>
                    <a:close/>
                    <a:moveTo>
                      <a:pt x="1298" y="39"/>
                    </a:moveTo>
                    <a:cubicBezTo>
                      <a:pt x="1269" y="54"/>
                      <a:pt x="1253" y="62"/>
                      <a:pt x="1247" y="65"/>
                    </a:cubicBezTo>
                    <a:cubicBezTo>
                      <a:pt x="1219" y="78"/>
                      <a:pt x="1188" y="92"/>
                      <a:pt x="1152" y="103"/>
                    </a:cubicBezTo>
                    <a:cubicBezTo>
                      <a:pt x="1270" y="166"/>
                      <a:pt x="1270" y="166"/>
                      <a:pt x="1270" y="166"/>
                    </a:cubicBezTo>
                    <a:cubicBezTo>
                      <a:pt x="1271" y="167"/>
                      <a:pt x="1272" y="167"/>
                      <a:pt x="1273" y="167"/>
                    </a:cubicBezTo>
                    <a:cubicBezTo>
                      <a:pt x="1303" y="167"/>
                      <a:pt x="1303" y="167"/>
                      <a:pt x="1303" y="167"/>
                    </a:cubicBezTo>
                    <a:cubicBezTo>
                      <a:pt x="1305" y="167"/>
                      <a:pt x="1307" y="166"/>
                      <a:pt x="1308" y="165"/>
                    </a:cubicBezTo>
                    <a:cubicBezTo>
                      <a:pt x="1351" y="116"/>
                      <a:pt x="1359" y="93"/>
                      <a:pt x="1360" y="92"/>
                    </a:cubicBezTo>
                    <a:cubicBezTo>
                      <a:pt x="1360" y="92"/>
                      <a:pt x="1360" y="92"/>
                      <a:pt x="1360" y="93"/>
                    </a:cubicBezTo>
                    <a:cubicBezTo>
                      <a:pt x="1371" y="63"/>
                      <a:pt x="1375" y="32"/>
                      <a:pt x="1376" y="0"/>
                    </a:cubicBezTo>
                    <a:cubicBezTo>
                      <a:pt x="1357" y="9"/>
                      <a:pt x="1325" y="26"/>
                      <a:pt x="1298" y="3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/>
              </a:p>
            </p:txBody>
          </p:sp>
          <p:sp>
            <p:nvSpPr>
              <p:cNvPr id="133" name="Freeform 39">
                <a:extLst>
                  <a:ext uri="{FF2B5EF4-FFF2-40B4-BE49-F238E27FC236}">
                    <a16:creationId xmlns:a16="http://schemas.microsoft.com/office/drawing/2014/main" id="{1EF7354F-6756-4641-BFAF-A85C49B015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353"/>
                <a:ext cx="2210" cy="1383"/>
              </a:xfrm>
              <a:custGeom>
                <a:avLst/>
                <a:gdLst>
                  <a:gd name="T0" fmla="*/ 1056 w 1180"/>
                  <a:gd name="T1" fmla="*/ 596 h 738"/>
                  <a:gd name="T2" fmla="*/ 1177 w 1180"/>
                  <a:gd name="T3" fmla="*/ 550 h 738"/>
                  <a:gd name="T4" fmla="*/ 1180 w 1180"/>
                  <a:gd name="T5" fmla="*/ 547 h 738"/>
                  <a:gd name="T6" fmla="*/ 1162 w 1180"/>
                  <a:gd name="T7" fmla="*/ 465 h 738"/>
                  <a:gd name="T8" fmla="*/ 1161 w 1180"/>
                  <a:gd name="T9" fmla="*/ 463 h 738"/>
                  <a:gd name="T10" fmla="*/ 1149 w 1180"/>
                  <a:gd name="T11" fmla="*/ 458 h 738"/>
                  <a:gd name="T12" fmla="*/ 1054 w 1180"/>
                  <a:gd name="T13" fmla="*/ 380 h 738"/>
                  <a:gd name="T14" fmla="*/ 1052 w 1180"/>
                  <a:gd name="T15" fmla="*/ 375 h 738"/>
                  <a:gd name="T16" fmla="*/ 791 w 1180"/>
                  <a:gd name="T17" fmla="*/ 53 h 738"/>
                  <a:gd name="T18" fmla="*/ 779 w 1180"/>
                  <a:gd name="T19" fmla="*/ 62 h 738"/>
                  <a:gd name="T20" fmla="*/ 781 w 1180"/>
                  <a:gd name="T21" fmla="*/ 501 h 738"/>
                  <a:gd name="T22" fmla="*/ 737 w 1180"/>
                  <a:gd name="T23" fmla="*/ 558 h 738"/>
                  <a:gd name="T24" fmla="*/ 737 w 1180"/>
                  <a:gd name="T25" fmla="*/ 558 h 738"/>
                  <a:gd name="T26" fmla="*/ 695 w 1180"/>
                  <a:gd name="T27" fmla="*/ 515 h 738"/>
                  <a:gd name="T28" fmla="*/ 695 w 1180"/>
                  <a:gd name="T29" fmla="*/ 501 h 738"/>
                  <a:gd name="T30" fmla="*/ 694 w 1180"/>
                  <a:gd name="T31" fmla="*/ 4 h 738"/>
                  <a:gd name="T32" fmla="*/ 694 w 1180"/>
                  <a:gd name="T33" fmla="*/ 0 h 738"/>
                  <a:gd name="T34" fmla="*/ 486 w 1180"/>
                  <a:gd name="T35" fmla="*/ 0 h 738"/>
                  <a:gd name="T36" fmla="*/ 486 w 1180"/>
                  <a:gd name="T37" fmla="*/ 4 h 738"/>
                  <a:gd name="T38" fmla="*/ 486 w 1180"/>
                  <a:gd name="T39" fmla="*/ 501 h 738"/>
                  <a:gd name="T40" fmla="*/ 486 w 1180"/>
                  <a:gd name="T41" fmla="*/ 501 h 738"/>
                  <a:gd name="T42" fmla="*/ 482 w 1180"/>
                  <a:gd name="T43" fmla="*/ 528 h 738"/>
                  <a:gd name="T44" fmla="*/ 443 w 1180"/>
                  <a:gd name="T45" fmla="*/ 558 h 738"/>
                  <a:gd name="T46" fmla="*/ 443 w 1180"/>
                  <a:gd name="T47" fmla="*/ 558 h 738"/>
                  <a:gd name="T48" fmla="*/ 401 w 1180"/>
                  <a:gd name="T49" fmla="*/ 515 h 738"/>
                  <a:gd name="T50" fmla="*/ 401 w 1180"/>
                  <a:gd name="T51" fmla="*/ 500 h 738"/>
                  <a:gd name="T52" fmla="*/ 402 w 1180"/>
                  <a:gd name="T53" fmla="*/ 62 h 738"/>
                  <a:gd name="T54" fmla="*/ 389 w 1180"/>
                  <a:gd name="T55" fmla="*/ 53 h 738"/>
                  <a:gd name="T56" fmla="*/ 128 w 1180"/>
                  <a:gd name="T57" fmla="*/ 375 h 738"/>
                  <a:gd name="T58" fmla="*/ 128 w 1180"/>
                  <a:gd name="T59" fmla="*/ 380 h 738"/>
                  <a:gd name="T60" fmla="*/ 33 w 1180"/>
                  <a:gd name="T61" fmla="*/ 458 h 738"/>
                  <a:gd name="T62" fmla="*/ 21 w 1180"/>
                  <a:gd name="T63" fmla="*/ 463 h 738"/>
                  <a:gd name="T64" fmla="*/ 18 w 1180"/>
                  <a:gd name="T65" fmla="*/ 465 h 738"/>
                  <a:gd name="T66" fmla="*/ 0 w 1180"/>
                  <a:gd name="T67" fmla="*/ 548 h 738"/>
                  <a:gd name="T68" fmla="*/ 3 w 1180"/>
                  <a:gd name="T69" fmla="*/ 552 h 738"/>
                  <a:gd name="T70" fmla="*/ 110 w 1180"/>
                  <a:gd name="T71" fmla="*/ 592 h 738"/>
                  <a:gd name="T72" fmla="*/ 267 w 1180"/>
                  <a:gd name="T73" fmla="*/ 669 h 738"/>
                  <a:gd name="T74" fmla="*/ 591 w 1180"/>
                  <a:gd name="T75" fmla="*/ 738 h 738"/>
                  <a:gd name="T76" fmla="*/ 915 w 1180"/>
                  <a:gd name="T77" fmla="*/ 666 h 738"/>
                  <a:gd name="T78" fmla="*/ 1056 w 1180"/>
                  <a:gd name="T79" fmla="*/ 596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80" h="738">
                    <a:moveTo>
                      <a:pt x="1056" y="596"/>
                    </a:moveTo>
                    <a:cubicBezTo>
                      <a:pt x="1093" y="578"/>
                      <a:pt x="1133" y="562"/>
                      <a:pt x="1177" y="550"/>
                    </a:cubicBezTo>
                    <a:cubicBezTo>
                      <a:pt x="1179" y="550"/>
                      <a:pt x="1180" y="548"/>
                      <a:pt x="1180" y="547"/>
                    </a:cubicBezTo>
                    <a:cubicBezTo>
                      <a:pt x="1179" y="519"/>
                      <a:pt x="1163" y="486"/>
                      <a:pt x="1162" y="465"/>
                    </a:cubicBezTo>
                    <a:cubicBezTo>
                      <a:pt x="1162" y="464"/>
                      <a:pt x="1162" y="463"/>
                      <a:pt x="1161" y="463"/>
                    </a:cubicBezTo>
                    <a:cubicBezTo>
                      <a:pt x="1157" y="461"/>
                      <a:pt x="1152" y="459"/>
                      <a:pt x="1149" y="458"/>
                    </a:cubicBezTo>
                    <a:cubicBezTo>
                      <a:pt x="1118" y="447"/>
                      <a:pt x="1073" y="456"/>
                      <a:pt x="1054" y="380"/>
                    </a:cubicBezTo>
                    <a:cubicBezTo>
                      <a:pt x="1052" y="375"/>
                      <a:pt x="1052" y="375"/>
                      <a:pt x="1052" y="375"/>
                    </a:cubicBezTo>
                    <a:cubicBezTo>
                      <a:pt x="1033" y="300"/>
                      <a:pt x="985" y="120"/>
                      <a:pt x="791" y="53"/>
                    </a:cubicBezTo>
                    <a:cubicBezTo>
                      <a:pt x="785" y="50"/>
                      <a:pt x="779" y="55"/>
                      <a:pt x="779" y="62"/>
                    </a:cubicBezTo>
                    <a:cubicBezTo>
                      <a:pt x="781" y="501"/>
                      <a:pt x="781" y="501"/>
                      <a:pt x="781" y="501"/>
                    </a:cubicBezTo>
                    <a:cubicBezTo>
                      <a:pt x="781" y="533"/>
                      <a:pt x="769" y="558"/>
                      <a:pt x="737" y="558"/>
                    </a:cubicBezTo>
                    <a:cubicBezTo>
                      <a:pt x="737" y="558"/>
                      <a:pt x="737" y="558"/>
                      <a:pt x="737" y="558"/>
                    </a:cubicBezTo>
                    <a:cubicBezTo>
                      <a:pt x="714" y="558"/>
                      <a:pt x="695" y="539"/>
                      <a:pt x="695" y="515"/>
                    </a:cubicBezTo>
                    <a:cubicBezTo>
                      <a:pt x="695" y="501"/>
                      <a:pt x="695" y="501"/>
                      <a:pt x="695" y="501"/>
                    </a:cubicBezTo>
                    <a:cubicBezTo>
                      <a:pt x="694" y="4"/>
                      <a:pt x="694" y="4"/>
                      <a:pt x="694" y="4"/>
                    </a:cubicBezTo>
                    <a:cubicBezTo>
                      <a:pt x="694" y="0"/>
                      <a:pt x="694" y="0"/>
                      <a:pt x="694" y="0"/>
                    </a:cubicBezTo>
                    <a:cubicBezTo>
                      <a:pt x="486" y="0"/>
                      <a:pt x="486" y="0"/>
                      <a:pt x="486" y="0"/>
                    </a:cubicBezTo>
                    <a:cubicBezTo>
                      <a:pt x="486" y="4"/>
                      <a:pt x="486" y="4"/>
                      <a:pt x="486" y="4"/>
                    </a:cubicBezTo>
                    <a:cubicBezTo>
                      <a:pt x="486" y="501"/>
                      <a:pt x="486" y="501"/>
                      <a:pt x="486" y="501"/>
                    </a:cubicBezTo>
                    <a:cubicBezTo>
                      <a:pt x="486" y="501"/>
                      <a:pt x="486" y="501"/>
                      <a:pt x="486" y="501"/>
                    </a:cubicBezTo>
                    <a:cubicBezTo>
                      <a:pt x="486" y="511"/>
                      <a:pt x="485" y="519"/>
                      <a:pt x="482" y="528"/>
                    </a:cubicBezTo>
                    <a:cubicBezTo>
                      <a:pt x="476" y="546"/>
                      <a:pt x="464" y="558"/>
                      <a:pt x="443" y="558"/>
                    </a:cubicBezTo>
                    <a:cubicBezTo>
                      <a:pt x="443" y="558"/>
                      <a:pt x="443" y="558"/>
                      <a:pt x="443" y="558"/>
                    </a:cubicBezTo>
                    <a:cubicBezTo>
                      <a:pt x="420" y="558"/>
                      <a:pt x="401" y="539"/>
                      <a:pt x="401" y="515"/>
                    </a:cubicBezTo>
                    <a:cubicBezTo>
                      <a:pt x="401" y="500"/>
                      <a:pt x="401" y="500"/>
                      <a:pt x="401" y="500"/>
                    </a:cubicBezTo>
                    <a:cubicBezTo>
                      <a:pt x="402" y="62"/>
                      <a:pt x="402" y="62"/>
                      <a:pt x="402" y="62"/>
                    </a:cubicBezTo>
                    <a:cubicBezTo>
                      <a:pt x="402" y="55"/>
                      <a:pt x="395" y="50"/>
                      <a:pt x="389" y="53"/>
                    </a:cubicBezTo>
                    <a:cubicBezTo>
                      <a:pt x="195" y="120"/>
                      <a:pt x="148" y="300"/>
                      <a:pt x="128" y="375"/>
                    </a:cubicBezTo>
                    <a:cubicBezTo>
                      <a:pt x="128" y="380"/>
                      <a:pt x="128" y="380"/>
                      <a:pt x="128" y="380"/>
                    </a:cubicBezTo>
                    <a:cubicBezTo>
                      <a:pt x="107" y="456"/>
                      <a:pt x="63" y="447"/>
                      <a:pt x="33" y="458"/>
                    </a:cubicBezTo>
                    <a:cubicBezTo>
                      <a:pt x="29" y="459"/>
                      <a:pt x="24" y="461"/>
                      <a:pt x="21" y="463"/>
                    </a:cubicBezTo>
                    <a:cubicBezTo>
                      <a:pt x="19" y="463"/>
                      <a:pt x="18" y="464"/>
                      <a:pt x="18" y="465"/>
                    </a:cubicBezTo>
                    <a:cubicBezTo>
                      <a:pt x="17" y="487"/>
                      <a:pt x="1" y="520"/>
                      <a:pt x="0" y="548"/>
                    </a:cubicBezTo>
                    <a:cubicBezTo>
                      <a:pt x="0" y="550"/>
                      <a:pt x="1" y="552"/>
                      <a:pt x="3" y="552"/>
                    </a:cubicBezTo>
                    <a:cubicBezTo>
                      <a:pt x="41" y="563"/>
                      <a:pt x="76" y="578"/>
                      <a:pt x="110" y="592"/>
                    </a:cubicBezTo>
                    <a:cubicBezTo>
                      <a:pt x="136" y="605"/>
                      <a:pt x="249" y="662"/>
                      <a:pt x="267" y="669"/>
                    </a:cubicBezTo>
                    <a:cubicBezTo>
                      <a:pt x="351" y="708"/>
                      <a:pt x="445" y="738"/>
                      <a:pt x="591" y="738"/>
                    </a:cubicBezTo>
                    <a:cubicBezTo>
                      <a:pt x="735" y="738"/>
                      <a:pt x="831" y="706"/>
                      <a:pt x="915" y="666"/>
                    </a:cubicBezTo>
                    <a:cubicBezTo>
                      <a:pt x="926" y="661"/>
                      <a:pt x="1032" y="607"/>
                      <a:pt x="1056" y="59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/>
              </a:p>
            </p:txBody>
          </p:sp>
        </p:grpSp>
      </p:grpSp>
      <p:sp>
        <p:nvSpPr>
          <p:cNvPr id="14" name="Rectangle 13"/>
          <p:cNvSpPr/>
          <p:nvPr/>
        </p:nvSpPr>
        <p:spPr>
          <a:xfrm>
            <a:off x="1508343" y="2231972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Launch: Oct 18</a:t>
            </a:r>
            <a:r>
              <a:rPr lang="en-US" sz="1200" baseline="30000">
                <a:solidFill>
                  <a:srgbClr val="403393"/>
                </a:solidFill>
              </a:rPr>
              <a:t>th</a:t>
            </a:r>
            <a:r>
              <a:rPr lang="en-US" sz="1200">
                <a:solidFill>
                  <a:srgbClr val="403393"/>
                </a:solidFill>
              </a:rPr>
              <a:t> 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Due: rolling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199963" y="2231972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All priority occupations ex. Advanced Manufacturing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91583" y="2231972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nder/unemployed worker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583203" y="2231972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Education institution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Employers/industry member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Community org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8274823" y="2231972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p to $10k per student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Awardee needs to cover 30%</a:t>
            </a:r>
          </a:p>
        </p:txBody>
      </p:sp>
      <p:sp>
        <p:nvSpPr>
          <p:cNvPr id="19" name="Rectangle 18"/>
          <p:cNvSpPr/>
          <p:nvPr/>
        </p:nvSpPr>
        <p:spPr>
          <a:xfrm>
            <a:off x="9966445" y="2231972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Program cost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Student support cost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Participant stipends</a:t>
            </a:r>
          </a:p>
        </p:txBody>
      </p:sp>
      <p:sp>
        <p:nvSpPr>
          <p:cNvPr id="176" name="Rectangle 175"/>
          <p:cNvSpPr/>
          <p:nvPr/>
        </p:nvSpPr>
        <p:spPr>
          <a:xfrm rot="16200000">
            <a:off x="542996" y="3437324"/>
            <a:ext cx="1005348" cy="735925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403393"/>
                </a:solidFill>
              </a:rPr>
              <a:t>RENEW</a:t>
            </a:r>
          </a:p>
        </p:txBody>
      </p:sp>
      <p:sp>
        <p:nvSpPr>
          <p:cNvPr id="177" name="Round Same Side Corner Rectangle 176"/>
          <p:cNvSpPr/>
          <p:nvPr/>
        </p:nvSpPr>
        <p:spPr>
          <a:xfrm rot="16200000">
            <a:off x="151179" y="3781926"/>
            <a:ext cx="1005348" cy="47706"/>
          </a:xfrm>
          <a:prstGeom prst="round2SameRect">
            <a:avLst>
              <a:gd name="adj1" fmla="val 10799"/>
              <a:gd name="adj2" fmla="val 0"/>
            </a:avLst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i="1">
              <a:solidFill>
                <a:srgbClr val="FFFFFF"/>
              </a:solidFill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D1D0E3AC-8E90-4B3F-A444-04A4EC1A8EB2}"/>
              </a:ext>
            </a:extLst>
          </p:cNvPr>
          <p:cNvGrpSpPr/>
          <p:nvPr/>
        </p:nvGrpSpPr>
        <p:grpSpPr>
          <a:xfrm>
            <a:off x="817315" y="3470475"/>
            <a:ext cx="467859" cy="467335"/>
            <a:chOff x="626600" y="3607903"/>
            <a:chExt cx="594295" cy="593630"/>
          </a:xfrm>
        </p:grpSpPr>
        <p:sp>
          <p:nvSpPr>
            <p:cNvPr id="144" name="Freeform 97">
              <a:extLst>
                <a:ext uri="{FF2B5EF4-FFF2-40B4-BE49-F238E27FC236}">
                  <a16:creationId xmlns:a16="http://schemas.microsoft.com/office/drawing/2014/main" id="{F346C386-0606-425A-83C3-6232DEFADB13}"/>
                </a:ext>
              </a:extLst>
            </p:cNvPr>
            <p:cNvSpPr/>
            <p:nvPr/>
          </p:nvSpPr>
          <p:spPr bwMode="gray">
            <a:xfrm>
              <a:off x="679040" y="3660328"/>
              <a:ext cx="489420" cy="489420"/>
            </a:xfrm>
            <a:custGeom>
              <a:avLst/>
              <a:gdLst>
                <a:gd name="connsiteX0" fmla="*/ 800100 w 1600200"/>
                <a:gd name="connsiteY0" fmla="*/ 95250 h 1600200"/>
                <a:gd name="connsiteX1" fmla="*/ 95250 w 1600200"/>
                <a:gd name="connsiteY1" fmla="*/ 800100 h 1600200"/>
                <a:gd name="connsiteX2" fmla="*/ 800100 w 1600200"/>
                <a:gd name="connsiteY2" fmla="*/ 1504950 h 1600200"/>
                <a:gd name="connsiteX3" fmla="*/ 1504950 w 1600200"/>
                <a:gd name="connsiteY3" fmla="*/ 800100 h 1600200"/>
                <a:gd name="connsiteX4" fmla="*/ 800100 w 1600200"/>
                <a:gd name="connsiteY4" fmla="*/ 95250 h 1600200"/>
                <a:gd name="connsiteX5" fmla="*/ 800100 w 1600200"/>
                <a:gd name="connsiteY5" fmla="*/ 0 h 1600200"/>
                <a:gd name="connsiteX6" fmla="*/ 1600200 w 1600200"/>
                <a:gd name="connsiteY6" fmla="*/ 800100 h 1600200"/>
                <a:gd name="connsiteX7" fmla="*/ 800100 w 1600200"/>
                <a:gd name="connsiteY7" fmla="*/ 1600200 h 1600200"/>
                <a:gd name="connsiteX8" fmla="*/ 0 w 1600200"/>
                <a:gd name="connsiteY8" fmla="*/ 800100 h 1600200"/>
                <a:gd name="connsiteX9" fmla="*/ 800100 w 1600200"/>
                <a:gd name="connsiteY9" fmla="*/ 0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00" h="1600200">
                  <a:moveTo>
                    <a:pt x="800100" y="95250"/>
                  </a:moveTo>
                  <a:cubicBezTo>
                    <a:pt x="410822" y="95250"/>
                    <a:pt x="95250" y="410822"/>
                    <a:pt x="95250" y="800100"/>
                  </a:cubicBezTo>
                  <a:cubicBezTo>
                    <a:pt x="95250" y="1189378"/>
                    <a:pt x="410822" y="1504950"/>
                    <a:pt x="800100" y="1504950"/>
                  </a:cubicBezTo>
                  <a:cubicBezTo>
                    <a:pt x="1189378" y="1504950"/>
                    <a:pt x="1504950" y="1189378"/>
                    <a:pt x="1504950" y="800100"/>
                  </a:cubicBezTo>
                  <a:cubicBezTo>
                    <a:pt x="1504950" y="410822"/>
                    <a:pt x="1189378" y="95250"/>
                    <a:pt x="800100" y="95250"/>
                  </a:cubicBezTo>
                  <a:close/>
                  <a:moveTo>
                    <a:pt x="800100" y="0"/>
                  </a:moveTo>
                  <a:cubicBezTo>
                    <a:pt x="1241983" y="0"/>
                    <a:pt x="1600200" y="358217"/>
                    <a:pt x="1600200" y="800100"/>
                  </a:cubicBezTo>
                  <a:cubicBezTo>
                    <a:pt x="1600200" y="1241983"/>
                    <a:pt x="1241983" y="1600200"/>
                    <a:pt x="800100" y="1600200"/>
                  </a:cubicBezTo>
                  <a:cubicBezTo>
                    <a:pt x="358217" y="1600200"/>
                    <a:pt x="0" y="1241983"/>
                    <a:pt x="0" y="800100"/>
                  </a:cubicBezTo>
                  <a:cubicBezTo>
                    <a:pt x="0" y="358217"/>
                    <a:pt x="358217" y="0"/>
                    <a:pt x="80010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44BE2716-F1F0-4912-B4F1-884ED399C5A9}"/>
                </a:ext>
              </a:extLst>
            </p:cNvPr>
            <p:cNvSpPr/>
            <p:nvPr/>
          </p:nvSpPr>
          <p:spPr bwMode="gray">
            <a:xfrm>
              <a:off x="722225" y="3707748"/>
              <a:ext cx="431155" cy="431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46" name="Chord 174">
              <a:extLst>
                <a:ext uri="{FF2B5EF4-FFF2-40B4-BE49-F238E27FC236}">
                  <a16:creationId xmlns:a16="http://schemas.microsoft.com/office/drawing/2014/main" id="{32EABE6F-FDAD-4E60-A36C-D88712884C09}"/>
                </a:ext>
              </a:extLst>
            </p:cNvPr>
            <p:cNvSpPr/>
            <p:nvPr/>
          </p:nvSpPr>
          <p:spPr bwMode="gray">
            <a:xfrm rot="5400000">
              <a:off x="632509" y="3601994"/>
              <a:ext cx="582478" cy="594295"/>
            </a:xfrm>
            <a:custGeom>
              <a:avLst/>
              <a:gdLst>
                <a:gd name="connsiteX0" fmla="*/ 896255 w 914400"/>
                <a:gd name="connsiteY0" fmla="*/ 584724 h 914400"/>
                <a:gd name="connsiteX1" fmla="*/ 371550 w 914400"/>
                <a:gd name="connsiteY1" fmla="*/ 906306 h 914400"/>
                <a:gd name="connsiteX2" fmla="*/ 2028 w 914400"/>
                <a:gd name="connsiteY2" fmla="*/ 414185 h 914400"/>
                <a:gd name="connsiteX3" fmla="*/ 457200 w 914400"/>
                <a:gd name="connsiteY3" fmla="*/ 1 h 914400"/>
                <a:gd name="connsiteX4" fmla="*/ 896255 w 914400"/>
                <a:gd name="connsiteY4" fmla="*/ 584724 h 914400"/>
                <a:gd name="connsiteX0" fmla="*/ 896278 w 987718"/>
                <a:gd name="connsiteY0" fmla="*/ 584723 h 914461"/>
                <a:gd name="connsiteX1" fmla="*/ 371573 w 987718"/>
                <a:gd name="connsiteY1" fmla="*/ 906305 h 914461"/>
                <a:gd name="connsiteX2" fmla="*/ 2051 w 987718"/>
                <a:gd name="connsiteY2" fmla="*/ 414184 h 914461"/>
                <a:gd name="connsiteX3" fmla="*/ 457223 w 987718"/>
                <a:gd name="connsiteY3" fmla="*/ 0 h 914461"/>
                <a:gd name="connsiteX4" fmla="*/ 987718 w 987718"/>
                <a:gd name="connsiteY4" fmla="*/ 676163 h 914461"/>
                <a:gd name="connsiteX0" fmla="*/ 896278 w 896278"/>
                <a:gd name="connsiteY0" fmla="*/ 584723 h 914461"/>
                <a:gd name="connsiteX1" fmla="*/ 371573 w 896278"/>
                <a:gd name="connsiteY1" fmla="*/ 906305 h 914461"/>
                <a:gd name="connsiteX2" fmla="*/ 2051 w 896278"/>
                <a:gd name="connsiteY2" fmla="*/ 414184 h 914461"/>
                <a:gd name="connsiteX3" fmla="*/ 457223 w 896278"/>
                <a:gd name="connsiteY3" fmla="*/ 0 h 91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6278" h="914461">
                  <a:moveTo>
                    <a:pt x="896278" y="584723"/>
                  </a:moveTo>
                  <a:cubicBezTo>
                    <a:pt x="830497" y="811204"/>
                    <a:pt x="603238" y="950486"/>
                    <a:pt x="371573" y="906305"/>
                  </a:cubicBezTo>
                  <a:cubicBezTo>
                    <a:pt x="139908" y="862124"/>
                    <a:pt x="-20138" y="648978"/>
                    <a:pt x="2051" y="414184"/>
                  </a:cubicBezTo>
                  <a:cubicBezTo>
                    <a:pt x="24240" y="179390"/>
                    <a:pt x="221382" y="0"/>
                    <a:pt x="457223" y="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47" name="Freeform 96">
              <a:extLst>
                <a:ext uri="{FF2B5EF4-FFF2-40B4-BE49-F238E27FC236}">
                  <a16:creationId xmlns:a16="http://schemas.microsoft.com/office/drawing/2014/main" id="{F943C0A4-40EA-4530-8DC3-42AE06275A0F}"/>
                </a:ext>
              </a:extLst>
            </p:cNvPr>
            <p:cNvSpPr/>
            <p:nvPr/>
          </p:nvSpPr>
          <p:spPr bwMode="gray">
            <a:xfrm rot="5400000" flipH="1" flipV="1">
              <a:off x="885661" y="3866358"/>
              <a:ext cx="296240" cy="374110"/>
            </a:xfrm>
            <a:custGeom>
              <a:avLst/>
              <a:gdLst>
                <a:gd name="connsiteX0" fmla="*/ 22460 w 507221"/>
                <a:gd name="connsiteY0" fmla="*/ 32432 h 627952"/>
                <a:gd name="connsiteX1" fmla="*/ 33124 w 507221"/>
                <a:gd name="connsiteY1" fmla="*/ 0 h 627952"/>
                <a:gd name="connsiteX2" fmla="*/ 34553 w 507221"/>
                <a:gd name="connsiteY2" fmla="*/ 1885 h 627952"/>
                <a:gd name="connsiteX3" fmla="*/ 467646 w 507221"/>
                <a:gd name="connsiteY3" fmla="*/ 627059 h 627952"/>
                <a:gd name="connsiteX4" fmla="*/ 505815 w 507221"/>
                <a:gd name="connsiteY4" fmla="*/ 623449 h 627952"/>
                <a:gd name="connsiteX5" fmla="*/ 507221 w 507221"/>
                <a:gd name="connsiteY5" fmla="*/ 625303 h 627952"/>
                <a:gd name="connsiteX6" fmla="*/ 447509 w 507221"/>
                <a:gd name="connsiteY6" fmla="*/ 627952 h 627952"/>
                <a:gd name="connsiteX7" fmla="*/ 92880 w 507221"/>
                <a:gd name="connsiteY7" fmla="*/ 447073 h 627952"/>
                <a:gd name="connsiteX8" fmla="*/ 14454 w 507221"/>
                <a:gd name="connsiteY8" fmla="*/ 56780 h 627952"/>
                <a:gd name="connsiteX9" fmla="*/ 18656 w 507221"/>
                <a:gd name="connsiteY9" fmla="*/ 44000 h 627952"/>
                <a:gd name="connsiteX10" fmla="*/ 456822 w 507221"/>
                <a:gd name="connsiteY10" fmla="*/ 627539 h 627952"/>
                <a:gd name="connsiteX0" fmla="*/ 22460 w 507221"/>
                <a:gd name="connsiteY0" fmla="*/ 32432 h 627952"/>
                <a:gd name="connsiteX1" fmla="*/ 33124 w 507221"/>
                <a:gd name="connsiteY1" fmla="*/ 0 h 627952"/>
                <a:gd name="connsiteX2" fmla="*/ 22460 w 507221"/>
                <a:gd name="connsiteY2" fmla="*/ 32432 h 627952"/>
                <a:gd name="connsiteX3" fmla="*/ 467646 w 507221"/>
                <a:gd name="connsiteY3" fmla="*/ 627059 h 627952"/>
                <a:gd name="connsiteX4" fmla="*/ 505815 w 507221"/>
                <a:gd name="connsiteY4" fmla="*/ 623449 h 627952"/>
                <a:gd name="connsiteX5" fmla="*/ 507221 w 507221"/>
                <a:gd name="connsiteY5" fmla="*/ 625303 h 627952"/>
                <a:gd name="connsiteX6" fmla="*/ 467646 w 507221"/>
                <a:gd name="connsiteY6" fmla="*/ 627059 h 627952"/>
                <a:gd name="connsiteX7" fmla="*/ 447509 w 507221"/>
                <a:gd name="connsiteY7" fmla="*/ 627952 h 627952"/>
                <a:gd name="connsiteX8" fmla="*/ 92880 w 507221"/>
                <a:gd name="connsiteY8" fmla="*/ 447073 h 627952"/>
                <a:gd name="connsiteX9" fmla="*/ 14454 w 507221"/>
                <a:gd name="connsiteY9" fmla="*/ 56780 h 627952"/>
                <a:gd name="connsiteX10" fmla="*/ 18656 w 507221"/>
                <a:gd name="connsiteY10" fmla="*/ 44000 h 627952"/>
                <a:gd name="connsiteX11" fmla="*/ 456822 w 507221"/>
                <a:gd name="connsiteY11" fmla="*/ 627539 h 627952"/>
                <a:gd name="connsiteX12" fmla="*/ 447509 w 507221"/>
                <a:gd name="connsiteY12" fmla="*/ 627952 h 627952"/>
                <a:gd name="connsiteX0" fmla="*/ 467646 w 507221"/>
                <a:gd name="connsiteY0" fmla="*/ 583059 h 583952"/>
                <a:gd name="connsiteX1" fmla="*/ 505815 w 507221"/>
                <a:gd name="connsiteY1" fmla="*/ 579449 h 583952"/>
                <a:gd name="connsiteX2" fmla="*/ 507221 w 507221"/>
                <a:gd name="connsiteY2" fmla="*/ 581303 h 583952"/>
                <a:gd name="connsiteX3" fmla="*/ 467646 w 507221"/>
                <a:gd name="connsiteY3" fmla="*/ 583059 h 583952"/>
                <a:gd name="connsiteX4" fmla="*/ 447509 w 507221"/>
                <a:gd name="connsiteY4" fmla="*/ 583952 h 583952"/>
                <a:gd name="connsiteX5" fmla="*/ 92880 w 507221"/>
                <a:gd name="connsiteY5" fmla="*/ 403073 h 583952"/>
                <a:gd name="connsiteX6" fmla="*/ 14454 w 507221"/>
                <a:gd name="connsiteY6" fmla="*/ 12780 h 583952"/>
                <a:gd name="connsiteX7" fmla="*/ 18656 w 507221"/>
                <a:gd name="connsiteY7" fmla="*/ 0 h 583952"/>
                <a:gd name="connsiteX8" fmla="*/ 456822 w 507221"/>
                <a:gd name="connsiteY8" fmla="*/ 583539 h 583952"/>
                <a:gd name="connsiteX9" fmla="*/ 447509 w 507221"/>
                <a:gd name="connsiteY9" fmla="*/ 583952 h 583952"/>
                <a:gd name="connsiteX0" fmla="*/ 467646 w 505815"/>
                <a:gd name="connsiteY0" fmla="*/ 583059 h 583952"/>
                <a:gd name="connsiteX1" fmla="*/ 505815 w 505815"/>
                <a:gd name="connsiteY1" fmla="*/ 579449 h 583952"/>
                <a:gd name="connsiteX2" fmla="*/ 467646 w 505815"/>
                <a:gd name="connsiteY2" fmla="*/ 583059 h 583952"/>
                <a:gd name="connsiteX3" fmla="*/ 447509 w 505815"/>
                <a:gd name="connsiteY3" fmla="*/ 583952 h 583952"/>
                <a:gd name="connsiteX4" fmla="*/ 92880 w 505815"/>
                <a:gd name="connsiteY4" fmla="*/ 403073 h 583952"/>
                <a:gd name="connsiteX5" fmla="*/ 14454 w 505815"/>
                <a:gd name="connsiteY5" fmla="*/ 12780 h 583952"/>
                <a:gd name="connsiteX6" fmla="*/ 18656 w 505815"/>
                <a:gd name="connsiteY6" fmla="*/ 0 h 583952"/>
                <a:gd name="connsiteX7" fmla="*/ 456822 w 505815"/>
                <a:gd name="connsiteY7" fmla="*/ 583539 h 583952"/>
                <a:gd name="connsiteX8" fmla="*/ 447509 w 505815"/>
                <a:gd name="connsiteY8" fmla="*/ 583952 h 583952"/>
                <a:gd name="connsiteX0" fmla="*/ 447509 w 456822"/>
                <a:gd name="connsiteY0" fmla="*/ 583952 h 583952"/>
                <a:gd name="connsiteX1" fmla="*/ 92880 w 456822"/>
                <a:gd name="connsiteY1" fmla="*/ 403073 h 583952"/>
                <a:gd name="connsiteX2" fmla="*/ 14454 w 456822"/>
                <a:gd name="connsiteY2" fmla="*/ 12780 h 583952"/>
                <a:gd name="connsiteX3" fmla="*/ 18656 w 456822"/>
                <a:gd name="connsiteY3" fmla="*/ 0 h 583952"/>
                <a:gd name="connsiteX4" fmla="*/ 456822 w 456822"/>
                <a:gd name="connsiteY4" fmla="*/ 583539 h 583952"/>
                <a:gd name="connsiteX5" fmla="*/ 447509 w 456822"/>
                <a:gd name="connsiteY5" fmla="*/ 583952 h 583952"/>
                <a:gd name="connsiteX0" fmla="*/ 18656 w 456822"/>
                <a:gd name="connsiteY0" fmla="*/ 0 h 583952"/>
                <a:gd name="connsiteX1" fmla="*/ 456822 w 456822"/>
                <a:gd name="connsiteY1" fmla="*/ 583539 h 583952"/>
                <a:gd name="connsiteX2" fmla="*/ 447509 w 456822"/>
                <a:gd name="connsiteY2" fmla="*/ 583952 h 583952"/>
                <a:gd name="connsiteX3" fmla="*/ 92880 w 456822"/>
                <a:gd name="connsiteY3" fmla="*/ 403073 h 583952"/>
                <a:gd name="connsiteX4" fmla="*/ 14454 w 456822"/>
                <a:gd name="connsiteY4" fmla="*/ 12780 h 583952"/>
                <a:gd name="connsiteX5" fmla="*/ 110096 w 456822"/>
                <a:gd name="connsiteY5" fmla="*/ 91440 h 583952"/>
                <a:gd name="connsiteX0" fmla="*/ 18656 w 456822"/>
                <a:gd name="connsiteY0" fmla="*/ 0 h 583952"/>
                <a:gd name="connsiteX1" fmla="*/ 456822 w 456822"/>
                <a:gd name="connsiteY1" fmla="*/ 583539 h 583952"/>
                <a:gd name="connsiteX2" fmla="*/ 447509 w 456822"/>
                <a:gd name="connsiteY2" fmla="*/ 583952 h 583952"/>
                <a:gd name="connsiteX3" fmla="*/ 92880 w 456822"/>
                <a:gd name="connsiteY3" fmla="*/ 403073 h 583952"/>
                <a:gd name="connsiteX4" fmla="*/ 14454 w 456822"/>
                <a:gd name="connsiteY4" fmla="*/ 12780 h 583952"/>
                <a:gd name="connsiteX0" fmla="*/ 456822 w 456822"/>
                <a:gd name="connsiteY0" fmla="*/ 570759 h 571172"/>
                <a:gd name="connsiteX1" fmla="*/ 447509 w 456822"/>
                <a:gd name="connsiteY1" fmla="*/ 571172 h 571172"/>
                <a:gd name="connsiteX2" fmla="*/ 92880 w 456822"/>
                <a:gd name="connsiteY2" fmla="*/ 390293 h 571172"/>
                <a:gd name="connsiteX3" fmla="*/ 14454 w 456822"/>
                <a:gd name="connsiteY3" fmla="*/ 0 h 571172"/>
                <a:gd name="connsiteX0" fmla="*/ 455833 w 455833"/>
                <a:gd name="connsiteY0" fmla="*/ 575242 h 575655"/>
                <a:gd name="connsiteX1" fmla="*/ 446520 w 455833"/>
                <a:gd name="connsiteY1" fmla="*/ 575655 h 575655"/>
                <a:gd name="connsiteX2" fmla="*/ 91891 w 455833"/>
                <a:gd name="connsiteY2" fmla="*/ 394776 h 575655"/>
                <a:gd name="connsiteX3" fmla="*/ 12345 w 455833"/>
                <a:gd name="connsiteY3" fmla="*/ 0 h 5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833" h="575655">
                  <a:moveTo>
                    <a:pt x="455833" y="575242"/>
                  </a:moveTo>
                  <a:lnTo>
                    <a:pt x="446520" y="575655"/>
                  </a:lnTo>
                  <a:cubicBezTo>
                    <a:pt x="307991" y="572735"/>
                    <a:pt x="164254" y="490719"/>
                    <a:pt x="91891" y="394776"/>
                  </a:cubicBezTo>
                  <a:cubicBezTo>
                    <a:pt x="19529" y="298834"/>
                    <a:pt x="-22242" y="134174"/>
                    <a:pt x="12345" y="0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71883B83-5F45-4173-934C-3A53196C00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3728" y="3739121"/>
              <a:ext cx="320040" cy="320040"/>
              <a:chOff x="5273675" y="2606675"/>
              <a:chExt cx="1644650" cy="1644650"/>
            </a:xfrm>
          </p:grpSpPr>
          <p:sp>
            <p:nvSpPr>
              <p:cNvPr id="150" name="AutoShape 3">
                <a:extLst>
                  <a:ext uri="{FF2B5EF4-FFF2-40B4-BE49-F238E27FC236}">
                    <a16:creationId xmlns:a16="http://schemas.microsoft.com/office/drawing/2014/main" id="{09B01A8A-C9C5-4233-8E7A-36D5F62F270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/>
              </a:p>
            </p:txBody>
          </p: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F1B49E87-A964-4B7F-A855-098980515DC1}"/>
                  </a:ext>
                </a:extLst>
              </p:cNvPr>
              <p:cNvGrpSpPr/>
              <p:nvPr/>
            </p:nvGrpSpPr>
            <p:grpSpPr>
              <a:xfrm>
                <a:off x="5546725" y="2881313"/>
                <a:ext cx="1098550" cy="1095375"/>
                <a:chOff x="5546725" y="2881313"/>
                <a:chExt cx="1098550" cy="1095375"/>
              </a:xfrm>
            </p:grpSpPr>
            <p:sp>
              <p:nvSpPr>
                <p:cNvPr id="152" name="Freeform 10">
                  <a:extLst>
                    <a:ext uri="{FF2B5EF4-FFF2-40B4-BE49-F238E27FC236}">
                      <a16:creationId xmlns:a16="http://schemas.microsoft.com/office/drawing/2014/main" id="{088B109B-1276-43C6-9871-B46A7FF05C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2881313"/>
                  <a:ext cx="1098550" cy="1095375"/>
                </a:xfrm>
                <a:custGeom>
                  <a:avLst/>
                  <a:gdLst>
                    <a:gd name="T0" fmla="*/ 1204 w 1538"/>
                    <a:gd name="T1" fmla="*/ 0 h 1534"/>
                    <a:gd name="T2" fmla="*/ 1160 w 1538"/>
                    <a:gd name="T3" fmla="*/ 44 h 1534"/>
                    <a:gd name="T4" fmla="*/ 1160 w 1538"/>
                    <a:gd name="T5" fmla="*/ 289 h 1534"/>
                    <a:gd name="T6" fmla="*/ 914 w 1538"/>
                    <a:gd name="T7" fmla="*/ 289 h 1534"/>
                    <a:gd name="T8" fmla="*/ 870 w 1538"/>
                    <a:gd name="T9" fmla="*/ 333 h 1534"/>
                    <a:gd name="T10" fmla="*/ 870 w 1538"/>
                    <a:gd name="T11" fmla="*/ 578 h 1534"/>
                    <a:gd name="T12" fmla="*/ 624 w 1538"/>
                    <a:gd name="T13" fmla="*/ 578 h 1534"/>
                    <a:gd name="T14" fmla="*/ 580 w 1538"/>
                    <a:gd name="T15" fmla="*/ 622 h 1534"/>
                    <a:gd name="T16" fmla="*/ 580 w 1538"/>
                    <a:gd name="T17" fmla="*/ 867 h 1534"/>
                    <a:gd name="T18" fmla="*/ 334 w 1538"/>
                    <a:gd name="T19" fmla="*/ 867 h 1534"/>
                    <a:gd name="T20" fmla="*/ 290 w 1538"/>
                    <a:gd name="T21" fmla="*/ 911 h 1534"/>
                    <a:gd name="T22" fmla="*/ 290 w 1538"/>
                    <a:gd name="T23" fmla="*/ 1157 h 1534"/>
                    <a:gd name="T24" fmla="*/ 44 w 1538"/>
                    <a:gd name="T25" fmla="*/ 1157 h 1534"/>
                    <a:gd name="T26" fmla="*/ 0 w 1538"/>
                    <a:gd name="T27" fmla="*/ 1201 h 1534"/>
                    <a:gd name="T28" fmla="*/ 0 w 1538"/>
                    <a:gd name="T29" fmla="*/ 1534 h 1534"/>
                    <a:gd name="T30" fmla="*/ 44 w 1538"/>
                    <a:gd name="T31" fmla="*/ 1534 h 1534"/>
                    <a:gd name="T32" fmla="*/ 44 w 1538"/>
                    <a:gd name="T33" fmla="*/ 1201 h 1534"/>
                    <a:gd name="T34" fmla="*/ 334 w 1538"/>
                    <a:gd name="T35" fmla="*/ 1201 h 1534"/>
                    <a:gd name="T36" fmla="*/ 334 w 1538"/>
                    <a:gd name="T37" fmla="*/ 911 h 1534"/>
                    <a:gd name="T38" fmla="*/ 624 w 1538"/>
                    <a:gd name="T39" fmla="*/ 911 h 1534"/>
                    <a:gd name="T40" fmla="*/ 624 w 1538"/>
                    <a:gd name="T41" fmla="*/ 622 h 1534"/>
                    <a:gd name="T42" fmla="*/ 914 w 1538"/>
                    <a:gd name="T43" fmla="*/ 622 h 1534"/>
                    <a:gd name="T44" fmla="*/ 914 w 1538"/>
                    <a:gd name="T45" fmla="*/ 333 h 1534"/>
                    <a:gd name="T46" fmla="*/ 1204 w 1538"/>
                    <a:gd name="T47" fmla="*/ 333 h 1534"/>
                    <a:gd name="T48" fmla="*/ 1204 w 1538"/>
                    <a:gd name="T49" fmla="*/ 44 h 1534"/>
                    <a:gd name="T50" fmla="*/ 1538 w 1538"/>
                    <a:gd name="T51" fmla="*/ 44 h 1534"/>
                    <a:gd name="T52" fmla="*/ 1538 w 1538"/>
                    <a:gd name="T53" fmla="*/ 0 h 1534"/>
                    <a:gd name="T54" fmla="*/ 1204 w 1538"/>
                    <a:gd name="T55" fmla="*/ 0 h 15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538" h="1534">
                      <a:moveTo>
                        <a:pt x="1204" y="0"/>
                      </a:moveTo>
                      <a:cubicBezTo>
                        <a:pt x="1180" y="0"/>
                        <a:pt x="1160" y="20"/>
                        <a:pt x="1160" y="44"/>
                      </a:cubicBezTo>
                      <a:cubicBezTo>
                        <a:pt x="1160" y="289"/>
                        <a:pt x="1160" y="289"/>
                        <a:pt x="1160" y="289"/>
                      </a:cubicBezTo>
                      <a:cubicBezTo>
                        <a:pt x="914" y="289"/>
                        <a:pt x="914" y="289"/>
                        <a:pt x="914" y="289"/>
                      </a:cubicBezTo>
                      <a:cubicBezTo>
                        <a:pt x="890" y="289"/>
                        <a:pt x="870" y="309"/>
                        <a:pt x="870" y="333"/>
                      </a:cubicBezTo>
                      <a:cubicBezTo>
                        <a:pt x="870" y="578"/>
                        <a:pt x="870" y="578"/>
                        <a:pt x="870" y="578"/>
                      </a:cubicBezTo>
                      <a:cubicBezTo>
                        <a:pt x="624" y="578"/>
                        <a:pt x="624" y="578"/>
                        <a:pt x="624" y="578"/>
                      </a:cubicBezTo>
                      <a:cubicBezTo>
                        <a:pt x="600" y="578"/>
                        <a:pt x="580" y="598"/>
                        <a:pt x="580" y="622"/>
                      </a:cubicBezTo>
                      <a:cubicBezTo>
                        <a:pt x="580" y="867"/>
                        <a:pt x="580" y="867"/>
                        <a:pt x="580" y="867"/>
                      </a:cubicBezTo>
                      <a:cubicBezTo>
                        <a:pt x="334" y="867"/>
                        <a:pt x="334" y="867"/>
                        <a:pt x="334" y="867"/>
                      </a:cubicBezTo>
                      <a:cubicBezTo>
                        <a:pt x="309" y="867"/>
                        <a:pt x="290" y="887"/>
                        <a:pt x="290" y="911"/>
                      </a:cubicBezTo>
                      <a:cubicBezTo>
                        <a:pt x="290" y="1157"/>
                        <a:pt x="290" y="1157"/>
                        <a:pt x="290" y="1157"/>
                      </a:cubicBezTo>
                      <a:cubicBezTo>
                        <a:pt x="44" y="1157"/>
                        <a:pt x="44" y="1157"/>
                        <a:pt x="44" y="1157"/>
                      </a:cubicBezTo>
                      <a:cubicBezTo>
                        <a:pt x="19" y="1157"/>
                        <a:pt x="0" y="1176"/>
                        <a:pt x="0" y="1201"/>
                      </a:cubicBezTo>
                      <a:cubicBezTo>
                        <a:pt x="0" y="1534"/>
                        <a:pt x="0" y="1534"/>
                        <a:pt x="0" y="1534"/>
                      </a:cubicBezTo>
                      <a:cubicBezTo>
                        <a:pt x="44" y="1534"/>
                        <a:pt x="44" y="1534"/>
                        <a:pt x="44" y="1534"/>
                      </a:cubicBezTo>
                      <a:cubicBezTo>
                        <a:pt x="44" y="1201"/>
                        <a:pt x="44" y="1201"/>
                        <a:pt x="44" y="1201"/>
                      </a:cubicBezTo>
                      <a:cubicBezTo>
                        <a:pt x="334" y="1201"/>
                        <a:pt x="334" y="1201"/>
                        <a:pt x="334" y="1201"/>
                      </a:cubicBezTo>
                      <a:cubicBezTo>
                        <a:pt x="334" y="911"/>
                        <a:pt x="334" y="911"/>
                        <a:pt x="334" y="911"/>
                      </a:cubicBezTo>
                      <a:cubicBezTo>
                        <a:pt x="624" y="911"/>
                        <a:pt x="624" y="911"/>
                        <a:pt x="624" y="911"/>
                      </a:cubicBezTo>
                      <a:cubicBezTo>
                        <a:pt x="624" y="622"/>
                        <a:pt x="624" y="622"/>
                        <a:pt x="624" y="622"/>
                      </a:cubicBezTo>
                      <a:cubicBezTo>
                        <a:pt x="914" y="622"/>
                        <a:pt x="914" y="622"/>
                        <a:pt x="914" y="622"/>
                      </a:cubicBezTo>
                      <a:cubicBezTo>
                        <a:pt x="914" y="333"/>
                        <a:pt x="914" y="333"/>
                        <a:pt x="914" y="333"/>
                      </a:cubicBezTo>
                      <a:cubicBezTo>
                        <a:pt x="1204" y="333"/>
                        <a:pt x="1204" y="333"/>
                        <a:pt x="1204" y="333"/>
                      </a:cubicBezTo>
                      <a:cubicBezTo>
                        <a:pt x="1204" y="44"/>
                        <a:pt x="1204" y="44"/>
                        <a:pt x="1204" y="44"/>
                      </a:cubicBezTo>
                      <a:cubicBezTo>
                        <a:pt x="1538" y="44"/>
                        <a:pt x="1538" y="44"/>
                        <a:pt x="1538" y="44"/>
                      </a:cubicBezTo>
                      <a:cubicBezTo>
                        <a:pt x="1538" y="0"/>
                        <a:pt x="1538" y="0"/>
                        <a:pt x="1538" y="0"/>
                      </a:cubicBezTo>
                      <a:lnTo>
                        <a:pt x="1204" y="0"/>
                      </a:ln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i="1"/>
                </a:p>
              </p:txBody>
            </p:sp>
            <p:sp>
              <p:nvSpPr>
                <p:cNvPr id="153" name="Freeform 11">
                  <a:extLst>
                    <a:ext uri="{FF2B5EF4-FFF2-40B4-BE49-F238E27FC236}">
                      <a16:creationId xmlns:a16="http://schemas.microsoft.com/office/drawing/2014/main" id="{97736D46-B8B0-4CCA-929B-94A1C81A5C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0225" y="2944813"/>
                  <a:ext cx="1035050" cy="1031875"/>
                </a:xfrm>
                <a:custGeom>
                  <a:avLst/>
                  <a:gdLst>
                    <a:gd name="T0" fmla="*/ 1450 w 1450"/>
                    <a:gd name="T1" fmla="*/ 0 h 1446"/>
                    <a:gd name="T2" fmla="*/ 1160 w 1450"/>
                    <a:gd name="T3" fmla="*/ 0 h 1446"/>
                    <a:gd name="T4" fmla="*/ 1160 w 1450"/>
                    <a:gd name="T5" fmla="*/ 289 h 1446"/>
                    <a:gd name="T6" fmla="*/ 870 w 1450"/>
                    <a:gd name="T7" fmla="*/ 289 h 1446"/>
                    <a:gd name="T8" fmla="*/ 870 w 1450"/>
                    <a:gd name="T9" fmla="*/ 578 h 1446"/>
                    <a:gd name="T10" fmla="*/ 580 w 1450"/>
                    <a:gd name="T11" fmla="*/ 578 h 1446"/>
                    <a:gd name="T12" fmla="*/ 580 w 1450"/>
                    <a:gd name="T13" fmla="*/ 867 h 1446"/>
                    <a:gd name="T14" fmla="*/ 290 w 1450"/>
                    <a:gd name="T15" fmla="*/ 867 h 1446"/>
                    <a:gd name="T16" fmla="*/ 290 w 1450"/>
                    <a:gd name="T17" fmla="*/ 1157 h 1446"/>
                    <a:gd name="T18" fmla="*/ 0 w 1450"/>
                    <a:gd name="T19" fmla="*/ 1157 h 1446"/>
                    <a:gd name="T20" fmla="*/ 0 w 1450"/>
                    <a:gd name="T21" fmla="*/ 1446 h 1446"/>
                    <a:gd name="T22" fmla="*/ 1428 w 1450"/>
                    <a:gd name="T23" fmla="*/ 1446 h 1446"/>
                    <a:gd name="T24" fmla="*/ 1450 w 1450"/>
                    <a:gd name="T25" fmla="*/ 1424 h 1446"/>
                    <a:gd name="T26" fmla="*/ 1450 w 1450"/>
                    <a:gd name="T27" fmla="*/ 0 h 1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50" h="1446">
                      <a:moveTo>
                        <a:pt x="1450" y="0"/>
                      </a:moveTo>
                      <a:cubicBezTo>
                        <a:pt x="1160" y="0"/>
                        <a:pt x="1160" y="0"/>
                        <a:pt x="1160" y="0"/>
                      </a:cubicBezTo>
                      <a:cubicBezTo>
                        <a:pt x="1160" y="289"/>
                        <a:pt x="1160" y="289"/>
                        <a:pt x="1160" y="289"/>
                      </a:cubicBezTo>
                      <a:cubicBezTo>
                        <a:pt x="870" y="289"/>
                        <a:pt x="870" y="289"/>
                        <a:pt x="870" y="289"/>
                      </a:cubicBezTo>
                      <a:cubicBezTo>
                        <a:pt x="870" y="578"/>
                        <a:pt x="870" y="578"/>
                        <a:pt x="870" y="578"/>
                      </a:cubicBezTo>
                      <a:cubicBezTo>
                        <a:pt x="580" y="578"/>
                        <a:pt x="580" y="578"/>
                        <a:pt x="580" y="578"/>
                      </a:cubicBezTo>
                      <a:cubicBezTo>
                        <a:pt x="580" y="867"/>
                        <a:pt x="580" y="867"/>
                        <a:pt x="580" y="867"/>
                      </a:cubicBezTo>
                      <a:cubicBezTo>
                        <a:pt x="290" y="867"/>
                        <a:pt x="290" y="867"/>
                        <a:pt x="290" y="867"/>
                      </a:cubicBezTo>
                      <a:cubicBezTo>
                        <a:pt x="290" y="1157"/>
                        <a:pt x="290" y="1157"/>
                        <a:pt x="290" y="1157"/>
                      </a:cubicBezTo>
                      <a:cubicBezTo>
                        <a:pt x="0" y="1157"/>
                        <a:pt x="0" y="1157"/>
                        <a:pt x="0" y="1157"/>
                      </a:cubicBezTo>
                      <a:cubicBezTo>
                        <a:pt x="0" y="1446"/>
                        <a:pt x="0" y="1446"/>
                        <a:pt x="0" y="1446"/>
                      </a:cubicBezTo>
                      <a:cubicBezTo>
                        <a:pt x="1428" y="1446"/>
                        <a:pt x="1428" y="1446"/>
                        <a:pt x="1428" y="1446"/>
                      </a:cubicBezTo>
                      <a:cubicBezTo>
                        <a:pt x="1440" y="1446"/>
                        <a:pt x="1450" y="1436"/>
                        <a:pt x="1450" y="1424"/>
                      </a:cubicBezTo>
                      <a:lnTo>
                        <a:pt x="1450" y="0"/>
                      </a:ln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i="1"/>
                </a:p>
              </p:txBody>
            </p:sp>
          </p:grpSp>
        </p:grpSp>
        <p:sp>
          <p:nvSpPr>
            <p:cNvPr id="149" name="Freeform 98">
              <a:extLst>
                <a:ext uri="{FF2B5EF4-FFF2-40B4-BE49-F238E27FC236}">
                  <a16:creationId xmlns:a16="http://schemas.microsoft.com/office/drawing/2014/main" id="{6EFDC660-8458-4554-9F32-EE5C04AB3AB0}"/>
                </a:ext>
              </a:extLst>
            </p:cNvPr>
            <p:cNvSpPr/>
            <p:nvPr/>
          </p:nvSpPr>
          <p:spPr bwMode="gray">
            <a:xfrm>
              <a:off x="717407" y="3707748"/>
              <a:ext cx="446235" cy="442001"/>
            </a:xfrm>
            <a:custGeom>
              <a:avLst/>
              <a:gdLst>
                <a:gd name="connsiteX0" fmla="*/ 951001 w 1459001"/>
                <a:gd name="connsiteY0" fmla="*/ 0 h 1454150"/>
                <a:gd name="connsiteX1" fmla="*/ 1325855 w 1459001"/>
                <a:gd name="connsiteY1" fmla="*/ 213153 h 1454150"/>
                <a:gd name="connsiteX2" fmla="*/ 1396125 w 1459001"/>
                <a:gd name="connsiteY2" fmla="*/ 342615 h 1454150"/>
                <a:gd name="connsiteX3" fmla="*/ 1459001 w 1459001"/>
                <a:gd name="connsiteY3" fmla="*/ 654050 h 1454150"/>
                <a:gd name="connsiteX4" fmla="*/ 658901 w 1459001"/>
                <a:gd name="connsiteY4" fmla="*/ 1454150 h 1454150"/>
                <a:gd name="connsiteX5" fmla="*/ 93145 w 1459001"/>
                <a:gd name="connsiteY5" fmla="*/ 1219806 h 1454150"/>
                <a:gd name="connsiteX6" fmla="*/ 43634 w 1459001"/>
                <a:gd name="connsiteY6" fmla="*/ 1159799 h 1454150"/>
                <a:gd name="connsiteX7" fmla="*/ 0 w 1459001"/>
                <a:gd name="connsiteY7" fmla="*/ 897993 h 1454150"/>
                <a:gd name="connsiteX8" fmla="*/ 9442 w 1459001"/>
                <a:gd name="connsiteY8" fmla="*/ 928410 h 1454150"/>
                <a:gd name="connsiteX9" fmla="*/ 658901 w 1459001"/>
                <a:gd name="connsiteY9" fmla="*/ 1358900 h 1454150"/>
                <a:gd name="connsiteX10" fmla="*/ 1363751 w 1459001"/>
                <a:gd name="connsiteY10" fmla="*/ 654050 h 1454150"/>
                <a:gd name="connsiteX11" fmla="*/ 1052990 w 1459001"/>
                <a:gd name="connsiteY11" fmla="*/ 69577 h 1454150"/>
                <a:gd name="connsiteX12" fmla="*/ 941368 w 1459001"/>
                <a:gd name="connsiteY12" fmla="*/ 8991 h 1454150"/>
                <a:gd name="connsiteX0" fmla="*/ 941368 w 1459001"/>
                <a:gd name="connsiteY0" fmla="*/ 0 h 1445159"/>
                <a:gd name="connsiteX1" fmla="*/ 1325855 w 1459001"/>
                <a:gd name="connsiteY1" fmla="*/ 204162 h 1445159"/>
                <a:gd name="connsiteX2" fmla="*/ 1396125 w 1459001"/>
                <a:gd name="connsiteY2" fmla="*/ 333624 h 1445159"/>
                <a:gd name="connsiteX3" fmla="*/ 1459001 w 1459001"/>
                <a:gd name="connsiteY3" fmla="*/ 645059 h 1445159"/>
                <a:gd name="connsiteX4" fmla="*/ 658901 w 1459001"/>
                <a:gd name="connsiteY4" fmla="*/ 1445159 h 1445159"/>
                <a:gd name="connsiteX5" fmla="*/ 93145 w 1459001"/>
                <a:gd name="connsiteY5" fmla="*/ 1210815 h 1445159"/>
                <a:gd name="connsiteX6" fmla="*/ 43634 w 1459001"/>
                <a:gd name="connsiteY6" fmla="*/ 1150808 h 1445159"/>
                <a:gd name="connsiteX7" fmla="*/ 0 w 1459001"/>
                <a:gd name="connsiteY7" fmla="*/ 889002 h 1445159"/>
                <a:gd name="connsiteX8" fmla="*/ 9442 w 1459001"/>
                <a:gd name="connsiteY8" fmla="*/ 919419 h 1445159"/>
                <a:gd name="connsiteX9" fmla="*/ 658901 w 1459001"/>
                <a:gd name="connsiteY9" fmla="*/ 1349909 h 1445159"/>
                <a:gd name="connsiteX10" fmla="*/ 1363751 w 1459001"/>
                <a:gd name="connsiteY10" fmla="*/ 645059 h 1445159"/>
                <a:gd name="connsiteX11" fmla="*/ 1052990 w 1459001"/>
                <a:gd name="connsiteY11" fmla="*/ 60586 h 1445159"/>
                <a:gd name="connsiteX12" fmla="*/ 941368 w 1459001"/>
                <a:gd name="connsiteY12" fmla="*/ 0 h 144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001" h="1445159">
                  <a:moveTo>
                    <a:pt x="941368" y="0"/>
                  </a:moveTo>
                  <a:lnTo>
                    <a:pt x="1325855" y="204162"/>
                  </a:lnTo>
                  <a:lnTo>
                    <a:pt x="1396125" y="333624"/>
                  </a:lnTo>
                  <a:cubicBezTo>
                    <a:pt x="1436613" y="429347"/>
                    <a:pt x="1459001" y="534588"/>
                    <a:pt x="1459001" y="645059"/>
                  </a:cubicBezTo>
                  <a:cubicBezTo>
                    <a:pt x="1459001" y="1086942"/>
                    <a:pt x="1100784" y="1445159"/>
                    <a:pt x="658901" y="1445159"/>
                  </a:cubicBezTo>
                  <a:cubicBezTo>
                    <a:pt x="437960" y="1445159"/>
                    <a:pt x="237935" y="1355605"/>
                    <a:pt x="93145" y="1210815"/>
                  </a:cubicBezTo>
                  <a:lnTo>
                    <a:pt x="43634" y="1150808"/>
                  </a:lnTo>
                  <a:lnTo>
                    <a:pt x="0" y="889002"/>
                  </a:lnTo>
                  <a:lnTo>
                    <a:pt x="9442" y="919419"/>
                  </a:lnTo>
                  <a:cubicBezTo>
                    <a:pt x="116444" y="1172400"/>
                    <a:pt x="366943" y="1349909"/>
                    <a:pt x="658901" y="1349909"/>
                  </a:cubicBezTo>
                  <a:cubicBezTo>
                    <a:pt x="1048179" y="1349909"/>
                    <a:pt x="1363751" y="1034337"/>
                    <a:pt x="1363751" y="645059"/>
                  </a:cubicBezTo>
                  <a:cubicBezTo>
                    <a:pt x="1363751" y="401760"/>
                    <a:pt x="1240481" y="187253"/>
                    <a:pt x="1052990" y="60586"/>
                  </a:cubicBezTo>
                  <a:lnTo>
                    <a:pt x="94136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1508343" y="330438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Launch: Oct 22</a:t>
            </a:r>
            <a:r>
              <a:rPr lang="en-US" sz="1200" baseline="30000">
                <a:solidFill>
                  <a:srgbClr val="403393"/>
                </a:solidFill>
              </a:rPr>
              <a:t>nd</a:t>
            </a:r>
            <a:endParaRPr lang="en-US" sz="1200">
              <a:solidFill>
                <a:srgbClr val="403393"/>
              </a:solidFill>
            </a:endParaRP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Due: rolling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199963" y="330438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All priority occupations </a:t>
            </a:r>
          </a:p>
        </p:txBody>
      </p:sp>
      <p:sp>
        <p:nvSpPr>
          <p:cNvPr id="30" name="Rectangle 29"/>
          <p:cNvSpPr/>
          <p:nvPr/>
        </p:nvSpPr>
        <p:spPr>
          <a:xfrm>
            <a:off x="4891583" y="330438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nder/unemployed workers (focus on people of color)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583203" y="330438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Education institution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Employers/industry member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Community orgs</a:t>
            </a:r>
          </a:p>
        </p:txBody>
      </p:sp>
      <p:sp>
        <p:nvSpPr>
          <p:cNvPr id="32" name="Rectangle 31"/>
          <p:cNvSpPr/>
          <p:nvPr/>
        </p:nvSpPr>
        <p:spPr>
          <a:xfrm>
            <a:off x="8274823" y="330438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p to $10k per student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Employer pays back 50% upon hire</a:t>
            </a:r>
          </a:p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9966445" y="330438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Program cost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Student support cost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Participant stipends</a:t>
            </a:r>
          </a:p>
        </p:txBody>
      </p:sp>
      <p:sp>
        <p:nvSpPr>
          <p:cNvPr id="179" name="Rectangle 178"/>
          <p:cNvSpPr/>
          <p:nvPr/>
        </p:nvSpPr>
        <p:spPr>
          <a:xfrm rot="16200000">
            <a:off x="542996" y="4511503"/>
            <a:ext cx="1005348" cy="735925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403393"/>
                </a:solidFill>
              </a:rPr>
              <a:t>CTI</a:t>
            </a:r>
          </a:p>
        </p:txBody>
      </p:sp>
      <p:sp>
        <p:nvSpPr>
          <p:cNvPr id="180" name="Round Same Side Corner Rectangle 179"/>
          <p:cNvSpPr/>
          <p:nvPr/>
        </p:nvSpPr>
        <p:spPr>
          <a:xfrm rot="16200000">
            <a:off x="151179" y="4856105"/>
            <a:ext cx="1005348" cy="47706"/>
          </a:xfrm>
          <a:prstGeom prst="round2SameRect">
            <a:avLst>
              <a:gd name="adj1" fmla="val 10799"/>
              <a:gd name="adj2" fmla="val 0"/>
            </a:avLst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i="1">
              <a:solidFill>
                <a:srgbClr val="FFFFFF"/>
              </a:solidFill>
            </a:endParaRP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9D88A645-01FC-4D49-B9E1-EA9596679CEF}"/>
              </a:ext>
            </a:extLst>
          </p:cNvPr>
          <p:cNvGrpSpPr/>
          <p:nvPr/>
        </p:nvGrpSpPr>
        <p:grpSpPr>
          <a:xfrm>
            <a:off x="817315" y="4513878"/>
            <a:ext cx="467859" cy="467335"/>
            <a:chOff x="626600" y="4705183"/>
            <a:chExt cx="594295" cy="593630"/>
          </a:xfrm>
        </p:grpSpPr>
        <p:sp>
          <p:nvSpPr>
            <p:cNvPr id="135" name="Freeform 97">
              <a:extLst>
                <a:ext uri="{FF2B5EF4-FFF2-40B4-BE49-F238E27FC236}">
                  <a16:creationId xmlns:a16="http://schemas.microsoft.com/office/drawing/2014/main" id="{DD7774CE-22AC-4AD5-AC68-1D96D5910E24}"/>
                </a:ext>
              </a:extLst>
            </p:cNvPr>
            <p:cNvSpPr/>
            <p:nvPr/>
          </p:nvSpPr>
          <p:spPr bwMode="gray">
            <a:xfrm>
              <a:off x="679040" y="4757608"/>
              <a:ext cx="489420" cy="489420"/>
            </a:xfrm>
            <a:custGeom>
              <a:avLst/>
              <a:gdLst>
                <a:gd name="connsiteX0" fmla="*/ 800100 w 1600200"/>
                <a:gd name="connsiteY0" fmla="*/ 95250 h 1600200"/>
                <a:gd name="connsiteX1" fmla="*/ 95250 w 1600200"/>
                <a:gd name="connsiteY1" fmla="*/ 800100 h 1600200"/>
                <a:gd name="connsiteX2" fmla="*/ 800100 w 1600200"/>
                <a:gd name="connsiteY2" fmla="*/ 1504950 h 1600200"/>
                <a:gd name="connsiteX3" fmla="*/ 1504950 w 1600200"/>
                <a:gd name="connsiteY3" fmla="*/ 800100 h 1600200"/>
                <a:gd name="connsiteX4" fmla="*/ 800100 w 1600200"/>
                <a:gd name="connsiteY4" fmla="*/ 95250 h 1600200"/>
                <a:gd name="connsiteX5" fmla="*/ 800100 w 1600200"/>
                <a:gd name="connsiteY5" fmla="*/ 0 h 1600200"/>
                <a:gd name="connsiteX6" fmla="*/ 1600200 w 1600200"/>
                <a:gd name="connsiteY6" fmla="*/ 800100 h 1600200"/>
                <a:gd name="connsiteX7" fmla="*/ 800100 w 1600200"/>
                <a:gd name="connsiteY7" fmla="*/ 1600200 h 1600200"/>
                <a:gd name="connsiteX8" fmla="*/ 0 w 1600200"/>
                <a:gd name="connsiteY8" fmla="*/ 800100 h 1600200"/>
                <a:gd name="connsiteX9" fmla="*/ 800100 w 1600200"/>
                <a:gd name="connsiteY9" fmla="*/ 0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0200" h="1600200">
                  <a:moveTo>
                    <a:pt x="800100" y="95250"/>
                  </a:moveTo>
                  <a:cubicBezTo>
                    <a:pt x="410822" y="95250"/>
                    <a:pt x="95250" y="410822"/>
                    <a:pt x="95250" y="800100"/>
                  </a:cubicBezTo>
                  <a:cubicBezTo>
                    <a:pt x="95250" y="1189378"/>
                    <a:pt x="410822" y="1504950"/>
                    <a:pt x="800100" y="1504950"/>
                  </a:cubicBezTo>
                  <a:cubicBezTo>
                    <a:pt x="1189378" y="1504950"/>
                    <a:pt x="1504950" y="1189378"/>
                    <a:pt x="1504950" y="800100"/>
                  </a:cubicBezTo>
                  <a:cubicBezTo>
                    <a:pt x="1504950" y="410822"/>
                    <a:pt x="1189378" y="95250"/>
                    <a:pt x="800100" y="95250"/>
                  </a:cubicBezTo>
                  <a:close/>
                  <a:moveTo>
                    <a:pt x="800100" y="0"/>
                  </a:moveTo>
                  <a:cubicBezTo>
                    <a:pt x="1241983" y="0"/>
                    <a:pt x="1600200" y="358217"/>
                    <a:pt x="1600200" y="800100"/>
                  </a:cubicBezTo>
                  <a:cubicBezTo>
                    <a:pt x="1600200" y="1241983"/>
                    <a:pt x="1241983" y="1600200"/>
                    <a:pt x="800100" y="1600200"/>
                  </a:cubicBezTo>
                  <a:cubicBezTo>
                    <a:pt x="358217" y="1600200"/>
                    <a:pt x="0" y="1241983"/>
                    <a:pt x="0" y="800100"/>
                  </a:cubicBezTo>
                  <a:cubicBezTo>
                    <a:pt x="0" y="358217"/>
                    <a:pt x="358217" y="0"/>
                    <a:pt x="80010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36" name="Freeform 98">
              <a:extLst>
                <a:ext uri="{FF2B5EF4-FFF2-40B4-BE49-F238E27FC236}">
                  <a16:creationId xmlns:a16="http://schemas.microsoft.com/office/drawing/2014/main" id="{7ECDB7A2-C942-475B-A927-3079DF4C6E89}"/>
                </a:ext>
              </a:extLst>
            </p:cNvPr>
            <p:cNvSpPr/>
            <p:nvPr/>
          </p:nvSpPr>
          <p:spPr bwMode="gray">
            <a:xfrm>
              <a:off x="722225" y="4805028"/>
              <a:ext cx="446235" cy="442001"/>
            </a:xfrm>
            <a:custGeom>
              <a:avLst/>
              <a:gdLst>
                <a:gd name="connsiteX0" fmla="*/ 951001 w 1459001"/>
                <a:gd name="connsiteY0" fmla="*/ 0 h 1454150"/>
                <a:gd name="connsiteX1" fmla="*/ 1325855 w 1459001"/>
                <a:gd name="connsiteY1" fmla="*/ 213153 h 1454150"/>
                <a:gd name="connsiteX2" fmla="*/ 1396125 w 1459001"/>
                <a:gd name="connsiteY2" fmla="*/ 342615 h 1454150"/>
                <a:gd name="connsiteX3" fmla="*/ 1459001 w 1459001"/>
                <a:gd name="connsiteY3" fmla="*/ 654050 h 1454150"/>
                <a:gd name="connsiteX4" fmla="*/ 658901 w 1459001"/>
                <a:gd name="connsiteY4" fmla="*/ 1454150 h 1454150"/>
                <a:gd name="connsiteX5" fmla="*/ 93145 w 1459001"/>
                <a:gd name="connsiteY5" fmla="*/ 1219806 h 1454150"/>
                <a:gd name="connsiteX6" fmla="*/ 43634 w 1459001"/>
                <a:gd name="connsiteY6" fmla="*/ 1159799 h 1454150"/>
                <a:gd name="connsiteX7" fmla="*/ 0 w 1459001"/>
                <a:gd name="connsiteY7" fmla="*/ 897993 h 1454150"/>
                <a:gd name="connsiteX8" fmla="*/ 9442 w 1459001"/>
                <a:gd name="connsiteY8" fmla="*/ 928410 h 1454150"/>
                <a:gd name="connsiteX9" fmla="*/ 658901 w 1459001"/>
                <a:gd name="connsiteY9" fmla="*/ 1358900 h 1454150"/>
                <a:gd name="connsiteX10" fmla="*/ 1363751 w 1459001"/>
                <a:gd name="connsiteY10" fmla="*/ 654050 h 1454150"/>
                <a:gd name="connsiteX11" fmla="*/ 1052990 w 1459001"/>
                <a:gd name="connsiteY11" fmla="*/ 69577 h 1454150"/>
                <a:gd name="connsiteX12" fmla="*/ 941368 w 1459001"/>
                <a:gd name="connsiteY12" fmla="*/ 8991 h 1454150"/>
                <a:gd name="connsiteX0" fmla="*/ 941368 w 1459001"/>
                <a:gd name="connsiteY0" fmla="*/ 0 h 1445159"/>
                <a:gd name="connsiteX1" fmla="*/ 1325855 w 1459001"/>
                <a:gd name="connsiteY1" fmla="*/ 204162 h 1445159"/>
                <a:gd name="connsiteX2" fmla="*/ 1396125 w 1459001"/>
                <a:gd name="connsiteY2" fmla="*/ 333624 h 1445159"/>
                <a:gd name="connsiteX3" fmla="*/ 1459001 w 1459001"/>
                <a:gd name="connsiteY3" fmla="*/ 645059 h 1445159"/>
                <a:gd name="connsiteX4" fmla="*/ 658901 w 1459001"/>
                <a:gd name="connsiteY4" fmla="*/ 1445159 h 1445159"/>
                <a:gd name="connsiteX5" fmla="*/ 93145 w 1459001"/>
                <a:gd name="connsiteY5" fmla="*/ 1210815 h 1445159"/>
                <a:gd name="connsiteX6" fmla="*/ 43634 w 1459001"/>
                <a:gd name="connsiteY6" fmla="*/ 1150808 h 1445159"/>
                <a:gd name="connsiteX7" fmla="*/ 0 w 1459001"/>
                <a:gd name="connsiteY7" fmla="*/ 889002 h 1445159"/>
                <a:gd name="connsiteX8" fmla="*/ 9442 w 1459001"/>
                <a:gd name="connsiteY8" fmla="*/ 919419 h 1445159"/>
                <a:gd name="connsiteX9" fmla="*/ 658901 w 1459001"/>
                <a:gd name="connsiteY9" fmla="*/ 1349909 h 1445159"/>
                <a:gd name="connsiteX10" fmla="*/ 1363751 w 1459001"/>
                <a:gd name="connsiteY10" fmla="*/ 645059 h 1445159"/>
                <a:gd name="connsiteX11" fmla="*/ 1052990 w 1459001"/>
                <a:gd name="connsiteY11" fmla="*/ 60586 h 1445159"/>
                <a:gd name="connsiteX12" fmla="*/ 941368 w 1459001"/>
                <a:gd name="connsiteY12" fmla="*/ 0 h 1445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001" h="1445159">
                  <a:moveTo>
                    <a:pt x="941368" y="0"/>
                  </a:moveTo>
                  <a:lnTo>
                    <a:pt x="1325855" y="204162"/>
                  </a:lnTo>
                  <a:lnTo>
                    <a:pt x="1396125" y="333624"/>
                  </a:lnTo>
                  <a:cubicBezTo>
                    <a:pt x="1436613" y="429347"/>
                    <a:pt x="1459001" y="534588"/>
                    <a:pt x="1459001" y="645059"/>
                  </a:cubicBezTo>
                  <a:cubicBezTo>
                    <a:pt x="1459001" y="1086942"/>
                    <a:pt x="1100784" y="1445159"/>
                    <a:pt x="658901" y="1445159"/>
                  </a:cubicBezTo>
                  <a:cubicBezTo>
                    <a:pt x="437960" y="1445159"/>
                    <a:pt x="237935" y="1355605"/>
                    <a:pt x="93145" y="1210815"/>
                  </a:cubicBezTo>
                  <a:lnTo>
                    <a:pt x="43634" y="1150808"/>
                  </a:lnTo>
                  <a:lnTo>
                    <a:pt x="0" y="889002"/>
                  </a:lnTo>
                  <a:lnTo>
                    <a:pt x="9442" y="919419"/>
                  </a:lnTo>
                  <a:cubicBezTo>
                    <a:pt x="116444" y="1172400"/>
                    <a:pt x="366943" y="1349909"/>
                    <a:pt x="658901" y="1349909"/>
                  </a:cubicBezTo>
                  <a:cubicBezTo>
                    <a:pt x="1048179" y="1349909"/>
                    <a:pt x="1363751" y="1034337"/>
                    <a:pt x="1363751" y="645059"/>
                  </a:cubicBezTo>
                  <a:cubicBezTo>
                    <a:pt x="1363751" y="401760"/>
                    <a:pt x="1240481" y="187253"/>
                    <a:pt x="1052990" y="60586"/>
                  </a:cubicBezTo>
                  <a:lnTo>
                    <a:pt x="941368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A1161919-42FD-4782-B6B5-5EC58FB14EDC}"/>
                </a:ext>
              </a:extLst>
            </p:cNvPr>
            <p:cNvSpPr/>
            <p:nvPr/>
          </p:nvSpPr>
          <p:spPr bwMode="gray">
            <a:xfrm>
              <a:off x="708171" y="4786741"/>
              <a:ext cx="431155" cy="4311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38" name="Chord 174">
              <a:extLst>
                <a:ext uri="{FF2B5EF4-FFF2-40B4-BE49-F238E27FC236}">
                  <a16:creationId xmlns:a16="http://schemas.microsoft.com/office/drawing/2014/main" id="{B67CD237-F0D8-4430-9ECB-B2E3B87E1421}"/>
                </a:ext>
              </a:extLst>
            </p:cNvPr>
            <p:cNvSpPr/>
            <p:nvPr/>
          </p:nvSpPr>
          <p:spPr bwMode="gray">
            <a:xfrm rot="5400000">
              <a:off x="632509" y="4699274"/>
              <a:ext cx="582478" cy="594295"/>
            </a:xfrm>
            <a:custGeom>
              <a:avLst/>
              <a:gdLst>
                <a:gd name="connsiteX0" fmla="*/ 896255 w 914400"/>
                <a:gd name="connsiteY0" fmla="*/ 584724 h 914400"/>
                <a:gd name="connsiteX1" fmla="*/ 371550 w 914400"/>
                <a:gd name="connsiteY1" fmla="*/ 906306 h 914400"/>
                <a:gd name="connsiteX2" fmla="*/ 2028 w 914400"/>
                <a:gd name="connsiteY2" fmla="*/ 414185 h 914400"/>
                <a:gd name="connsiteX3" fmla="*/ 457200 w 914400"/>
                <a:gd name="connsiteY3" fmla="*/ 1 h 914400"/>
                <a:gd name="connsiteX4" fmla="*/ 896255 w 914400"/>
                <a:gd name="connsiteY4" fmla="*/ 584724 h 914400"/>
                <a:gd name="connsiteX0" fmla="*/ 896278 w 987718"/>
                <a:gd name="connsiteY0" fmla="*/ 584723 h 914461"/>
                <a:gd name="connsiteX1" fmla="*/ 371573 w 987718"/>
                <a:gd name="connsiteY1" fmla="*/ 906305 h 914461"/>
                <a:gd name="connsiteX2" fmla="*/ 2051 w 987718"/>
                <a:gd name="connsiteY2" fmla="*/ 414184 h 914461"/>
                <a:gd name="connsiteX3" fmla="*/ 457223 w 987718"/>
                <a:gd name="connsiteY3" fmla="*/ 0 h 914461"/>
                <a:gd name="connsiteX4" fmla="*/ 987718 w 987718"/>
                <a:gd name="connsiteY4" fmla="*/ 676163 h 914461"/>
                <a:gd name="connsiteX0" fmla="*/ 896278 w 896278"/>
                <a:gd name="connsiteY0" fmla="*/ 584723 h 914461"/>
                <a:gd name="connsiteX1" fmla="*/ 371573 w 896278"/>
                <a:gd name="connsiteY1" fmla="*/ 906305 h 914461"/>
                <a:gd name="connsiteX2" fmla="*/ 2051 w 896278"/>
                <a:gd name="connsiteY2" fmla="*/ 414184 h 914461"/>
                <a:gd name="connsiteX3" fmla="*/ 457223 w 896278"/>
                <a:gd name="connsiteY3" fmla="*/ 0 h 914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6278" h="914461">
                  <a:moveTo>
                    <a:pt x="896278" y="584723"/>
                  </a:moveTo>
                  <a:cubicBezTo>
                    <a:pt x="830497" y="811204"/>
                    <a:pt x="603238" y="950486"/>
                    <a:pt x="371573" y="906305"/>
                  </a:cubicBezTo>
                  <a:cubicBezTo>
                    <a:pt x="139908" y="862124"/>
                    <a:pt x="-20138" y="648978"/>
                    <a:pt x="2051" y="414184"/>
                  </a:cubicBezTo>
                  <a:cubicBezTo>
                    <a:pt x="24240" y="179390"/>
                    <a:pt x="221382" y="0"/>
                    <a:pt x="457223" y="0"/>
                  </a:cubicBezTo>
                </a:path>
              </a:pathLst>
            </a:cu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sp>
          <p:nvSpPr>
            <p:cNvPr id="139" name="Freeform 96">
              <a:extLst>
                <a:ext uri="{FF2B5EF4-FFF2-40B4-BE49-F238E27FC236}">
                  <a16:creationId xmlns:a16="http://schemas.microsoft.com/office/drawing/2014/main" id="{38AF29A5-15C3-4C87-ABFD-4E8DDDA94B40}"/>
                </a:ext>
              </a:extLst>
            </p:cNvPr>
            <p:cNvSpPr/>
            <p:nvPr/>
          </p:nvSpPr>
          <p:spPr bwMode="gray">
            <a:xfrm rot="5400000" flipH="1" flipV="1">
              <a:off x="885661" y="4963638"/>
              <a:ext cx="296240" cy="374110"/>
            </a:xfrm>
            <a:custGeom>
              <a:avLst/>
              <a:gdLst>
                <a:gd name="connsiteX0" fmla="*/ 22460 w 507221"/>
                <a:gd name="connsiteY0" fmla="*/ 32432 h 627952"/>
                <a:gd name="connsiteX1" fmla="*/ 33124 w 507221"/>
                <a:gd name="connsiteY1" fmla="*/ 0 h 627952"/>
                <a:gd name="connsiteX2" fmla="*/ 34553 w 507221"/>
                <a:gd name="connsiteY2" fmla="*/ 1885 h 627952"/>
                <a:gd name="connsiteX3" fmla="*/ 467646 w 507221"/>
                <a:gd name="connsiteY3" fmla="*/ 627059 h 627952"/>
                <a:gd name="connsiteX4" fmla="*/ 505815 w 507221"/>
                <a:gd name="connsiteY4" fmla="*/ 623449 h 627952"/>
                <a:gd name="connsiteX5" fmla="*/ 507221 w 507221"/>
                <a:gd name="connsiteY5" fmla="*/ 625303 h 627952"/>
                <a:gd name="connsiteX6" fmla="*/ 447509 w 507221"/>
                <a:gd name="connsiteY6" fmla="*/ 627952 h 627952"/>
                <a:gd name="connsiteX7" fmla="*/ 92880 w 507221"/>
                <a:gd name="connsiteY7" fmla="*/ 447073 h 627952"/>
                <a:gd name="connsiteX8" fmla="*/ 14454 w 507221"/>
                <a:gd name="connsiteY8" fmla="*/ 56780 h 627952"/>
                <a:gd name="connsiteX9" fmla="*/ 18656 w 507221"/>
                <a:gd name="connsiteY9" fmla="*/ 44000 h 627952"/>
                <a:gd name="connsiteX10" fmla="*/ 456822 w 507221"/>
                <a:gd name="connsiteY10" fmla="*/ 627539 h 627952"/>
                <a:gd name="connsiteX0" fmla="*/ 22460 w 507221"/>
                <a:gd name="connsiteY0" fmla="*/ 32432 h 627952"/>
                <a:gd name="connsiteX1" fmla="*/ 33124 w 507221"/>
                <a:gd name="connsiteY1" fmla="*/ 0 h 627952"/>
                <a:gd name="connsiteX2" fmla="*/ 22460 w 507221"/>
                <a:gd name="connsiteY2" fmla="*/ 32432 h 627952"/>
                <a:gd name="connsiteX3" fmla="*/ 467646 w 507221"/>
                <a:gd name="connsiteY3" fmla="*/ 627059 h 627952"/>
                <a:gd name="connsiteX4" fmla="*/ 505815 w 507221"/>
                <a:gd name="connsiteY4" fmla="*/ 623449 h 627952"/>
                <a:gd name="connsiteX5" fmla="*/ 507221 w 507221"/>
                <a:gd name="connsiteY5" fmla="*/ 625303 h 627952"/>
                <a:gd name="connsiteX6" fmla="*/ 467646 w 507221"/>
                <a:gd name="connsiteY6" fmla="*/ 627059 h 627952"/>
                <a:gd name="connsiteX7" fmla="*/ 447509 w 507221"/>
                <a:gd name="connsiteY7" fmla="*/ 627952 h 627952"/>
                <a:gd name="connsiteX8" fmla="*/ 92880 w 507221"/>
                <a:gd name="connsiteY8" fmla="*/ 447073 h 627952"/>
                <a:gd name="connsiteX9" fmla="*/ 14454 w 507221"/>
                <a:gd name="connsiteY9" fmla="*/ 56780 h 627952"/>
                <a:gd name="connsiteX10" fmla="*/ 18656 w 507221"/>
                <a:gd name="connsiteY10" fmla="*/ 44000 h 627952"/>
                <a:gd name="connsiteX11" fmla="*/ 456822 w 507221"/>
                <a:gd name="connsiteY11" fmla="*/ 627539 h 627952"/>
                <a:gd name="connsiteX12" fmla="*/ 447509 w 507221"/>
                <a:gd name="connsiteY12" fmla="*/ 627952 h 627952"/>
                <a:gd name="connsiteX0" fmla="*/ 467646 w 507221"/>
                <a:gd name="connsiteY0" fmla="*/ 583059 h 583952"/>
                <a:gd name="connsiteX1" fmla="*/ 505815 w 507221"/>
                <a:gd name="connsiteY1" fmla="*/ 579449 h 583952"/>
                <a:gd name="connsiteX2" fmla="*/ 507221 w 507221"/>
                <a:gd name="connsiteY2" fmla="*/ 581303 h 583952"/>
                <a:gd name="connsiteX3" fmla="*/ 467646 w 507221"/>
                <a:gd name="connsiteY3" fmla="*/ 583059 h 583952"/>
                <a:gd name="connsiteX4" fmla="*/ 447509 w 507221"/>
                <a:gd name="connsiteY4" fmla="*/ 583952 h 583952"/>
                <a:gd name="connsiteX5" fmla="*/ 92880 w 507221"/>
                <a:gd name="connsiteY5" fmla="*/ 403073 h 583952"/>
                <a:gd name="connsiteX6" fmla="*/ 14454 w 507221"/>
                <a:gd name="connsiteY6" fmla="*/ 12780 h 583952"/>
                <a:gd name="connsiteX7" fmla="*/ 18656 w 507221"/>
                <a:gd name="connsiteY7" fmla="*/ 0 h 583952"/>
                <a:gd name="connsiteX8" fmla="*/ 456822 w 507221"/>
                <a:gd name="connsiteY8" fmla="*/ 583539 h 583952"/>
                <a:gd name="connsiteX9" fmla="*/ 447509 w 507221"/>
                <a:gd name="connsiteY9" fmla="*/ 583952 h 583952"/>
                <a:gd name="connsiteX0" fmla="*/ 467646 w 505815"/>
                <a:gd name="connsiteY0" fmla="*/ 583059 h 583952"/>
                <a:gd name="connsiteX1" fmla="*/ 505815 w 505815"/>
                <a:gd name="connsiteY1" fmla="*/ 579449 h 583952"/>
                <a:gd name="connsiteX2" fmla="*/ 467646 w 505815"/>
                <a:gd name="connsiteY2" fmla="*/ 583059 h 583952"/>
                <a:gd name="connsiteX3" fmla="*/ 447509 w 505815"/>
                <a:gd name="connsiteY3" fmla="*/ 583952 h 583952"/>
                <a:gd name="connsiteX4" fmla="*/ 92880 w 505815"/>
                <a:gd name="connsiteY4" fmla="*/ 403073 h 583952"/>
                <a:gd name="connsiteX5" fmla="*/ 14454 w 505815"/>
                <a:gd name="connsiteY5" fmla="*/ 12780 h 583952"/>
                <a:gd name="connsiteX6" fmla="*/ 18656 w 505815"/>
                <a:gd name="connsiteY6" fmla="*/ 0 h 583952"/>
                <a:gd name="connsiteX7" fmla="*/ 456822 w 505815"/>
                <a:gd name="connsiteY7" fmla="*/ 583539 h 583952"/>
                <a:gd name="connsiteX8" fmla="*/ 447509 w 505815"/>
                <a:gd name="connsiteY8" fmla="*/ 583952 h 583952"/>
                <a:gd name="connsiteX0" fmla="*/ 447509 w 456822"/>
                <a:gd name="connsiteY0" fmla="*/ 583952 h 583952"/>
                <a:gd name="connsiteX1" fmla="*/ 92880 w 456822"/>
                <a:gd name="connsiteY1" fmla="*/ 403073 h 583952"/>
                <a:gd name="connsiteX2" fmla="*/ 14454 w 456822"/>
                <a:gd name="connsiteY2" fmla="*/ 12780 h 583952"/>
                <a:gd name="connsiteX3" fmla="*/ 18656 w 456822"/>
                <a:gd name="connsiteY3" fmla="*/ 0 h 583952"/>
                <a:gd name="connsiteX4" fmla="*/ 456822 w 456822"/>
                <a:gd name="connsiteY4" fmla="*/ 583539 h 583952"/>
                <a:gd name="connsiteX5" fmla="*/ 447509 w 456822"/>
                <a:gd name="connsiteY5" fmla="*/ 583952 h 583952"/>
                <a:gd name="connsiteX0" fmla="*/ 18656 w 456822"/>
                <a:gd name="connsiteY0" fmla="*/ 0 h 583952"/>
                <a:gd name="connsiteX1" fmla="*/ 456822 w 456822"/>
                <a:gd name="connsiteY1" fmla="*/ 583539 h 583952"/>
                <a:gd name="connsiteX2" fmla="*/ 447509 w 456822"/>
                <a:gd name="connsiteY2" fmla="*/ 583952 h 583952"/>
                <a:gd name="connsiteX3" fmla="*/ 92880 w 456822"/>
                <a:gd name="connsiteY3" fmla="*/ 403073 h 583952"/>
                <a:gd name="connsiteX4" fmla="*/ 14454 w 456822"/>
                <a:gd name="connsiteY4" fmla="*/ 12780 h 583952"/>
                <a:gd name="connsiteX5" fmla="*/ 110096 w 456822"/>
                <a:gd name="connsiteY5" fmla="*/ 91440 h 583952"/>
                <a:gd name="connsiteX0" fmla="*/ 18656 w 456822"/>
                <a:gd name="connsiteY0" fmla="*/ 0 h 583952"/>
                <a:gd name="connsiteX1" fmla="*/ 456822 w 456822"/>
                <a:gd name="connsiteY1" fmla="*/ 583539 h 583952"/>
                <a:gd name="connsiteX2" fmla="*/ 447509 w 456822"/>
                <a:gd name="connsiteY2" fmla="*/ 583952 h 583952"/>
                <a:gd name="connsiteX3" fmla="*/ 92880 w 456822"/>
                <a:gd name="connsiteY3" fmla="*/ 403073 h 583952"/>
                <a:gd name="connsiteX4" fmla="*/ 14454 w 456822"/>
                <a:gd name="connsiteY4" fmla="*/ 12780 h 583952"/>
                <a:gd name="connsiteX0" fmla="*/ 456822 w 456822"/>
                <a:gd name="connsiteY0" fmla="*/ 570759 h 571172"/>
                <a:gd name="connsiteX1" fmla="*/ 447509 w 456822"/>
                <a:gd name="connsiteY1" fmla="*/ 571172 h 571172"/>
                <a:gd name="connsiteX2" fmla="*/ 92880 w 456822"/>
                <a:gd name="connsiteY2" fmla="*/ 390293 h 571172"/>
                <a:gd name="connsiteX3" fmla="*/ 14454 w 456822"/>
                <a:gd name="connsiteY3" fmla="*/ 0 h 571172"/>
                <a:gd name="connsiteX0" fmla="*/ 455833 w 455833"/>
                <a:gd name="connsiteY0" fmla="*/ 575242 h 575655"/>
                <a:gd name="connsiteX1" fmla="*/ 446520 w 455833"/>
                <a:gd name="connsiteY1" fmla="*/ 575655 h 575655"/>
                <a:gd name="connsiteX2" fmla="*/ 91891 w 455833"/>
                <a:gd name="connsiteY2" fmla="*/ 394776 h 575655"/>
                <a:gd name="connsiteX3" fmla="*/ 12345 w 455833"/>
                <a:gd name="connsiteY3" fmla="*/ 0 h 575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5833" h="575655">
                  <a:moveTo>
                    <a:pt x="455833" y="575242"/>
                  </a:moveTo>
                  <a:lnTo>
                    <a:pt x="446520" y="575655"/>
                  </a:lnTo>
                  <a:cubicBezTo>
                    <a:pt x="307991" y="572735"/>
                    <a:pt x="164254" y="490719"/>
                    <a:pt x="91891" y="394776"/>
                  </a:cubicBezTo>
                  <a:cubicBezTo>
                    <a:pt x="19529" y="298834"/>
                    <a:pt x="-22242" y="134174"/>
                    <a:pt x="12345" y="0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i="1"/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B5845112-A0B1-4392-A318-40D0028E5CB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3728" y="4836401"/>
              <a:ext cx="320040" cy="320040"/>
              <a:chOff x="7324950" y="3200401"/>
              <a:chExt cx="457200" cy="457200"/>
            </a:xfrm>
          </p:grpSpPr>
          <p:sp>
            <p:nvSpPr>
              <p:cNvPr id="141" name="AutoShape 28">
                <a:extLst>
                  <a:ext uri="{FF2B5EF4-FFF2-40B4-BE49-F238E27FC236}">
                    <a16:creationId xmlns:a16="http://schemas.microsoft.com/office/drawing/2014/main" id="{E7234F91-6D89-4438-B05C-7734FDEC7DE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7324950" y="3200401"/>
                <a:ext cx="457200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/>
              </a:p>
            </p:txBody>
          </p:sp>
          <p:sp>
            <p:nvSpPr>
              <p:cNvPr id="142" name="Freeform 30">
                <a:extLst>
                  <a:ext uri="{FF2B5EF4-FFF2-40B4-BE49-F238E27FC236}">
                    <a16:creationId xmlns:a16="http://schemas.microsoft.com/office/drawing/2014/main" id="{42942544-E31E-4CD0-8647-8DA80F5C45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1120" y="3253895"/>
                <a:ext cx="405438" cy="350212"/>
              </a:xfrm>
              <a:custGeom>
                <a:avLst/>
                <a:gdLst>
                  <a:gd name="T0" fmla="*/ 773 w 886"/>
                  <a:gd name="T1" fmla="*/ 390 h 765"/>
                  <a:gd name="T2" fmla="*/ 811 w 886"/>
                  <a:gd name="T3" fmla="*/ 428 h 765"/>
                  <a:gd name="T4" fmla="*/ 763 w 886"/>
                  <a:gd name="T5" fmla="*/ 428 h 765"/>
                  <a:gd name="T6" fmla="*/ 576 w 886"/>
                  <a:gd name="T7" fmla="*/ 203 h 765"/>
                  <a:gd name="T8" fmla="*/ 879 w 886"/>
                  <a:gd name="T9" fmla="*/ 308 h 765"/>
                  <a:gd name="T10" fmla="*/ 453 w 886"/>
                  <a:gd name="T11" fmla="*/ 119 h 765"/>
                  <a:gd name="T12" fmla="*/ 562 w 886"/>
                  <a:gd name="T13" fmla="*/ 68 h 765"/>
                  <a:gd name="T14" fmla="*/ 535 w 886"/>
                  <a:gd name="T15" fmla="*/ 33 h 765"/>
                  <a:gd name="T16" fmla="*/ 451 w 886"/>
                  <a:gd name="T17" fmla="*/ 0 h 765"/>
                  <a:gd name="T18" fmla="*/ 435 w 886"/>
                  <a:gd name="T19" fmla="*/ 2 h 765"/>
                  <a:gd name="T20" fmla="*/ 435 w 886"/>
                  <a:gd name="T21" fmla="*/ 119 h 765"/>
                  <a:gd name="T22" fmla="*/ 7 w 886"/>
                  <a:gd name="T23" fmla="*/ 308 h 765"/>
                  <a:gd name="T24" fmla="*/ 311 w 886"/>
                  <a:gd name="T25" fmla="*/ 203 h 765"/>
                  <a:gd name="T26" fmla="*/ 801 w 886"/>
                  <a:gd name="T27" fmla="*/ 505 h 765"/>
                  <a:gd name="T28" fmla="*/ 801 w 886"/>
                  <a:gd name="T29" fmla="*/ 457 h 765"/>
                  <a:gd name="T30" fmla="*/ 763 w 886"/>
                  <a:gd name="T31" fmla="*/ 495 h 765"/>
                  <a:gd name="T32" fmla="*/ 75 w 886"/>
                  <a:gd name="T33" fmla="*/ 467 h 765"/>
                  <a:gd name="T34" fmla="*/ 113 w 886"/>
                  <a:gd name="T35" fmla="*/ 505 h 765"/>
                  <a:gd name="T36" fmla="*/ 113 w 886"/>
                  <a:gd name="T37" fmla="*/ 457 h 765"/>
                  <a:gd name="T38" fmla="*/ 85 w 886"/>
                  <a:gd name="T39" fmla="*/ 390 h 765"/>
                  <a:gd name="T40" fmla="*/ 85 w 886"/>
                  <a:gd name="T41" fmla="*/ 438 h 765"/>
                  <a:gd name="T42" fmla="*/ 123 w 886"/>
                  <a:gd name="T43" fmla="*/ 400 h 765"/>
                  <a:gd name="T44" fmla="*/ 471 w 886"/>
                  <a:gd name="T45" fmla="*/ 342 h 765"/>
                  <a:gd name="T46" fmla="*/ 449 w 886"/>
                  <a:gd name="T47" fmla="*/ 326 h 765"/>
                  <a:gd name="T48" fmla="*/ 437 w 886"/>
                  <a:gd name="T49" fmla="*/ 316 h 765"/>
                  <a:gd name="T50" fmla="*/ 443 w 886"/>
                  <a:gd name="T51" fmla="*/ 348 h 765"/>
                  <a:gd name="T52" fmla="*/ 732 w 886"/>
                  <a:gd name="T53" fmla="*/ 608 h 765"/>
                  <a:gd name="T54" fmla="*/ 873 w 886"/>
                  <a:gd name="T55" fmla="*/ 359 h 765"/>
                  <a:gd name="T56" fmla="*/ 713 w 886"/>
                  <a:gd name="T57" fmla="*/ 713 h 765"/>
                  <a:gd name="T58" fmla="*/ 678 w 886"/>
                  <a:gd name="T59" fmla="*/ 692 h 765"/>
                  <a:gd name="T60" fmla="*/ 208 w 886"/>
                  <a:gd name="T61" fmla="*/ 692 h 765"/>
                  <a:gd name="T62" fmla="*/ 173 w 886"/>
                  <a:gd name="T63" fmla="*/ 713 h 765"/>
                  <a:gd name="T64" fmla="*/ 173 w 886"/>
                  <a:gd name="T65" fmla="*/ 765 h 765"/>
                  <a:gd name="T66" fmla="*/ 722 w 886"/>
                  <a:gd name="T67" fmla="*/ 722 h 765"/>
                  <a:gd name="T68" fmla="*/ 13 w 886"/>
                  <a:gd name="T69" fmla="*/ 359 h 765"/>
                  <a:gd name="T70" fmla="*/ 154 w 886"/>
                  <a:gd name="T71" fmla="*/ 608 h 765"/>
                  <a:gd name="T72" fmla="*/ 57 w 886"/>
                  <a:gd name="T73" fmla="*/ 359 h 765"/>
                  <a:gd name="T74" fmla="*/ 430 w 886"/>
                  <a:gd name="T75" fmla="*/ 167 h 765"/>
                  <a:gd name="T76" fmla="*/ 662 w 886"/>
                  <a:gd name="T77" fmla="*/ 326 h 765"/>
                  <a:gd name="T78" fmla="*/ 688 w 886"/>
                  <a:gd name="T79" fmla="*/ 378 h 765"/>
                  <a:gd name="T80" fmla="*/ 688 w 886"/>
                  <a:gd name="T81" fmla="*/ 648 h 765"/>
                  <a:gd name="T82" fmla="*/ 600 w 886"/>
                  <a:gd name="T83" fmla="*/ 648 h 765"/>
                  <a:gd name="T84" fmla="*/ 493 w 886"/>
                  <a:gd name="T85" fmla="*/ 465 h 765"/>
                  <a:gd name="T86" fmla="*/ 393 w 886"/>
                  <a:gd name="T87" fmla="*/ 465 h 765"/>
                  <a:gd name="T88" fmla="*/ 286 w 886"/>
                  <a:gd name="T89" fmla="*/ 648 h 765"/>
                  <a:gd name="T90" fmla="*/ 198 w 886"/>
                  <a:gd name="T91" fmla="*/ 648 h 765"/>
                  <a:gd name="T92" fmla="*/ 198 w 886"/>
                  <a:gd name="T93" fmla="*/ 378 h 765"/>
                  <a:gd name="T94" fmla="*/ 224 w 886"/>
                  <a:gd name="T95" fmla="*/ 326 h 765"/>
                  <a:gd name="T96" fmla="*/ 616 w 886"/>
                  <a:gd name="T97" fmla="*/ 574 h 765"/>
                  <a:gd name="T98" fmla="*/ 577 w 886"/>
                  <a:gd name="T99" fmla="*/ 403 h 765"/>
                  <a:gd name="T100" fmla="*/ 539 w 886"/>
                  <a:gd name="T101" fmla="*/ 574 h 765"/>
                  <a:gd name="T102" fmla="*/ 484 w 886"/>
                  <a:gd name="T103" fmla="*/ 338 h 765"/>
                  <a:gd name="T104" fmla="*/ 443 w 886"/>
                  <a:gd name="T105" fmla="*/ 297 h 765"/>
                  <a:gd name="T106" fmla="*/ 402 w 886"/>
                  <a:gd name="T107" fmla="*/ 338 h 765"/>
                  <a:gd name="T108" fmla="*/ 347 w 886"/>
                  <a:gd name="T109" fmla="*/ 574 h 765"/>
                  <a:gd name="T110" fmla="*/ 286 w 886"/>
                  <a:gd name="T111" fmla="*/ 410 h 7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86" h="765">
                    <a:moveTo>
                      <a:pt x="763" y="428"/>
                    </a:moveTo>
                    <a:cubicBezTo>
                      <a:pt x="763" y="400"/>
                      <a:pt x="763" y="400"/>
                      <a:pt x="763" y="400"/>
                    </a:cubicBezTo>
                    <a:cubicBezTo>
                      <a:pt x="763" y="394"/>
                      <a:pt x="767" y="390"/>
                      <a:pt x="773" y="390"/>
                    </a:cubicBezTo>
                    <a:cubicBezTo>
                      <a:pt x="801" y="390"/>
                      <a:pt x="801" y="390"/>
                      <a:pt x="801" y="390"/>
                    </a:cubicBezTo>
                    <a:cubicBezTo>
                      <a:pt x="806" y="390"/>
                      <a:pt x="811" y="394"/>
                      <a:pt x="811" y="400"/>
                    </a:cubicBezTo>
                    <a:cubicBezTo>
                      <a:pt x="811" y="428"/>
                      <a:pt x="811" y="428"/>
                      <a:pt x="811" y="428"/>
                    </a:cubicBezTo>
                    <a:cubicBezTo>
                      <a:pt x="811" y="433"/>
                      <a:pt x="806" y="438"/>
                      <a:pt x="801" y="438"/>
                    </a:cubicBezTo>
                    <a:cubicBezTo>
                      <a:pt x="773" y="438"/>
                      <a:pt x="773" y="438"/>
                      <a:pt x="773" y="438"/>
                    </a:cubicBezTo>
                    <a:cubicBezTo>
                      <a:pt x="767" y="438"/>
                      <a:pt x="763" y="433"/>
                      <a:pt x="763" y="428"/>
                    </a:cubicBezTo>
                    <a:close/>
                    <a:moveTo>
                      <a:pt x="879" y="308"/>
                    </a:moveTo>
                    <a:cubicBezTo>
                      <a:pt x="747" y="203"/>
                      <a:pt x="747" y="203"/>
                      <a:pt x="747" y="203"/>
                    </a:cubicBezTo>
                    <a:cubicBezTo>
                      <a:pt x="576" y="203"/>
                      <a:pt x="576" y="203"/>
                      <a:pt x="576" y="203"/>
                    </a:cubicBezTo>
                    <a:cubicBezTo>
                      <a:pt x="736" y="326"/>
                      <a:pt x="736" y="326"/>
                      <a:pt x="736" y="326"/>
                    </a:cubicBezTo>
                    <a:cubicBezTo>
                      <a:pt x="874" y="326"/>
                      <a:pt x="874" y="326"/>
                      <a:pt x="874" y="326"/>
                    </a:cubicBezTo>
                    <a:cubicBezTo>
                      <a:pt x="883" y="326"/>
                      <a:pt x="886" y="314"/>
                      <a:pt x="879" y="308"/>
                    </a:cubicBezTo>
                    <a:close/>
                    <a:moveTo>
                      <a:pt x="435" y="119"/>
                    </a:moveTo>
                    <a:cubicBezTo>
                      <a:pt x="438" y="118"/>
                      <a:pt x="440" y="118"/>
                      <a:pt x="443" y="118"/>
                    </a:cubicBezTo>
                    <a:cubicBezTo>
                      <a:pt x="446" y="118"/>
                      <a:pt x="450" y="118"/>
                      <a:pt x="453" y="119"/>
                    </a:cubicBezTo>
                    <a:cubicBezTo>
                      <a:pt x="453" y="70"/>
                      <a:pt x="453" y="70"/>
                      <a:pt x="453" y="70"/>
                    </a:cubicBezTo>
                    <a:cubicBezTo>
                      <a:pt x="453" y="69"/>
                      <a:pt x="454" y="68"/>
                      <a:pt x="456" y="68"/>
                    </a:cubicBezTo>
                    <a:cubicBezTo>
                      <a:pt x="562" y="68"/>
                      <a:pt x="562" y="68"/>
                      <a:pt x="562" y="68"/>
                    </a:cubicBezTo>
                    <a:cubicBezTo>
                      <a:pt x="564" y="68"/>
                      <a:pt x="565" y="66"/>
                      <a:pt x="564" y="64"/>
                    </a:cubicBezTo>
                    <a:cubicBezTo>
                      <a:pt x="535" y="36"/>
                      <a:pt x="535" y="36"/>
                      <a:pt x="535" y="36"/>
                    </a:cubicBezTo>
                    <a:cubicBezTo>
                      <a:pt x="534" y="35"/>
                      <a:pt x="534" y="33"/>
                      <a:pt x="535" y="33"/>
                    </a:cubicBezTo>
                    <a:cubicBezTo>
                      <a:pt x="564" y="4"/>
                      <a:pt x="564" y="4"/>
                      <a:pt x="564" y="4"/>
                    </a:cubicBezTo>
                    <a:cubicBezTo>
                      <a:pt x="565" y="3"/>
                      <a:pt x="564" y="0"/>
                      <a:pt x="562" y="0"/>
                    </a:cubicBezTo>
                    <a:cubicBezTo>
                      <a:pt x="451" y="0"/>
                      <a:pt x="451" y="0"/>
                      <a:pt x="451" y="0"/>
                    </a:cubicBezTo>
                    <a:cubicBezTo>
                      <a:pt x="437" y="0"/>
                      <a:pt x="437" y="0"/>
                      <a:pt x="437" y="0"/>
                    </a:cubicBezTo>
                    <a:cubicBezTo>
                      <a:pt x="437" y="0"/>
                      <a:pt x="437" y="0"/>
                      <a:pt x="437" y="0"/>
                    </a:cubicBezTo>
                    <a:cubicBezTo>
                      <a:pt x="436" y="0"/>
                      <a:pt x="435" y="1"/>
                      <a:pt x="435" y="2"/>
                    </a:cubicBezTo>
                    <a:cubicBezTo>
                      <a:pt x="435" y="68"/>
                      <a:pt x="435" y="68"/>
                      <a:pt x="435" y="68"/>
                    </a:cubicBezTo>
                    <a:cubicBezTo>
                      <a:pt x="435" y="68"/>
                      <a:pt x="435" y="68"/>
                      <a:pt x="435" y="68"/>
                    </a:cubicBezTo>
                    <a:lnTo>
                      <a:pt x="435" y="119"/>
                    </a:lnTo>
                    <a:close/>
                    <a:moveTo>
                      <a:pt x="311" y="203"/>
                    </a:moveTo>
                    <a:cubicBezTo>
                      <a:pt x="139" y="203"/>
                      <a:pt x="139" y="203"/>
                      <a:pt x="139" y="203"/>
                    </a:cubicBezTo>
                    <a:cubicBezTo>
                      <a:pt x="7" y="308"/>
                      <a:pt x="7" y="308"/>
                      <a:pt x="7" y="308"/>
                    </a:cubicBezTo>
                    <a:cubicBezTo>
                      <a:pt x="0" y="314"/>
                      <a:pt x="3" y="326"/>
                      <a:pt x="12" y="326"/>
                    </a:cubicBezTo>
                    <a:cubicBezTo>
                      <a:pt x="152" y="326"/>
                      <a:pt x="152" y="326"/>
                      <a:pt x="152" y="326"/>
                    </a:cubicBezTo>
                    <a:lnTo>
                      <a:pt x="311" y="203"/>
                    </a:lnTo>
                    <a:close/>
                    <a:moveTo>
                      <a:pt x="763" y="495"/>
                    </a:moveTo>
                    <a:cubicBezTo>
                      <a:pt x="763" y="501"/>
                      <a:pt x="767" y="505"/>
                      <a:pt x="773" y="505"/>
                    </a:cubicBezTo>
                    <a:cubicBezTo>
                      <a:pt x="801" y="505"/>
                      <a:pt x="801" y="505"/>
                      <a:pt x="801" y="505"/>
                    </a:cubicBezTo>
                    <a:cubicBezTo>
                      <a:pt x="806" y="505"/>
                      <a:pt x="811" y="501"/>
                      <a:pt x="811" y="495"/>
                    </a:cubicBezTo>
                    <a:cubicBezTo>
                      <a:pt x="811" y="467"/>
                      <a:pt x="811" y="467"/>
                      <a:pt x="811" y="467"/>
                    </a:cubicBezTo>
                    <a:cubicBezTo>
                      <a:pt x="811" y="462"/>
                      <a:pt x="806" y="457"/>
                      <a:pt x="801" y="457"/>
                    </a:cubicBezTo>
                    <a:cubicBezTo>
                      <a:pt x="773" y="457"/>
                      <a:pt x="773" y="457"/>
                      <a:pt x="773" y="457"/>
                    </a:cubicBezTo>
                    <a:cubicBezTo>
                      <a:pt x="767" y="457"/>
                      <a:pt x="763" y="462"/>
                      <a:pt x="763" y="467"/>
                    </a:cubicBezTo>
                    <a:lnTo>
                      <a:pt x="763" y="495"/>
                    </a:lnTo>
                    <a:close/>
                    <a:moveTo>
                      <a:pt x="113" y="457"/>
                    </a:moveTo>
                    <a:cubicBezTo>
                      <a:pt x="85" y="457"/>
                      <a:pt x="85" y="457"/>
                      <a:pt x="85" y="457"/>
                    </a:cubicBezTo>
                    <a:cubicBezTo>
                      <a:pt x="80" y="457"/>
                      <a:pt x="75" y="462"/>
                      <a:pt x="75" y="467"/>
                    </a:cubicBezTo>
                    <a:cubicBezTo>
                      <a:pt x="75" y="495"/>
                      <a:pt x="75" y="495"/>
                      <a:pt x="75" y="495"/>
                    </a:cubicBezTo>
                    <a:cubicBezTo>
                      <a:pt x="75" y="501"/>
                      <a:pt x="80" y="505"/>
                      <a:pt x="85" y="505"/>
                    </a:cubicBezTo>
                    <a:cubicBezTo>
                      <a:pt x="113" y="505"/>
                      <a:pt x="113" y="505"/>
                      <a:pt x="113" y="505"/>
                    </a:cubicBezTo>
                    <a:cubicBezTo>
                      <a:pt x="119" y="505"/>
                      <a:pt x="123" y="501"/>
                      <a:pt x="123" y="495"/>
                    </a:cubicBezTo>
                    <a:cubicBezTo>
                      <a:pt x="123" y="467"/>
                      <a:pt x="123" y="467"/>
                      <a:pt x="123" y="467"/>
                    </a:cubicBezTo>
                    <a:cubicBezTo>
                      <a:pt x="123" y="462"/>
                      <a:pt x="119" y="457"/>
                      <a:pt x="113" y="457"/>
                    </a:cubicBezTo>
                    <a:close/>
                    <a:moveTo>
                      <a:pt x="123" y="400"/>
                    </a:moveTo>
                    <a:cubicBezTo>
                      <a:pt x="123" y="394"/>
                      <a:pt x="119" y="390"/>
                      <a:pt x="113" y="390"/>
                    </a:cubicBezTo>
                    <a:cubicBezTo>
                      <a:pt x="85" y="390"/>
                      <a:pt x="85" y="390"/>
                      <a:pt x="85" y="390"/>
                    </a:cubicBezTo>
                    <a:cubicBezTo>
                      <a:pt x="80" y="390"/>
                      <a:pt x="75" y="394"/>
                      <a:pt x="75" y="400"/>
                    </a:cubicBezTo>
                    <a:cubicBezTo>
                      <a:pt x="75" y="428"/>
                      <a:pt x="75" y="428"/>
                      <a:pt x="75" y="428"/>
                    </a:cubicBezTo>
                    <a:cubicBezTo>
                      <a:pt x="75" y="433"/>
                      <a:pt x="80" y="438"/>
                      <a:pt x="85" y="438"/>
                    </a:cubicBezTo>
                    <a:cubicBezTo>
                      <a:pt x="113" y="438"/>
                      <a:pt x="113" y="438"/>
                      <a:pt x="113" y="438"/>
                    </a:cubicBezTo>
                    <a:cubicBezTo>
                      <a:pt x="119" y="438"/>
                      <a:pt x="123" y="433"/>
                      <a:pt x="123" y="428"/>
                    </a:cubicBezTo>
                    <a:lnTo>
                      <a:pt x="123" y="400"/>
                    </a:lnTo>
                    <a:close/>
                    <a:moveTo>
                      <a:pt x="443" y="348"/>
                    </a:moveTo>
                    <a:cubicBezTo>
                      <a:pt x="465" y="348"/>
                      <a:pt x="465" y="348"/>
                      <a:pt x="465" y="348"/>
                    </a:cubicBezTo>
                    <a:cubicBezTo>
                      <a:pt x="468" y="348"/>
                      <a:pt x="471" y="345"/>
                      <a:pt x="471" y="342"/>
                    </a:cubicBezTo>
                    <a:cubicBezTo>
                      <a:pt x="471" y="338"/>
                      <a:pt x="468" y="336"/>
                      <a:pt x="465" y="336"/>
                    </a:cubicBezTo>
                    <a:cubicBezTo>
                      <a:pt x="449" y="336"/>
                      <a:pt x="449" y="336"/>
                      <a:pt x="449" y="336"/>
                    </a:cubicBezTo>
                    <a:cubicBezTo>
                      <a:pt x="449" y="326"/>
                      <a:pt x="449" y="326"/>
                      <a:pt x="449" y="326"/>
                    </a:cubicBezTo>
                    <a:cubicBezTo>
                      <a:pt x="449" y="316"/>
                      <a:pt x="449" y="316"/>
                      <a:pt x="449" y="316"/>
                    </a:cubicBezTo>
                    <a:cubicBezTo>
                      <a:pt x="449" y="312"/>
                      <a:pt x="446" y="310"/>
                      <a:pt x="443" y="310"/>
                    </a:cubicBezTo>
                    <a:cubicBezTo>
                      <a:pt x="440" y="310"/>
                      <a:pt x="437" y="312"/>
                      <a:pt x="437" y="316"/>
                    </a:cubicBezTo>
                    <a:cubicBezTo>
                      <a:pt x="437" y="326"/>
                      <a:pt x="437" y="326"/>
                      <a:pt x="437" y="326"/>
                    </a:cubicBezTo>
                    <a:cubicBezTo>
                      <a:pt x="437" y="342"/>
                      <a:pt x="437" y="342"/>
                      <a:pt x="437" y="342"/>
                    </a:cubicBezTo>
                    <a:cubicBezTo>
                      <a:pt x="437" y="345"/>
                      <a:pt x="440" y="348"/>
                      <a:pt x="443" y="348"/>
                    </a:cubicBezTo>
                    <a:close/>
                    <a:moveTo>
                      <a:pt x="829" y="564"/>
                    </a:moveTo>
                    <a:cubicBezTo>
                      <a:pt x="732" y="564"/>
                      <a:pt x="732" y="564"/>
                      <a:pt x="732" y="564"/>
                    </a:cubicBezTo>
                    <a:cubicBezTo>
                      <a:pt x="732" y="608"/>
                      <a:pt x="732" y="608"/>
                      <a:pt x="732" y="608"/>
                    </a:cubicBezTo>
                    <a:cubicBezTo>
                      <a:pt x="851" y="608"/>
                      <a:pt x="851" y="608"/>
                      <a:pt x="851" y="608"/>
                    </a:cubicBezTo>
                    <a:cubicBezTo>
                      <a:pt x="863" y="608"/>
                      <a:pt x="873" y="598"/>
                      <a:pt x="873" y="586"/>
                    </a:cubicBezTo>
                    <a:cubicBezTo>
                      <a:pt x="873" y="359"/>
                      <a:pt x="873" y="359"/>
                      <a:pt x="873" y="359"/>
                    </a:cubicBezTo>
                    <a:cubicBezTo>
                      <a:pt x="829" y="359"/>
                      <a:pt x="829" y="359"/>
                      <a:pt x="829" y="359"/>
                    </a:cubicBezTo>
                    <a:lnTo>
                      <a:pt x="829" y="564"/>
                    </a:lnTo>
                    <a:close/>
                    <a:moveTo>
                      <a:pt x="713" y="713"/>
                    </a:moveTo>
                    <a:cubicBezTo>
                      <a:pt x="687" y="713"/>
                      <a:pt x="687" y="713"/>
                      <a:pt x="687" y="713"/>
                    </a:cubicBezTo>
                    <a:cubicBezTo>
                      <a:pt x="687" y="701"/>
                      <a:pt x="687" y="701"/>
                      <a:pt x="687" y="701"/>
                    </a:cubicBezTo>
                    <a:cubicBezTo>
                      <a:pt x="687" y="696"/>
                      <a:pt x="683" y="692"/>
                      <a:pt x="678" y="692"/>
                    </a:cubicBezTo>
                    <a:cubicBezTo>
                      <a:pt x="600" y="692"/>
                      <a:pt x="600" y="692"/>
                      <a:pt x="600" y="692"/>
                    </a:cubicBezTo>
                    <a:cubicBezTo>
                      <a:pt x="286" y="692"/>
                      <a:pt x="286" y="692"/>
                      <a:pt x="286" y="692"/>
                    </a:cubicBezTo>
                    <a:cubicBezTo>
                      <a:pt x="208" y="692"/>
                      <a:pt x="208" y="692"/>
                      <a:pt x="208" y="692"/>
                    </a:cubicBezTo>
                    <a:cubicBezTo>
                      <a:pt x="203" y="692"/>
                      <a:pt x="199" y="696"/>
                      <a:pt x="199" y="701"/>
                    </a:cubicBezTo>
                    <a:cubicBezTo>
                      <a:pt x="199" y="713"/>
                      <a:pt x="199" y="713"/>
                      <a:pt x="199" y="713"/>
                    </a:cubicBezTo>
                    <a:cubicBezTo>
                      <a:pt x="173" y="713"/>
                      <a:pt x="173" y="713"/>
                      <a:pt x="173" y="713"/>
                    </a:cubicBezTo>
                    <a:cubicBezTo>
                      <a:pt x="168" y="713"/>
                      <a:pt x="164" y="717"/>
                      <a:pt x="164" y="722"/>
                    </a:cubicBezTo>
                    <a:cubicBezTo>
                      <a:pt x="164" y="756"/>
                      <a:pt x="164" y="756"/>
                      <a:pt x="164" y="756"/>
                    </a:cubicBezTo>
                    <a:cubicBezTo>
                      <a:pt x="164" y="761"/>
                      <a:pt x="168" y="765"/>
                      <a:pt x="173" y="765"/>
                    </a:cubicBezTo>
                    <a:cubicBezTo>
                      <a:pt x="713" y="765"/>
                      <a:pt x="713" y="765"/>
                      <a:pt x="713" y="765"/>
                    </a:cubicBezTo>
                    <a:cubicBezTo>
                      <a:pt x="718" y="765"/>
                      <a:pt x="722" y="761"/>
                      <a:pt x="722" y="756"/>
                    </a:cubicBezTo>
                    <a:cubicBezTo>
                      <a:pt x="722" y="722"/>
                      <a:pt x="722" y="722"/>
                      <a:pt x="722" y="722"/>
                    </a:cubicBezTo>
                    <a:cubicBezTo>
                      <a:pt x="722" y="717"/>
                      <a:pt x="718" y="713"/>
                      <a:pt x="713" y="713"/>
                    </a:cubicBezTo>
                    <a:close/>
                    <a:moveTo>
                      <a:pt x="57" y="359"/>
                    </a:moveTo>
                    <a:cubicBezTo>
                      <a:pt x="13" y="359"/>
                      <a:pt x="13" y="359"/>
                      <a:pt x="13" y="359"/>
                    </a:cubicBezTo>
                    <a:cubicBezTo>
                      <a:pt x="13" y="586"/>
                      <a:pt x="13" y="586"/>
                      <a:pt x="13" y="586"/>
                    </a:cubicBezTo>
                    <a:cubicBezTo>
                      <a:pt x="13" y="598"/>
                      <a:pt x="23" y="608"/>
                      <a:pt x="35" y="608"/>
                    </a:cubicBezTo>
                    <a:cubicBezTo>
                      <a:pt x="154" y="608"/>
                      <a:pt x="154" y="608"/>
                      <a:pt x="154" y="608"/>
                    </a:cubicBezTo>
                    <a:cubicBezTo>
                      <a:pt x="154" y="564"/>
                      <a:pt x="154" y="564"/>
                      <a:pt x="154" y="564"/>
                    </a:cubicBezTo>
                    <a:cubicBezTo>
                      <a:pt x="57" y="564"/>
                      <a:pt x="57" y="564"/>
                      <a:pt x="57" y="564"/>
                    </a:cubicBezTo>
                    <a:lnTo>
                      <a:pt x="57" y="359"/>
                    </a:lnTo>
                    <a:close/>
                    <a:moveTo>
                      <a:pt x="224" y="326"/>
                    </a:moveTo>
                    <a:cubicBezTo>
                      <a:pt x="383" y="203"/>
                      <a:pt x="383" y="203"/>
                      <a:pt x="383" y="203"/>
                    </a:cubicBezTo>
                    <a:cubicBezTo>
                      <a:pt x="430" y="167"/>
                      <a:pt x="430" y="167"/>
                      <a:pt x="430" y="167"/>
                    </a:cubicBezTo>
                    <a:cubicBezTo>
                      <a:pt x="437" y="161"/>
                      <a:pt x="449" y="161"/>
                      <a:pt x="456" y="167"/>
                    </a:cubicBezTo>
                    <a:cubicBezTo>
                      <a:pt x="503" y="203"/>
                      <a:pt x="503" y="203"/>
                      <a:pt x="503" y="203"/>
                    </a:cubicBezTo>
                    <a:cubicBezTo>
                      <a:pt x="662" y="326"/>
                      <a:pt x="662" y="326"/>
                      <a:pt x="662" y="326"/>
                    </a:cubicBezTo>
                    <a:cubicBezTo>
                      <a:pt x="679" y="340"/>
                      <a:pt x="679" y="340"/>
                      <a:pt x="679" y="340"/>
                    </a:cubicBezTo>
                    <a:cubicBezTo>
                      <a:pt x="685" y="344"/>
                      <a:pt x="688" y="350"/>
                      <a:pt x="688" y="357"/>
                    </a:cubicBezTo>
                    <a:cubicBezTo>
                      <a:pt x="688" y="378"/>
                      <a:pt x="688" y="378"/>
                      <a:pt x="688" y="378"/>
                    </a:cubicBezTo>
                    <a:cubicBezTo>
                      <a:pt x="688" y="564"/>
                      <a:pt x="688" y="564"/>
                      <a:pt x="688" y="564"/>
                    </a:cubicBezTo>
                    <a:cubicBezTo>
                      <a:pt x="688" y="608"/>
                      <a:pt x="688" y="608"/>
                      <a:pt x="688" y="608"/>
                    </a:cubicBezTo>
                    <a:cubicBezTo>
                      <a:pt x="688" y="648"/>
                      <a:pt x="688" y="648"/>
                      <a:pt x="688" y="648"/>
                    </a:cubicBezTo>
                    <a:cubicBezTo>
                      <a:pt x="644" y="648"/>
                      <a:pt x="644" y="648"/>
                      <a:pt x="644" y="648"/>
                    </a:cubicBezTo>
                    <a:cubicBezTo>
                      <a:pt x="638" y="648"/>
                      <a:pt x="638" y="648"/>
                      <a:pt x="638" y="648"/>
                    </a:cubicBezTo>
                    <a:cubicBezTo>
                      <a:pt x="600" y="648"/>
                      <a:pt x="600" y="648"/>
                      <a:pt x="600" y="648"/>
                    </a:cubicBezTo>
                    <a:cubicBezTo>
                      <a:pt x="493" y="648"/>
                      <a:pt x="493" y="648"/>
                      <a:pt x="493" y="648"/>
                    </a:cubicBezTo>
                    <a:cubicBezTo>
                      <a:pt x="493" y="648"/>
                      <a:pt x="493" y="648"/>
                      <a:pt x="493" y="648"/>
                    </a:cubicBezTo>
                    <a:cubicBezTo>
                      <a:pt x="493" y="465"/>
                      <a:pt x="493" y="465"/>
                      <a:pt x="493" y="465"/>
                    </a:cubicBezTo>
                    <a:cubicBezTo>
                      <a:pt x="493" y="463"/>
                      <a:pt x="491" y="461"/>
                      <a:pt x="489" y="461"/>
                    </a:cubicBezTo>
                    <a:cubicBezTo>
                      <a:pt x="397" y="461"/>
                      <a:pt x="397" y="461"/>
                      <a:pt x="397" y="461"/>
                    </a:cubicBezTo>
                    <a:cubicBezTo>
                      <a:pt x="395" y="461"/>
                      <a:pt x="393" y="463"/>
                      <a:pt x="393" y="465"/>
                    </a:cubicBezTo>
                    <a:cubicBezTo>
                      <a:pt x="393" y="648"/>
                      <a:pt x="393" y="648"/>
                      <a:pt x="393" y="648"/>
                    </a:cubicBezTo>
                    <a:cubicBezTo>
                      <a:pt x="393" y="648"/>
                      <a:pt x="393" y="648"/>
                      <a:pt x="393" y="648"/>
                    </a:cubicBezTo>
                    <a:cubicBezTo>
                      <a:pt x="286" y="648"/>
                      <a:pt x="286" y="648"/>
                      <a:pt x="286" y="648"/>
                    </a:cubicBezTo>
                    <a:cubicBezTo>
                      <a:pt x="248" y="648"/>
                      <a:pt x="248" y="648"/>
                      <a:pt x="248" y="648"/>
                    </a:cubicBezTo>
                    <a:cubicBezTo>
                      <a:pt x="242" y="648"/>
                      <a:pt x="242" y="648"/>
                      <a:pt x="242" y="648"/>
                    </a:cubicBezTo>
                    <a:cubicBezTo>
                      <a:pt x="198" y="648"/>
                      <a:pt x="198" y="648"/>
                      <a:pt x="198" y="648"/>
                    </a:cubicBezTo>
                    <a:cubicBezTo>
                      <a:pt x="198" y="608"/>
                      <a:pt x="198" y="608"/>
                      <a:pt x="198" y="608"/>
                    </a:cubicBezTo>
                    <a:cubicBezTo>
                      <a:pt x="198" y="564"/>
                      <a:pt x="198" y="564"/>
                      <a:pt x="198" y="564"/>
                    </a:cubicBezTo>
                    <a:cubicBezTo>
                      <a:pt x="198" y="378"/>
                      <a:pt x="198" y="378"/>
                      <a:pt x="198" y="378"/>
                    </a:cubicBezTo>
                    <a:cubicBezTo>
                      <a:pt x="198" y="357"/>
                      <a:pt x="198" y="357"/>
                      <a:pt x="198" y="357"/>
                    </a:cubicBezTo>
                    <a:cubicBezTo>
                      <a:pt x="198" y="350"/>
                      <a:pt x="201" y="344"/>
                      <a:pt x="207" y="340"/>
                    </a:cubicBezTo>
                    <a:lnTo>
                      <a:pt x="224" y="326"/>
                    </a:lnTo>
                    <a:close/>
                    <a:moveTo>
                      <a:pt x="539" y="574"/>
                    </a:moveTo>
                    <a:cubicBezTo>
                      <a:pt x="600" y="574"/>
                      <a:pt x="600" y="574"/>
                      <a:pt x="600" y="574"/>
                    </a:cubicBezTo>
                    <a:cubicBezTo>
                      <a:pt x="616" y="574"/>
                      <a:pt x="616" y="574"/>
                      <a:pt x="616" y="574"/>
                    </a:cubicBezTo>
                    <a:cubicBezTo>
                      <a:pt x="616" y="442"/>
                      <a:pt x="616" y="442"/>
                      <a:pt x="616" y="442"/>
                    </a:cubicBezTo>
                    <a:cubicBezTo>
                      <a:pt x="616" y="429"/>
                      <a:pt x="610" y="417"/>
                      <a:pt x="600" y="410"/>
                    </a:cubicBezTo>
                    <a:cubicBezTo>
                      <a:pt x="593" y="406"/>
                      <a:pt x="586" y="403"/>
                      <a:pt x="577" y="403"/>
                    </a:cubicBezTo>
                    <a:cubicBezTo>
                      <a:pt x="577" y="403"/>
                      <a:pt x="577" y="403"/>
                      <a:pt x="577" y="403"/>
                    </a:cubicBezTo>
                    <a:cubicBezTo>
                      <a:pt x="556" y="403"/>
                      <a:pt x="539" y="421"/>
                      <a:pt x="539" y="442"/>
                    </a:cubicBezTo>
                    <a:lnTo>
                      <a:pt x="539" y="574"/>
                    </a:lnTo>
                    <a:close/>
                    <a:moveTo>
                      <a:pt x="402" y="338"/>
                    </a:moveTo>
                    <a:cubicBezTo>
                      <a:pt x="402" y="360"/>
                      <a:pt x="421" y="378"/>
                      <a:pt x="443" y="378"/>
                    </a:cubicBezTo>
                    <a:cubicBezTo>
                      <a:pt x="465" y="378"/>
                      <a:pt x="484" y="360"/>
                      <a:pt x="484" y="338"/>
                    </a:cubicBezTo>
                    <a:cubicBezTo>
                      <a:pt x="484" y="334"/>
                      <a:pt x="483" y="330"/>
                      <a:pt x="482" y="326"/>
                    </a:cubicBezTo>
                    <a:cubicBezTo>
                      <a:pt x="480" y="321"/>
                      <a:pt x="478" y="316"/>
                      <a:pt x="474" y="311"/>
                    </a:cubicBezTo>
                    <a:cubicBezTo>
                      <a:pt x="467" y="303"/>
                      <a:pt x="455" y="297"/>
                      <a:pt x="443" y="297"/>
                    </a:cubicBezTo>
                    <a:cubicBezTo>
                      <a:pt x="431" y="297"/>
                      <a:pt x="419" y="303"/>
                      <a:pt x="412" y="311"/>
                    </a:cubicBezTo>
                    <a:cubicBezTo>
                      <a:pt x="408" y="316"/>
                      <a:pt x="406" y="321"/>
                      <a:pt x="404" y="326"/>
                    </a:cubicBezTo>
                    <a:cubicBezTo>
                      <a:pt x="403" y="330"/>
                      <a:pt x="402" y="334"/>
                      <a:pt x="402" y="338"/>
                    </a:cubicBezTo>
                    <a:close/>
                    <a:moveTo>
                      <a:pt x="270" y="574"/>
                    </a:moveTo>
                    <a:cubicBezTo>
                      <a:pt x="286" y="574"/>
                      <a:pt x="286" y="574"/>
                      <a:pt x="286" y="574"/>
                    </a:cubicBezTo>
                    <a:cubicBezTo>
                      <a:pt x="347" y="574"/>
                      <a:pt x="347" y="574"/>
                      <a:pt x="347" y="574"/>
                    </a:cubicBezTo>
                    <a:cubicBezTo>
                      <a:pt x="347" y="442"/>
                      <a:pt x="347" y="442"/>
                      <a:pt x="347" y="442"/>
                    </a:cubicBezTo>
                    <a:cubicBezTo>
                      <a:pt x="347" y="421"/>
                      <a:pt x="330" y="403"/>
                      <a:pt x="309" y="403"/>
                    </a:cubicBezTo>
                    <a:cubicBezTo>
                      <a:pt x="300" y="403"/>
                      <a:pt x="293" y="406"/>
                      <a:pt x="286" y="410"/>
                    </a:cubicBezTo>
                    <a:cubicBezTo>
                      <a:pt x="276" y="417"/>
                      <a:pt x="270" y="429"/>
                      <a:pt x="270" y="442"/>
                    </a:cubicBezTo>
                    <a:lnTo>
                      <a:pt x="270" y="574"/>
                    </a:ln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i="1"/>
              </a:p>
            </p:txBody>
          </p:sp>
        </p:grpSp>
      </p:grpSp>
      <p:sp>
        <p:nvSpPr>
          <p:cNvPr id="35" name="Rectangle 34"/>
          <p:cNvSpPr/>
          <p:nvPr/>
        </p:nvSpPr>
        <p:spPr>
          <a:xfrm>
            <a:off x="1508343" y="437856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7800" lvl="1" indent="-118745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Due: April 29th </a:t>
            </a:r>
          </a:p>
        </p:txBody>
      </p:sp>
      <p:sp>
        <p:nvSpPr>
          <p:cNvPr id="36" name="Rectangle 35"/>
          <p:cNvSpPr/>
          <p:nvPr/>
        </p:nvSpPr>
        <p:spPr>
          <a:xfrm>
            <a:off x="3199963" y="437856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Construction/skilled trade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Manufacturing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891583" y="437856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nder/unemployed worker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6583203" y="437856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High schools with aligned C74 vocational programs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274823" y="437856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p to $6k per student 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Up to $40k startup funds for new grantees </a:t>
            </a:r>
          </a:p>
        </p:txBody>
      </p:sp>
      <p:sp>
        <p:nvSpPr>
          <p:cNvPr id="42" name="Rectangle 41"/>
          <p:cNvSpPr/>
          <p:nvPr/>
        </p:nvSpPr>
        <p:spPr>
          <a:xfrm>
            <a:off x="9966445" y="4378561"/>
            <a:ext cx="1596909" cy="1002303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27432" rIns="27432" bIns="274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Program cost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Student support costs</a:t>
            </a:r>
          </a:p>
          <a:p>
            <a:pPr marL="178200" lvl="1" indent="-1188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</a:rPr>
              <a:t>Participant stipends</a:t>
            </a:r>
          </a:p>
        </p:txBody>
      </p:sp>
      <p:sp>
        <p:nvSpPr>
          <p:cNvPr id="3" name="Rectangle 2"/>
          <p:cNvSpPr/>
          <p:nvPr/>
        </p:nvSpPr>
        <p:spPr>
          <a:xfrm>
            <a:off x="1508343" y="1563482"/>
            <a:ext cx="1598841" cy="5690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40339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Key dates</a:t>
            </a:r>
          </a:p>
        </p:txBody>
      </p:sp>
      <p:sp>
        <p:nvSpPr>
          <p:cNvPr id="6" name="Rectangle 5"/>
          <p:cNvSpPr/>
          <p:nvPr/>
        </p:nvSpPr>
        <p:spPr>
          <a:xfrm>
            <a:off x="3239592" y="1563482"/>
            <a:ext cx="1549898" cy="5690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40339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Target industries</a:t>
            </a:r>
          </a:p>
        </p:txBody>
      </p:sp>
      <p:sp>
        <p:nvSpPr>
          <p:cNvPr id="8" name="Rectangle 7"/>
          <p:cNvSpPr/>
          <p:nvPr/>
        </p:nvSpPr>
        <p:spPr>
          <a:xfrm>
            <a:off x="4921898" y="1563482"/>
            <a:ext cx="1549897" cy="5690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40339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Target popula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6604203" y="1563482"/>
            <a:ext cx="1558055" cy="5690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40339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Eligible applicants</a:t>
            </a:r>
          </a:p>
        </p:txBody>
      </p:sp>
      <p:sp>
        <p:nvSpPr>
          <p:cNvPr id="10" name="Rectangle 9"/>
          <p:cNvSpPr/>
          <p:nvPr/>
        </p:nvSpPr>
        <p:spPr>
          <a:xfrm>
            <a:off x="8294666" y="1563482"/>
            <a:ext cx="1566212" cy="5690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40339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Available funding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993288" y="1563482"/>
            <a:ext cx="1555789" cy="5690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0339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40339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864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Allowable costs</a:t>
            </a:r>
          </a:p>
        </p:txBody>
      </p:sp>
      <p:sp>
        <p:nvSpPr>
          <p:cNvPr id="154" name="Isosceles Triangle 153">
            <a:extLst>
              <a:ext uri="{FF2B5EF4-FFF2-40B4-BE49-F238E27FC236}">
                <a16:creationId xmlns:a16="http://schemas.microsoft.com/office/drawing/2014/main" id="{19B946ED-304C-4684-827F-1747AEB10BE9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5" name="Oval 20">
            <a:extLst>
              <a:ext uri="{FF2B5EF4-FFF2-40B4-BE49-F238E27FC236}">
                <a16:creationId xmlns:a16="http://schemas.microsoft.com/office/drawing/2014/main" id="{4A5AAF60-8F21-4485-9771-0BEFF8B3FC5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0714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3" name="Picture 8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10F052AD-3AD1-4228-9904-7039ED0E226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76701" cy="6855346"/>
          </a:xfrm>
          <a:prstGeom prst="rect">
            <a:avLst/>
          </a:prstGeom>
        </p:spPr>
      </p:pic>
      <p:sp>
        <p:nvSpPr>
          <p:cNvPr id="8" name="Overlay">
            <a:extLst>
              <a:ext uri="{FF2B5EF4-FFF2-40B4-BE49-F238E27FC236}">
                <a16:creationId xmlns:a16="http://schemas.microsoft.com/office/drawing/2014/main" id="{57BA926F-1A30-423D-A2F7-322681700E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4076699" cy="6855347"/>
          </a:xfrm>
          <a:prstGeom prst="rect">
            <a:avLst/>
          </a:prstGeom>
          <a:solidFill>
            <a:srgbClr val="000000">
              <a:alpha val="7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75C3A0-7BE2-448A-9181-3E88B99AE8FE}"/>
              </a:ext>
            </a:extLst>
          </p:cNvPr>
          <p:cNvSpPr/>
          <p:nvPr/>
        </p:nvSpPr>
        <p:spPr>
          <a:xfrm>
            <a:off x="286915" y="1705491"/>
            <a:ext cx="3585909" cy="38020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e Workforce Skills Cabinet and Commonwealth Corporation have launched WCTF to supply training providers with </a:t>
            </a:r>
            <a:r>
              <a:rPr lang="en-US" sz="1600" b="1">
                <a:solidFill>
                  <a:srgbClr val="9A90D8"/>
                </a:solidFill>
                <a:cs typeface="Arial" panose="020B0604020202020204" pitchFamily="34" charset="0"/>
              </a:rPr>
              <a:t>funding to develop and scale new and existing programs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at train and place under/unemployed adults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e program is available to a </a:t>
            </a:r>
            <a:r>
              <a:rPr lang="en-US" sz="1600" b="1">
                <a:solidFill>
                  <a:srgbClr val="9A90D8"/>
                </a:solidFill>
                <a:cs typeface="Arial" panose="020B0604020202020204" pitchFamily="34" charset="0"/>
              </a:rPr>
              <a:t>broad range of training institutions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and encourages applications for programs across </a:t>
            </a:r>
            <a:r>
              <a:rPr lang="en-US" sz="1600" b="1">
                <a:solidFill>
                  <a:srgbClr val="9A90D8"/>
                </a:solidFill>
                <a:cs typeface="Arial" panose="020B0604020202020204" pitchFamily="34" charset="0"/>
              </a:rPr>
              <a:t>all priority sectors and occupations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 </a:t>
            </a:r>
            <a:r>
              <a:rPr lang="en-US" sz="1600">
                <a:solidFill>
                  <a:schemeClr val="bg1"/>
                </a:solidFill>
                <a:cs typeface="Arial" panose="020B0604020202020204" pitchFamily="34" charset="0"/>
              </a:rPr>
              <a:t>outlined in MA's regional blueprint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matrix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Awardees can apply for up to </a:t>
            </a:r>
            <a:r>
              <a:rPr lang="en-US" sz="1600" b="1">
                <a:solidFill>
                  <a:srgbClr val="9A90D8"/>
                </a:solidFill>
                <a:cs typeface="Arial" panose="020B0604020202020204" pitchFamily="34" charset="0"/>
              </a:rPr>
              <a:t>$500k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in funding, with the potential for higher amounts subject to consider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5D1487-9E63-4624-82BE-656980C2BC42}"/>
              </a:ext>
            </a:extLst>
          </p:cNvPr>
          <p:cNvSpPr txBox="1"/>
          <p:nvPr/>
        </p:nvSpPr>
        <p:spPr>
          <a:xfrm>
            <a:off x="332551" y="196545"/>
            <a:ext cx="3330791" cy="12926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0D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 dirty="0">
                <a:solidFill>
                  <a:srgbClr val="9A90D8"/>
                </a:solidFill>
              </a:rPr>
              <a:t>Workforce Competitiveness Trust Fund (</a:t>
            </a:r>
            <a:r>
              <a:rPr lang="en-US" sz="2800" b="1" dirty="0" err="1">
                <a:solidFill>
                  <a:srgbClr val="9A90D8"/>
                </a:solidFill>
              </a:rPr>
              <a:t>WCTF</a:t>
            </a:r>
            <a:r>
              <a:rPr lang="en-US" sz="2800" b="1" dirty="0">
                <a:solidFill>
                  <a:srgbClr val="9A90D8"/>
                </a:solidFill>
              </a:rPr>
              <a:t>)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71DE263-E058-4C4A-84EF-9180F62A78A9}"/>
              </a:ext>
            </a:extLst>
          </p:cNvPr>
          <p:cNvSpPr/>
          <p:nvPr/>
        </p:nvSpPr>
        <p:spPr>
          <a:xfrm>
            <a:off x="4978673" y="3239815"/>
            <a:ext cx="6906506" cy="9848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Grant value and dura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Up to $500k for single provider gran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Grants with multiple providers / multi-regional / high throughput can be over $500k but require discussion with CommCorp and will be subject to ARPA rule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2-year program with potential consideration for a 3</a:t>
            </a:r>
            <a:r>
              <a:rPr lang="en-US" sz="1200" baseline="30000">
                <a:solidFill>
                  <a:srgbClr val="403393"/>
                </a:solidFill>
                <a:cs typeface="Arial" panose="020B0604020202020204" pitchFamily="34" charset="0"/>
              </a:rPr>
              <a:t>rd</a:t>
            </a: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 year (subject to CommCorp review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AFCBAFA-0461-485C-B0A3-1ADCCE842391}"/>
              </a:ext>
            </a:extLst>
          </p:cNvPr>
          <p:cNvSpPr/>
          <p:nvPr/>
        </p:nvSpPr>
        <p:spPr>
          <a:xfrm>
            <a:off x="4978673" y="626821"/>
            <a:ext cx="6906506" cy="8002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Eligible applican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Community organizations, adult basic education providers, employers, employer associations, higher ed institutions, labor organizations, workforce development entities, workforce boards, nonprofit education/training providers, career centers, vocational education institutions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D307036-B07F-41FC-9C95-BE4FA30ECAFD}"/>
              </a:ext>
            </a:extLst>
          </p:cNvPr>
          <p:cNvSpPr/>
          <p:nvPr/>
        </p:nvSpPr>
        <p:spPr>
          <a:xfrm>
            <a:off x="4978673" y="1497819"/>
            <a:ext cx="6906505" cy="9848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Target sectors and occupation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A</a:t>
            </a:r>
            <a:r>
              <a:rPr lang="en-US" sz="1200">
                <a:solidFill>
                  <a:srgbClr val="403393"/>
                </a:solidFill>
                <a:effectLst/>
                <a:cs typeface="Arial" panose="020B0604020202020204" pitchFamily="34" charset="0"/>
              </a:rPr>
              <a:t>ll priority occupations (exl. manufacturing) as listed in the regional blueprint </a:t>
            </a:r>
            <a:r>
              <a:rPr lang="en-US" sz="1200" u="sng">
                <a:solidFill>
                  <a:srgbClr val="403393"/>
                </a:solidFill>
                <a:effectLst/>
                <a:cs typeface="Arial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vailable here</a:t>
            </a:r>
            <a:r>
              <a:rPr lang="en-US" sz="1200">
                <a:solidFill>
                  <a:srgbClr val="403393"/>
                </a:solidFill>
                <a:effectLst/>
                <a:cs typeface="Arial" panose="020B0604020202020204" pitchFamily="34" charset="0"/>
              </a:rPr>
              <a:t> – applicants focused on manufacturing or other industries not listed in the regional blueprint should contact CommCorp prior to applying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Applicants can propose multiple high-demand occupation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9C1C28A-A7AC-4AF8-A832-48A2FF6E12BE}"/>
              </a:ext>
            </a:extLst>
          </p:cNvPr>
          <p:cNvSpPr/>
          <p:nvPr/>
        </p:nvSpPr>
        <p:spPr>
          <a:xfrm>
            <a:off x="4978673" y="2553483"/>
            <a:ext cx="6906506" cy="6155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Target popula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Unemployed/underemployed workers at 65% or less of median income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Learn to Earn (LTE) population included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B0EBCFA-0353-44F6-AA40-AF3173DE45F7}"/>
              </a:ext>
            </a:extLst>
          </p:cNvPr>
          <p:cNvSpPr/>
          <p:nvPr/>
        </p:nvSpPr>
        <p:spPr>
          <a:xfrm>
            <a:off x="4978673" y="4295479"/>
            <a:ext cx="6906506" cy="116955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Program requiremen</a:t>
            </a:r>
            <a:r>
              <a:rPr lang="en-US" sz="1400" b="1">
                <a:solidFill>
                  <a:srgbClr val="403393"/>
                </a:solidFill>
                <a:cs typeface="Arial" panose="020B0604020202020204" pitchFamily="34" charset="0"/>
              </a:rPr>
              <a:t>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Established partnership of training partner, two or more committed employer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Demonstrated collaboration with regional stakeholders strengthens application but is not required (e.g., MassHire Workforce Board, MassHire Career Center, Unions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Applicants match funds equal to 30% of total award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For additional information on program requirements and reporting see </a:t>
            </a: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FP online</a:t>
            </a:r>
            <a:endParaRPr lang="en-US" sz="1200">
              <a:solidFill>
                <a:srgbClr val="403393"/>
              </a:solidFill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0458FF3-E353-4E7C-A3A9-257502EA55B1}"/>
              </a:ext>
            </a:extLst>
          </p:cNvPr>
          <p:cNvSpPr/>
          <p:nvPr/>
        </p:nvSpPr>
        <p:spPr>
          <a:xfrm>
            <a:off x="4978673" y="5535809"/>
            <a:ext cx="6906506" cy="9848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Allowable cos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Program costs (e.g., outreach, recruitment, selection, training delivery, marketing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Student support costs (e.g., transportation, childcare, uniforms, tools, car repairs, verifiable emergencies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Participant stipend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E8E0E2D-E848-4AD5-85E4-C58F290AC653}"/>
              </a:ext>
            </a:extLst>
          </p:cNvPr>
          <p:cNvSpPr/>
          <p:nvPr/>
        </p:nvSpPr>
        <p:spPr>
          <a:xfrm>
            <a:off x="200298" y="5695829"/>
            <a:ext cx="3759144" cy="756104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40" tIns="91440" rIns="91440" bIns="91440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Release date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: October 18</a:t>
            </a:r>
            <a:r>
              <a:rPr lang="en-US" sz="1600" baseline="30000">
                <a:solidFill>
                  <a:srgbClr val="FFFFFF"/>
                </a:solidFill>
                <a:cs typeface="Arial" panose="020B0604020202020204" pitchFamily="34" charset="0"/>
              </a:rPr>
              <a:t>th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Responses due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: Rolling</a:t>
            </a:r>
          </a:p>
        </p:txBody>
      </p:sp>
      <p:graphicFrame>
        <p:nvGraphicFramePr>
          <p:cNvPr id="39" name="Object 38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86" imgH="286" progId="TCLayout.ActiveDocument.1">
                  <p:embed/>
                </p:oleObj>
              </mc:Choice>
              <mc:Fallback>
                <p:oleObj name="think-cell Slide" r:id="rId13" imgW="286" imgH="286" progId="TCLayout.ActiveDocument.1">
                  <p:embed/>
                  <p:pic>
                    <p:nvPicPr>
                      <p:cNvPr id="39" name="Object 3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" name="Group 29"/>
          <p:cNvGrpSpPr>
            <a:grpSpLocks noChangeAspect="1"/>
          </p:cNvGrpSpPr>
          <p:nvPr/>
        </p:nvGrpSpPr>
        <p:grpSpPr>
          <a:xfrm>
            <a:off x="4454797" y="626821"/>
            <a:ext cx="320040" cy="320040"/>
            <a:chOff x="982662" y="1847850"/>
            <a:chExt cx="269875" cy="269875"/>
          </a:xfrm>
        </p:grpSpPr>
        <p:sp>
          <p:nvSpPr>
            <p:cNvPr id="31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4454797" y="1497820"/>
            <a:ext cx="320040" cy="320040"/>
            <a:chOff x="982662" y="1847850"/>
            <a:chExt cx="269875" cy="269875"/>
          </a:xfrm>
        </p:grpSpPr>
        <p:sp>
          <p:nvSpPr>
            <p:cNvPr id="35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6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4454797" y="2553485"/>
            <a:ext cx="320040" cy="320040"/>
            <a:chOff x="982662" y="1847850"/>
            <a:chExt cx="269875" cy="269875"/>
          </a:xfrm>
        </p:grpSpPr>
        <p:sp>
          <p:nvSpPr>
            <p:cNvPr id="38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0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3" name="Group 42"/>
          <p:cNvGrpSpPr>
            <a:grpSpLocks noChangeAspect="1"/>
          </p:cNvGrpSpPr>
          <p:nvPr/>
        </p:nvGrpSpPr>
        <p:grpSpPr>
          <a:xfrm>
            <a:off x="4454797" y="3239818"/>
            <a:ext cx="320040" cy="320040"/>
            <a:chOff x="982662" y="1847850"/>
            <a:chExt cx="269875" cy="269875"/>
          </a:xfrm>
        </p:grpSpPr>
        <p:sp>
          <p:nvSpPr>
            <p:cNvPr id="44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5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4454797" y="4295483"/>
            <a:ext cx="320040" cy="320040"/>
            <a:chOff x="982662" y="1847850"/>
            <a:chExt cx="269875" cy="269875"/>
          </a:xfrm>
        </p:grpSpPr>
        <p:sp>
          <p:nvSpPr>
            <p:cNvPr id="47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1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4454797" y="5535809"/>
            <a:ext cx="320040" cy="320040"/>
            <a:chOff x="982662" y="1847850"/>
            <a:chExt cx="269875" cy="269875"/>
          </a:xfrm>
        </p:grpSpPr>
        <p:sp>
          <p:nvSpPr>
            <p:cNvPr id="54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5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4" name="Straight Connector 3"/>
          <p:cNvCxnSpPr/>
          <p:nvPr/>
        </p:nvCxnSpPr>
        <p:spPr>
          <a:xfrm>
            <a:off x="4454795" y="1462430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4454795" y="2518095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4454795" y="3204428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4454795" y="4260093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4454795" y="5500424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8385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BA3120-715B-4976-B335-3D923D439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34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51" imgH="363" progId="TCLayout.ActiveDocument.1">
                  <p:embed/>
                </p:oleObj>
              </mc:Choice>
              <mc:Fallback>
                <p:oleObj name="think-cell Slide" r:id="rId7" imgW="351" imgH="36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BA3120-715B-4976-B335-3D923D439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999F74-A8D4-4679-B7AC-3EDC868C8A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63" y="2681288"/>
            <a:ext cx="2664009" cy="1495425"/>
          </a:xfrm>
        </p:spPr>
        <p:txBody>
          <a:bodyPr vert="horz"/>
          <a:lstStyle/>
          <a:p>
            <a:r>
              <a:rPr lang="en-US">
                <a:latin typeface="+mn-lt"/>
                <a:sym typeface="Arial" panose="020B0604020202020204" pitchFamily="34" charset="0"/>
              </a:rPr>
              <a:t>Workforce Skills Cabinet aligns 3 Secretaries to support a comprehensive economic growth agenda to benefit all corners of the Commonwealth</a:t>
            </a:r>
            <a:endParaRPr lang="en-US">
              <a:latin typeface="+mn-lt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A127911-A2D3-43B6-807F-B6E7EF6E4761}"/>
              </a:ext>
            </a:extLst>
          </p:cNvPr>
          <p:cNvGrpSpPr/>
          <p:nvPr/>
        </p:nvGrpSpPr>
        <p:grpSpPr>
          <a:xfrm>
            <a:off x="3485727" y="2092140"/>
            <a:ext cx="1188720" cy="1188720"/>
            <a:chOff x="3497632" y="1983313"/>
            <a:chExt cx="1188720" cy="118872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0BD62D08-64C8-423B-9612-212C371640BF}"/>
                </a:ext>
              </a:extLst>
            </p:cNvPr>
            <p:cNvSpPr/>
            <p:nvPr/>
          </p:nvSpPr>
          <p:spPr>
            <a:xfrm rot="10800000">
              <a:off x="3497632" y="1983313"/>
              <a:ext cx="1188720" cy="1188720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7621014-3B9F-401F-B3DA-1F2AD712D1D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34791" y="2120472"/>
              <a:ext cx="914400" cy="914400"/>
              <a:chOff x="5273675" y="2606675"/>
              <a:chExt cx="1644650" cy="1644650"/>
            </a:xfrm>
          </p:grpSpPr>
          <p:sp>
            <p:nvSpPr>
              <p:cNvPr id="18" name="AutoShape 3">
                <a:extLst>
                  <a:ext uri="{FF2B5EF4-FFF2-40B4-BE49-F238E27FC236}">
                    <a16:creationId xmlns:a16="http://schemas.microsoft.com/office/drawing/2014/main" id="{E571ADA9-047E-4427-9135-99D89F90528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D71A9BBF-3285-479A-A4C3-98D11FD03CC9}"/>
                  </a:ext>
                </a:extLst>
              </p:cNvPr>
              <p:cNvGrpSpPr/>
              <p:nvPr/>
            </p:nvGrpSpPr>
            <p:grpSpPr>
              <a:xfrm>
                <a:off x="5530849" y="2840038"/>
                <a:ext cx="1142076" cy="1238250"/>
                <a:chOff x="5530849" y="2840038"/>
                <a:chExt cx="1142076" cy="1238250"/>
              </a:xfrm>
            </p:grpSpPr>
            <p:sp>
              <p:nvSpPr>
                <p:cNvPr id="20" name="Freeform 10">
                  <a:extLst>
                    <a:ext uri="{FF2B5EF4-FFF2-40B4-BE49-F238E27FC236}">
                      <a16:creationId xmlns:a16="http://schemas.microsoft.com/office/drawing/2014/main" id="{518D1564-10C4-4B60-9E5C-E629E4542D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56820" y="2840038"/>
                  <a:ext cx="866046" cy="949380"/>
                </a:xfrm>
                <a:custGeom>
                  <a:avLst/>
                  <a:gdLst>
                    <a:gd name="connsiteX0" fmla="*/ 542004 w 866046"/>
                    <a:gd name="connsiteY0" fmla="*/ 146050 h 949380"/>
                    <a:gd name="connsiteX1" fmla="*/ 860449 w 866046"/>
                    <a:gd name="connsiteY1" fmla="*/ 204612 h 949380"/>
                    <a:gd name="connsiteX2" fmla="*/ 799045 w 866046"/>
                    <a:gd name="connsiteY2" fmla="*/ 341731 h 949380"/>
                    <a:gd name="connsiteX3" fmla="*/ 796189 w 866046"/>
                    <a:gd name="connsiteY3" fmla="*/ 344588 h 949380"/>
                    <a:gd name="connsiteX4" fmla="*/ 514872 w 866046"/>
                    <a:gd name="connsiteY4" fmla="*/ 409577 h 949380"/>
                    <a:gd name="connsiteX5" fmla="*/ 418482 w 866046"/>
                    <a:gd name="connsiteY5" fmla="*/ 623826 h 949380"/>
                    <a:gd name="connsiteX6" fmla="*/ 349938 w 866046"/>
                    <a:gd name="connsiteY6" fmla="*/ 630253 h 949380"/>
                    <a:gd name="connsiteX7" fmla="*/ 346368 w 866046"/>
                    <a:gd name="connsiteY7" fmla="*/ 626683 h 949380"/>
                    <a:gd name="connsiteX8" fmla="*/ 216419 w 866046"/>
                    <a:gd name="connsiteY8" fmla="*/ 512416 h 949380"/>
                    <a:gd name="connsiteX9" fmla="*/ 215705 w 866046"/>
                    <a:gd name="connsiteY9" fmla="*/ 760945 h 949380"/>
                    <a:gd name="connsiteX10" fmla="*/ 216419 w 866046"/>
                    <a:gd name="connsiteY10" fmla="*/ 762374 h 949380"/>
                    <a:gd name="connsiteX11" fmla="*/ 216419 w 866046"/>
                    <a:gd name="connsiteY11" fmla="*/ 945200 h 949380"/>
                    <a:gd name="connsiteX12" fmla="*/ 209993 w 866046"/>
                    <a:gd name="connsiteY12" fmla="*/ 948056 h 949380"/>
                    <a:gd name="connsiteX13" fmla="*/ 2219 w 866046"/>
                    <a:gd name="connsiteY13" fmla="*/ 504561 h 949380"/>
                    <a:gd name="connsiteX14" fmla="*/ 12215 w 866046"/>
                    <a:gd name="connsiteY14" fmla="*/ 493134 h 949380"/>
                    <a:gd name="connsiteX15" fmla="*/ 42917 w 866046"/>
                    <a:gd name="connsiteY15" fmla="*/ 528842 h 949380"/>
                    <a:gd name="connsiteX16" fmla="*/ 70763 w 866046"/>
                    <a:gd name="connsiteY16" fmla="*/ 522415 h 949380"/>
                    <a:gd name="connsiteX17" fmla="*/ 103607 w 866046"/>
                    <a:gd name="connsiteY17" fmla="*/ 512416 h 949380"/>
                    <a:gd name="connsiteX18" fmla="*/ 135737 w 866046"/>
                    <a:gd name="connsiteY18" fmla="*/ 498133 h 949380"/>
                    <a:gd name="connsiteX19" fmla="*/ 161441 w 866046"/>
                    <a:gd name="connsiteY19" fmla="*/ 485278 h 949380"/>
                    <a:gd name="connsiteX20" fmla="*/ 162155 w 866046"/>
                    <a:gd name="connsiteY20" fmla="*/ 437429 h 949380"/>
                    <a:gd name="connsiteX21" fmla="*/ 208565 w 866046"/>
                    <a:gd name="connsiteY21" fmla="*/ 445285 h 949380"/>
                    <a:gd name="connsiteX22" fmla="*/ 225701 w 866046"/>
                    <a:gd name="connsiteY22" fmla="*/ 422432 h 949380"/>
                    <a:gd name="connsiteX23" fmla="*/ 244980 w 866046"/>
                    <a:gd name="connsiteY23" fmla="*/ 393151 h 949380"/>
                    <a:gd name="connsiteX24" fmla="*/ 260688 w 866046"/>
                    <a:gd name="connsiteY24" fmla="*/ 362442 h 949380"/>
                    <a:gd name="connsiteX25" fmla="*/ 272112 w 866046"/>
                    <a:gd name="connsiteY25" fmla="*/ 336018 h 949380"/>
                    <a:gd name="connsiteX26" fmla="*/ 244266 w 866046"/>
                    <a:gd name="connsiteY26" fmla="*/ 301738 h 949380"/>
                    <a:gd name="connsiteX27" fmla="*/ 244980 w 866046"/>
                    <a:gd name="connsiteY27" fmla="*/ 298167 h 949380"/>
                    <a:gd name="connsiteX28" fmla="*/ 280680 w 866046"/>
                    <a:gd name="connsiteY28" fmla="*/ 276742 h 949380"/>
                    <a:gd name="connsiteX29" fmla="*/ 302100 w 866046"/>
                    <a:gd name="connsiteY29" fmla="*/ 289597 h 949380"/>
                    <a:gd name="connsiteX30" fmla="*/ 317094 w 866046"/>
                    <a:gd name="connsiteY30" fmla="*/ 296739 h 949380"/>
                    <a:gd name="connsiteX31" fmla="*/ 339228 w 866046"/>
                    <a:gd name="connsiteY31" fmla="*/ 283170 h 949380"/>
                    <a:gd name="connsiteX32" fmla="*/ 372072 w 866046"/>
                    <a:gd name="connsiteY32" fmla="*/ 287455 h 949380"/>
                    <a:gd name="connsiteX33" fmla="*/ 392778 w 866046"/>
                    <a:gd name="connsiteY33" fmla="*/ 306023 h 949380"/>
                    <a:gd name="connsiteX34" fmla="*/ 408486 w 866046"/>
                    <a:gd name="connsiteY34" fmla="*/ 301738 h 949380"/>
                    <a:gd name="connsiteX35" fmla="*/ 439188 w 866046"/>
                    <a:gd name="connsiteY35" fmla="*/ 292454 h 949380"/>
                    <a:gd name="connsiteX36" fmla="*/ 440616 w 866046"/>
                    <a:gd name="connsiteY36" fmla="*/ 291740 h 949380"/>
                    <a:gd name="connsiteX37" fmla="*/ 442044 w 866046"/>
                    <a:gd name="connsiteY37" fmla="*/ 291025 h 949380"/>
                    <a:gd name="connsiteX38" fmla="*/ 469890 w 866046"/>
                    <a:gd name="connsiteY38" fmla="*/ 275314 h 949380"/>
                    <a:gd name="connsiteX39" fmla="*/ 484170 w 866046"/>
                    <a:gd name="connsiteY39" fmla="*/ 266030 h 949380"/>
                    <a:gd name="connsiteX40" fmla="*/ 484170 w 866046"/>
                    <a:gd name="connsiteY40" fmla="*/ 238891 h 949380"/>
                    <a:gd name="connsiteX41" fmla="*/ 504162 w 866046"/>
                    <a:gd name="connsiteY41" fmla="*/ 211039 h 949380"/>
                    <a:gd name="connsiteX42" fmla="*/ 528438 w 866046"/>
                    <a:gd name="connsiteY42" fmla="*/ 203897 h 949380"/>
                    <a:gd name="connsiteX43" fmla="*/ 533436 w 866046"/>
                    <a:gd name="connsiteY43" fmla="*/ 188900 h 949380"/>
                    <a:gd name="connsiteX44" fmla="*/ 542004 w 866046"/>
                    <a:gd name="connsiteY44" fmla="*/ 146050 h 949380"/>
                    <a:gd name="connsiteX45" fmla="*/ 373692 w 866046"/>
                    <a:gd name="connsiteY45" fmla="*/ 75905 h 949380"/>
                    <a:gd name="connsiteX46" fmla="*/ 350236 w 866046"/>
                    <a:gd name="connsiteY46" fmla="*/ 80491 h 949380"/>
                    <a:gd name="connsiteX47" fmla="*/ 315924 w 866046"/>
                    <a:gd name="connsiteY47" fmla="*/ 124371 h 949380"/>
                    <a:gd name="connsiteX48" fmla="*/ 318068 w 866046"/>
                    <a:gd name="connsiteY48" fmla="*/ 156741 h 949380"/>
                    <a:gd name="connsiteX49" fmla="*/ 319498 w 866046"/>
                    <a:gd name="connsiteY49" fmla="*/ 161057 h 949380"/>
                    <a:gd name="connsiteX50" fmla="*/ 399560 w 866046"/>
                    <a:gd name="connsiteY50" fmla="*/ 192708 h 949380"/>
                    <a:gd name="connsiteX51" fmla="*/ 435302 w 866046"/>
                    <a:gd name="connsiteY51" fmla="*/ 142354 h 949380"/>
                    <a:gd name="connsiteX52" fmla="*/ 430299 w 866046"/>
                    <a:gd name="connsiteY52" fmla="*/ 112142 h 949380"/>
                    <a:gd name="connsiteX53" fmla="*/ 429584 w 866046"/>
                    <a:gd name="connsiteY53" fmla="*/ 110703 h 949380"/>
                    <a:gd name="connsiteX54" fmla="*/ 373692 w 866046"/>
                    <a:gd name="connsiteY54" fmla="*/ 75905 h 949380"/>
                    <a:gd name="connsiteX55" fmla="*/ 347764 w 866046"/>
                    <a:gd name="connsiteY55" fmla="*/ 0 h 949380"/>
                    <a:gd name="connsiteX56" fmla="*/ 366274 w 866046"/>
                    <a:gd name="connsiteY56" fmla="*/ 15767 h 949380"/>
                    <a:gd name="connsiteX57" fmla="*/ 409701 w 866046"/>
                    <a:gd name="connsiteY57" fmla="*/ 21500 h 949380"/>
                    <a:gd name="connsiteX58" fmla="*/ 430346 w 866046"/>
                    <a:gd name="connsiteY58" fmla="*/ 10033 h 949380"/>
                    <a:gd name="connsiteX59" fmla="*/ 476621 w 866046"/>
                    <a:gd name="connsiteY59" fmla="*/ 44433 h 949380"/>
                    <a:gd name="connsiteX60" fmla="*/ 472350 w 866046"/>
                    <a:gd name="connsiteY60" fmla="*/ 66650 h 949380"/>
                    <a:gd name="connsiteX61" fmla="*/ 484452 w 866046"/>
                    <a:gd name="connsiteY61" fmla="*/ 88150 h 949380"/>
                    <a:gd name="connsiteX62" fmla="*/ 491572 w 866046"/>
                    <a:gd name="connsiteY62" fmla="*/ 109650 h 949380"/>
                    <a:gd name="connsiteX63" fmla="*/ 494419 w 866046"/>
                    <a:gd name="connsiteY63" fmla="*/ 111800 h 949380"/>
                    <a:gd name="connsiteX64" fmla="*/ 510793 w 866046"/>
                    <a:gd name="connsiteY64" fmla="*/ 121833 h 949380"/>
                    <a:gd name="connsiteX65" fmla="*/ 511505 w 866046"/>
                    <a:gd name="connsiteY65" fmla="*/ 144050 h 949380"/>
                    <a:gd name="connsiteX66" fmla="*/ 505098 w 866046"/>
                    <a:gd name="connsiteY66" fmla="*/ 179167 h 949380"/>
                    <a:gd name="connsiteX67" fmla="*/ 483740 w 866046"/>
                    <a:gd name="connsiteY67" fmla="*/ 186333 h 949380"/>
                    <a:gd name="connsiteX68" fmla="*/ 453840 w 866046"/>
                    <a:gd name="connsiteY68" fmla="*/ 227183 h 949380"/>
                    <a:gd name="connsiteX69" fmla="*/ 453840 w 866046"/>
                    <a:gd name="connsiteY69" fmla="*/ 250117 h 949380"/>
                    <a:gd name="connsiteX70" fmla="*/ 428923 w 866046"/>
                    <a:gd name="connsiteY70" fmla="*/ 264450 h 949380"/>
                    <a:gd name="connsiteX71" fmla="*/ 402582 w 866046"/>
                    <a:gd name="connsiteY71" fmla="*/ 273050 h 949380"/>
                    <a:gd name="connsiteX72" fmla="*/ 385495 w 866046"/>
                    <a:gd name="connsiteY72" fmla="*/ 257283 h 949380"/>
                    <a:gd name="connsiteX73" fmla="*/ 335661 w 866046"/>
                    <a:gd name="connsiteY73" fmla="*/ 250833 h 949380"/>
                    <a:gd name="connsiteX74" fmla="*/ 315727 w 866046"/>
                    <a:gd name="connsiteY74" fmla="*/ 262300 h 949380"/>
                    <a:gd name="connsiteX75" fmla="*/ 270164 w 866046"/>
                    <a:gd name="connsiteY75" fmla="*/ 227183 h 949380"/>
                    <a:gd name="connsiteX76" fmla="*/ 275860 w 866046"/>
                    <a:gd name="connsiteY76" fmla="*/ 204967 h 949380"/>
                    <a:gd name="connsiteX77" fmla="*/ 265181 w 866046"/>
                    <a:gd name="connsiteY77" fmla="*/ 184183 h 949380"/>
                    <a:gd name="connsiteX78" fmla="*/ 260909 w 866046"/>
                    <a:gd name="connsiteY78" fmla="*/ 174150 h 949380"/>
                    <a:gd name="connsiteX79" fmla="*/ 257350 w 866046"/>
                    <a:gd name="connsiteY79" fmla="*/ 160533 h 949380"/>
                    <a:gd name="connsiteX80" fmla="*/ 238840 w 866046"/>
                    <a:gd name="connsiteY80" fmla="*/ 149783 h 949380"/>
                    <a:gd name="connsiteX81" fmla="*/ 237416 w 866046"/>
                    <a:gd name="connsiteY81" fmla="*/ 149067 h 949380"/>
                    <a:gd name="connsiteX82" fmla="*/ 245247 w 866046"/>
                    <a:gd name="connsiteY82" fmla="*/ 89583 h 949380"/>
                    <a:gd name="connsiteX83" fmla="*/ 267317 w 866046"/>
                    <a:gd name="connsiteY83" fmla="*/ 82417 h 949380"/>
                    <a:gd name="connsiteX84" fmla="*/ 294370 w 866046"/>
                    <a:gd name="connsiteY84" fmla="*/ 47300 h 949380"/>
                    <a:gd name="connsiteX85" fmla="*/ 294370 w 866046"/>
                    <a:gd name="connsiteY85" fmla="*/ 23650 h 949380"/>
                    <a:gd name="connsiteX86" fmla="*/ 319999 w 866046"/>
                    <a:gd name="connsiteY86" fmla="*/ 9317 h 949380"/>
                    <a:gd name="connsiteX87" fmla="*/ 347764 w 866046"/>
                    <a:gd name="connsiteY87" fmla="*/ 0 h 9493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866046" h="949380">
                      <a:moveTo>
                        <a:pt x="542004" y="146050"/>
                      </a:moveTo>
                      <a:cubicBezTo>
                        <a:pt x="681949" y="161762"/>
                        <a:pt x="655531" y="208182"/>
                        <a:pt x="860449" y="204612"/>
                      </a:cubicBezTo>
                      <a:cubicBezTo>
                        <a:pt x="886867" y="204612"/>
                        <a:pt x="811897" y="287455"/>
                        <a:pt x="799045" y="341731"/>
                      </a:cubicBezTo>
                      <a:cubicBezTo>
                        <a:pt x="798331" y="343159"/>
                        <a:pt x="797617" y="343874"/>
                        <a:pt x="796189" y="344588"/>
                      </a:cubicBezTo>
                      <a:cubicBezTo>
                        <a:pt x="768343" y="353872"/>
                        <a:pt x="616975" y="335304"/>
                        <a:pt x="514872" y="409577"/>
                      </a:cubicBezTo>
                      <a:cubicBezTo>
                        <a:pt x="459894" y="448856"/>
                        <a:pt x="418482" y="513845"/>
                        <a:pt x="418482" y="623826"/>
                      </a:cubicBezTo>
                      <a:cubicBezTo>
                        <a:pt x="418482" y="638823"/>
                        <a:pt x="363504" y="631682"/>
                        <a:pt x="349938" y="630253"/>
                      </a:cubicBezTo>
                      <a:cubicBezTo>
                        <a:pt x="348510" y="629539"/>
                        <a:pt x="347082" y="628825"/>
                        <a:pt x="346368" y="626683"/>
                      </a:cubicBezTo>
                      <a:cubicBezTo>
                        <a:pt x="343512" y="603829"/>
                        <a:pt x="318522" y="457426"/>
                        <a:pt x="216419" y="512416"/>
                      </a:cubicBezTo>
                      <a:cubicBezTo>
                        <a:pt x="119315" y="561694"/>
                        <a:pt x="209279" y="746662"/>
                        <a:pt x="215705" y="760945"/>
                      </a:cubicBezTo>
                      <a:cubicBezTo>
                        <a:pt x="216419" y="760945"/>
                        <a:pt x="216419" y="761660"/>
                        <a:pt x="216419" y="762374"/>
                      </a:cubicBezTo>
                      <a:cubicBezTo>
                        <a:pt x="216419" y="945200"/>
                        <a:pt x="216419" y="945200"/>
                        <a:pt x="216419" y="945200"/>
                      </a:cubicBezTo>
                      <a:cubicBezTo>
                        <a:pt x="216419" y="948771"/>
                        <a:pt x="212135" y="950913"/>
                        <a:pt x="209993" y="948056"/>
                      </a:cubicBezTo>
                      <a:cubicBezTo>
                        <a:pt x="170723" y="912348"/>
                        <a:pt x="-22771" y="720238"/>
                        <a:pt x="2219" y="504561"/>
                      </a:cubicBezTo>
                      <a:cubicBezTo>
                        <a:pt x="2219" y="504561"/>
                        <a:pt x="2219" y="504561"/>
                        <a:pt x="12215" y="493134"/>
                      </a:cubicBezTo>
                      <a:cubicBezTo>
                        <a:pt x="12215" y="493134"/>
                        <a:pt x="12215" y="493134"/>
                        <a:pt x="42917" y="528842"/>
                      </a:cubicBezTo>
                      <a:cubicBezTo>
                        <a:pt x="42917" y="528842"/>
                        <a:pt x="42917" y="528842"/>
                        <a:pt x="70763" y="522415"/>
                      </a:cubicBezTo>
                      <a:cubicBezTo>
                        <a:pt x="86471" y="518844"/>
                        <a:pt x="102893" y="512416"/>
                        <a:pt x="103607" y="512416"/>
                      </a:cubicBezTo>
                      <a:cubicBezTo>
                        <a:pt x="105035" y="511702"/>
                        <a:pt x="121457" y="505989"/>
                        <a:pt x="135737" y="498133"/>
                      </a:cubicBezTo>
                      <a:cubicBezTo>
                        <a:pt x="135737" y="498133"/>
                        <a:pt x="135737" y="498133"/>
                        <a:pt x="161441" y="485278"/>
                      </a:cubicBezTo>
                      <a:cubicBezTo>
                        <a:pt x="161441" y="485278"/>
                        <a:pt x="161441" y="485278"/>
                        <a:pt x="162155" y="437429"/>
                      </a:cubicBezTo>
                      <a:cubicBezTo>
                        <a:pt x="162155" y="437429"/>
                        <a:pt x="162155" y="437429"/>
                        <a:pt x="208565" y="445285"/>
                      </a:cubicBezTo>
                      <a:cubicBezTo>
                        <a:pt x="208565" y="445285"/>
                        <a:pt x="208565" y="445285"/>
                        <a:pt x="225701" y="422432"/>
                      </a:cubicBezTo>
                      <a:cubicBezTo>
                        <a:pt x="234983" y="410291"/>
                        <a:pt x="243552" y="395293"/>
                        <a:pt x="244980" y="393151"/>
                      </a:cubicBezTo>
                      <a:cubicBezTo>
                        <a:pt x="245694" y="391723"/>
                        <a:pt x="254262" y="376725"/>
                        <a:pt x="260688" y="362442"/>
                      </a:cubicBezTo>
                      <a:cubicBezTo>
                        <a:pt x="260688" y="362442"/>
                        <a:pt x="260688" y="362442"/>
                        <a:pt x="272112" y="336018"/>
                      </a:cubicBezTo>
                      <a:cubicBezTo>
                        <a:pt x="272112" y="336018"/>
                        <a:pt x="272112" y="336018"/>
                        <a:pt x="244266" y="301738"/>
                      </a:cubicBezTo>
                      <a:cubicBezTo>
                        <a:pt x="244266" y="300310"/>
                        <a:pt x="244266" y="298881"/>
                        <a:pt x="244980" y="298167"/>
                      </a:cubicBezTo>
                      <a:cubicBezTo>
                        <a:pt x="244980" y="298167"/>
                        <a:pt x="244980" y="298167"/>
                        <a:pt x="280680" y="276742"/>
                      </a:cubicBezTo>
                      <a:cubicBezTo>
                        <a:pt x="287106" y="281027"/>
                        <a:pt x="294246" y="285312"/>
                        <a:pt x="302100" y="289597"/>
                      </a:cubicBezTo>
                      <a:cubicBezTo>
                        <a:pt x="302100" y="289597"/>
                        <a:pt x="302100" y="289597"/>
                        <a:pt x="317094" y="296739"/>
                      </a:cubicBezTo>
                      <a:cubicBezTo>
                        <a:pt x="317094" y="296739"/>
                        <a:pt x="317094" y="296739"/>
                        <a:pt x="339228" y="283170"/>
                      </a:cubicBezTo>
                      <a:cubicBezTo>
                        <a:pt x="349938" y="286026"/>
                        <a:pt x="361362" y="287455"/>
                        <a:pt x="372072" y="287455"/>
                      </a:cubicBezTo>
                      <a:cubicBezTo>
                        <a:pt x="372072" y="287455"/>
                        <a:pt x="372072" y="287455"/>
                        <a:pt x="392778" y="306023"/>
                      </a:cubicBezTo>
                      <a:cubicBezTo>
                        <a:pt x="392778" y="306023"/>
                        <a:pt x="392778" y="306023"/>
                        <a:pt x="408486" y="301738"/>
                      </a:cubicBezTo>
                      <a:cubicBezTo>
                        <a:pt x="419196" y="299595"/>
                        <a:pt x="429906" y="296025"/>
                        <a:pt x="439188" y="292454"/>
                      </a:cubicBezTo>
                      <a:cubicBezTo>
                        <a:pt x="439188" y="292454"/>
                        <a:pt x="439188" y="292454"/>
                        <a:pt x="440616" y="291740"/>
                      </a:cubicBezTo>
                      <a:cubicBezTo>
                        <a:pt x="440616" y="291740"/>
                        <a:pt x="440616" y="291740"/>
                        <a:pt x="442044" y="291025"/>
                      </a:cubicBezTo>
                      <a:cubicBezTo>
                        <a:pt x="451326" y="286740"/>
                        <a:pt x="460608" y="281741"/>
                        <a:pt x="469890" y="275314"/>
                      </a:cubicBezTo>
                      <a:cubicBezTo>
                        <a:pt x="469890" y="275314"/>
                        <a:pt x="469890" y="275314"/>
                        <a:pt x="484170" y="266030"/>
                      </a:cubicBezTo>
                      <a:cubicBezTo>
                        <a:pt x="484170" y="266030"/>
                        <a:pt x="484170" y="266030"/>
                        <a:pt x="484170" y="238891"/>
                      </a:cubicBezTo>
                      <a:cubicBezTo>
                        <a:pt x="492024" y="230321"/>
                        <a:pt x="498450" y="221037"/>
                        <a:pt x="504162" y="211039"/>
                      </a:cubicBezTo>
                      <a:cubicBezTo>
                        <a:pt x="504162" y="211039"/>
                        <a:pt x="504162" y="211039"/>
                        <a:pt x="528438" y="203897"/>
                      </a:cubicBezTo>
                      <a:cubicBezTo>
                        <a:pt x="528438" y="203897"/>
                        <a:pt x="528438" y="203897"/>
                        <a:pt x="533436" y="188900"/>
                      </a:cubicBezTo>
                      <a:cubicBezTo>
                        <a:pt x="538434" y="175331"/>
                        <a:pt x="541290" y="161048"/>
                        <a:pt x="542004" y="146050"/>
                      </a:cubicBezTo>
                      <a:close/>
                      <a:moveTo>
                        <a:pt x="373692" y="75905"/>
                      </a:moveTo>
                      <a:cubicBezTo>
                        <a:pt x="365873" y="75950"/>
                        <a:pt x="357921" y="77434"/>
                        <a:pt x="350236" y="80491"/>
                      </a:cubicBezTo>
                      <a:cubicBezTo>
                        <a:pt x="331650" y="88404"/>
                        <a:pt x="319498" y="105668"/>
                        <a:pt x="315924" y="124371"/>
                      </a:cubicBezTo>
                      <a:cubicBezTo>
                        <a:pt x="313779" y="134441"/>
                        <a:pt x="314494" y="145951"/>
                        <a:pt x="318068" y="156741"/>
                      </a:cubicBezTo>
                      <a:cubicBezTo>
                        <a:pt x="318783" y="158179"/>
                        <a:pt x="318783" y="159618"/>
                        <a:pt x="319498" y="161057"/>
                      </a:cubicBezTo>
                      <a:cubicBezTo>
                        <a:pt x="332365" y="191988"/>
                        <a:pt x="368822" y="206375"/>
                        <a:pt x="399560" y="192708"/>
                      </a:cubicBezTo>
                      <a:cubicBezTo>
                        <a:pt x="420291" y="184076"/>
                        <a:pt x="433158" y="163934"/>
                        <a:pt x="435302" y="142354"/>
                      </a:cubicBezTo>
                      <a:cubicBezTo>
                        <a:pt x="436017" y="132283"/>
                        <a:pt x="434588" y="122213"/>
                        <a:pt x="430299" y="112142"/>
                      </a:cubicBezTo>
                      <a:cubicBezTo>
                        <a:pt x="430299" y="112142"/>
                        <a:pt x="429584" y="111422"/>
                        <a:pt x="429584" y="110703"/>
                      </a:cubicBezTo>
                      <a:cubicBezTo>
                        <a:pt x="419397" y="88583"/>
                        <a:pt x="397148" y="75770"/>
                        <a:pt x="373692" y="75905"/>
                      </a:cubicBezTo>
                      <a:close/>
                      <a:moveTo>
                        <a:pt x="347764" y="0"/>
                      </a:moveTo>
                      <a:cubicBezTo>
                        <a:pt x="347764" y="0"/>
                        <a:pt x="347764" y="0"/>
                        <a:pt x="366274" y="15767"/>
                      </a:cubicBezTo>
                      <a:cubicBezTo>
                        <a:pt x="381224" y="15050"/>
                        <a:pt x="395462" y="16483"/>
                        <a:pt x="409701" y="21500"/>
                      </a:cubicBezTo>
                      <a:cubicBezTo>
                        <a:pt x="409701" y="21500"/>
                        <a:pt x="409701" y="21500"/>
                        <a:pt x="430346" y="10033"/>
                      </a:cubicBezTo>
                      <a:cubicBezTo>
                        <a:pt x="447433" y="17200"/>
                        <a:pt x="463807" y="29383"/>
                        <a:pt x="476621" y="44433"/>
                      </a:cubicBezTo>
                      <a:cubicBezTo>
                        <a:pt x="476621" y="44433"/>
                        <a:pt x="476621" y="44433"/>
                        <a:pt x="472350" y="66650"/>
                      </a:cubicBezTo>
                      <a:cubicBezTo>
                        <a:pt x="476621" y="73100"/>
                        <a:pt x="480893" y="80267"/>
                        <a:pt x="484452" y="88150"/>
                      </a:cubicBezTo>
                      <a:cubicBezTo>
                        <a:pt x="487300" y="95317"/>
                        <a:pt x="489436" y="102483"/>
                        <a:pt x="491572" y="109650"/>
                      </a:cubicBezTo>
                      <a:cubicBezTo>
                        <a:pt x="491572" y="109650"/>
                        <a:pt x="491572" y="109650"/>
                        <a:pt x="494419" y="111800"/>
                      </a:cubicBezTo>
                      <a:cubicBezTo>
                        <a:pt x="497267" y="113233"/>
                        <a:pt x="501538" y="116100"/>
                        <a:pt x="510793" y="121833"/>
                      </a:cubicBezTo>
                      <a:cubicBezTo>
                        <a:pt x="511505" y="129000"/>
                        <a:pt x="512217" y="136883"/>
                        <a:pt x="511505" y="144050"/>
                      </a:cubicBezTo>
                      <a:cubicBezTo>
                        <a:pt x="510793" y="156233"/>
                        <a:pt x="508658" y="168417"/>
                        <a:pt x="505098" y="179167"/>
                      </a:cubicBezTo>
                      <a:cubicBezTo>
                        <a:pt x="505098" y="179167"/>
                        <a:pt x="505098" y="179167"/>
                        <a:pt x="483740" y="186333"/>
                      </a:cubicBezTo>
                      <a:cubicBezTo>
                        <a:pt x="476621" y="201383"/>
                        <a:pt x="466654" y="215717"/>
                        <a:pt x="453840" y="227183"/>
                      </a:cubicBezTo>
                      <a:cubicBezTo>
                        <a:pt x="453840" y="227183"/>
                        <a:pt x="453840" y="227183"/>
                        <a:pt x="453840" y="250117"/>
                      </a:cubicBezTo>
                      <a:cubicBezTo>
                        <a:pt x="446009" y="255133"/>
                        <a:pt x="437466" y="260150"/>
                        <a:pt x="428923" y="264450"/>
                      </a:cubicBezTo>
                      <a:cubicBezTo>
                        <a:pt x="420380" y="268033"/>
                        <a:pt x="411125" y="270900"/>
                        <a:pt x="402582" y="273050"/>
                      </a:cubicBezTo>
                      <a:cubicBezTo>
                        <a:pt x="402582" y="273050"/>
                        <a:pt x="402582" y="273050"/>
                        <a:pt x="385495" y="257283"/>
                      </a:cubicBezTo>
                      <a:cubicBezTo>
                        <a:pt x="368409" y="258717"/>
                        <a:pt x="351323" y="256567"/>
                        <a:pt x="335661" y="250833"/>
                      </a:cubicBezTo>
                      <a:cubicBezTo>
                        <a:pt x="335661" y="250833"/>
                        <a:pt x="335661" y="250833"/>
                        <a:pt x="315727" y="262300"/>
                      </a:cubicBezTo>
                      <a:cubicBezTo>
                        <a:pt x="298641" y="253700"/>
                        <a:pt x="283691" y="242233"/>
                        <a:pt x="270164" y="227183"/>
                      </a:cubicBezTo>
                      <a:cubicBezTo>
                        <a:pt x="270164" y="227183"/>
                        <a:pt x="270164" y="227183"/>
                        <a:pt x="275860" y="204967"/>
                      </a:cubicBezTo>
                      <a:cubicBezTo>
                        <a:pt x="271588" y="198517"/>
                        <a:pt x="268029" y="191350"/>
                        <a:pt x="265181" y="184183"/>
                      </a:cubicBezTo>
                      <a:cubicBezTo>
                        <a:pt x="263757" y="180600"/>
                        <a:pt x="262333" y="177733"/>
                        <a:pt x="260909" y="174150"/>
                      </a:cubicBezTo>
                      <a:cubicBezTo>
                        <a:pt x="259486" y="169850"/>
                        <a:pt x="258062" y="164833"/>
                        <a:pt x="257350" y="160533"/>
                      </a:cubicBezTo>
                      <a:cubicBezTo>
                        <a:pt x="257350" y="160533"/>
                        <a:pt x="257350" y="160533"/>
                        <a:pt x="238840" y="149783"/>
                      </a:cubicBezTo>
                      <a:cubicBezTo>
                        <a:pt x="238128" y="149067"/>
                        <a:pt x="238128" y="149067"/>
                        <a:pt x="237416" y="149067"/>
                      </a:cubicBezTo>
                      <a:cubicBezTo>
                        <a:pt x="235992" y="128283"/>
                        <a:pt x="238840" y="108217"/>
                        <a:pt x="245247" y="89583"/>
                      </a:cubicBezTo>
                      <a:cubicBezTo>
                        <a:pt x="245247" y="89583"/>
                        <a:pt x="245247" y="89583"/>
                        <a:pt x="267317" y="82417"/>
                      </a:cubicBezTo>
                      <a:cubicBezTo>
                        <a:pt x="273724" y="68800"/>
                        <a:pt x="282979" y="58050"/>
                        <a:pt x="294370" y="47300"/>
                      </a:cubicBezTo>
                      <a:cubicBezTo>
                        <a:pt x="294370" y="47300"/>
                        <a:pt x="294370" y="47300"/>
                        <a:pt x="294370" y="23650"/>
                      </a:cubicBezTo>
                      <a:cubicBezTo>
                        <a:pt x="302201" y="17917"/>
                        <a:pt x="310744" y="12900"/>
                        <a:pt x="319999" y="9317"/>
                      </a:cubicBezTo>
                      <a:cubicBezTo>
                        <a:pt x="329254" y="5017"/>
                        <a:pt x="339221" y="2150"/>
                        <a:pt x="347764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1" name="Freeform 14">
                  <a:extLst>
                    <a:ext uri="{FF2B5EF4-FFF2-40B4-BE49-F238E27FC236}">
                      <a16:creationId xmlns:a16="http://schemas.microsoft.com/office/drawing/2014/main" id="{10C209FE-DF1C-447D-9E49-BF46F42528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849" y="2862263"/>
                  <a:ext cx="1142076" cy="1216025"/>
                </a:xfrm>
                <a:custGeom>
                  <a:avLst/>
                  <a:gdLst>
                    <a:gd name="connsiteX0" fmla="*/ 1020096 w 1142076"/>
                    <a:gd name="connsiteY0" fmla="*/ 354012 h 1216025"/>
                    <a:gd name="connsiteX1" fmla="*/ 1030081 w 1142076"/>
                    <a:gd name="connsiteY1" fmla="*/ 438215 h 1216025"/>
                    <a:gd name="connsiteX2" fmla="*/ 1040066 w 1142076"/>
                    <a:gd name="connsiteY2" fmla="*/ 502438 h 1216025"/>
                    <a:gd name="connsiteX3" fmla="*/ 1045772 w 1142076"/>
                    <a:gd name="connsiteY3" fmla="*/ 543113 h 1216025"/>
                    <a:gd name="connsiteX4" fmla="*/ 1087852 w 1142076"/>
                    <a:gd name="connsiteY4" fmla="*/ 626602 h 1216025"/>
                    <a:gd name="connsiteX5" fmla="*/ 1096411 w 1142076"/>
                    <a:gd name="connsiteY5" fmla="*/ 635879 h 1216025"/>
                    <a:gd name="connsiteX6" fmla="*/ 1140631 w 1142076"/>
                    <a:gd name="connsiteY6" fmla="*/ 715087 h 1216025"/>
                    <a:gd name="connsiteX7" fmla="*/ 1043632 w 1142076"/>
                    <a:gd name="connsiteY7" fmla="*/ 763611 h 1216025"/>
                    <a:gd name="connsiteX8" fmla="*/ 1040066 w 1142076"/>
                    <a:gd name="connsiteY8" fmla="*/ 763611 h 1216025"/>
                    <a:gd name="connsiteX9" fmla="*/ 1047198 w 1142076"/>
                    <a:gd name="connsiteY9" fmla="*/ 904188 h 1216025"/>
                    <a:gd name="connsiteX10" fmla="*/ 1046485 w 1142076"/>
                    <a:gd name="connsiteY10" fmla="*/ 912037 h 1216025"/>
                    <a:gd name="connsiteX11" fmla="*/ 1018669 w 1142076"/>
                    <a:gd name="connsiteY11" fmla="*/ 1012653 h 1216025"/>
                    <a:gd name="connsiteX12" fmla="*/ 817540 w 1142076"/>
                    <a:gd name="connsiteY12" fmla="*/ 1022643 h 1216025"/>
                    <a:gd name="connsiteX13" fmla="*/ 817540 w 1142076"/>
                    <a:gd name="connsiteY13" fmla="*/ 1200326 h 1216025"/>
                    <a:gd name="connsiteX14" fmla="*/ 801849 w 1142076"/>
                    <a:gd name="connsiteY14" fmla="*/ 1216025 h 1216025"/>
                    <a:gd name="connsiteX15" fmla="*/ 801136 w 1142076"/>
                    <a:gd name="connsiteY15" fmla="*/ 1216025 h 1216025"/>
                    <a:gd name="connsiteX16" fmla="*/ 419560 w 1142076"/>
                    <a:gd name="connsiteY16" fmla="*/ 1148948 h 1216025"/>
                    <a:gd name="connsiteX17" fmla="*/ 409575 w 1142076"/>
                    <a:gd name="connsiteY17" fmla="*/ 1134676 h 1216025"/>
                    <a:gd name="connsiteX18" fmla="*/ 409575 w 1142076"/>
                    <a:gd name="connsiteY18" fmla="*/ 944862 h 1216025"/>
                    <a:gd name="connsiteX19" fmla="*/ 409575 w 1142076"/>
                    <a:gd name="connsiteY19" fmla="*/ 943435 h 1216025"/>
                    <a:gd name="connsiteX20" fmla="*/ 413141 w 1142076"/>
                    <a:gd name="connsiteY20" fmla="*/ 947003 h 1216025"/>
                    <a:gd name="connsiteX21" fmla="*/ 440957 w 1142076"/>
                    <a:gd name="connsiteY21" fmla="*/ 968410 h 1216025"/>
                    <a:gd name="connsiteX22" fmla="*/ 440957 w 1142076"/>
                    <a:gd name="connsiteY22" fmla="*/ 1123972 h 1216025"/>
                    <a:gd name="connsiteX23" fmla="*/ 786158 w 1142076"/>
                    <a:gd name="connsiteY23" fmla="*/ 1184627 h 1216025"/>
                    <a:gd name="connsiteX24" fmla="*/ 786158 w 1142076"/>
                    <a:gd name="connsiteY24" fmla="*/ 1004803 h 1216025"/>
                    <a:gd name="connsiteX25" fmla="*/ 791151 w 1142076"/>
                    <a:gd name="connsiteY25" fmla="*/ 992672 h 1216025"/>
                    <a:gd name="connsiteX26" fmla="*/ 803989 w 1142076"/>
                    <a:gd name="connsiteY26" fmla="*/ 989105 h 1216025"/>
                    <a:gd name="connsiteX27" fmla="*/ 1004405 w 1142076"/>
                    <a:gd name="connsiteY27" fmla="*/ 984823 h 1216025"/>
                    <a:gd name="connsiteX28" fmla="*/ 1015103 w 1142076"/>
                    <a:gd name="connsiteY28" fmla="*/ 909896 h 1216025"/>
                    <a:gd name="connsiteX29" fmla="*/ 1015817 w 1142076"/>
                    <a:gd name="connsiteY29" fmla="*/ 902760 h 1216025"/>
                    <a:gd name="connsiteX30" fmla="*/ 1007258 w 1142076"/>
                    <a:gd name="connsiteY30" fmla="*/ 749339 h 1216025"/>
                    <a:gd name="connsiteX31" fmla="*/ 1011537 w 1142076"/>
                    <a:gd name="connsiteY31" fmla="*/ 736495 h 1216025"/>
                    <a:gd name="connsiteX32" fmla="*/ 1024375 w 1142076"/>
                    <a:gd name="connsiteY32" fmla="*/ 731500 h 1216025"/>
                    <a:gd name="connsiteX33" fmla="*/ 1110676 w 1142076"/>
                    <a:gd name="connsiteY33" fmla="*/ 705810 h 1216025"/>
                    <a:gd name="connsiteX34" fmla="*/ 1073588 w 1142076"/>
                    <a:gd name="connsiteY34" fmla="*/ 657287 h 1216025"/>
                    <a:gd name="connsiteX35" fmla="*/ 1064316 w 1142076"/>
                    <a:gd name="connsiteY35" fmla="*/ 648010 h 1216025"/>
                    <a:gd name="connsiteX36" fmla="*/ 1015817 w 1142076"/>
                    <a:gd name="connsiteY36" fmla="*/ 553103 h 1216025"/>
                    <a:gd name="connsiteX37" fmla="*/ 1008684 w 1142076"/>
                    <a:gd name="connsiteY37" fmla="*/ 504579 h 1216025"/>
                    <a:gd name="connsiteX38" fmla="*/ 1000126 w 1142076"/>
                    <a:gd name="connsiteY38" fmla="*/ 448206 h 1216025"/>
                    <a:gd name="connsiteX39" fmla="*/ 988714 w 1142076"/>
                    <a:gd name="connsiteY39" fmla="*/ 356153 h 1216025"/>
                    <a:gd name="connsiteX40" fmla="*/ 1020096 w 1142076"/>
                    <a:gd name="connsiteY40" fmla="*/ 354012 h 1216025"/>
                    <a:gd name="connsiteX41" fmla="*/ 238563 w 1142076"/>
                    <a:gd name="connsiteY41" fmla="*/ 125412 h 1216025"/>
                    <a:gd name="connsiteX42" fmla="*/ 344252 w 1142076"/>
                    <a:gd name="connsiteY42" fmla="*/ 203770 h 1216025"/>
                    <a:gd name="connsiteX43" fmla="*/ 349251 w 1142076"/>
                    <a:gd name="connsiteY43" fmla="*/ 236537 h 1216025"/>
                    <a:gd name="connsiteX44" fmla="*/ 349251 w 1142076"/>
                    <a:gd name="connsiteY44" fmla="*/ 242948 h 1216025"/>
                    <a:gd name="connsiteX45" fmla="*/ 276411 w 1142076"/>
                    <a:gd name="connsiteY45" fmla="*/ 341251 h 1216025"/>
                    <a:gd name="connsiteX46" fmla="*/ 238563 w 1142076"/>
                    <a:gd name="connsiteY46" fmla="*/ 347662 h 1216025"/>
                    <a:gd name="connsiteX47" fmla="*/ 237134 w 1142076"/>
                    <a:gd name="connsiteY47" fmla="*/ 347662 h 1216025"/>
                    <a:gd name="connsiteX48" fmla="*/ 128588 w 1142076"/>
                    <a:gd name="connsiteY48" fmla="*/ 236537 h 1216025"/>
                    <a:gd name="connsiteX49" fmla="*/ 238563 w 1142076"/>
                    <a:gd name="connsiteY49" fmla="*/ 125412 h 1216025"/>
                    <a:gd name="connsiteX50" fmla="*/ 238920 w 1142076"/>
                    <a:gd name="connsiteY50" fmla="*/ 30162 h 1216025"/>
                    <a:gd name="connsiteX51" fmla="*/ 221074 w 1142076"/>
                    <a:gd name="connsiteY51" fmla="*/ 30876 h 1216025"/>
                    <a:gd name="connsiteX52" fmla="*/ 204656 w 1142076"/>
                    <a:gd name="connsiteY52" fmla="*/ 74445 h 1216025"/>
                    <a:gd name="connsiteX53" fmla="*/ 196804 w 1142076"/>
                    <a:gd name="connsiteY53" fmla="*/ 76587 h 1216025"/>
                    <a:gd name="connsiteX54" fmla="*/ 167537 w 1142076"/>
                    <a:gd name="connsiteY54" fmla="*/ 86587 h 1216025"/>
                    <a:gd name="connsiteX55" fmla="*/ 160399 w 1142076"/>
                    <a:gd name="connsiteY55" fmla="*/ 89444 h 1216025"/>
                    <a:gd name="connsiteX56" fmla="*/ 121139 w 1142076"/>
                    <a:gd name="connsiteY56" fmla="*/ 67302 h 1216025"/>
                    <a:gd name="connsiteX57" fmla="*/ 106862 w 1142076"/>
                    <a:gd name="connsiteY57" fmla="*/ 78730 h 1216025"/>
                    <a:gd name="connsiteX58" fmla="*/ 93300 w 1142076"/>
                    <a:gd name="connsiteY58" fmla="*/ 90872 h 1216025"/>
                    <a:gd name="connsiteX59" fmla="*/ 106862 w 1142076"/>
                    <a:gd name="connsiteY59" fmla="*/ 130155 h 1216025"/>
                    <a:gd name="connsiteX60" fmla="*/ 101865 w 1142076"/>
                    <a:gd name="connsiteY60" fmla="*/ 136583 h 1216025"/>
                    <a:gd name="connsiteX61" fmla="*/ 81878 w 1142076"/>
                    <a:gd name="connsiteY61" fmla="*/ 169438 h 1216025"/>
                    <a:gd name="connsiteX62" fmla="*/ 78309 w 1142076"/>
                    <a:gd name="connsiteY62" fmla="*/ 176580 h 1216025"/>
                    <a:gd name="connsiteX63" fmla="*/ 39763 w 1142076"/>
                    <a:gd name="connsiteY63" fmla="*/ 183723 h 1216025"/>
                    <a:gd name="connsiteX64" fmla="*/ 36194 w 1142076"/>
                    <a:gd name="connsiteY64" fmla="*/ 201579 h 1216025"/>
                    <a:gd name="connsiteX65" fmla="*/ 33338 w 1142076"/>
                    <a:gd name="connsiteY65" fmla="*/ 219435 h 1216025"/>
                    <a:gd name="connsiteX66" fmla="*/ 66174 w 1142076"/>
                    <a:gd name="connsiteY66" fmla="*/ 238005 h 1216025"/>
                    <a:gd name="connsiteX67" fmla="*/ 66174 w 1142076"/>
                    <a:gd name="connsiteY67" fmla="*/ 246575 h 1216025"/>
                    <a:gd name="connsiteX68" fmla="*/ 73312 w 1142076"/>
                    <a:gd name="connsiteY68" fmla="*/ 286573 h 1216025"/>
                    <a:gd name="connsiteX69" fmla="*/ 76168 w 1142076"/>
                    <a:gd name="connsiteY69" fmla="*/ 294429 h 1216025"/>
                    <a:gd name="connsiteX70" fmla="*/ 51898 w 1142076"/>
                    <a:gd name="connsiteY70" fmla="*/ 324427 h 1216025"/>
                    <a:gd name="connsiteX71" fmla="*/ 60464 w 1142076"/>
                    <a:gd name="connsiteY71" fmla="*/ 340140 h 1216025"/>
                    <a:gd name="connsiteX72" fmla="*/ 69743 w 1142076"/>
                    <a:gd name="connsiteY72" fmla="*/ 355139 h 1216025"/>
                    <a:gd name="connsiteX73" fmla="*/ 109717 w 1142076"/>
                    <a:gd name="connsiteY73" fmla="*/ 348711 h 1216025"/>
                    <a:gd name="connsiteX74" fmla="*/ 115428 w 1142076"/>
                    <a:gd name="connsiteY74" fmla="*/ 354425 h 1216025"/>
                    <a:gd name="connsiteX75" fmla="*/ 143981 w 1142076"/>
                    <a:gd name="connsiteY75" fmla="*/ 376566 h 1216025"/>
                    <a:gd name="connsiteX76" fmla="*/ 151119 w 1142076"/>
                    <a:gd name="connsiteY76" fmla="*/ 381566 h 1216025"/>
                    <a:gd name="connsiteX77" fmla="*/ 151833 w 1142076"/>
                    <a:gd name="connsiteY77" fmla="*/ 423706 h 1216025"/>
                    <a:gd name="connsiteX78" fmla="*/ 168251 w 1142076"/>
                    <a:gd name="connsiteY78" fmla="*/ 430848 h 1216025"/>
                    <a:gd name="connsiteX79" fmla="*/ 185383 w 1142076"/>
                    <a:gd name="connsiteY79" fmla="*/ 436562 h 1216025"/>
                    <a:gd name="connsiteX80" fmla="*/ 214650 w 1142076"/>
                    <a:gd name="connsiteY80" fmla="*/ 402279 h 1216025"/>
                    <a:gd name="connsiteX81" fmla="*/ 222502 w 1142076"/>
                    <a:gd name="connsiteY81" fmla="*/ 402993 h 1216025"/>
                    <a:gd name="connsiteX82" fmla="*/ 247486 w 1142076"/>
                    <a:gd name="connsiteY82" fmla="*/ 403707 h 1216025"/>
                    <a:gd name="connsiteX83" fmla="*/ 255338 w 1142076"/>
                    <a:gd name="connsiteY83" fmla="*/ 402993 h 1216025"/>
                    <a:gd name="connsiteX84" fmla="*/ 263190 w 1142076"/>
                    <a:gd name="connsiteY84" fmla="*/ 402279 h 1216025"/>
                    <a:gd name="connsiteX85" fmla="*/ 292457 w 1142076"/>
                    <a:gd name="connsiteY85" fmla="*/ 436562 h 1216025"/>
                    <a:gd name="connsiteX86" fmla="*/ 309588 w 1142076"/>
                    <a:gd name="connsiteY86" fmla="*/ 430848 h 1216025"/>
                    <a:gd name="connsiteX87" fmla="*/ 326720 w 1142076"/>
                    <a:gd name="connsiteY87" fmla="*/ 423706 h 1216025"/>
                    <a:gd name="connsiteX88" fmla="*/ 326720 w 1142076"/>
                    <a:gd name="connsiteY88" fmla="*/ 381566 h 1216025"/>
                    <a:gd name="connsiteX89" fmla="*/ 334572 w 1142076"/>
                    <a:gd name="connsiteY89" fmla="*/ 377281 h 1216025"/>
                    <a:gd name="connsiteX90" fmla="*/ 363125 w 1142076"/>
                    <a:gd name="connsiteY90" fmla="*/ 354425 h 1216025"/>
                    <a:gd name="connsiteX91" fmla="*/ 368836 w 1142076"/>
                    <a:gd name="connsiteY91" fmla="*/ 348711 h 1216025"/>
                    <a:gd name="connsiteX92" fmla="*/ 408096 w 1142076"/>
                    <a:gd name="connsiteY92" fmla="*/ 355854 h 1216025"/>
                    <a:gd name="connsiteX93" fmla="*/ 418090 w 1142076"/>
                    <a:gd name="connsiteY93" fmla="*/ 340140 h 1216025"/>
                    <a:gd name="connsiteX94" fmla="*/ 425942 w 1142076"/>
                    <a:gd name="connsiteY94" fmla="*/ 324427 h 1216025"/>
                    <a:gd name="connsiteX95" fmla="*/ 402386 w 1142076"/>
                    <a:gd name="connsiteY95" fmla="*/ 295144 h 1216025"/>
                    <a:gd name="connsiteX96" fmla="*/ 405241 w 1142076"/>
                    <a:gd name="connsiteY96" fmla="*/ 287287 h 1216025"/>
                    <a:gd name="connsiteX97" fmla="*/ 412379 w 1142076"/>
                    <a:gd name="connsiteY97" fmla="*/ 246575 h 1216025"/>
                    <a:gd name="connsiteX98" fmla="*/ 413093 w 1142076"/>
                    <a:gd name="connsiteY98" fmla="*/ 238005 h 1216025"/>
                    <a:gd name="connsiteX99" fmla="*/ 444501 w 1142076"/>
                    <a:gd name="connsiteY99" fmla="*/ 219435 h 1216025"/>
                    <a:gd name="connsiteX100" fmla="*/ 442360 w 1142076"/>
                    <a:gd name="connsiteY100" fmla="*/ 201579 h 1216025"/>
                    <a:gd name="connsiteX101" fmla="*/ 438791 w 1142076"/>
                    <a:gd name="connsiteY101" fmla="*/ 183723 h 1216025"/>
                    <a:gd name="connsiteX102" fmla="*/ 428083 w 1142076"/>
                    <a:gd name="connsiteY102" fmla="*/ 182294 h 1216025"/>
                    <a:gd name="connsiteX103" fmla="*/ 400244 w 1142076"/>
                    <a:gd name="connsiteY103" fmla="*/ 176580 h 1216025"/>
                    <a:gd name="connsiteX104" fmla="*/ 397389 w 1142076"/>
                    <a:gd name="connsiteY104" fmla="*/ 169438 h 1216025"/>
                    <a:gd name="connsiteX105" fmla="*/ 395247 w 1142076"/>
                    <a:gd name="connsiteY105" fmla="*/ 165867 h 1216025"/>
                    <a:gd name="connsiteX106" fmla="*/ 377402 w 1142076"/>
                    <a:gd name="connsiteY106" fmla="*/ 136583 h 1216025"/>
                    <a:gd name="connsiteX107" fmla="*/ 371691 w 1142076"/>
                    <a:gd name="connsiteY107" fmla="*/ 130155 h 1216025"/>
                    <a:gd name="connsiteX108" fmla="*/ 385254 w 1142076"/>
                    <a:gd name="connsiteY108" fmla="*/ 90872 h 1216025"/>
                    <a:gd name="connsiteX109" fmla="*/ 371691 w 1142076"/>
                    <a:gd name="connsiteY109" fmla="*/ 78730 h 1216025"/>
                    <a:gd name="connsiteX110" fmla="*/ 358128 w 1142076"/>
                    <a:gd name="connsiteY110" fmla="*/ 67302 h 1216025"/>
                    <a:gd name="connsiteX111" fmla="*/ 318868 w 1142076"/>
                    <a:gd name="connsiteY111" fmla="*/ 89444 h 1216025"/>
                    <a:gd name="connsiteX112" fmla="*/ 311730 w 1142076"/>
                    <a:gd name="connsiteY112" fmla="*/ 86587 h 1216025"/>
                    <a:gd name="connsiteX113" fmla="*/ 282463 w 1142076"/>
                    <a:gd name="connsiteY113" fmla="*/ 76587 h 1216025"/>
                    <a:gd name="connsiteX114" fmla="*/ 273897 w 1142076"/>
                    <a:gd name="connsiteY114" fmla="*/ 74445 h 1216025"/>
                    <a:gd name="connsiteX115" fmla="*/ 256765 w 1142076"/>
                    <a:gd name="connsiteY115" fmla="*/ 30876 h 1216025"/>
                    <a:gd name="connsiteX116" fmla="*/ 238920 w 1142076"/>
                    <a:gd name="connsiteY116" fmla="*/ 30162 h 1216025"/>
                    <a:gd name="connsiteX117" fmla="*/ 237768 w 1142076"/>
                    <a:gd name="connsiteY117" fmla="*/ 0 h 1216025"/>
                    <a:gd name="connsiteX118" fmla="*/ 269899 w 1142076"/>
                    <a:gd name="connsiteY118" fmla="*/ 2137 h 1216025"/>
                    <a:gd name="connsiteX119" fmla="*/ 279181 w 1142076"/>
                    <a:gd name="connsiteY119" fmla="*/ 2849 h 1216025"/>
                    <a:gd name="connsiteX120" fmla="*/ 296318 w 1142076"/>
                    <a:gd name="connsiteY120" fmla="*/ 49143 h 1216025"/>
                    <a:gd name="connsiteX121" fmla="*/ 315596 w 1142076"/>
                    <a:gd name="connsiteY121" fmla="*/ 55553 h 1216025"/>
                    <a:gd name="connsiteX122" fmla="*/ 358437 w 1142076"/>
                    <a:gd name="connsiteY122" fmla="*/ 32050 h 1216025"/>
                    <a:gd name="connsiteX123" fmla="*/ 366291 w 1142076"/>
                    <a:gd name="connsiteY123" fmla="*/ 37035 h 1216025"/>
                    <a:gd name="connsiteX124" fmla="*/ 391282 w 1142076"/>
                    <a:gd name="connsiteY124" fmla="*/ 55553 h 1216025"/>
                    <a:gd name="connsiteX125" fmla="*/ 414131 w 1142076"/>
                    <a:gd name="connsiteY125" fmla="*/ 76920 h 1216025"/>
                    <a:gd name="connsiteX126" fmla="*/ 420557 w 1142076"/>
                    <a:gd name="connsiteY126" fmla="*/ 84042 h 1216025"/>
                    <a:gd name="connsiteX127" fmla="*/ 405562 w 1142076"/>
                    <a:gd name="connsiteY127" fmla="*/ 125350 h 1216025"/>
                    <a:gd name="connsiteX128" fmla="*/ 420557 w 1142076"/>
                    <a:gd name="connsiteY128" fmla="*/ 149566 h 1216025"/>
                    <a:gd name="connsiteX129" fmla="*/ 421271 w 1142076"/>
                    <a:gd name="connsiteY129" fmla="*/ 149566 h 1216025"/>
                    <a:gd name="connsiteX130" fmla="*/ 462684 w 1142076"/>
                    <a:gd name="connsiteY130" fmla="*/ 157400 h 1216025"/>
                    <a:gd name="connsiteX131" fmla="*/ 464112 w 1142076"/>
                    <a:gd name="connsiteY131" fmla="*/ 162386 h 1216025"/>
                    <a:gd name="connsiteX132" fmla="*/ 464826 w 1142076"/>
                    <a:gd name="connsiteY132" fmla="*/ 166659 h 1216025"/>
                    <a:gd name="connsiteX133" fmla="*/ 471966 w 1142076"/>
                    <a:gd name="connsiteY133" fmla="*/ 196572 h 1216025"/>
                    <a:gd name="connsiteX134" fmla="*/ 476250 w 1142076"/>
                    <a:gd name="connsiteY134" fmla="*/ 227910 h 1216025"/>
                    <a:gd name="connsiteX135" fmla="*/ 476250 w 1142076"/>
                    <a:gd name="connsiteY135" fmla="*/ 237169 h 1216025"/>
                    <a:gd name="connsiteX136" fmla="*/ 441977 w 1142076"/>
                    <a:gd name="connsiteY136" fmla="*/ 257111 h 1216025"/>
                    <a:gd name="connsiteX137" fmla="*/ 436265 w 1142076"/>
                    <a:gd name="connsiteY137" fmla="*/ 288448 h 1216025"/>
                    <a:gd name="connsiteX138" fmla="*/ 461970 w 1142076"/>
                    <a:gd name="connsiteY138" fmla="*/ 319786 h 1216025"/>
                    <a:gd name="connsiteX139" fmla="*/ 457686 w 1142076"/>
                    <a:gd name="connsiteY139" fmla="*/ 328332 h 1216025"/>
                    <a:gd name="connsiteX140" fmla="*/ 444119 w 1142076"/>
                    <a:gd name="connsiteY140" fmla="*/ 356109 h 1216025"/>
                    <a:gd name="connsiteX141" fmla="*/ 426983 w 1142076"/>
                    <a:gd name="connsiteY141" fmla="*/ 382461 h 1216025"/>
                    <a:gd name="connsiteX142" fmla="*/ 421271 w 1142076"/>
                    <a:gd name="connsiteY142" fmla="*/ 389583 h 1216025"/>
                    <a:gd name="connsiteX143" fmla="*/ 377716 w 1142076"/>
                    <a:gd name="connsiteY143" fmla="*/ 382461 h 1216025"/>
                    <a:gd name="connsiteX144" fmla="*/ 357009 w 1142076"/>
                    <a:gd name="connsiteY144" fmla="*/ 398842 h 1216025"/>
                    <a:gd name="connsiteX145" fmla="*/ 356295 w 1142076"/>
                    <a:gd name="connsiteY145" fmla="*/ 443712 h 1216025"/>
                    <a:gd name="connsiteX146" fmla="*/ 348441 w 1142076"/>
                    <a:gd name="connsiteY146" fmla="*/ 447985 h 1216025"/>
                    <a:gd name="connsiteX147" fmla="*/ 319166 w 1142076"/>
                    <a:gd name="connsiteY147" fmla="*/ 460093 h 1216025"/>
                    <a:gd name="connsiteX148" fmla="*/ 289892 w 1142076"/>
                    <a:gd name="connsiteY148" fmla="*/ 469351 h 1216025"/>
                    <a:gd name="connsiteX149" fmla="*/ 280609 w 1142076"/>
                    <a:gd name="connsiteY149" fmla="*/ 471488 h 1216025"/>
                    <a:gd name="connsiteX150" fmla="*/ 248479 w 1142076"/>
                    <a:gd name="connsiteY150" fmla="*/ 435165 h 1216025"/>
                    <a:gd name="connsiteX151" fmla="*/ 236340 w 1142076"/>
                    <a:gd name="connsiteY151" fmla="*/ 435165 h 1216025"/>
                    <a:gd name="connsiteX152" fmla="*/ 226344 w 1142076"/>
                    <a:gd name="connsiteY152" fmla="*/ 435165 h 1216025"/>
                    <a:gd name="connsiteX153" fmla="*/ 197783 w 1142076"/>
                    <a:gd name="connsiteY153" fmla="*/ 469351 h 1216025"/>
                    <a:gd name="connsiteX154" fmla="*/ 195641 w 1142076"/>
                    <a:gd name="connsiteY154" fmla="*/ 471488 h 1216025"/>
                    <a:gd name="connsiteX155" fmla="*/ 186359 w 1142076"/>
                    <a:gd name="connsiteY155" fmla="*/ 469351 h 1216025"/>
                    <a:gd name="connsiteX156" fmla="*/ 156370 w 1142076"/>
                    <a:gd name="connsiteY156" fmla="*/ 460093 h 1216025"/>
                    <a:gd name="connsiteX157" fmla="*/ 127809 w 1142076"/>
                    <a:gd name="connsiteY157" fmla="*/ 447985 h 1216025"/>
                    <a:gd name="connsiteX158" fmla="*/ 119241 w 1142076"/>
                    <a:gd name="connsiteY158" fmla="*/ 443712 h 1216025"/>
                    <a:gd name="connsiteX159" fmla="*/ 118527 w 1142076"/>
                    <a:gd name="connsiteY159" fmla="*/ 398842 h 1216025"/>
                    <a:gd name="connsiteX160" fmla="*/ 98535 w 1142076"/>
                    <a:gd name="connsiteY160" fmla="*/ 382461 h 1216025"/>
                    <a:gd name="connsiteX161" fmla="*/ 54980 w 1142076"/>
                    <a:gd name="connsiteY161" fmla="*/ 389583 h 1216025"/>
                    <a:gd name="connsiteX162" fmla="*/ 49267 w 1142076"/>
                    <a:gd name="connsiteY162" fmla="*/ 381749 h 1216025"/>
                    <a:gd name="connsiteX163" fmla="*/ 32131 w 1142076"/>
                    <a:gd name="connsiteY163" fmla="*/ 356109 h 1216025"/>
                    <a:gd name="connsiteX164" fmla="*/ 17851 w 1142076"/>
                    <a:gd name="connsiteY164" fmla="*/ 328332 h 1216025"/>
                    <a:gd name="connsiteX165" fmla="*/ 14281 w 1142076"/>
                    <a:gd name="connsiteY165" fmla="*/ 319786 h 1216025"/>
                    <a:gd name="connsiteX166" fmla="*/ 39985 w 1142076"/>
                    <a:gd name="connsiteY166" fmla="*/ 288448 h 1216025"/>
                    <a:gd name="connsiteX167" fmla="*/ 34273 w 1142076"/>
                    <a:gd name="connsiteY167" fmla="*/ 257111 h 1216025"/>
                    <a:gd name="connsiteX168" fmla="*/ 0 w 1142076"/>
                    <a:gd name="connsiteY168" fmla="*/ 237169 h 1216025"/>
                    <a:gd name="connsiteX169" fmla="*/ 0 w 1142076"/>
                    <a:gd name="connsiteY169" fmla="*/ 227198 h 1216025"/>
                    <a:gd name="connsiteX170" fmla="*/ 4284 w 1142076"/>
                    <a:gd name="connsiteY170" fmla="*/ 196572 h 1216025"/>
                    <a:gd name="connsiteX171" fmla="*/ 11425 w 1142076"/>
                    <a:gd name="connsiteY171" fmla="*/ 165947 h 1216025"/>
                    <a:gd name="connsiteX172" fmla="*/ 13567 w 1142076"/>
                    <a:gd name="connsiteY172" fmla="*/ 157400 h 1216025"/>
                    <a:gd name="connsiteX173" fmla="*/ 55694 w 1142076"/>
                    <a:gd name="connsiteY173" fmla="*/ 149566 h 1216025"/>
                    <a:gd name="connsiteX174" fmla="*/ 70688 w 1142076"/>
                    <a:gd name="connsiteY174" fmla="*/ 125350 h 1216025"/>
                    <a:gd name="connsiteX175" fmla="*/ 55694 w 1142076"/>
                    <a:gd name="connsiteY175" fmla="*/ 84042 h 1216025"/>
                    <a:gd name="connsiteX176" fmla="*/ 62834 w 1142076"/>
                    <a:gd name="connsiteY176" fmla="*/ 76920 h 1216025"/>
                    <a:gd name="connsiteX177" fmla="*/ 84968 w 1142076"/>
                    <a:gd name="connsiteY177" fmla="*/ 55553 h 1216025"/>
                    <a:gd name="connsiteX178" fmla="*/ 109959 w 1142076"/>
                    <a:gd name="connsiteY178" fmla="*/ 37035 h 1216025"/>
                    <a:gd name="connsiteX179" fmla="*/ 117813 w 1142076"/>
                    <a:gd name="connsiteY179" fmla="*/ 32050 h 1216025"/>
                    <a:gd name="connsiteX180" fmla="*/ 160654 w 1142076"/>
                    <a:gd name="connsiteY180" fmla="*/ 55553 h 1216025"/>
                    <a:gd name="connsiteX181" fmla="*/ 179933 w 1142076"/>
                    <a:gd name="connsiteY181" fmla="*/ 49143 h 1216025"/>
                    <a:gd name="connsiteX182" fmla="*/ 197069 w 1142076"/>
                    <a:gd name="connsiteY182" fmla="*/ 2849 h 1216025"/>
                    <a:gd name="connsiteX183" fmla="*/ 207065 w 1142076"/>
                    <a:gd name="connsiteY183" fmla="*/ 2137 h 1216025"/>
                    <a:gd name="connsiteX184" fmla="*/ 237768 w 1142076"/>
                    <a:gd name="connsiteY184" fmla="*/ 0 h 1216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</a:cxnLst>
                  <a:rect l="l" t="t" r="r" b="b"/>
                  <a:pathLst>
                    <a:path w="1142076" h="1216025">
                      <a:moveTo>
                        <a:pt x="1020096" y="354012"/>
                      </a:moveTo>
                      <a:cubicBezTo>
                        <a:pt x="1020096" y="368997"/>
                        <a:pt x="1021522" y="413240"/>
                        <a:pt x="1030081" y="438215"/>
                      </a:cubicBezTo>
                      <a:cubicBezTo>
                        <a:pt x="1036500" y="457482"/>
                        <a:pt x="1037927" y="481031"/>
                        <a:pt x="1040066" y="502438"/>
                      </a:cubicBezTo>
                      <a:cubicBezTo>
                        <a:pt x="1041493" y="518137"/>
                        <a:pt x="1042206" y="534550"/>
                        <a:pt x="1045772" y="543113"/>
                      </a:cubicBezTo>
                      <a:cubicBezTo>
                        <a:pt x="1059323" y="582360"/>
                        <a:pt x="1074301" y="611617"/>
                        <a:pt x="1087852" y="626602"/>
                      </a:cubicBezTo>
                      <a:cubicBezTo>
                        <a:pt x="1090705" y="629457"/>
                        <a:pt x="1093558" y="633025"/>
                        <a:pt x="1096411" y="635879"/>
                      </a:cubicBezTo>
                      <a:cubicBezTo>
                        <a:pt x="1127793" y="670131"/>
                        <a:pt x="1147763" y="693680"/>
                        <a:pt x="1140631" y="715087"/>
                      </a:cubicBezTo>
                      <a:cubicBezTo>
                        <a:pt x="1136352" y="727218"/>
                        <a:pt x="1117095" y="763611"/>
                        <a:pt x="1043632" y="763611"/>
                      </a:cubicBezTo>
                      <a:cubicBezTo>
                        <a:pt x="1042919" y="763611"/>
                        <a:pt x="1041493" y="763611"/>
                        <a:pt x="1040066" y="763611"/>
                      </a:cubicBezTo>
                      <a:cubicBezTo>
                        <a:pt x="1043632" y="795722"/>
                        <a:pt x="1050051" y="862800"/>
                        <a:pt x="1047198" y="904188"/>
                      </a:cubicBezTo>
                      <a:cubicBezTo>
                        <a:pt x="1047198" y="904188"/>
                        <a:pt x="1047198" y="904188"/>
                        <a:pt x="1046485" y="912037"/>
                      </a:cubicBezTo>
                      <a:cubicBezTo>
                        <a:pt x="1042919" y="969838"/>
                        <a:pt x="1040779" y="1001235"/>
                        <a:pt x="1018669" y="1012653"/>
                      </a:cubicBezTo>
                      <a:cubicBezTo>
                        <a:pt x="1002265" y="1021930"/>
                        <a:pt x="929516" y="1035488"/>
                        <a:pt x="817540" y="1022643"/>
                      </a:cubicBezTo>
                      <a:cubicBezTo>
                        <a:pt x="817540" y="1022643"/>
                        <a:pt x="817540" y="1022643"/>
                        <a:pt x="817540" y="1200326"/>
                      </a:cubicBezTo>
                      <a:cubicBezTo>
                        <a:pt x="817540" y="1208889"/>
                        <a:pt x="810408" y="1216025"/>
                        <a:pt x="801849" y="1216025"/>
                      </a:cubicBezTo>
                      <a:cubicBezTo>
                        <a:pt x="801849" y="1216025"/>
                        <a:pt x="801849" y="1216025"/>
                        <a:pt x="801136" y="1216025"/>
                      </a:cubicBezTo>
                      <a:cubicBezTo>
                        <a:pt x="784732" y="1216025"/>
                        <a:pt x="579323" y="1214598"/>
                        <a:pt x="419560" y="1148948"/>
                      </a:cubicBezTo>
                      <a:cubicBezTo>
                        <a:pt x="413855" y="1146807"/>
                        <a:pt x="409575" y="1141099"/>
                        <a:pt x="409575" y="1134676"/>
                      </a:cubicBezTo>
                      <a:cubicBezTo>
                        <a:pt x="409575" y="1134676"/>
                        <a:pt x="409575" y="1134676"/>
                        <a:pt x="409575" y="944862"/>
                      </a:cubicBezTo>
                      <a:cubicBezTo>
                        <a:pt x="409575" y="944149"/>
                        <a:pt x="409575" y="944149"/>
                        <a:pt x="409575" y="943435"/>
                      </a:cubicBezTo>
                      <a:cubicBezTo>
                        <a:pt x="411002" y="944862"/>
                        <a:pt x="412428" y="946289"/>
                        <a:pt x="413141" y="947003"/>
                      </a:cubicBezTo>
                      <a:cubicBezTo>
                        <a:pt x="417421" y="951284"/>
                        <a:pt x="430259" y="961275"/>
                        <a:pt x="440957" y="968410"/>
                      </a:cubicBezTo>
                      <a:cubicBezTo>
                        <a:pt x="440957" y="968410"/>
                        <a:pt x="440957" y="968410"/>
                        <a:pt x="440957" y="1123972"/>
                      </a:cubicBezTo>
                      <a:cubicBezTo>
                        <a:pt x="571477" y="1174637"/>
                        <a:pt x="735519" y="1183200"/>
                        <a:pt x="786158" y="1184627"/>
                      </a:cubicBezTo>
                      <a:cubicBezTo>
                        <a:pt x="786158" y="1184627"/>
                        <a:pt x="786158" y="1184627"/>
                        <a:pt x="786158" y="1004803"/>
                      </a:cubicBezTo>
                      <a:cubicBezTo>
                        <a:pt x="786158" y="1000522"/>
                        <a:pt x="788298" y="996240"/>
                        <a:pt x="791151" y="992672"/>
                      </a:cubicBezTo>
                      <a:cubicBezTo>
                        <a:pt x="794717" y="989818"/>
                        <a:pt x="798996" y="988391"/>
                        <a:pt x="803989" y="989105"/>
                      </a:cubicBezTo>
                      <a:cubicBezTo>
                        <a:pt x="920244" y="1004803"/>
                        <a:pt x="993707" y="990532"/>
                        <a:pt x="1004405" y="984823"/>
                      </a:cubicBezTo>
                      <a:cubicBezTo>
                        <a:pt x="1010824" y="980541"/>
                        <a:pt x="1012964" y="942721"/>
                        <a:pt x="1015103" y="909896"/>
                      </a:cubicBezTo>
                      <a:cubicBezTo>
                        <a:pt x="1015103" y="909896"/>
                        <a:pt x="1015103" y="909896"/>
                        <a:pt x="1015817" y="902760"/>
                      </a:cubicBezTo>
                      <a:cubicBezTo>
                        <a:pt x="1019383" y="849241"/>
                        <a:pt x="1007258" y="750053"/>
                        <a:pt x="1007258" y="749339"/>
                      </a:cubicBezTo>
                      <a:cubicBezTo>
                        <a:pt x="1006545" y="744344"/>
                        <a:pt x="1007971" y="739349"/>
                        <a:pt x="1011537" y="736495"/>
                      </a:cubicBezTo>
                      <a:cubicBezTo>
                        <a:pt x="1015103" y="732927"/>
                        <a:pt x="1019383" y="730786"/>
                        <a:pt x="1024375" y="731500"/>
                      </a:cubicBezTo>
                      <a:cubicBezTo>
                        <a:pt x="1078580" y="736495"/>
                        <a:pt x="1104256" y="720796"/>
                        <a:pt x="1110676" y="705810"/>
                      </a:cubicBezTo>
                      <a:cubicBezTo>
                        <a:pt x="1109249" y="695820"/>
                        <a:pt x="1084999" y="670131"/>
                        <a:pt x="1073588" y="657287"/>
                      </a:cubicBezTo>
                      <a:cubicBezTo>
                        <a:pt x="1070735" y="654432"/>
                        <a:pt x="1067169" y="650864"/>
                        <a:pt x="1064316" y="648010"/>
                      </a:cubicBezTo>
                      <a:cubicBezTo>
                        <a:pt x="1043632" y="625175"/>
                        <a:pt x="1026515" y="583787"/>
                        <a:pt x="1015817" y="553103"/>
                      </a:cubicBezTo>
                      <a:cubicBezTo>
                        <a:pt x="1011537" y="540972"/>
                        <a:pt x="1010111" y="524559"/>
                        <a:pt x="1008684" y="504579"/>
                      </a:cubicBezTo>
                      <a:cubicBezTo>
                        <a:pt x="1007258" y="485312"/>
                        <a:pt x="1005118" y="463905"/>
                        <a:pt x="1000126" y="448206"/>
                      </a:cubicBezTo>
                      <a:cubicBezTo>
                        <a:pt x="990854" y="420376"/>
                        <a:pt x="988714" y="373993"/>
                        <a:pt x="988714" y="356153"/>
                      </a:cubicBezTo>
                      <a:cubicBezTo>
                        <a:pt x="1001552" y="355439"/>
                        <a:pt x="1011537" y="354726"/>
                        <a:pt x="1020096" y="354012"/>
                      </a:cubicBezTo>
                      <a:close/>
                      <a:moveTo>
                        <a:pt x="238563" y="125412"/>
                      </a:moveTo>
                      <a:cubicBezTo>
                        <a:pt x="288551" y="125412"/>
                        <a:pt x="330684" y="158180"/>
                        <a:pt x="344252" y="203770"/>
                      </a:cubicBezTo>
                      <a:cubicBezTo>
                        <a:pt x="347823" y="214455"/>
                        <a:pt x="349251" y="225140"/>
                        <a:pt x="349251" y="236537"/>
                      </a:cubicBezTo>
                      <a:cubicBezTo>
                        <a:pt x="349251" y="238674"/>
                        <a:pt x="349251" y="240811"/>
                        <a:pt x="349251" y="242948"/>
                      </a:cubicBezTo>
                      <a:cubicBezTo>
                        <a:pt x="347109" y="288538"/>
                        <a:pt x="317116" y="326292"/>
                        <a:pt x="276411" y="341251"/>
                      </a:cubicBezTo>
                      <a:cubicBezTo>
                        <a:pt x="264271" y="345525"/>
                        <a:pt x="252131" y="347662"/>
                        <a:pt x="238563" y="347662"/>
                      </a:cubicBezTo>
                      <a:cubicBezTo>
                        <a:pt x="237849" y="347662"/>
                        <a:pt x="237849" y="347662"/>
                        <a:pt x="237134" y="347662"/>
                      </a:cubicBezTo>
                      <a:cubicBezTo>
                        <a:pt x="177148" y="346950"/>
                        <a:pt x="128588" y="297798"/>
                        <a:pt x="128588" y="236537"/>
                      </a:cubicBezTo>
                      <a:cubicBezTo>
                        <a:pt x="128588" y="175276"/>
                        <a:pt x="177863" y="125412"/>
                        <a:pt x="238563" y="125412"/>
                      </a:cubicBezTo>
                      <a:close/>
                      <a:moveTo>
                        <a:pt x="238920" y="30162"/>
                      </a:moveTo>
                      <a:cubicBezTo>
                        <a:pt x="238920" y="30162"/>
                        <a:pt x="230354" y="30162"/>
                        <a:pt x="221074" y="30876"/>
                      </a:cubicBezTo>
                      <a:cubicBezTo>
                        <a:pt x="221074" y="30876"/>
                        <a:pt x="221074" y="30876"/>
                        <a:pt x="204656" y="74445"/>
                      </a:cubicBezTo>
                      <a:cubicBezTo>
                        <a:pt x="204656" y="74445"/>
                        <a:pt x="204656" y="74445"/>
                        <a:pt x="196804" y="76587"/>
                      </a:cubicBezTo>
                      <a:cubicBezTo>
                        <a:pt x="186811" y="78730"/>
                        <a:pt x="176817" y="82301"/>
                        <a:pt x="167537" y="86587"/>
                      </a:cubicBezTo>
                      <a:cubicBezTo>
                        <a:pt x="167537" y="86587"/>
                        <a:pt x="167537" y="86587"/>
                        <a:pt x="160399" y="89444"/>
                      </a:cubicBezTo>
                      <a:cubicBezTo>
                        <a:pt x="160399" y="89444"/>
                        <a:pt x="160399" y="89444"/>
                        <a:pt x="121139" y="67302"/>
                      </a:cubicBezTo>
                      <a:cubicBezTo>
                        <a:pt x="113287" y="73016"/>
                        <a:pt x="106862" y="78730"/>
                        <a:pt x="106862" y="78730"/>
                      </a:cubicBezTo>
                      <a:cubicBezTo>
                        <a:pt x="106862" y="78730"/>
                        <a:pt x="99724" y="84444"/>
                        <a:pt x="93300" y="90872"/>
                      </a:cubicBezTo>
                      <a:cubicBezTo>
                        <a:pt x="93300" y="90872"/>
                        <a:pt x="93300" y="90872"/>
                        <a:pt x="106862" y="130155"/>
                      </a:cubicBezTo>
                      <a:cubicBezTo>
                        <a:pt x="106862" y="130155"/>
                        <a:pt x="106862" y="130155"/>
                        <a:pt x="101865" y="136583"/>
                      </a:cubicBezTo>
                      <a:cubicBezTo>
                        <a:pt x="94013" y="147297"/>
                        <a:pt x="86875" y="158010"/>
                        <a:pt x="81878" y="169438"/>
                      </a:cubicBezTo>
                      <a:cubicBezTo>
                        <a:pt x="81878" y="169438"/>
                        <a:pt x="81878" y="169438"/>
                        <a:pt x="78309" y="176580"/>
                      </a:cubicBezTo>
                      <a:cubicBezTo>
                        <a:pt x="78309" y="176580"/>
                        <a:pt x="78309" y="176580"/>
                        <a:pt x="39763" y="183723"/>
                      </a:cubicBezTo>
                      <a:cubicBezTo>
                        <a:pt x="37621" y="193008"/>
                        <a:pt x="36194" y="200864"/>
                        <a:pt x="36194" y="201579"/>
                      </a:cubicBezTo>
                      <a:cubicBezTo>
                        <a:pt x="36194" y="201579"/>
                        <a:pt x="34766" y="209435"/>
                        <a:pt x="33338" y="219435"/>
                      </a:cubicBezTo>
                      <a:cubicBezTo>
                        <a:pt x="33338" y="219435"/>
                        <a:pt x="33338" y="219435"/>
                        <a:pt x="66174" y="238005"/>
                      </a:cubicBezTo>
                      <a:cubicBezTo>
                        <a:pt x="66174" y="238005"/>
                        <a:pt x="66174" y="238005"/>
                        <a:pt x="66174" y="246575"/>
                      </a:cubicBezTo>
                      <a:cubicBezTo>
                        <a:pt x="66888" y="260146"/>
                        <a:pt x="69743" y="273716"/>
                        <a:pt x="73312" y="286573"/>
                      </a:cubicBezTo>
                      <a:cubicBezTo>
                        <a:pt x="73312" y="286573"/>
                        <a:pt x="73312" y="286573"/>
                        <a:pt x="76168" y="294429"/>
                      </a:cubicBezTo>
                      <a:cubicBezTo>
                        <a:pt x="76168" y="294429"/>
                        <a:pt x="76168" y="294429"/>
                        <a:pt x="51898" y="324427"/>
                      </a:cubicBezTo>
                      <a:cubicBezTo>
                        <a:pt x="56181" y="332284"/>
                        <a:pt x="60464" y="340140"/>
                        <a:pt x="60464" y="340140"/>
                      </a:cubicBezTo>
                      <a:cubicBezTo>
                        <a:pt x="60464" y="340140"/>
                        <a:pt x="64747" y="347283"/>
                        <a:pt x="69743" y="355139"/>
                      </a:cubicBezTo>
                      <a:cubicBezTo>
                        <a:pt x="69743" y="355139"/>
                        <a:pt x="69743" y="355139"/>
                        <a:pt x="109717" y="348711"/>
                      </a:cubicBezTo>
                      <a:cubicBezTo>
                        <a:pt x="109717" y="348711"/>
                        <a:pt x="109717" y="348711"/>
                        <a:pt x="115428" y="354425"/>
                      </a:cubicBezTo>
                      <a:cubicBezTo>
                        <a:pt x="123994" y="362996"/>
                        <a:pt x="133988" y="370138"/>
                        <a:pt x="143981" y="376566"/>
                      </a:cubicBezTo>
                      <a:cubicBezTo>
                        <a:pt x="143981" y="376566"/>
                        <a:pt x="143981" y="376566"/>
                        <a:pt x="151119" y="381566"/>
                      </a:cubicBezTo>
                      <a:cubicBezTo>
                        <a:pt x="151119" y="381566"/>
                        <a:pt x="151119" y="381566"/>
                        <a:pt x="151833" y="423706"/>
                      </a:cubicBezTo>
                      <a:cubicBezTo>
                        <a:pt x="160399" y="427991"/>
                        <a:pt x="168251" y="430848"/>
                        <a:pt x="168251" y="430848"/>
                      </a:cubicBezTo>
                      <a:cubicBezTo>
                        <a:pt x="168251" y="430848"/>
                        <a:pt x="176103" y="433705"/>
                        <a:pt x="185383" y="436562"/>
                      </a:cubicBezTo>
                      <a:cubicBezTo>
                        <a:pt x="185383" y="436562"/>
                        <a:pt x="185383" y="436562"/>
                        <a:pt x="214650" y="402279"/>
                      </a:cubicBezTo>
                      <a:cubicBezTo>
                        <a:pt x="214650" y="402279"/>
                        <a:pt x="214650" y="402279"/>
                        <a:pt x="222502" y="402993"/>
                      </a:cubicBezTo>
                      <a:cubicBezTo>
                        <a:pt x="231068" y="403707"/>
                        <a:pt x="238920" y="404422"/>
                        <a:pt x="247486" y="403707"/>
                      </a:cubicBezTo>
                      <a:cubicBezTo>
                        <a:pt x="250341" y="403707"/>
                        <a:pt x="252482" y="403707"/>
                        <a:pt x="255338" y="402993"/>
                      </a:cubicBezTo>
                      <a:cubicBezTo>
                        <a:pt x="255338" y="402993"/>
                        <a:pt x="255338" y="402993"/>
                        <a:pt x="263190" y="402279"/>
                      </a:cubicBezTo>
                      <a:cubicBezTo>
                        <a:pt x="263190" y="402279"/>
                        <a:pt x="263190" y="402279"/>
                        <a:pt x="292457" y="436562"/>
                      </a:cubicBezTo>
                      <a:cubicBezTo>
                        <a:pt x="301736" y="433705"/>
                        <a:pt x="309588" y="430848"/>
                        <a:pt x="309588" y="430848"/>
                      </a:cubicBezTo>
                      <a:cubicBezTo>
                        <a:pt x="310302" y="430848"/>
                        <a:pt x="318154" y="427991"/>
                        <a:pt x="326720" y="423706"/>
                      </a:cubicBezTo>
                      <a:cubicBezTo>
                        <a:pt x="326720" y="423706"/>
                        <a:pt x="326720" y="423706"/>
                        <a:pt x="326720" y="381566"/>
                      </a:cubicBezTo>
                      <a:cubicBezTo>
                        <a:pt x="326720" y="381566"/>
                        <a:pt x="326720" y="381566"/>
                        <a:pt x="334572" y="377281"/>
                      </a:cubicBezTo>
                      <a:cubicBezTo>
                        <a:pt x="344566" y="370138"/>
                        <a:pt x="353846" y="362996"/>
                        <a:pt x="363125" y="354425"/>
                      </a:cubicBezTo>
                      <a:cubicBezTo>
                        <a:pt x="363125" y="354425"/>
                        <a:pt x="363125" y="354425"/>
                        <a:pt x="368836" y="348711"/>
                      </a:cubicBezTo>
                      <a:cubicBezTo>
                        <a:pt x="368836" y="348711"/>
                        <a:pt x="368836" y="348711"/>
                        <a:pt x="408096" y="355854"/>
                      </a:cubicBezTo>
                      <a:cubicBezTo>
                        <a:pt x="413807" y="347997"/>
                        <a:pt x="418090" y="340140"/>
                        <a:pt x="418090" y="340140"/>
                      </a:cubicBezTo>
                      <a:cubicBezTo>
                        <a:pt x="418090" y="340140"/>
                        <a:pt x="422373" y="332998"/>
                        <a:pt x="425942" y="324427"/>
                      </a:cubicBezTo>
                      <a:cubicBezTo>
                        <a:pt x="425942" y="324427"/>
                        <a:pt x="425942" y="324427"/>
                        <a:pt x="402386" y="295144"/>
                      </a:cubicBezTo>
                      <a:cubicBezTo>
                        <a:pt x="402386" y="295144"/>
                        <a:pt x="402386" y="295144"/>
                        <a:pt x="405241" y="287287"/>
                      </a:cubicBezTo>
                      <a:cubicBezTo>
                        <a:pt x="408810" y="273716"/>
                        <a:pt x="411665" y="260146"/>
                        <a:pt x="412379" y="246575"/>
                      </a:cubicBezTo>
                      <a:cubicBezTo>
                        <a:pt x="412379" y="246575"/>
                        <a:pt x="412379" y="246575"/>
                        <a:pt x="413093" y="238005"/>
                      </a:cubicBezTo>
                      <a:cubicBezTo>
                        <a:pt x="413093" y="238005"/>
                        <a:pt x="413093" y="238005"/>
                        <a:pt x="444501" y="219435"/>
                      </a:cubicBezTo>
                      <a:cubicBezTo>
                        <a:pt x="443787" y="210149"/>
                        <a:pt x="442360" y="201579"/>
                        <a:pt x="442360" y="201579"/>
                      </a:cubicBezTo>
                      <a:cubicBezTo>
                        <a:pt x="442360" y="201579"/>
                        <a:pt x="440932" y="193008"/>
                        <a:pt x="438791" y="183723"/>
                      </a:cubicBezTo>
                      <a:cubicBezTo>
                        <a:pt x="438791" y="183723"/>
                        <a:pt x="438791" y="183723"/>
                        <a:pt x="428083" y="182294"/>
                      </a:cubicBezTo>
                      <a:cubicBezTo>
                        <a:pt x="428083" y="182294"/>
                        <a:pt x="428083" y="182294"/>
                        <a:pt x="400244" y="176580"/>
                      </a:cubicBezTo>
                      <a:cubicBezTo>
                        <a:pt x="400244" y="176580"/>
                        <a:pt x="400244" y="176580"/>
                        <a:pt x="397389" y="169438"/>
                      </a:cubicBezTo>
                      <a:cubicBezTo>
                        <a:pt x="396675" y="168010"/>
                        <a:pt x="395961" y="167295"/>
                        <a:pt x="395247" y="165867"/>
                      </a:cubicBezTo>
                      <a:cubicBezTo>
                        <a:pt x="390251" y="155868"/>
                        <a:pt x="383826" y="146583"/>
                        <a:pt x="377402" y="136583"/>
                      </a:cubicBezTo>
                      <a:cubicBezTo>
                        <a:pt x="377402" y="136583"/>
                        <a:pt x="377402" y="136583"/>
                        <a:pt x="371691" y="130155"/>
                      </a:cubicBezTo>
                      <a:cubicBezTo>
                        <a:pt x="371691" y="130155"/>
                        <a:pt x="371691" y="130155"/>
                        <a:pt x="385254" y="90872"/>
                      </a:cubicBezTo>
                      <a:cubicBezTo>
                        <a:pt x="378829" y="84444"/>
                        <a:pt x="372405" y="78730"/>
                        <a:pt x="371691" y="78730"/>
                      </a:cubicBezTo>
                      <a:cubicBezTo>
                        <a:pt x="371691" y="78730"/>
                        <a:pt x="365267" y="73016"/>
                        <a:pt x="358128" y="67302"/>
                      </a:cubicBezTo>
                      <a:cubicBezTo>
                        <a:pt x="358128" y="67302"/>
                        <a:pt x="358128" y="67302"/>
                        <a:pt x="318868" y="89444"/>
                      </a:cubicBezTo>
                      <a:cubicBezTo>
                        <a:pt x="318868" y="89444"/>
                        <a:pt x="318868" y="89444"/>
                        <a:pt x="311730" y="86587"/>
                      </a:cubicBezTo>
                      <a:cubicBezTo>
                        <a:pt x="301736" y="82301"/>
                        <a:pt x="292457" y="78730"/>
                        <a:pt x="282463" y="76587"/>
                      </a:cubicBezTo>
                      <a:cubicBezTo>
                        <a:pt x="282463" y="76587"/>
                        <a:pt x="282463" y="76587"/>
                        <a:pt x="273897" y="74445"/>
                      </a:cubicBezTo>
                      <a:cubicBezTo>
                        <a:pt x="273897" y="74445"/>
                        <a:pt x="273897" y="74445"/>
                        <a:pt x="256765" y="30876"/>
                      </a:cubicBezTo>
                      <a:cubicBezTo>
                        <a:pt x="247486" y="30162"/>
                        <a:pt x="238920" y="30162"/>
                        <a:pt x="238920" y="30162"/>
                      </a:cubicBezTo>
                      <a:close/>
                      <a:moveTo>
                        <a:pt x="237768" y="0"/>
                      </a:moveTo>
                      <a:cubicBezTo>
                        <a:pt x="238482" y="0"/>
                        <a:pt x="254905" y="0"/>
                        <a:pt x="269899" y="2137"/>
                      </a:cubicBezTo>
                      <a:cubicBezTo>
                        <a:pt x="269899" y="2137"/>
                        <a:pt x="269899" y="2137"/>
                        <a:pt x="279181" y="2849"/>
                      </a:cubicBezTo>
                      <a:cubicBezTo>
                        <a:pt x="279181" y="2849"/>
                        <a:pt x="279181" y="2849"/>
                        <a:pt x="296318" y="49143"/>
                      </a:cubicBezTo>
                      <a:cubicBezTo>
                        <a:pt x="302744" y="51280"/>
                        <a:pt x="309170" y="53416"/>
                        <a:pt x="315596" y="55553"/>
                      </a:cubicBezTo>
                      <a:cubicBezTo>
                        <a:pt x="315596" y="55553"/>
                        <a:pt x="315596" y="55553"/>
                        <a:pt x="358437" y="32050"/>
                      </a:cubicBezTo>
                      <a:cubicBezTo>
                        <a:pt x="358437" y="32050"/>
                        <a:pt x="358437" y="32050"/>
                        <a:pt x="366291" y="37035"/>
                      </a:cubicBezTo>
                      <a:cubicBezTo>
                        <a:pt x="377716" y="44870"/>
                        <a:pt x="390568" y="55553"/>
                        <a:pt x="391282" y="55553"/>
                      </a:cubicBezTo>
                      <a:cubicBezTo>
                        <a:pt x="391282" y="56265"/>
                        <a:pt x="404134" y="66949"/>
                        <a:pt x="414131" y="76920"/>
                      </a:cubicBezTo>
                      <a:cubicBezTo>
                        <a:pt x="414131" y="76920"/>
                        <a:pt x="414131" y="76920"/>
                        <a:pt x="420557" y="84042"/>
                      </a:cubicBezTo>
                      <a:cubicBezTo>
                        <a:pt x="420557" y="84042"/>
                        <a:pt x="420557" y="84042"/>
                        <a:pt x="405562" y="125350"/>
                      </a:cubicBezTo>
                      <a:cubicBezTo>
                        <a:pt x="411275" y="132473"/>
                        <a:pt x="416273" y="140307"/>
                        <a:pt x="420557" y="149566"/>
                      </a:cubicBezTo>
                      <a:cubicBezTo>
                        <a:pt x="420557" y="149566"/>
                        <a:pt x="420557" y="149566"/>
                        <a:pt x="421271" y="149566"/>
                      </a:cubicBezTo>
                      <a:cubicBezTo>
                        <a:pt x="421271" y="149566"/>
                        <a:pt x="421271" y="149566"/>
                        <a:pt x="462684" y="157400"/>
                      </a:cubicBezTo>
                      <a:cubicBezTo>
                        <a:pt x="462684" y="157400"/>
                        <a:pt x="462684" y="157400"/>
                        <a:pt x="464112" y="162386"/>
                      </a:cubicBezTo>
                      <a:cubicBezTo>
                        <a:pt x="464112" y="162386"/>
                        <a:pt x="464112" y="162386"/>
                        <a:pt x="464826" y="166659"/>
                      </a:cubicBezTo>
                      <a:cubicBezTo>
                        <a:pt x="469110" y="180191"/>
                        <a:pt x="471966" y="195860"/>
                        <a:pt x="471966" y="196572"/>
                      </a:cubicBezTo>
                      <a:cubicBezTo>
                        <a:pt x="471966" y="197284"/>
                        <a:pt x="474822" y="213665"/>
                        <a:pt x="476250" y="227910"/>
                      </a:cubicBezTo>
                      <a:cubicBezTo>
                        <a:pt x="476250" y="227910"/>
                        <a:pt x="476250" y="227910"/>
                        <a:pt x="476250" y="237169"/>
                      </a:cubicBezTo>
                      <a:cubicBezTo>
                        <a:pt x="476250" y="237169"/>
                        <a:pt x="476250" y="237169"/>
                        <a:pt x="441977" y="257111"/>
                      </a:cubicBezTo>
                      <a:cubicBezTo>
                        <a:pt x="441263" y="267794"/>
                        <a:pt x="439121" y="278477"/>
                        <a:pt x="436265" y="288448"/>
                      </a:cubicBezTo>
                      <a:cubicBezTo>
                        <a:pt x="436265" y="288448"/>
                        <a:pt x="436265" y="288448"/>
                        <a:pt x="461970" y="319786"/>
                      </a:cubicBezTo>
                      <a:cubicBezTo>
                        <a:pt x="461970" y="319786"/>
                        <a:pt x="461970" y="319786"/>
                        <a:pt x="457686" y="328332"/>
                      </a:cubicBezTo>
                      <a:cubicBezTo>
                        <a:pt x="452688" y="341152"/>
                        <a:pt x="444119" y="355397"/>
                        <a:pt x="444119" y="356109"/>
                      </a:cubicBezTo>
                      <a:cubicBezTo>
                        <a:pt x="443405" y="356821"/>
                        <a:pt x="435551" y="371065"/>
                        <a:pt x="426983" y="382461"/>
                      </a:cubicBezTo>
                      <a:cubicBezTo>
                        <a:pt x="426983" y="382461"/>
                        <a:pt x="426983" y="382461"/>
                        <a:pt x="421271" y="389583"/>
                      </a:cubicBezTo>
                      <a:cubicBezTo>
                        <a:pt x="421271" y="389583"/>
                        <a:pt x="421271" y="389583"/>
                        <a:pt x="377716" y="382461"/>
                      </a:cubicBezTo>
                      <a:cubicBezTo>
                        <a:pt x="371290" y="388871"/>
                        <a:pt x="364149" y="393856"/>
                        <a:pt x="357009" y="398842"/>
                      </a:cubicBezTo>
                      <a:cubicBezTo>
                        <a:pt x="357009" y="398842"/>
                        <a:pt x="357009" y="398842"/>
                        <a:pt x="356295" y="443712"/>
                      </a:cubicBezTo>
                      <a:cubicBezTo>
                        <a:pt x="356295" y="443712"/>
                        <a:pt x="356295" y="443712"/>
                        <a:pt x="348441" y="447985"/>
                      </a:cubicBezTo>
                      <a:cubicBezTo>
                        <a:pt x="335589" y="454395"/>
                        <a:pt x="319880" y="460093"/>
                        <a:pt x="319166" y="460093"/>
                      </a:cubicBezTo>
                      <a:cubicBezTo>
                        <a:pt x="319166" y="460805"/>
                        <a:pt x="303458" y="465790"/>
                        <a:pt x="289892" y="469351"/>
                      </a:cubicBezTo>
                      <a:cubicBezTo>
                        <a:pt x="289892" y="469351"/>
                        <a:pt x="289892" y="469351"/>
                        <a:pt x="280609" y="471488"/>
                      </a:cubicBezTo>
                      <a:cubicBezTo>
                        <a:pt x="280609" y="471488"/>
                        <a:pt x="280609" y="471488"/>
                        <a:pt x="248479" y="435165"/>
                      </a:cubicBezTo>
                      <a:cubicBezTo>
                        <a:pt x="244194" y="435165"/>
                        <a:pt x="240624" y="435165"/>
                        <a:pt x="236340" y="435165"/>
                      </a:cubicBezTo>
                      <a:cubicBezTo>
                        <a:pt x="232770" y="435165"/>
                        <a:pt x="229914" y="435165"/>
                        <a:pt x="226344" y="435165"/>
                      </a:cubicBezTo>
                      <a:cubicBezTo>
                        <a:pt x="226344" y="435165"/>
                        <a:pt x="226344" y="435165"/>
                        <a:pt x="197783" y="469351"/>
                      </a:cubicBezTo>
                      <a:cubicBezTo>
                        <a:pt x="197783" y="469351"/>
                        <a:pt x="197783" y="469351"/>
                        <a:pt x="195641" y="471488"/>
                      </a:cubicBezTo>
                      <a:cubicBezTo>
                        <a:pt x="195641" y="471488"/>
                        <a:pt x="195641" y="471488"/>
                        <a:pt x="186359" y="469351"/>
                      </a:cubicBezTo>
                      <a:cubicBezTo>
                        <a:pt x="172793" y="465790"/>
                        <a:pt x="157084" y="460093"/>
                        <a:pt x="156370" y="460093"/>
                      </a:cubicBezTo>
                      <a:cubicBezTo>
                        <a:pt x="155656" y="460093"/>
                        <a:pt x="140662" y="454395"/>
                        <a:pt x="127809" y="447985"/>
                      </a:cubicBezTo>
                      <a:cubicBezTo>
                        <a:pt x="127809" y="447985"/>
                        <a:pt x="127809" y="447985"/>
                        <a:pt x="119241" y="443712"/>
                      </a:cubicBezTo>
                      <a:cubicBezTo>
                        <a:pt x="119241" y="443712"/>
                        <a:pt x="119241" y="443712"/>
                        <a:pt x="118527" y="398842"/>
                      </a:cubicBezTo>
                      <a:cubicBezTo>
                        <a:pt x="111387" y="393856"/>
                        <a:pt x="104961" y="388159"/>
                        <a:pt x="98535" y="382461"/>
                      </a:cubicBezTo>
                      <a:cubicBezTo>
                        <a:pt x="98535" y="382461"/>
                        <a:pt x="98535" y="382461"/>
                        <a:pt x="54980" y="389583"/>
                      </a:cubicBezTo>
                      <a:cubicBezTo>
                        <a:pt x="54980" y="389583"/>
                        <a:pt x="54980" y="389583"/>
                        <a:pt x="49267" y="381749"/>
                      </a:cubicBezTo>
                      <a:cubicBezTo>
                        <a:pt x="40699" y="371065"/>
                        <a:pt x="32131" y="356821"/>
                        <a:pt x="32131" y="356109"/>
                      </a:cubicBezTo>
                      <a:cubicBezTo>
                        <a:pt x="31417" y="355397"/>
                        <a:pt x="23563" y="341152"/>
                        <a:pt x="17851" y="328332"/>
                      </a:cubicBezTo>
                      <a:cubicBezTo>
                        <a:pt x="17851" y="328332"/>
                        <a:pt x="17851" y="328332"/>
                        <a:pt x="14281" y="319786"/>
                      </a:cubicBezTo>
                      <a:cubicBezTo>
                        <a:pt x="14281" y="319786"/>
                        <a:pt x="14281" y="319786"/>
                        <a:pt x="39985" y="288448"/>
                      </a:cubicBezTo>
                      <a:cubicBezTo>
                        <a:pt x="37129" y="278477"/>
                        <a:pt x="35701" y="267794"/>
                        <a:pt x="34273" y="257111"/>
                      </a:cubicBezTo>
                      <a:cubicBezTo>
                        <a:pt x="34273" y="257111"/>
                        <a:pt x="34273" y="257111"/>
                        <a:pt x="0" y="237169"/>
                      </a:cubicBezTo>
                      <a:cubicBezTo>
                        <a:pt x="0" y="237169"/>
                        <a:pt x="0" y="237169"/>
                        <a:pt x="0" y="227198"/>
                      </a:cubicBezTo>
                      <a:cubicBezTo>
                        <a:pt x="714" y="212953"/>
                        <a:pt x="3570" y="197284"/>
                        <a:pt x="4284" y="196572"/>
                      </a:cubicBezTo>
                      <a:cubicBezTo>
                        <a:pt x="4284" y="195860"/>
                        <a:pt x="7140" y="179479"/>
                        <a:pt x="11425" y="165947"/>
                      </a:cubicBezTo>
                      <a:cubicBezTo>
                        <a:pt x="11425" y="165947"/>
                        <a:pt x="11425" y="165947"/>
                        <a:pt x="13567" y="157400"/>
                      </a:cubicBezTo>
                      <a:cubicBezTo>
                        <a:pt x="13567" y="157400"/>
                        <a:pt x="13567" y="157400"/>
                        <a:pt x="55694" y="149566"/>
                      </a:cubicBezTo>
                      <a:cubicBezTo>
                        <a:pt x="59978" y="140307"/>
                        <a:pt x="64976" y="132473"/>
                        <a:pt x="70688" y="125350"/>
                      </a:cubicBezTo>
                      <a:cubicBezTo>
                        <a:pt x="70688" y="125350"/>
                        <a:pt x="70688" y="125350"/>
                        <a:pt x="55694" y="84042"/>
                      </a:cubicBezTo>
                      <a:cubicBezTo>
                        <a:pt x="55694" y="84042"/>
                        <a:pt x="55694" y="84042"/>
                        <a:pt x="62834" y="76920"/>
                      </a:cubicBezTo>
                      <a:cubicBezTo>
                        <a:pt x="72116" y="66236"/>
                        <a:pt x="84968" y="56265"/>
                        <a:pt x="84968" y="55553"/>
                      </a:cubicBezTo>
                      <a:cubicBezTo>
                        <a:pt x="85682" y="54841"/>
                        <a:pt x="98535" y="44870"/>
                        <a:pt x="109959" y="37035"/>
                      </a:cubicBezTo>
                      <a:cubicBezTo>
                        <a:pt x="109959" y="37035"/>
                        <a:pt x="109959" y="37035"/>
                        <a:pt x="117813" y="32050"/>
                      </a:cubicBezTo>
                      <a:cubicBezTo>
                        <a:pt x="117813" y="32050"/>
                        <a:pt x="117813" y="32050"/>
                        <a:pt x="160654" y="55553"/>
                      </a:cubicBezTo>
                      <a:cubicBezTo>
                        <a:pt x="167080" y="53416"/>
                        <a:pt x="173507" y="51280"/>
                        <a:pt x="179933" y="49143"/>
                      </a:cubicBezTo>
                      <a:cubicBezTo>
                        <a:pt x="179933" y="49143"/>
                        <a:pt x="179933" y="49143"/>
                        <a:pt x="197069" y="2849"/>
                      </a:cubicBezTo>
                      <a:cubicBezTo>
                        <a:pt x="197069" y="2849"/>
                        <a:pt x="197069" y="2849"/>
                        <a:pt x="207065" y="2137"/>
                      </a:cubicBezTo>
                      <a:cubicBezTo>
                        <a:pt x="220632" y="0"/>
                        <a:pt x="237054" y="0"/>
                        <a:pt x="237768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5F5FB1D-774B-413D-8142-A825875DBDF7}"/>
              </a:ext>
            </a:extLst>
          </p:cNvPr>
          <p:cNvGrpSpPr/>
          <p:nvPr/>
        </p:nvGrpSpPr>
        <p:grpSpPr>
          <a:xfrm>
            <a:off x="3485727" y="3577143"/>
            <a:ext cx="1188720" cy="1188720"/>
            <a:chOff x="3497632" y="3439288"/>
            <a:chExt cx="1188720" cy="118872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AA6A2994-B553-4B9D-A743-4B587DF7170D}"/>
                </a:ext>
              </a:extLst>
            </p:cNvPr>
            <p:cNvSpPr/>
            <p:nvPr/>
          </p:nvSpPr>
          <p:spPr>
            <a:xfrm rot="10800000">
              <a:off x="3497632" y="3439288"/>
              <a:ext cx="1188720" cy="1188720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7B44B5B-A860-4D6F-9920-EFDA49DED95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34350" y="3576447"/>
              <a:ext cx="915283" cy="914400"/>
              <a:chOff x="6464300" y="2606675"/>
              <a:chExt cx="1646238" cy="1644650"/>
            </a:xfrm>
          </p:grpSpPr>
          <p:sp>
            <p:nvSpPr>
              <p:cNvPr id="23" name="AutoShape 3">
                <a:extLst>
                  <a:ext uri="{FF2B5EF4-FFF2-40B4-BE49-F238E27FC236}">
                    <a16:creationId xmlns:a16="http://schemas.microsoft.com/office/drawing/2014/main" id="{F85C5053-6E13-4359-B543-7F3D2CA43FC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2CBC90D-F5BA-4EAD-9506-A6F76610DD6A}"/>
                  </a:ext>
                </a:extLst>
              </p:cNvPr>
              <p:cNvGrpSpPr/>
              <p:nvPr/>
            </p:nvGrpSpPr>
            <p:grpSpPr>
              <a:xfrm>
                <a:off x="6635750" y="2962275"/>
                <a:ext cx="1304925" cy="931863"/>
                <a:chOff x="6635750" y="2962275"/>
                <a:chExt cx="1304925" cy="931863"/>
              </a:xfrm>
            </p:grpSpPr>
            <p:sp>
              <p:nvSpPr>
                <p:cNvPr id="25" name="Freeform 13">
                  <a:extLst>
                    <a:ext uri="{FF2B5EF4-FFF2-40B4-BE49-F238E27FC236}">
                      <a16:creationId xmlns:a16="http://schemas.microsoft.com/office/drawing/2014/main" id="{1ECD2BA1-E7C2-4EA7-A71F-9FEA431968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35750" y="2962275"/>
                  <a:ext cx="1304925" cy="931863"/>
                </a:xfrm>
                <a:custGeom>
                  <a:avLst/>
                  <a:gdLst>
                    <a:gd name="connsiteX0" fmla="*/ 1227594 w 1304925"/>
                    <a:gd name="connsiteY0" fmla="*/ 90488 h 931863"/>
                    <a:gd name="connsiteX1" fmla="*/ 1242612 w 1304925"/>
                    <a:gd name="connsiteY1" fmla="*/ 110474 h 931863"/>
                    <a:gd name="connsiteX2" fmla="*/ 1176819 w 1304925"/>
                    <a:gd name="connsiteY2" fmla="*/ 338167 h 931863"/>
                    <a:gd name="connsiteX3" fmla="*/ 1166807 w 1304925"/>
                    <a:gd name="connsiteY3" fmla="*/ 346018 h 931863"/>
                    <a:gd name="connsiteX4" fmla="*/ 1159656 w 1304925"/>
                    <a:gd name="connsiteY4" fmla="*/ 343163 h 931863"/>
                    <a:gd name="connsiteX5" fmla="*/ 1109596 w 1304925"/>
                    <a:gd name="connsiteY5" fmla="*/ 302478 h 931863"/>
                    <a:gd name="connsiteX6" fmla="*/ 1103160 w 1304925"/>
                    <a:gd name="connsiteY6" fmla="*/ 300337 h 931863"/>
                    <a:gd name="connsiteX7" fmla="*/ 1094578 w 1304925"/>
                    <a:gd name="connsiteY7" fmla="*/ 303906 h 931863"/>
                    <a:gd name="connsiteX8" fmla="*/ 1065972 w 1304925"/>
                    <a:gd name="connsiteY8" fmla="*/ 335312 h 931863"/>
                    <a:gd name="connsiteX9" fmla="*/ 920084 w 1304925"/>
                    <a:gd name="connsiteY9" fmla="*/ 503048 h 931863"/>
                    <a:gd name="connsiteX10" fmla="*/ 911502 w 1304925"/>
                    <a:gd name="connsiteY10" fmla="*/ 506617 h 931863"/>
                    <a:gd name="connsiteX11" fmla="*/ 905781 w 1304925"/>
                    <a:gd name="connsiteY11" fmla="*/ 505190 h 931863"/>
                    <a:gd name="connsiteX12" fmla="*/ 892193 w 1304925"/>
                    <a:gd name="connsiteY12" fmla="*/ 495911 h 931863"/>
                    <a:gd name="connsiteX13" fmla="*/ 866448 w 1304925"/>
                    <a:gd name="connsiteY13" fmla="*/ 480208 h 931863"/>
                    <a:gd name="connsiteX14" fmla="*/ 865733 w 1304925"/>
                    <a:gd name="connsiteY14" fmla="*/ 480208 h 931863"/>
                    <a:gd name="connsiteX15" fmla="*/ 727710 w 1304925"/>
                    <a:gd name="connsiteY15" fmla="*/ 386703 h 931863"/>
                    <a:gd name="connsiteX16" fmla="*/ 721274 w 1304925"/>
                    <a:gd name="connsiteY16" fmla="*/ 384562 h 931863"/>
                    <a:gd name="connsiteX17" fmla="*/ 713407 w 1304925"/>
                    <a:gd name="connsiteY17" fmla="*/ 388131 h 931863"/>
                    <a:gd name="connsiteX18" fmla="*/ 691238 w 1304925"/>
                    <a:gd name="connsiteY18" fmla="*/ 410972 h 931863"/>
                    <a:gd name="connsiteX19" fmla="*/ 665493 w 1304925"/>
                    <a:gd name="connsiteY19" fmla="*/ 439523 h 931863"/>
                    <a:gd name="connsiteX20" fmla="*/ 488853 w 1304925"/>
                    <a:gd name="connsiteY20" fmla="*/ 623676 h 931863"/>
                    <a:gd name="connsiteX21" fmla="*/ 468829 w 1304925"/>
                    <a:gd name="connsiteY21" fmla="*/ 645089 h 931863"/>
                    <a:gd name="connsiteX22" fmla="*/ 456672 w 1304925"/>
                    <a:gd name="connsiteY22" fmla="*/ 650085 h 931863"/>
                    <a:gd name="connsiteX23" fmla="*/ 449520 w 1304925"/>
                    <a:gd name="connsiteY23" fmla="*/ 648658 h 931863"/>
                    <a:gd name="connsiteX24" fmla="*/ 303631 w 1304925"/>
                    <a:gd name="connsiteY24" fmla="*/ 580136 h 931863"/>
                    <a:gd name="connsiteX25" fmla="*/ 299340 w 1304925"/>
                    <a:gd name="connsiteY25" fmla="*/ 579422 h 931863"/>
                    <a:gd name="connsiteX26" fmla="*/ 290044 w 1304925"/>
                    <a:gd name="connsiteY26" fmla="*/ 582991 h 931863"/>
                    <a:gd name="connsiteX27" fmla="*/ 284322 w 1304925"/>
                    <a:gd name="connsiteY27" fmla="*/ 590842 h 931863"/>
                    <a:gd name="connsiteX28" fmla="*/ 256432 w 1304925"/>
                    <a:gd name="connsiteY28" fmla="*/ 622248 h 931863"/>
                    <a:gd name="connsiteX29" fmla="*/ 81937 w 1304925"/>
                    <a:gd name="connsiteY29" fmla="*/ 817822 h 931863"/>
                    <a:gd name="connsiteX30" fmla="*/ 61913 w 1304925"/>
                    <a:gd name="connsiteY30" fmla="*/ 841376 h 931863"/>
                    <a:gd name="connsiteX31" fmla="*/ 81937 w 1304925"/>
                    <a:gd name="connsiteY31" fmla="*/ 814967 h 931863"/>
                    <a:gd name="connsiteX32" fmla="*/ 256432 w 1304925"/>
                    <a:gd name="connsiteY32" fmla="*/ 582991 h 931863"/>
                    <a:gd name="connsiteX33" fmla="*/ 279316 w 1304925"/>
                    <a:gd name="connsiteY33" fmla="*/ 553012 h 931863"/>
                    <a:gd name="connsiteX34" fmla="*/ 288613 w 1304925"/>
                    <a:gd name="connsiteY34" fmla="*/ 548730 h 931863"/>
                    <a:gd name="connsiteX35" fmla="*/ 292189 w 1304925"/>
                    <a:gd name="connsiteY35" fmla="*/ 549443 h 931863"/>
                    <a:gd name="connsiteX36" fmla="*/ 445229 w 1304925"/>
                    <a:gd name="connsiteY36" fmla="*/ 605118 h 931863"/>
                    <a:gd name="connsiteX37" fmla="*/ 449520 w 1304925"/>
                    <a:gd name="connsiteY37" fmla="*/ 605831 h 931863"/>
                    <a:gd name="connsiteX38" fmla="*/ 457387 w 1304925"/>
                    <a:gd name="connsiteY38" fmla="*/ 601549 h 931863"/>
                    <a:gd name="connsiteX39" fmla="*/ 488853 w 1304925"/>
                    <a:gd name="connsiteY39" fmla="*/ 563719 h 931863"/>
                    <a:gd name="connsiteX40" fmla="*/ 665493 w 1304925"/>
                    <a:gd name="connsiteY40" fmla="*/ 356011 h 931863"/>
                    <a:gd name="connsiteX41" fmla="*/ 691238 w 1304925"/>
                    <a:gd name="connsiteY41" fmla="*/ 324605 h 931863"/>
                    <a:gd name="connsiteX42" fmla="*/ 701965 w 1304925"/>
                    <a:gd name="connsiteY42" fmla="*/ 311044 h 931863"/>
                    <a:gd name="connsiteX43" fmla="*/ 710547 w 1304925"/>
                    <a:gd name="connsiteY43" fmla="*/ 307475 h 931863"/>
                    <a:gd name="connsiteX44" fmla="*/ 716268 w 1304925"/>
                    <a:gd name="connsiteY44" fmla="*/ 308902 h 931863"/>
                    <a:gd name="connsiteX45" fmla="*/ 866448 w 1304925"/>
                    <a:gd name="connsiteY45" fmla="*/ 398124 h 931863"/>
                    <a:gd name="connsiteX46" fmla="*/ 892193 w 1304925"/>
                    <a:gd name="connsiteY46" fmla="*/ 413827 h 931863"/>
                    <a:gd name="connsiteX47" fmla="*/ 892193 w 1304925"/>
                    <a:gd name="connsiteY47" fmla="*/ 414541 h 931863"/>
                    <a:gd name="connsiteX48" fmla="*/ 897914 w 1304925"/>
                    <a:gd name="connsiteY48" fmla="*/ 415968 h 931863"/>
                    <a:gd name="connsiteX49" fmla="*/ 906496 w 1304925"/>
                    <a:gd name="connsiteY49" fmla="*/ 411685 h 931863"/>
                    <a:gd name="connsiteX50" fmla="*/ 1037367 w 1304925"/>
                    <a:gd name="connsiteY50" fmla="*/ 258225 h 931863"/>
                    <a:gd name="connsiteX51" fmla="*/ 1035221 w 1304925"/>
                    <a:gd name="connsiteY51" fmla="*/ 243949 h 931863"/>
                    <a:gd name="connsiteX52" fmla="*/ 986592 w 1304925"/>
                    <a:gd name="connsiteY52" fmla="*/ 207547 h 931863"/>
                    <a:gd name="connsiteX53" fmla="*/ 988737 w 1304925"/>
                    <a:gd name="connsiteY53" fmla="*/ 189702 h 931863"/>
                    <a:gd name="connsiteX54" fmla="*/ 999464 w 1304925"/>
                    <a:gd name="connsiteY54" fmla="*/ 185420 h 931863"/>
                    <a:gd name="connsiteX55" fmla="*/ 1220443 w 1304925"/>
                    <a:gd name="connsiteY55" fmla="*/ 91916 h 931863"/>
                    <a:gd name="connsiteX56" fmla="*/ 1227594 w 1304925"/>
                    <a:gd name="connsiteY56" fmla="*/ 90488 h 931863"/>
                    <a:gd name="connsiteX57" fmla="*/ 30163 w 1304925"/>
                    <a:gd name="connsiteY57" fmla="*/ 31750 h 931863"/>
                    <a:gd name="connsiteX58" fmla="*/ 30163 w 1304925"/>
                    <a:gd name="connsiteY58" fmla="*/ 900113 h 931863"/>
                    <a:gd name="connsiteX59" fmla="*/ 1274763 w 1304925"/>
                    <a:gd name="connsiteY59" fmla="*/ 900113 h 931863"/>
                    <a:gd name="connsiteX60" fmla="*/ 1274763 w 1304925"/>
                    <a:gd name="connsiteY60" fmla="*/ 31750 h 931863"/>
                    <a:gd name="connsiteX61" fmla="*/ 30163 w 1304925"/>
                    <a:gd name="connsiteY61" fmla="*/ 31750 h 931863"/>
                    <a:gd name="connsiteX62" fmla="*/ 15705 w 1304925"/>
                    <a:gd name="connsiteY62" fmla="*/ 0 h 931863"/>
                    <a:gd name="connsiteX63" fmla="*/ 1289220 w 1304925"/>
                    <a:gd name="connsiteY63" fmla="*/ 0 h 931863"/>
                    <a:gd name="connsiteX64" fmla="*/ 1304925 w 1304925"/>
                    <a:gd name="connsiteY64" fmla="*/ 15698 h 931863"/>
                    <a:gd name="connsiteX65" fmla="*/ 1304925 w 1304925"/>
                    <a:gd name="connsiteY65" fmla="*/ 916166 h 931863"/>
                    <a:gd name="connsiteX66" fmla="*/ 1289220 w 1304925"/>
                    <a:gd name="connsiteY66" fmla="*/ 931863 h 931863"/>
                    <a:gd name="connsiteX67" fmla="*/ 15705 w 1304925"/>
                    <a:gd name="connsiteY67" fmla="*/ 931863 h 931863"/>
                    <a:gd name="connsiteX68" fmla="*/ 0 w 1304925"/>
                    <a:gd name="connsiteY68" fmla="*/ 916166 h 931863"/>
                    <a:gd name="connsiteX69" fmla="*/ 0 w 1304925"/>
                    <a:gd name="connsiteY69" fmla="*/ 15698 h 931863"/>
                    <a:gd name="connsiteX70" fmla="*/ 15705 w 1304925"/>
                    <a:gd name="connsiteY70" fmla="*/ 0 h 931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</a:cxnLst>
                  <a:rect l="l" t="t" r="r" b="b"/>
                  <a:pathLst>
                    <a:path w="1304925" h="931863">
                      <a:moveTo>
                        <a:pt x="1227594" y="90488"/>
                      </a:moveTo>
                      <a:cubicBezTo>
                        <a:pt x="1237606" y="90488"/>
                        <a:pt x="1246188" y="100481"/>
                        <a:pt x="1242612" y="110474"/>
                      </a:cubicBezTo>
                      <a:cubicBezTo>
                        <a:pt x="1242612" y="110474"/>
                        <a:pt x="1242612" y="110474"/>
                        <a:pt x="1176819" y="338167"/>
                      </a:cubicBezTo>
                      <a:cubicBezTo>
                        <a:pt x="1175389" y="343163"/>
                        <a:pt x="1171813" y="346018"/>
                        <a:pt x="1166807" y="346018"/>
                      </a:cubicBezTo>
                      <a:cubicBezTo>
                        <a:pt x="1164662" y="346018"/>
                        <a:pt x="1161801" y="345305"/>
                        <a:pt x="1159656" y="343163"/>
                      </a:cubicBezTo>
                      <a:cubicBezTo>
                        <a:pt x="1159656" y="343163"/>
                        <a:pt x="1159656" y="343163"/>
                        <a:pt x="1109596" y="302478"/>
                      </a:cubicBezTo>
                      <a:cubicBezTo>
                        <a:pt x="1108166" y="301051"/>
                        <a:pt x="1105305" y="300337"/>
                        <a:pt x="1103160" y="300337"/>
                      </a:cubicBezTo>
                      <a:cubicBezTo>
                        <a:pt x="1100299" y="300337"/>
                        <a:pt x="1096724" y="301765"/>
                        <a:pt x="1094578" y="303906"/>
                      </a:cubicBezTo>
                      <a:cubicBezTo>
                        <a:pt x="1094578" y="303906"/>
                        <a:pt x="1094578" y="303906"/>
                        <a:pt x="1065972" y="335312"/>
                      </a:cubicBezTo>
                      <a:cubicBezTo>
                        <a:pt x="1065972" y="335312"/>
                        <a:pt x="1065972" y="335312"/>
                        <a:pt x="920084" y="503048"/>
                      </a:cubicBezTo>
                      <a:cubicBezTo>
                        <a:pt x="917938" y="505903"/>
                        <a:pt x="915078" y="506617"/>
                        <a:pt x="911502" y="506617"/>
                      </a:cubicBezTo>
                      <a:cubicBezTo>
                        <a:pt x="910072" y="506617"/>
                        <a:pt x="907926" y="506617"/>
                        <a:pt x="905781" y="505190"/>
                      </a:cubicBezTo>
                      <a:cubicBezTo>
                        <a:pt x="905781" y="505190"/>
                        <a:pt x="905781" y="505190"/>
                        <a:pt x="892193" y="495911"/>
                      </a:cubicBezTo>
                      <a:cubicBezTo>
                        <a:pt x="892193" y="495911"/>
                        <a:pt x="892193" y="495911"/>
                        <a:pt x="866448" y="480208"/>
                      </a:cubicBezTo>
                      <a:cubicBezTo>
                        <a:pt x="866448" y="480208"/>
                        <a:pt x="866448" y="480208"/>
                        <a:pt x="865733" y="480208"/>
                      </a:cubicBezTo>
                      <a:cubicBezTo>
                        <a:pt x="865733" y="480208"/>
                        <a:pt x="865733" y="480208"/>
                        <a:pt x="727710" y="386703"/>
                      </a:cubicBezTo>
                      <a:cubicBezTo>
                        <a:pt x="725565" y="385276"/>
                        <a:pt x="723419" y="384562"/>
                        <a:pt x="721274" y="384562"/>
                      </a:cubicBezTo>
                      <a:cubicBezTo>
                        <a:pt x="718413" y="384562"/>
                        <a:pt x="715553" y="385990"/>
                        <a:pt x="713407" y="388131"/>
                      </a:cubicBezTo>
                      <a:cubicBezTo>
                        <a:pt x="713407" y="388131"/>
                        <a:pt x="713407" y="388131"/>
                        <a:pt x="691238" y="410972"/>
                      </a:cubicBezTo>
                      <a:cubicBezTo>
                        <a:pt x="691238" y="410972"/>
                        <a:pt x="691238" y="410972"/>
                        <a:pt x="665493" y="439523"/>
                      </a:cubicBezTo>
                      <a:cubicBezTo>
                        <a:pt x="665493" y="439523"/>
                        <a:pt x="665493" y="439523"/>
                        <a:pt x="488853" y="623676"/>
                      </a:cubicBezTo>
                      <a:cubicBezTo>
                        <a:pt x="488853" y="623676"/>
                        <a:pt x="488853" y="623676"/>
                        <a:pt x="468829" y="645089"/>
                      </a:cubicBezTo>
                      <a:cubicBezTo>
                        <a:pt x="465968" y="648658"/>
                        <a:pt x="461678" y="650085"/>
                        <a:pt x="456672" y="650085"/>
                      </a:cubicBezTo>
                      <a:cubicBezTo>
                        <a:pt x="454526" y="650085"/>
                        <a:pt x="451666" y="649372"/>
                        <a:pt x="449520" y="648658"/>
                      </a:cubicBezTo>
                      <a:cubicBezTo>
                        <a:pt x="449520" y="648658"/>
                        <a:pt x="449520" y="648658"/>
                        <a:pt x="303631" y="580136"/>
                      </a:cubicBezTo>
                      <a:cubicBezTo>
                        <a:pt x="302201" y="579422"/>
                        <a:pt x="300771" y="579422"/>
                        <a:pt x="299340" y="579422"/>
                      </a:cubicBezTo>
                      <a:cubicBezTo>
                        <a:pt x="295765" y="579422"/>
                        <a:pt x="292189" y="580849"/>
                        <a:pt x="290044" y="582991"/>
                      </a:cubicBezTo>
                      <a:cubicBezTo>
                        <a:pt x="290044" y="582991"/>
                        <a:pt x="290044" y="582991"/>
                        <a:pt x="284322" y="590842"/>
                      </a:cubicBezTo>
                      <a:cubicBezTo>
                        <a:pt x="284322" y="590842"/>
                        <a:pt x="284322" y="590842"/>
                        <a:pt x="256432" y="622248"/>
                      </a:cubicBezTo>
                      <a:cubicBezTo>
                        <a:pt x="256432" y="622248"/>
                        <a:pt x="256432" y="622248"/>
                        <a:pt x="81937" y="817822"/>
                      </a:cubicBezTo>
                      <a:cubicBezTo>
                        <a:pt x="81937" y="817822"/>
                        <a:pt x="81937" y="817822"/>
                        <a:pt x="61913" y="841376"/>
                      </a:cubicBezTo>
                      <a:cubicBezTo>
                        <a:pt x="61913" y="841376"/>
                        <a:pt x="61913" y="841376"/>
                        <a:pt x="81937" y="814967"/>
                      </a:cubicBezTo>
                      <a:cubicBezTo>
                        <a:pt x="81937" y="814967"/>
                        <a:pt x="81937" y="814967"/>
                        <a:pt x="256432" y="582991"/>
                      </a:cubicBezTo>
                      <a:cubicBezTo>
                        <a:pt x="256432" y="582991"/>
                        <a:pt x="256432" y="582991"/>
                        <a:pt x="279316" y="553012"/>
                      </a:cubicBezTo>
                      <a:cubicBezTo>
                        <a:pt x="281462" y="550157"/>
                        <a:pt x="285038" y="548730"/>
                        <a:pt x="288613" y="548730"/>
                      </a:cubicBezTo>
                      <a:cubicBezTo>
                        <a:pt x="289328" y="548730"/>
                        <a:pt x="290759" y="548730"/>
                        <a:pt x="292189" y="549443"/>
                      </a:cubicBezTo>
                      <a:cubicBezTo>
                        <a:pt x="292189" y="549443"/>
                        <a:pt x="292189" y="549443"/>
                        <a:pt x="445229" y="605118"/>
                      </a:cubicBezTo>
                      <a:cubicBezTo>
                        <a:pt x="446660" y="605831"/>
                        <a:pt x="448090" y="605831"/>
                        <a:pt x="449520" y="605831"/>
                      </a:cubicBezTo>
                      <a:cubicBezTo>
                        <a:pt x="452381" y="605831"/>
                        <a:pt x="455956" y="604404"/>
                        <a:pt x="457387" y="601549"/>
                      </a:cubicBezTo>
                      <a:cubicBezTo>
                        <a:pt x="457387" y="601549"/>
                        <a:pt x="457387" y="601549"/>
                        <a:pt x="488853" y="563719"/>
                      </a:cubicBezTo>
                      <a:cubicBezTo>
                        <a:pt x="488853" y="563719"/>
                        <a:pt x="488853" y="563719"/>
                        <a:pt x="665493" y="356011"/>
                      </a:cubicBezTo>
                      <a:cubicBezTo>
                        <a:pt x="665493" y="356011"/>
                        <a:pt x="665493" y="356011"/>
                        <a:pt x="691238" y="324605"/>
                      </a:cubicBezTo>
                      <a:cubicBezTo>
                        <a:pt x="691238" y="324605"/>
                        <a:pt x="691238" y="324605"/>
                        <a:pt x="701965" y="311044"/>
                      </a:cubicBezTo>
                      <a:cubicBezTo>
                        <a:pt x="704111" y="308902"/>
                        <a:pt x="706971" y="307475"/>
                        <a:pt x="710547" y="307475"/>
                      </a:cubicBezTo>
                      <a:cubicBezTo>
                        <a:pt x="712692" y="307475"/>
                        <a:pt x="714123" y="308189"/>
                        <a:pt x="716268" y="308902"/>
                      </a:cubicBezTo>
                      <a:cubicBezTo>
                        <a:pt x="716268" y="308902"/>
                        <a:pt x="716268" y="308902"/>
                        <a:pt x="866448" y="398124"/>
                      </a:cubicBezTo>
                      <a:cubicBezTo>
                        <a:pt x="866448" y="398124"/>
                        <a:pt x="866448" y="398124"/>
                        <a:pt x="892193" y="413827"/>
                      </a:cubicBezTo>
                      <a:cubicBezTo>
                        <a:pt x="892193" y="413827"/>
                        <a:pt x="892193" y="413827"/>
                        <a:pt x="892193" y="414541"/>
                      </a:cubicBezTo>
                      <a:cubicBezTo>
                        <a:pt x="894338" y="415254"/>
                        <a:pt x="895769" y="415968"/>
                        <a:pt x="897914" y="415968"/>
                      </a:cubicBezTo>
                      <a:cubicBezTo>
                        <a:pt x="901490" y="415968"/>
                        <a:pt x="905066" y="414541"/>
                        <a:pt x="906496" y="411685"/>
                      </a:cubicBezTo>
                      <a:cubicBezTo>
                        <a:pt x="906496" y="411685"/>
                        <a:pt x="906496" y="411685"/>
                        <a:pt x="1037367" y="258225"/>
                      </a:cubicBezTo>
                      <a:cubicBezTo>
                        <a:pt x="1040942" y="253942"/>
                        <a:pt x="1040227" y="247518"/>
                        <a:pt x="1035221" y="243949"/>
                      </a:cubicBezTo>
                      <a:cubicBezTo>
                        <a:pt x="1035221" y="243949"/>
                        <a:pt x="1035221" y="243949"/>
                        <a:pt x="986592" y="207547"/>
                      </a:cubicBezTo>
                      <a:cubicBezTo>
                        <a:pt x="980155" y="202550"/>
                        <a:pt x="981586" y="192558"/>
                        <a:pt x="988737" y="189702"/>
                      </a:cubicBezTo>
                      <a:cubicBezTo>
                        <a:pt x="988737" y="189702"/>
                        <a:pt x="988737" y="189702"/>
                        <a:pt x="999464" y="185420"/>
                      </a:cubicBezTo>
                      <a:cubicBezTo>
                        <a:pt x="999464" y="185420"/>
                        <a:pt x="999464" y="185420"/>
                        <a:pt x="1220443" y="91916"/>
                      </a:cubicBezTo>
                      <a:cubicBezTo>
                        <a:pt x="1222589" y="91202"/>
                        <a:pt x="1224734" y="90488"/>
                        <a:pt x="1227594" y="90488"/>
                      </a:cubicBezTo>
                      <a:close/>
                      <a:moveTo>
                        <a:pt x="30163" y="31750"/>
                      </a:moveTo>
                      <a:cubicBezTo>
                        <a:pt x="30163" y="900113"/>
                        <a:pt x="30163" y="900113"/>
                        <a:pt x="30163" y="900113"/>
                      </a:cubicBezTo>
                      <a:cubicBezTo>
                        <a:pt x="1274763" y="900113"/>
                        <a:pt x="1274763" y="900113"/>
                        <a:pt x="1274763" y="900113"/>
                      </a:cubicBezTo>
                      <a:cubicBezTo>
                        <a:pt x="1274763" y="31750"/>
                        <a:pt x="1274763" y="31750"/>
                        <a:pt x="1274763" y="31750"/>
                      </a:cubicBezTo>
                      <a:cubicBezTo>
                        <a:pt x="30163" y="31750"/>
                        <a:pt x="30163" y="31750"/>
                        <a:pt x="30163" y="31750"/>
                      </a:cubicBezTo>
                      <a:close/>
                      <a:moveTo>
                        <a:pt x="15705" y="0"/>
                      </a:moveTo>
                      <a:cubicBezTo>
                        <a:pt x="15705" y="0"/>
                        <a:pt x="15705" y="0"/>
                        <a:pt x="1289220" y="0"/>
                      </a:cubicBezTo>
                      <a:cubicBezTo>
                        <a:pt x="1297787" y="0"/>
                        <a:pt x="1304925" y="6422"/>
                        <a:pt x="1304925" y="15698"/>
                      </a:cubicBezTo>
                      <a:cubicBezTo>
                        <a:pt x="1304925" y="15698"/>
                        <a:pt x="1304925" y="15698"/>
                        <a:pt x="1304925" y="916166"/>
                      </a:cubicBezTo>
                      <a:cubicBezTo>
                        <a:pt x="1304925" y="925441"/>
                        <a:pt x="1297787" y="931863"/>
                        <a:pt x="1289220" y="931863"/>
                      </a:cubicBezTo>
                      <a:cubicBezTo>
                        <a:pt x="1289220" y="931863"/>
                        <a:pt x="1289220" y="931863"/>
                        <a:pt x="15705" y="931863"/>
                      </a:cubicBezTo>
                      <a:cubicBezTo>
                        <a:pt x="7139" y="931863"/>
                        <a:pt x="0" y="925441"/>
                        <a:pt x="0" y="916166"/>
                      </a:cubicBezTo>
                      <a:cubicBezTo>
                        <a:pt x="0" y="916166"/>
                        <a:pt x="0" y="916166"/>
                        <a:pt x="0" y="15698"/>
                      </a:cubicBezTo>
                      <a:cubicBezTo>
                        <a:pt x="0" y="6422"/>
                        <a:pt x="7139" y="0"/>
                        <a:pt x="1570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6" name="Freeform 7">
                  <a:extLst>
                    <a:ext uri="{FF2B5EF4-FFF2-40B4-BE49-F238E27FC236}">
                      <a16:creationId xmlns:a16="http://schemas.microsoft.com/office/drawing/2014/main" id="{A1CF74F2-D1BB-4FFB-99C8-8F220AE474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11950" y="3184525"/>
                  <a:ext cx="1166813" cy="647700"/>
                </a:xfrm>
                <a:custGeom>
                  <a:avLst/>
                  <a:gdLst>
                    <a:gd name="T0" fmla="*/ 1583 w 1633"/>
                    <a:gd name="T1" fmla="*/ 175 h 907"/>
                    <a:gd name="T2" fmla="*/ 1526 w 1633"/>
                    <a:gd name="T3" fmla="*/ 218 h 907"/>
                    <a:gd name="T4" fmla="*/ 1488 w 1633"/>
                    <a:gd name="T5" fmla="*/ 204 h 907"/>
                    <a:gd name="T6" fmla="*/ 1440 w 1633"/>
                    <a:gd name="T7" fmla="*/ 165 h 907"/>
                    <a:gd name="T8" fmla="*/ 1417 w 1633"/>
                    <a:gd name="T9" fmla="*/ 189 h 907"/>
                    <a:gd name="T10" fmla="*/ 1214 w 1633"/>
                    <a:gd name="T11" fmla="*/ 423 h 907"/>
                    <a:gd name="T12" fmla="*/ 1169 w 1633"/>
                    <a:gd name="T13" fmla="*/ 443 h 907"/>
                    <a:gd name="T14" fmla="*/ 1138 w 1633"/>
                    <a:gd name="T15" fmla="*/ 434 h 907"/>
                    <a:gd name="T16" fmla="*/ 1136 w 1633"/>
                    <a:gd name="T17" fmla="*/ 433 h 907"/>
                    <a:gd name="T18" fmla="*/ 1119 w 1633"/>
                    <a:gd name="T19" fmla="*/ 421 h 907"/>
                    <a:gd name="T20" fmla="*/ 1088 w 1633"/>
                    <a:gd name="T21" fmla="*/ 403 h 907"/>
                    <a:gd name="T22" fmla="*/ 1080 w 1633"/>
                    <a:gd name="T23" fmla="*/ 398 h 907"/>
                    <a:gd name="T24" fmla="*/ 907 w 1633"/>
                    <a:gd name="T25" fmla="*/ 281 h 907"/>
                    <a:gd name="T26" fmla="*/ 894 w 1633"/>
                    <a:gd name="T27" fmla="*/ 295 h 907"/>
                    <a:gd name="T28" fmla="*/ 857 w 1633"/>
                    <a:gd name="T29" fmla="*/ 335 h 907"/>
                    <a:gd name="T30" fmla="*/ 857 w 1633"/>
                    <a:gd name="T31" fmla="*/ 335 h 907"/>
                    <a:gd name="T32" fmla="*/ 610 w 1633"/>
                    <a:gd name="T33" fmla="*/ 593 h 907"/>
                    <a:gd name="T34" fmla="*/ 582 w 1633"/>
                    <a:gd name="T35" fmla="*/ 623 h 907"/>
                    <a:gd name="T36" fmla="*/ 533 w 1633"/>
                    <a:gd name="T37" fmla="*/ 644 h 907"/>
                    <a:gd name="T38" fmla="*/ 506 w 1633"/>
                    <a:gd name="T39" fmla="*/ 638 h 907"/>
                    <a:gd name="T40" fmla="*/ 504 w 1633"/>
                    <a:gd name="T41" fmla="*/ 638 h 907"/>
                    <a:gd name="T42" fmla="*/ 321 w 1633"/>
                    <a:gd name="T43" fmla="*/ 551 h 907"/>
                    <a:gd name="T44" fmla="*/ 287 w 1633"/>
                    <a:gd name="T45" fmla="*/ 590 h 907"/>
                    <a:gd name="T46" fmla="*/ 286 w 1633"/>
                    <a:gd name="T47" fmla="*/ 590 h 907"/>
                    <a:gd name="T48" fmla="*/ 42 w 1633"/>
                    <a:gd name="T49" fmla="*/ 864 h 907"/>
                    <a:gd name="T50" fmla="*/ 14 w 1633"/>
                    <a:gd name="T51" fmla="*/ 896 h 907"/>
                    <a:gd name="T52" fmla="*/ 0 w 1633"/>
                    <a:gd name="T53" fmla="*/ 907 h 907"/>
                    <a:gd name="T54" fmla="*/ 1633 w 1633"/>
                    <a:gd name="T55" fmla="*/ 907 h 907"/>
                    <a:gd name="T56" fmla="*/ 1633 w 1633"/>
                    <a:gd name="T57" fmla="*/ 0 h 907"/>
                    <a:gd name="T58" fmla="*/ 1583 w 1633"/>
                    <a:gd name="T59" fmla="*/ 175 h 9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1633" h="907">
                      <a:moveTo>
                        <a:pt x="1583" y="175"/>
                      </a:moveTo>
                      <a:cubicBezTo>
                        <a:pt x="1575" y="201"/>
                        <a:pt x="1553" y="218"/>
                        <a:pt x="1526" y="218"/>
                      </a:cubicBezTo>
                      <a:cubicBezTo>
                        <a:pt x="1513" y="218"/>
                        <a:pt x="1499" y="213"/>
                        <a:pt x="1488" y="204"/>
                      </a:cubicBezTo>
                      <a:cubicBezTo>
                        <a:pt x="1440" y="165"/>
                        <a:pt x="1440" y="165"/>
                        <a:pt x="1440" y="165"/>
                      </a:cubicBezTo>
                      <a:cubicBezTo>
                        <a:pt x="1417" y="189"/>
                        <a:pt x="1417" y="189"/>
                        <a:pt x="1417" y="189"/>
                      </a:cubicBezTo>
                      <a:cubicBezTo>
                        <a:pt x="1214" y="423"/>
                        <a:pt x="1214" y="423"/>
                        <a:pt x="1214" y="423"/>
                      </a:cubicBezTo>
                      <a:cubicBezTo>
                        <a:pt x="1203" y="436"/>
                        <a:pt x="1187" y="443"/>
                        <a:pt x="1169" y="443"/>
                      </a:cubicBezTo>
                      <a:cubicBezTo>
                        <a:pt x="1158" y="443"/>
                        <a:pt x="1147" y="440"/>
                        <a:pt x="1138" y="434"/>
                      </a:cubicBezTo>
                      <a:cubicBezTo>
                        <a:pt x="1137" y="434"/>
                        <a:pt x="1137" y="434"/>
                        <a:pt x="1136" y="433"/>
                      </a:cubicBezTo>
                      <a:cubicBezTo>
                        <a:pt x="1119" y="421"/>
                        <a:pt x="1119" y="421"/>
                        <a:pt x="1119" y="421"/>
                      </a:cubicBezTo>
                      <a:cubicBezTo>
                        <a:pt x="1088" y="403"/>
                        <a:pt x="1088" y="403"/>
                        <a:pt x="1088" y="403"/>
                      </a:cubicBezTo>
                      <a:cubicBezTo>
                        <a:pt x="1085" y="402"/>
                        <a:pt x="1083" y="400"/>
                        <a:pt x="1080" y="398"/>
                      </a:cubicBezTo>
                      <a:cubicBezTo>
                        <a:pt x="907" y="281"/>
                        <a:pt x="907" y="281"/>
                        <a:pt x="907" y="281"/>
                      </a:cubicBezTo>
                      <a:cubicBezTo>
                        <a:pt x="894" y="295"/>
                        <a:pt x="894" y="295"/>
                        <a:pt x="894" y="295"/>
                      </a:cubicBezTo>
                      <a:cubicBezTo>
                        <a:pt x="857" y="335"/>
                        <a:pt x="857" y="335"/>
                        <a:pt x="857" y="335"/>
                      </a:cubicBezTo>
                      <a:cubicBezTo>
                        <a:pt x="857" y="335"/>
                        <a:pt x="857" y="335"/>
                        <a:pt x="857" y="335"/>
                      </a:cubicBezTo>
                      <a:cubicBezTo>
                        <a:pt x="610" y="593"/>
                        <a:pt x="610" y="593"/>
                        <a:pt x="610" y="593"/>
                      </a:cubicBezTo>
                      <a:cubicBezTo>
                        <a:pt x="582" y="623"/>
                        <a:pt x="582" y="623"/>
                        <a:pt x="582" y="623"/>
                      </a:cubicBezTo>
                      <a:cubicBezTo>
                        <a:pt x="570" y="636"/>
                        <a:pt x="552" y="644"/>
                        <a:pt x="533" y="644"/>
                      </a:cubicBezTo>
                      <a:cubicBezTo>
                        <a:pt x="524" y="644"/>
                        <a:pt x="514" y="642"/>
                        <a:pt x="506" y="638"/>
                      </a:cubicBezTo>
                      <a:cubicBezTo>
                        <a:pt x="505" y="638"/>
                        <a:pt x="505" y="638"/>
                        <a:pt x="504" y="638"/>
                      </a:cubicBezTo>
                      <a:cubicBezTo>
                        <a:pt x="321" y="551"/>
                        <a:pt x="321" y="551"/>
                        <a:pt x="321" y="551"/>
                      </a:cubicBezTo>
                      <a:cubicBezTo>
                        <a:pt x="287" y="590"/>
                        <a:pt x="287" y="590"/>
                        <a:pt x="287" y="590"/>
                      </a:cubicBezTo>
                      <a:cubicBezTo>
                        <a:pt x="286" y="590"/>
                        <a:pt x="286" y="590"/>
                        <a:pt x="286" y="590"/>
                      </a:cubicBezTo>
                      <a:cubicBezTo>
                        <a:pt x="42" y="864"/>
                        <a:pt x="42" y="864"/>
                        <a:pt x="42" y="864"/>
                      </a:cubicBezTo>
                      <a:cubicBezTo>
                        <a:pt x="14" y="896"/>
                        <a:pt x="14" y="896"/>
                        <a:pt x="14" y="896"/>
                      </a:cubicBezTo>
                      <a:cubicBezTo>
                        <a:pt x="10" y="901"/>
                        <a:pt x="5" y="905"/>
                        <a:pt x="0" y="907"/>
                      </a:cubicBezTo>
                      <a:cubicBezTo>
                        <a:pt x="1633" y="907"/>
                        <a:pt x="1633" y="907"/>
                        <a:pt x="1633" y="907"/>
                      </a:cubicBezTo>
                      <a:cubicBezTo>
                        <a:pt x="1633" y="0"/>
                        <a:pt x="1633" y="0"/>
                        <a:pt x="1633" y="0"/>
                      </a:cubicBezTo>
                      <a:lnTo>
                        <a:pt x="1583" y="175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F076502-D22A-487C-9F0A-D4875D0CB846}"/>
              </a:ext>
            </a:extLst>
          </p:cNvPr>
          <p:cNvGrpSpPr/>
          <p:nvPr/>
        </p:nvGrpSpPr>
        <p:grpSpPr>
          <a:xfrm>
            <a:off x="3485727" y="5062145"/>
            <a:ext cx="1188720" cy="1188720"/>
            <a:chOff x="3497632" y="4895262"/>
            <a:chExt cx="1188720" cy="118872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DE220C7C-BB74-43AF-ACA4-8949A6649B12}"/>
                </a:ext>
              </a:extLst>
            </p:cNvPr>
            <p:cNvSpPr/>
            <p:nvPr/>
          </p:nvSpPr>
          <p:spPr>
            <a:xfrm rot="10800000">
              <a:off x="3497632" y="4895262"/>
              <a:ext cx="1188720" cy="1188720"/>
            </a:xfrm>
            <a:prstGeom prst="ellipse">
              <a:avLst/>
            </a:prstGeom>
            <a:solidFill>
              <a:srgbClr val="FFFFFF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  <a:sym typeface="Arial" panose="020B0604020202020204" pitchFamily="34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123A0EE-55FD-4FD5-8B69-4B33EEFD4A6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634792" y="5032421"/>
              <a:ext cx="914400" cy="914400"/>
              <a:chOff x="5273675" y="2606675"/>
              <a:chExt cx="1644650" cy="1644650"/>
            </a:xfrm>
          </p:grpSpPr>
          <p:sp>
            <p:nvSpPr>
              <p:cNvPr id="28" name="AutoShape 3">
                <a:extLst>
                  <a:ext uri="{FF2B5EF4-FFF2-40B4-BE49-F238E27FC236}">
                    <a16:creationId xmlns:a16="http://schemas.microsoft.com/office/drawing/2014/main" id="{FDAB3131-8FCE-4648-A763-86FF860E43D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F941C20F-DE93-4DC2-91B1-E5BA13AD8168}"/>
                  </a:ext>
                </a:extLst>
              </p:cNvPr>
              <p:cNvGrpSpPr/>
              <p:nvPr/>
            </p:nvGrpSpPr>
            <p:grpSpPr>
              <a:xfrm>
                <a:off x="5338763" y="3074988"/>
                <a:ext cx="1508125" cy="715963"/>
                <a:chOff x="5338763" y="3074988"/>
                <a:chExt cx="1508125" cy="715963"/>
              </a:xfrm>
            </p:grpSpPr>
            <p:sp>
              <p:nvSpPr>
                <p:cNvPr id="30" name="Freeform 13">
                  <a:extLst>
                    <a:ext uri="{FF2B5EF4-FFF2-40B4-BE49-F238E27FC236}">
                      <a16:creationId xmlns:a16="http://schemas.microsoft.com/office/drawing/2014/main" id="{8E35671E-EDF9-4E53-A921-D9E68C222A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21350" y="3359150"/>
                  <a:ext cx="742950" cy="287338"/>
                </a:xfrm>
                <a:custGeom>
                  <a:avLst/>
                  <a:gdLst>
                    <a:gd name="T0" fmla="*/ 1018 w 1039"/>
                    <a:gd name="T1" fmla="*/ 82 h 402"/>
                    <a:gd name="T2" fmla="*/ 21 w 1039"/>
                    <a:gd name="T3" fmla="*/ 82 h 402"/>
                    <a:gd name="T4" fmla="*/ 0 w 1039"/>
                    <a:gd name="T5" fmla="*/ 109 h 402"/>
                    <a:gd name="T6" fmla="*/ 0 w 1039"/>
                    <a:gd name="T7" fmla="*/ 217 h 402"/>
                    <a:gd name="T8" fmla="*/ 0 w 1039"/>
                    <a:gd name="T9" fmla="*/ 241 h 402"/>
                    <a:gd name="T10" fmla="*/ 0 w 1039"/>
                    <a:gd name="T11" fmla="*/ 265 h 402"/>
                    <a:gd name="T12" fmla="*/ 0 w 1039"/>
                    <a:gd name="T13" fmla="*/ 383 h 402"/>
                    <a:gd name="T14" fmla="*/ 21 w 1039"/>
                    <a:gd name="T15" fmla="*/ 399 h 402"/>
                    <a:gd name="T16" fmla="*/ 1018 w 1039"/>
                    <a:gd name="T17" fmla="*/ 399 h 402"/>
                    <a:gd name="T18" fmla="*/ 1039 w 1039"/>
                    <a:gd name="T19" fmla="*/ 383 h 402"/>
                    <a:gd name="T20" fmla="*/ 1039 w 1039"/>
                    <a:gd name="T21" fmla="*/ 265 h 402"/>
                    <a:gd name="T22" fmla="*/ 1039 w 1039"/>
                    <a:gd name="T23" fmla="*/ 241 h 402"/>
                    <a:gd name="T24" fmla="*/ 1039 w 1039"/>
                    <a:gd name="T25" fmla="*/ 217 h 402"/>
                    <a:gd name="T26" fmla="*/ 1039 w 1039"/>
                    <a:gd name="T27" fmla="*/ 109 h 402"/>
                    <a:gd name="T28" fmla="*/ 1018 w 1039"/>
                    <a:gd name="T29" fmla="*/ 82 h 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039" h="402">
                      <a:moveTo>
                        <a:pt x="1018" y="82"/>
                      </a:moveTo>
                      <a:cubicBezTo>
                        <a:pt x="686" y="0"/>
                        <a:pt x="353" y="0"/>
                        <a:pt x="21" y="82"/>
                      </a:cubicBezTo>
                      <a:cubicBezTo>
                        <a:pt x="9" y="85"/>
                        <a:pt x="0" y="97"/>
                        <a:pt x="0" y="109"/>
                      </a:cubicBezTo>
                      <a:cubicBezTo>
                        <a:pt x="0" y="145"/>
                        <a:pt x="0" y="181"/>
                        <a:pt x="0" y="217"/>
                      </a:cubicBezTo>
                      <a:cubicBezTo>
                        <a:pt x="0" y="225"/>
                        <a:pt x="0" y="233"/>
                        <a:pt x="0" y="241"/>
                      </a:cubicBezTo>
                      <a:cubicBezTo>
                        <a:pt x="0" y="249"/>
                        <a:pt x="0" y="257"/>
                        <a:pt x="0" y="265"/>
                      </a:cubicBezTo>
                      <a:cubicBezTo>
                        <a:pt x="0" y="304"/>
                        <a:pt x="0" y="343"/>
                        <a:pt x="0" y="383"/>
                      </a:cubicBezTo>
                      <a:cubicBezTo>
                        <a:pt x="0" y="395"/>
                        <a:pt x="9" y="402"/>
                        <a:pt x="21" y="399"/>
                      </a:cubicBezTo>
                      <a:cubicBezTo>
                        <a:pt x="353" y="317"/>
                        <a:pt x="686" y="317"/>
                        <a:pt x="1018" y="399"/>
                      </a:cubicBezTo>
                      <a:cubicBezTo>
                        <a:pt x="1030" y="402"/>
                        <a:pt x="1039" y="395"/>
                        <a:pt x="1039" y="383"/>
                      </a:cubicBezTo>
                      <a:cubicBezTo>
                        <a:pt x="1039" y="343"/>
                        <a:pt x="1039" y="304"/>
                        <a:pt x="1039" y="265"/>
                      </a:cubicBezTo>
                      <a:cubicBezTo>
                        <a:pt x="1039" y="257"/>
                        <a:pt x="1039" y="249"/>
                        <a:pt x="1039" y="241"/>
                      </a:cubicBezTo>
                      <a:cubicBezTo>
                        <a:pt x="1039" y="233"/>
                        <a:pt x="1039" y="225"/>
                        <a:pt x="1039" y="217"/>
                      </a:cubicBezTo>
                      <a:cubicBezTo>
                        <a:pt x="1039" y="181"/>
                        <a:pt x="1039" y="145"/>
                        <a:pt x="1039" y="109"/>
                      </a:cubicBezTo>
                      <a:cubicBezTo>
                        <a:pt x="1039" y="97"/>
                        <a:pt x="1030" y="85"/>
                        <a:pt x="1018" y="8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14">
                  <a:extLst>
                    <a:ext uri="{FF2B5EF4-FFF2-40B4-BE49-F238E27FC236}">
                      <a16:creationId xmlns:a16="http://schemas.microsoft.com/office/drawing/2014/main" id="{7C0D7C69-B112-4804-9522-470859FBF2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38763" y="3074988"/>
                  <a:ext cx="1508125" cy="715963"/>
                </a:xfrm>
                <a:custGeom>
                  <a:avLst/>
                  <a:gdLst>
                    <a:gd name="T0" fmla="*/ 2099 w 2113"/>
                    <a:gd name="T1" fmla="*/ 402 h 1003"/>
                    <a:gd name="T2" fmla="*/ 1068 w 2113"/>
                    <a:gd name="T3" fmla="*/ 2 h 1003"/>
                    <a:gd name="T4" fmla="*/ 1052 w 2113"/>
                    <a:gd name="T5" fmla="*/ 2 h 1003"/>
                    <a:gd name="T6" fmla="*/ 14 w 2113"/>
                    <a:gd name="T7" fmla="*/ 402 h 1003"/>
                    <a:gd name="T8" fmla="*/ 0 w 2113"/>
                    <a:gd name="T9" fmla="*/ 422 h 1003"/>
                    <a:gd name="T10" fmla="*/ 13 w 2113"/>
                    <a:gd name="T11" fmla="*/ 442 h 1003"/>
                    <a:gd name="T12" fmla="*/ 271 w 2113"/>
                    <a:gd name="T13" fmla="*/ 551 h 1003"/>
                    <a:gd name="T14" fmla="*/ 271 w 2113"/>
                    <a:gd name="T15" fmla="*/ 761 h 1003"/>
                    <a:gd name="T16" fmla="*/ 243 w 2113"/>
                    <a:gd name="T17" fmla="*/ 806 h 1003"/>
                    <a:gd name="T18" fmla="*/ 262 w 2113"/>
                    <a:gd name="T19" fmla="*/ 845 h 1003"/>
                    <a:gd name="T20" fmla="*/ 218 w 2113"/>
                    <a:gd name="T21" fmla="*/ 1003 h 1003"/>
                    <a:gd name="T22" fmla="*/ 253 w 2113"/>
                    <a:gd name="T23" fmla="*/ 1003 h 1003"/>
                    <a:gd name="T24" fmla="*/ 332 w 2113"/>
                    <a:gd name="T25" fmla="*/ 1003 h 1003"/>
                    <a:gd name="T26" fmla="*/ 367 w 2113"/>
                    <a:gd name="T27" fmla="*/ 1003 h 1003"/>
                    <a:gd name="T28" fmla="*/ 323 w 2113"/>
                    <a:gd name="T29" fmla="*/ 845 h 1003"/>
                    <a:gd name="T30" fmla="*/ 342 w 2113"/>
                    <a:gd name="T31" fmla="*/ 806 h 1003"/>
                    <a:gd name="T32" fmla="*/ 315 w 2113"/>
                    <a:gd name="T33" fmla="*/ 761 h 1003"/>
                    <a:gd name="T34" fmla="*/ 315 w 2113"/>
                    <a:gd name="T35" fmla="*/ 569 h 1003"/>
                    <a:gd name="T36" fmla="*/ 493 w 2113"/>
                    <a:gd name="T37" fmla="*/ 644 h 1003"/>
                    <a:gd name="T38" fmla="*/ 493 w 2113"/>
                    <a:gd name="T39" fmla="*/ 620 h 1003"/>
                    <a:gd name="T40" fmla="*/ 493 w 2113"/>
                    <a:gd name="T41" fmla="*/ 596 h 1003"/>
                    <a:gd name="T42" fmla="*/ 493 w 2113"/>
                    <a:gd name="T43" fmla="*/ 485 h 1003"/>
                    <a:gd name="T44" fmla="*/ 525 w 2113"/>
                    <a:gd name="T45" fmla="*/ 443 h 1003"/>
                    <a:gd name="T46" fmla="*/ 878 w 2113"/>
                    <a:gd name="T47" fmla="*/ 380 h 1003"/>
                    <a:gd name="T48" fmla="*/ 1057 w 2113"/>
                    <a:gd name="T49" fmla="*/ 372 h 1003"/>
                    <a:gd name="T50" fmla="*/ 1235 w 2113"/>
                    <a:gd name="T51" fmla="*/ 380 h 1003"/>
                    <a:gd name="T52" fmla="*/ 1588 w 2113"/>
                    <a:gd name="T53" fmla="*/ 443 h 1003"/>
                    <a:gd name="T54" fmla="*/ 1588 w 2113"/>
                    <a:gd name="T55" fmla="*/ 443 h 1003"/>
                    <a:gd name="T56" fmla="*/ 1620 w 2113"/>
                    <a:gd name="T57" fmla="*/ 485 h 1003"/>
                    <a:gd name="T58" fmla="*/ 1620 w 2113"/>
                    <a:gd name="T59" fmla="*/ 596 h 1003"/>
                    <a:gd name="T60" fmla="*/ 1620 w 2113"/>
                    <a:gd name="T61" fmla="*/ 620 h 1003"/>
                    <a:gd name="T62" fmla="*/ 1620 w 2113"/>
                    <a:gd name="T63" fmla="*/ 644 h 1003"/>
                    <a:gd name="T64" fmla="*/ 2100 w 2113"/>
                    <a:gd name="T65" fmla="*/ 442 h 1003"/>
                    <a:gd name="T66" fmla="*/ 2113 w 2113"/>
                    <a:gd name="T67" fmla="*/ 422 h 1003"/>
                    <a:gd name="T68" fmla="*/ 2099 w 2113"/>
                    <a:gd name="T69" fmla="*/ 402 h 10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2113" h="1003">
                      <a:moveTo>
                        <a:pt x="2099" y="402"/>
                      </a:moveTo>
                      <a:cubicBezTo>
                        <a:pt x="1068" y="2"/>
                        <a:pt x="1068" y="2"/>
                        <a:pt x="1068" y="2"/>
                      </a:cubicBezTo>
                      <a:cubicBezTo>
                        <a:pt x="1063" y="0"/>
                        <a:pt x="1057" y="0"/>
                        <a:pt x="1052" y="2"/>
                      </a:cubicBezTo>
                      <a:cubicBezTo>
                        <a:pt x="14" y="402"/>
                        <a:pt x="14" y="402"/>
                        <a:pt x="14" y="402"/>
                      </a:cubicBezTo>
                      <a:cubicBezTo>
                        <a:pt x="5" y="405"/>
                        <a:pt x="0" y="413"/>
                        <a:pt x="0" y="422"/>
                      </a:cubicBezTo>
                      <a:cubicBezTo>
                        <a:pt x="0" y="431"/>
                        <a:pt x="5" y="439"/>
                        <a:pt x="13" y="442"/>
                      </a:cubicBezTo>
                      <a:cubicBezTo>
                        <a:pt x="271" y="551"/>
                        <a:pt x="271" y="551"/>
                        <a:pt x="271" y="551"/>
                      </a:cubicBezTo>
                      <a:cubicBezTo>
                        <a:pt x="271" y="761"/>
                        <a:pt x="271" y="761"/>
                        <a:pt x="271" y="761"/>
                      </a:cubicBezTo>
                      <a:cubicBezTo>
                        <a:pt x="254" y="769"/>
                        <a:pt x="243" y="786"/>
                        <a:pt x="243" y="806"/>
                      </a:cubicBezTo>
                      <a:cubicBezTo>
                        <a:pt x="243" y="822"/>
                        <a:pt x="250" y="836"/>
                        <a:pt x="262" y="845"/>
                      </a:cubicBezTo>
                      <a:cubicBezTo>
                        <a:pt x="218" y="1003"/>
                        <a:pt x="218" y="1003"/>
                        <a:pt x="218" y="1003"/>
                      </a:cubicBezTo>
                      <a:cubicBezTo>
                        <a:pt x="253" y="1003"/>
                        <a:pt x="253" y="1003"/>
                        <a:pt x="253" y="1003"/>
                      </a:cubicBezTo>
                      <a:cubicBezTo>
                        <a:pt x="332" y="1003"/>
                        <a:pt x="332" y="1003"/>
                        <a:pt x="332" y="1003"/>
                      </a:cubicBezTo>
                      <a:cubicBezTo>
                        <a:pt x="367" y="1003"/>
                        <a:pt x="367" y="1003"/>
                        <a:pt x="367" y="1003"/>
                      </a:cubicBezTo>
                      <a:cubicBezTo>
                        <a:pt x="323" y="845"/>
                        <a:pt x="323" y="845"/>
                        <a:pt x="323" y="845"/>
                      </a:cubicBezTo>
                      <a:cubicBezTo>
                        <a:pt x="335" y="836"/>
                        <a:pt x="342" y="822"/>
                        <a:pt x="342" y="806"/>
                      </a:cubicBezTo>
                      <a:cubicBezTo>
                        <a:pt x="342" y="786"/>
                        <a:pt x="331" y="769"/>
                        <a:pt x="315" y="761"/>
                      </a:cubicBezTo>
                      <a:cubicBezTo>
                        <a:pt x="315" y="569"/>
                        <a:pt x="315" y="569"/>
                        <a:pt x="315" y="569"/>
                      </a:cubicBezTo>
                      <a:cubicBezTo>
                        <a:pt x="493" y="644"/>
                        <a:pt x="493" y="644"/>
                        <a:pt x="493" y="644"/>
                      </a:cubicBezTo>
                      <a:cubicBezTo>
                        <a:pt x="493" y="620"/>
                        <a:pt x="493" y="620"/>
                        <a:pt x="493" y="620"/>
                      </a:cubicBezTo>
                      <a:cubicBezTo>
                        <a:pt x="493" y="596"/>
                        <a:pt x="493" y="596"/>
                        <a:pt x="493" y="596"/>
                      </a:cubicBezTo>
                      <a:cubicBezTo>
                        <a:pt x="493" y="485"/>
                        <a:pt x="493" y="485"/>
                        <a:pt x="493" y="485"/>
                      </a:cubicBezTo>
                      <a:cubicBezTo>
                        <a:pt x="493" y="466"/>
                        <a:pt x="506" y="448"/>
                        <a:pt x="525" y="443"/>
                      </a:cubicBezTo>
                      <a:cubicBezTo>
                        <a:pt x="640" y="412"/>
                        <a:pt x="759" y="390"/>
                        <a:pt x="878" y="380"/>
                      </a:cubicBezTo>
                      <a:cubicBezTo>
                        <a:pt x="937" y="374"/>
                        <a:pt x="997" y="372"/>
                        <a:pt x="1057" y="372"/>
                      </a:cubicBezTo>
                      <a:cubicBezTo>
                        <a:pt x="1116" y="372"/>
                        <a:pt x="1176" y="374"/>
                        <a:pt x="1235" y="380"/>
                      </a:cubicBezTo>
                      <a:cubicBezTo>
                        <a:pt x="1354" y="390"/>
                        <a:pt x="1473" y="412"/>
                        <a:pt x="1588" y="443"/>
                      </a:cubicBezTo>
                      <a:cubicBezTo>
                        <a:pt x="1588" y="443"/>
                        <a:pt x="1588" y="443"/>
                        <a:pt x="1588" y="443"/>
                      </a:cubicBezTo>
                      <a:cubicBezTo>
                        <a:pt x="1607" y="448"/>
                        <a:pt x="1620" y="466"/>
                        <a:pt x="1620" y="485"/>
                      </a:cubicBezTo>
                      <a:cubicBezTo>
                        <a:pt x="1620" y="596"/>
                        <a:pt x="1620" y="596"/>
                        <a:pt x="1620" y="596"/>
                      </a:cubicBezTo>
                      <a:cubicBezTo>
                        <a:pt x="1620" y="620"/>
                        <a:pt x="1620" y="620"/>
                        <a:pt x="1620" y="620"/>
                      </a:cubicBezTo>
                      <a:cubicBezTo>
                        <a:pt x="1620" y="644"/>
                        <a:pt x="1620" y="644"/>
                        <a:pt x="1620" y="644"/>
                      </a:cubicBezTo>
                      <a:cubicBezTo>
                        <a:pt x="2100" y="442"/>
                        <a:pt x="2100" y="442"/>
                        <a:pt x="2100" y="442"/>
                      </a:cubicBezTo>
                      <a:cubicBezTo>
                        <a:pt x="2108" y="439"/>
                        <a:pt x="2113" y="431"/>
                        <a:pt x="2113" y="422"/>
                      </a:cubicBezTo>
                      <a:cubicBezTo>
                        <a:pt x="2113" y="413"/>
                        <a:pt x="2108" y="405"/>
                        <a:pt x="2099" y="402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37" name="Textfeld 1">
            <a:extLst>
              <a:ext uri="{FF2B5EF4-FFF2-40B4-BE49-F238E27FC236}">
                <a16:creationId xmlns:a16="http://schemas.microsoft.com/office/drawing/2014/main" id="{8073BE5C-8732-4A4D-AB25-B476050A29C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396366" y="2372568"/>
            <a:ext cx="6166984" cy="627864"/>
          </a:xfrm>
          <a:prstGeom prst="rect">
            <a:avLst/>
          </a:prstGeom>
          <a:noFill/>
          <a:ln w="9525" cap="rnd">
            <a:noFill/>
            <a:prstDash val="solid"/>
          </a:ln>
          <a:effectLst/>
        </p:spPr>
        <p:txBody>
          <a:bodyPr vert="horz" wrap="square" lIns="36576" tIns="36576" rIns="36576" bIns="36576" rtlCol="0" anchor="ctr" anchorCtr="0">
            <a:noAutofit/>
          </a:bodyPr>
          <a:lstStyle/>
          <a:p>
            <a:pPr>
              <a:buFontTx/>
              <a:buChar char="​"/>
            </a:pPr>
            <a:r>
              <a:rPr lang="en-US">
                <a:cs typeface="Arial" panose="020B0604020202020204" pitchFamily="34" charset="0"/>
                <a:sym typeface="Arial" panose="020B0604020202020204" pitchFamily="34" charset="0"/>
              </a:rPr>
              <a:t>Executive Office of Labor and Workforce Development</a:t>
            </a:r>
          </a:p>
        </p:txBody>
      </p:sp>
      <p:sp>
        <p:nvSpPr>
          <p:cNvPr id="38" name="Textfeld 1">
            <a:extLst>
              <a:ext uri="{FF2B5EF4-FFF2-40B4-BE49-F238E27FC236}">
                <a16:creationId xmlns:a16="http://schemas.microsoft.com/office/drawing/2014/main" id="{3BCA0370-9D47-4B82-B366-917C35BF4A7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377989" y="1322511"/>
            <a:ext cx="6166984" cy="627864"/>
          </a:xfrm>
          <a:prstGeom prst="rect">
            <a:avLst/>
          </a:prstGeom>
          <a:noFill/>
          <a:ln w="9525" cap="rnd">
            <a:noFill/>
            <a:prstDash val="solid"/>
          </a:ln>
          <a:effectLst/>
        </p:spPr>
        <p:txBody>
          <a:bodyPr vert="horz" wrap="square" lIns="36576" tIns="36576" rIns="36576" bIns="36576" rtlCol="0" anchor="ctr" anchorCtr="0">
            <a:noAutofit/>
          </a:bodyPr>
          <a:lstStyle/>
          <a:p>
            <a:pPr>
              <a:buFontTx/>
              <a:buChar char="​"/>
            </a:pPr>
            <a:r>
              <a:rPr lang="en-US" b="1">
                <a:solidFill>
                  <a:srgbClr val="00269E"/>
                </a:solidFill>
                <a:cs typeface="Arial" panose="020B0604020202020204" pitchFamily="34" charset="0"/>
                <a:sym typeface="Arial" panose="020B0604020202020204" pitchFamily="34" charset="0"/>
              </a:rPr>
              <a:t>Workforce Skills Cabinet (WSC)</a:t>
            </a:r>
          </a:p>
        </p:txBody>
      </p:sp>
      <p:sp>
        <p:nvSpPr>
          <p:cNvPr id="39" name="Textfeld 1">
            <a:extLst>
              <a:ext uri="{FF2B5EF4-FFF2-40B4-BE49-F238E27FC236}">
                <a16:creationId xmlns:a16="http://schemas.microsoft.com/office/drawing/2014/main" id="{7C5783F7-A6EA-48D1-8ADB-1E31C612CA2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396366" y="3857571"/>
            <a:ext cx="6166984" cy="627864"/>
          </a:xfrm>
          <a:prstGeom prst="rect">
            <a:avLst/>
          </a:prstGeom>
          <a:noFill/>
          <a:ln w="9525" cap="rnd">
            <a:noFill/>
            <a:prstDash val="solid"/>
          </a:ln>
          <a:effectLst/>
        </p:spPr>
        <p:txBody>
          <a:bodyPr vert="horz" wrap="square" lIns="36576" tIns="36576" rIns="36576" bIns="36576" rtlCol="0" anchor="ctr" anchorCtr="0">
            <a:noAutofit/>
          </a:bodyPr>
          <a:lstStyle/>
          <a:p>
            <a:pPr>
              <a:buFontTx/>
              <a:buChar char="​"/>
            </a:pPr>
            <a:r>
              <a:rPr lang="en-US">
                <a:cs typeface="Arial" panose="020B0604020202020204" pitchFamily="34" charset="0"/>
                <a:sym typeface="Arial" panose="020B0604020202020204" pitchFamily="34" charset="0"/>
              </a:rPr>
              <a:t>Executive Office of Housing and Economic Development </a:t>
            </a:r>
          </a:p>
        </p:txBody>
      </p:sp>
      <p:sp>
        <p:nvSpPr>
          <p:cNvPr id="40" name="Textfeld 1">
            <a:extLst>
              <a:ext uri="{FF2B5EF4-FFF2-40B4-BE49-F238E27FC236}">
                <a16:creationId xmlns:a16="http://schemas.microsoft.com/office/drawing/2014/main" id="{3A62B2C8-CD11-4081-B55B-87657AA0571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396366" y="5342573"/>
            <a:ext cx="6166984" cy="627864"/>
          </a:xfrm>
          <a:prstGeom prst="rect">
            <a:avLst/>
          </a:prstGeom>
          <a:noFill/>
          <a:ln w="9525" cap="rnd">
            <a:noFill/>
            <a:prstDash val="solid"/>
          </a:ln>
          <a:effectLst/>
        </p:spPr>
        <p:txBody>
          <a:bodyPr vert="horz" wrap="square" lIns="36576" tIns="36576" rIns="36576" bIns="36576" rtlCol="0" anchor="ctr" anchorCtr="0">
            <a:noAutofit/>
          </a:bodyPr>
          <a:lstStyle/>
          <a:p>
            <a:pPr>
              <a:buFontTx/>
              <a:buChar char="​"/>
            </a:pPr>
            <a:r>
              <a:rPr lang="en-US">
                <a:cs typeface="Arial" panose="020B0604020202020204" pitchFamily="34" charset="0"/>
                <a:sym typeface="Arial" panose="020B0604020202020204" pitchFamily="34" charset="0"/>
              </a:rPr>
              <a:t>Executive Office of Education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6BE12AC-4A5E-4B1E-8B61-B46182AC3038}"/>
              </a:ext>
            </a:extLst>
          </p:cNvPr>
          <p:cNvGrpSpPr/>
          <p:nvPr/>
        </p:nvGrpSpPr>
        <p:grpSpPr>
          <a:xfrm>
            <a:off x="4828477" y="2092140"/>
            <a:ext cx="413859" cy="1188720"/>
            <a:chOff x="4672361" y="723853"/>
            <a:chExt cx="423746" cy="1604005"/>
          </a:xfrm>
        </p:grpSpPr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7A16AC93-B372-40EE-86BC-29CE74563511}"/>
                </a:ext>
              </a:extLst>
            </p:cNvPr>
            <p:cNvCxnSpPr/>
            <p:nvPr/>
          </p:nvCxnSpPr>
          <p:spPr>
            <a:xfrm>
              <a:off x="5096107" y="723853"/>
              <a:ext cx="0" cy="1604005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765D223-87F6-4D93-8499-F767ADA971A0}"/>
                </a:ext>
              </a:extLst>
            </p:cNvPr>
            <p:cNvCxnSpPr/>
            <p:nvPr/>
          </p:nvCxnSpPr>
          <p:spPr>
            <a:xfrm>
              <a:off x="4672361" y="1550020"/>
              <a:ext cx="423746" cy="0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round/>
              <a:head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63B428F1-2F8D-441F-A178-BC97D598C698}"/>
              </a:ext>
            </a:extLst>
          </p:cNvPr>
          <p:cNvGrpSpPr/>
          <p:nvPr/>
        </p:nvGrpSpPr>
        <p:grpSpPr>
          <a:xfrm>
            <a:off x="4828477" y="3577143"/>
            <a:ext cx="413859" cy="1188720"/>
            <a:chOff x="4672361" y="723853"/>
            <a:chExt cx="423746" cy="1604005"/>
          </a:xfrm>
        </p:grpSpPr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D9F85CE-9D44-4F23-9125-A5A404DBBD9A}"/>
                </a:ext>
              </a:extLst>
            </p:cNvPr>
            <p:cNvCxnSpPr/>
            <p:nvPr/>
          </p:nvCxnSpPr>
          <p:spPr>
            <a:xfrm>
              <a:off x="5096107" y="723853"/>
              <a:ext cx="0" cy="1604005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CD5BF7AB-09FC-4AFE-8FEE-57DC42D614F6}"/>
                </a:ext>
              </a:extLst>
            </p:cNvPr>
            <p:cNvCxnSpPr/>
            <p:nvPr/>
          </p:nvCxnSpPr>
          <p:spPr>
            <a:xfrm>
              <a:off x="4672361" y="1550020"/>
              <a:ext cx="423746" cy="0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round/>
              <a:head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1DA10DE3-01C6-4466-9051-CC31CD2804C7}"/>
              </a:ext>
            </a:extLst>
          </p:cNvPr>
          <p:cNvGrpSpPr/>
          <p:nvPr/>
        </p:nvGrpSpPr>
        <p:grpSpPr>
          <a:xfrm>
            <a:off x="4828477" y="5062145"/>
            <a:ext cx="413859" cy="1188720"/>
            <a:chOff x="4672361" y="723853"/>
            <a:chExt cx="423746" cy="1604005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A6BB3021-E1E8-46BC-B594-19EBBFA1ECA1}"/>
                </a:ext>
              </a:extLst>
            </p:cNvPr>
            <p:cNvCxnSpPr/>
            <p:nvPr/>
          </p:nvCxnSpPr>
          <p:spPr>
            <a:xfrm>
              <a:off x="5096107" y="723853"/>
              <a:ext cx="0" cy="1604005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8F0CF62-C24A-40D4-A414-1A9CD2B67317}"/>
                </a:ext>
              </a:extLst>
            </p:cNvPr>
            <p:cNvCxnSpPr/>
            <p:nvPr/>
          </p:nvCxnSpPr>
          <p:spPr>
            <a:xfrm>
              <a:off x="4672361" y="1550020"/>
              <a:ext cx="423746" cy="0"/>
            </a:xfrm>
            <a:prstGeom prst="line">
              <a:avLst/>
            </a:prstGeom>
            <a:ln w="9525" cap="rnd">
              <a:solidFill>
                <a:srgbClr val="7F7F7F"/>
              </a:solidFill>
              <a:prstDash val="solid"/>
              <a:round/>
              <a:headEnd type="diamon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5E4EC0D9-E93F-413F-92A9-2C786B1D75BB}"/>
              </a:ext>
            </a:extLst>
          </p:cNvPr>
          <p:cNvSpPr/>
          <p:nvPr/>
        </p:nvSpPr>
        <p:spPr>
          <a:xfrm>
            <a:off x="3331700" y="1895239"/>
            <a:ext cx="8231650" cy="4539779"/>
          </a:xfrm>
          <a:prstGeom prst="rect">
            <a:avLst/>
          </a:prstGeom>
          <a:noFill/>
          <a:ln w="19050" cap="rnd" cmpd="sng" algn="ctr">
            <a:solidFill>
              <a:srgbClr val="00269E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00269E"/>
              </a:solidFill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C05C958-3BA5-4C7A-8321-CE5BAE027E20}"/>
              </a:ext>
            </a:extLst>
          </p:cNvPr>
          <p:cNvSpPr txBox="1">
            <a:spLocks/>
          </p:cNvSpPr>
          <p:nvPr/>
        </p:nvSpPr>
        <p:spPr>
          <a:xfrm>
            <a:off x="462685" y="304800"/>
            <a:ext cx="3021296" cy="49828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ARPA workforce strategy, and how Market Makers support it</a:t>
            </a:r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A9C71A13-A022-4217-99FF-CC8923B155F7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E6133E73-A11F-492B-A3A2-28D69EA48A0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606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Picture 40" descr="A picture containing person, person, wearing, male&#10;&#10;Description automatically generated">
            <a:extLst>
              <a:ext uri="{FF2B5EF4-FFF2-40B4-BE49-F238E27FC236}">
                <a16:creationId xmlns:a16="http://schemas.microsoft.com/office/drawing/2014/main" id="{B1F71F14-A488-4B61-AB0D-11743EB84D3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76699" cy="686415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571DE263-E058-4C4A-84EF-9180F62A78A9}"/>
              </a:ext>
            </a:extLst>
          </p:cNvPr>
          <p:cNvSpPr/>
          <p:nvPr/>
        </p:nvSpPr>
        <p:spPr>
          <a:xfrm>
            <a:off x="4978673" y="3200653"/>
            <a:ext cx="6962773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Grant value and dura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Up to $10k per trainee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Additional funding available for pilot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3-year program duration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AFCBAFA-0461-485C-B0A3-1ADCCE842391}"/>
              </a:ext>
            </a:extLst>
          </p:cNvPr>
          <p:cNvSpPr/>
          <p:nvPr/>
        </p:nvSpPr>
        <p:spPr>
          <a:xfrm>
            <a:off x="4978673" y="626821"/>
            <a:ext cx="6962773" cy="8002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Eligible applican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Community organizations, adult basic education providers, employer associations, higher ed institutions, labor organizations, workforce development entities, workforce boards, nonprofit education/training providers, career centers, vocational education institutions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D307036-B07F-41FC-9C95-BE4FA30ECAFD}"/>
              </a:ext>
            </a:extLst>
          </p:cNvPr>
          <p:cNvSpPr/>
          <p:nvPr/>
        </p:nvSpPr>
        <p:spPr>
          <a:xfrm>
            <a:off x="4978674" y="1550424"/>
            <a:ext cx="6962772" cy="7879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Target sectors and occupations</a:t>
            </a:r>
          </a:p>
          <a:p>
            <a:pPr marL="194400" lvl="1" indent="-129600">
              <a:lnSpc>
                <a:spcPct val="80000"/>
              </a:lnSpc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Open to any industry / occupation, preference for in-demand occupations associated with an industry-recognized credential as listed in the regional blueprint </a:t>
            </a:r>
            <a:r>
              <a:rPr lang="en-US" sz="1200">
                <a:solidFill>
                  <a:srgbClr val="3EDBFE"/>
                </a:solidFill>
                <a:cs typeface="Arial" panose="020B0604020202020204" pitchFamily="34" charset="0"/>
              </a:rPr>
              <a:t>available here </a:t>
            </a:r>
          </a:p>
          <a:p>
            <a:pPr marL="194400" lvl="1" indent="-129600">
              <a:lnSpc>
                <a:spcPct val="80000"/>
              </a:lnSpc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Massachusetts priority industries: Healthcare, Finance, Information Technology, Construction/Skilled Trades, and Transportation.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9C1C28A-A7AC-4AF8-A832-48A2FF6E12BE}"/>
              </a:ext>
            </a:extLst>
          </p:cNvPr>
          <p:cNvSpPr/>
          <p:nvPr/>
        </p:nvSpPr>
        <p:spPr>
          <a:xfrm>
            <a:off x="4978673" y="2461716"/>
            <a:ext cx="6962773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Target popula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Unemployed/underemployed workers 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Focus on members of the BIPOC community at or below 65% median incom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B0EBCFA-0353-44F6-AA40-AF3173DE45F7}"/>
              </a:ext>
            </a:extLst>
          </p:cNvPr>
          <p:cNvSpPr/>
          <p:nvPr/>
        </p:nvSpPr>
        <p:spPr>
          <a:xfrm>
            <a:off x="4978673" y="4124256"/>
            <a:ext cx="6962773" cy="11695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Program requiremen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Established partnership of training partner, two or more committed employers (plus local workforce boards and Career Centers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Employers required to pay back at least 50% of training costs per participant retained after 30 day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For additional information on program requirements and reporting see </a:t>
            </a:r>
            <a:r>
              <a:rPr lang="en-US" sz="1200">
                <a:solidFill>
                  <a:srgbClr val="3EDBFE"/>
                </a:solidFill>
                <a:cs typeface="Arial" panose="020B0604020202020204" pitchFamily="34" charset="0"/>
              </a:rPr>
              <a:t>RFP onlin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0458FF3-E353-4E7C-A3A9-257502EA55B1}"/>
              </a:ext>
            </a:extLst>
          </p:cNvPr>
          <p:cNvSpPr/>
          <p:nvPr/>
        </p:nvSpPr>
        <p:spPr>
          <a:xfrm>
            <a:off x="4978673" y="5417189"/>
            <a:ext cx="6962773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Allowable cos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Program costs (e.g., outreach, recruitment, selection, training delivery, marketing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Student support costs (e.g., transportation, childcare, uniforms, tools, car repairs, verifiable emergencies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Participant stipends </a:t>
            </a:r>
          </a:p>
        </p:txBody>
      </p:sp>
      <p:grpSp>
        <p:nvGrpSpPr>
          <p:cNvPr id="32" name="Group 31"/>
          <p:cNvGrpSpPr>
            <a:grpSpLocks noChangeAspect="1"/>
          </p:cNvGrpSpPr>
          <p:nvPr/>
        </p:nvGrpSpPr>
        <p:grpSpPr>
          <a:xfrm>
            <a:off x="4454797" y="626821"/>
            <a:ext cx="320040" cy="320040"/>
            <a:chOff x="982662" y="1847850"/>
            <a:chExt cx="269875" cy="269875"/>
          </a:xfrm>
        </p:grpSpPr>
        <p:sp>
          <p:nvSpPr>
            <p:cNvPr id="34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35"/>
          <p:cNvGrpSpPr>
            <a:grpSpLocks noChangeAspect="1"/>
          </p:cNvGrpSpPr>
          <p:nvPr/>
        </p:nvGrpSpPr>
        <p:grpSpPr>
          <a:xfrm>
            <a:off x="4454797" y="1517684"/>
            <a:ext cx="320040" cy="320040"/>
            <a:chOff x="982662" y="1847850"/>
            <a:chExt cx="269875" cy="269875"/>
          </a:xfrm>
        </p:grpSpPr>
        <p:sp>
          <p:nvSpPr>
            <p:cNvPr id="37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4454797" y="2439785"/>
            <a:ext cx="320040" cy="320040"/>
            <a:chOff x="982662" y="1847850"/>
            <a:chExt cx="269875" cy="269875"/>
          </a:xfrm>
        </p:grpSpPr>
        <p:sp>
          <p:nvSpPr>
            <p:cNvPr id="4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5" name="Group 44"/>
          <p:cNvGrpSpPr>
            <a:grpSpLocks noChangeAspect="1"/>
          </p:cNvGrpSpPr>
          <p:nvPr/>
        </p:nvGrpSpPr>
        <p:grpSpPr>
          <a:xfrm>
            <a:off x="4454797" y="3198236"/>
            <a:ext cx="320040" cy="320040"/>
            <a:chOff x="982662" y="1847850"/>
            <a:chExt cx="269875" cy="269875"/>
          </a:xfrm>
        </p:grpSpPr>
        <p:sp>
          <p:nvSpPr>
            <p:cNvPr id="46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7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4454797" y="4123931"/>
            <a:ext cx="320040" cy="320040"/>
            <a:chOff x="982662" y="1847850"/>
            <a:chExt cx="269875" cy="269875"/>
          </a:xfrm>
        </p:grpSpPr>
        <p:sp>
          <p:nvSpPr>
            <p:cNvPr id="5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>
            <a:grpSpLocks noChangeAspect="1"/>
          </p:cNvGrpSpPr>
          <p:nvPr/>
        </p:nvGrpSpPr>
        <p:grpSpPr>
          <a:xfrm>
            <a:off x="4454797" y="5417189"/>
            <a:ext cx="320040" cy="320040"/>
            <a:chOff x="982662" y="1847850"/>
            <a:chExt cx="269875" cy="269875"/>
          </a:xfrm>
        </p:grpSpPr>
        <p:sp>
          <p:nvSpPr>
            <p:cNvPr id="57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8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59" name="Straight Connector 58"/>
          <p:cNvCxnSpPr/>
          <p:nvPr/>
        </p:nvCxnSpPr>
        <p:spPr>
          <a:xfrm>
            <a:off x="4454795" y="1481071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4454795" y="2403168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4454795" y="3161619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4454795" y="4069906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4454795" y="5354445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erlay">
            <a:extLst>
              <a:ext uri="{FF2B5EF4-FFF2-40B4-BE49-F238E27FC236}">
                <a16:creationId xmlns:a16="http://schemas.microsoft.com/office/drawing/2014/main" id="{57BA926F-1A30-423D-A2F7-322681700E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4076699" cy="6855347"/>
          </a:xfrm>
          <a:prstGeom prst="rect">
            <a:avLst/>
          </a:prstGeom>
          <a:solidFill>
            <a:srgbClr val="000000">
              <a:alpha val="7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75C3A0-7BE2-448A-9181-3E88B99AE8FE}"/>
              </a:ext>
            </a:extLst>
          </p:cNvPr>
          <p:cNvSpPr/>
          <p:nvPr/>
        </p:nvSpPr>
        <p:spPr>
          <a:xfrm>
            <a:off x="269966" y="1701557"/>
            <a:ext cx="3689475" cy="4023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e Workforce Skills Cabinet and Commonwealth Corporation have launched RENEW to supply training providers with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funding to develop and scale new and existing programs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at train and place under/unemployed adults with a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focus members of the BIPOC community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e program is available to a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broad range of training institutions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 and encourages applications for programs across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all priority sectors and occupations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 outlined in MA's regional blueprint matrix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Committed employers agree to pay back 50% of training costs for each hired pers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5D1487-9E63-4624-82BE-656980C2BC42}"/>
              </a:ext>
            </a:extLst>
          </p:cNvPr>
          <p:cNvSpPr txBox="1"/>
          <p:nvPr/>
        </p:nvSpPr>
        <p:spPr>
          <a:xfrm>
            <a:off x="269966" y="179124"/>
            <a:ext cx="3689475" cy="147732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0D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9A90D8"/>
                </a:solidFill>
              </a:rPr>
              <a:t>Replenishing employer investment in education &amp; workforce training (RENEW)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D18335E-96AB-4338-8E9D-C47866E0B2A1}"/>
              </a:ext>
            </a:extLst>
          </p:cNvPr>
          <p:cNvSpPr/>
          <p:nvPr/>
        </p:nvSpPr>
        <p:spPr>
          <a:xfrm>
            <a:off x="511392" y="5818265"/>
            <a:ext cx="2962430" cy="756104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40" tIns="91440" rIns="91440" bIns="91440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Release date: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October 22nd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Responses due: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Rolling</a:t>
            </a:r>
            <a:endParaRPr lang="en-US" sz="1600">
              <a:solidFill>
                <a:srgbClr val="9A90D8"/>
              </a:solidFill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788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Picture 40">
            <a:extLst>
              <a:ext uri="{FF2B5EF4-FFF2-40B4-BE49-F238E27FC236}">
                <a16:creationId xmlns:a16="http://schemas.microsoft.com/office/drawing/2014/main" id="{8AA921FE-43FA-4C05-AB04-04B12D21B5D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6150"/>
            <a:ext cx="4076700" cy="6855347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571DE263-E058-4C4A-84EF-9180F62A78A9}"/>
              </a:ext>
            </a:extLst>
          </p:cNvPr>
          <p:cNvSpPr/>
          <p:nvPr/>
        </p:nvSpPr>
        <p:spPr>
          <a:xfrm>
            <a:off x="4978673" y="3317769"/>
            <a:ext cx="6584677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Grant value and dura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Up to $6k per student 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2-year program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AFCBAFA-0461-485C-B0A3-1ADCCE842391}"/>
              </a:ext>
            </a:extLst>
          </p:cNvPr>
          <p:cNvSpPr/>
          <p:nvPr/>
        </p:nvSpPr>
        <p:spPr>
          <a:xfrm>
            <a:off x="4978673" y="626821"/>
            <a:ext cx="658467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Eligible applican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High schools with aligned Chapter 74 vocational programs 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D307036-B07F-41FC-9C95-BE4FA30ECAFD}"/>
              </a:ext>
            </a:extLst>
          </p:cNvPr>
          <p:cNvSpPr/>
          <p:nvPr/>
        </p:nvSpPr>
        <p:spPr>
          <a:xfrm>
            <a:off x="4978674" y="1306308"/>
            <a:ext cx="6584676" cy="10833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Target sectors and occupations</a:t>
            </a:r>
          </a:p>
          <a:p>
            <a:pPr marL="194400" lvl="1" indent="-129600">
              <a:lnSpc>
                <a:spcPct val="80000"/>
              </a:lnSpc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 b="1">
                <a:solidFill>
                  <a:srgbClr val="403393"/>
                </a:solidFill>
                <a:cs typeface="Arial" panose="020B0604020202020204" pitchFamily="34" charset="0"/>
              </a:rPr>
              <a:t>Construction/skilled trades</a:t>
            </a: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: HVAC Mechanics and Installers, Automotive Services Techs and Mechanics, Automotive Body Repairers, Electricians, Plumbers, Carpenter, Welder, Craft Laborer, Building &amp; General Maintenance Tech, Diesel Tech, Marine Trades Technician, Cooks, Groundskeeping and Equipment Operators </a:t>
            </a:r>
          </a:p>
          <a:p>
            <a:pPr marL="194400" lvl="1" indent="-129600">
              <a:lnSpc>
                <a:spcPct val="80000"/>
              </a:lnSpc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 b="1">
                <a:solidFill>
                  <a:srgbClr val="403393"/>
                </a:solidFill>
                <a:cs typeface="Arial" panose="020B0604020202020204" pitchFamily="34" charset="0"/>
              </a:rPr>
              <a:t>Manufacturing:</a:t>
            </a: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 Machine Operator, Sheet Metal Workers, Biolab, Medical &amp; Clinical Lab Tech, CNC Machine Operator, Electrical Tech, Electronics Tech, Robotic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9C1C28A-A7AC-4AF8-A832-48A2FF6E12BE}"/>
              </a:ext>
            </a:extLst>
          </p:cNvPr>
          <p:cNvSpPr/>
          <p:nvPr/>
        </p:nvSpPr>
        <p:spPr>
          <a:xfrm>
            <a:off x="4978673" y="2638282"/>
            <a:ext cx="658467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Target popula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Unemployed/underemployed workers at 65% or less of median incom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6B0EBCFA-0353-44F6-AA40-AF3173DE45F7}"/>
              </a:ext>
            </a:extLst>
          </p:cNvPr>
          <p:cNvSpPr/>
          <p:nvPr/>
        </p:nvSpPr>
        <p:spPr>
          <a:xfrm>
            <a:off x="4978673" y="4181922"/>
            <a:ext cx="6584677" cy="11695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Program requiremen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Training in 1+ target occupations with 1-6 cohorts (cohort minimum is 10 students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200-300 hours of training with industry recognized credential upon program completion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Established partnership must include training partner, three or more committed employers, </a:t>
            </a:r>
            <a:r>
              <a:rPr lang="en-US" sz="1200" err="1">
                <a:solidFill>
                  <a:srgbClr val="403393"/>
                </a:solidFill>
                <a:cs typeface="Arial" panose="020B0604020202020204" pitchFamily="34" charset="0"/>
              </a:rPr>
              <a:t>MassHire</a:t>
            </a: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 Career Center, Regional Hub/</a:t>
            </a:r>
            <a:r>
              <a:rPr lang="en-US" sz="1200" err="1">
                <a:solidFill>
                  <a:srgbClr val="403393"/>
                </a:solidFill>
                <a:cs typeface="Arial" panose="020B0604020202020204" pitchFamily="34" charset="0"/>
              </a:rPr>
              <a:t>MassHire</a:t>
            </a: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 Workforce Board, and Union (if applicable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For additional information on program requirements and reporting see RFP online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60458FF3-E353-4E7C-A3A9-257502EA55B1}"/>
              </a:ext>
            </a:extLst>
          </p:cNvPr>
          <p:cNvSpPr/>
          <p:nvPr/>
        </p:nvSpPr>
        <p:spPr>
          <a:xfrm>
            <a:off x="4978673" y="5600073"/>
            <a:ext cx="658467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 b="1">
                <a:solidFill>
                  <a:srgbClr val="403393"/>
                </a:solidFill>
                <a:cs typeface="Arial" panose="020B0604020202020204" pitchFamily="34" charset="0"/>
              </a:rPr>
              <a:t>Allowable costs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Program costs (e.g., recruitment and marketing, training delivery, administrative costs, etc.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Student support costs (e.g., transportation, childcare, uniforms, tools, car repairs, verifiable emergencies)</a:t>
            </a:r>
          </a:p>
          <a:p>
            <a:pPr marL="194400" lvl="1" indent="-129600">
              <a:buClr>
                <a:srgbClr val="403393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403393"/>
                </a:solidFill>
                <a:cs typeface="Arial" panose="020B0604020202020204" pitchFamily="34" charset="0"/>
              </a:rPr>
              <a:t>Participant stipends</a:t>
            </a:r>
          </a:p>
        </p:txBody>
      </p:sp>
      <p:grpSp>
        <p:nvGrpSpPr>
          <p:cNvPr id="32" name="Group 31"/>
          <p:cNvGrpSpPr>
            <a:grpSpLocks noChangeAspect="1"/>
          </p:cNvGrpSpPr>
          <p:nvPr/>
        </p:nvGrpSpPr>
        <p:grpSpPr>
          <a:xfrm>
            <a:off x="4454797" y="626821"/>
            <a:ext cx="320040" cy="320040"/>
            <a:chOff x="982662" y="1847850"/>
            <a:chExt cx="269875" cy="269875"/>
          </a:xfrm>
        </p:grpSpPr>
        <p:sp>
          <p:nvSpPr>
            <p:cNvPr id="34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36" name="Group 35"/>
          <p:cNvGrpSpPr>
            <a:grpSpLocks noChangeAspect="1"/>
          </p:cNvGrpSpPr>
          <p:nvPr/>
        </p:nvGrpSpPr>
        <p:grpSpPr>
          <a:xfrm>
            <a:off x="4454797" y="1306308"/>
            <a:ext cx="320040" cy="320040"/>
            <a:chOff x="982662" y="1847850"/>
            <a:chExt cx="269875" cy="269875"/>
          </a:xfrm>
        </p:grpSpPr>
        <p:sp>
          <p:nvSpPr>
            <p:cNvPr id="37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8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4454797" y="2638282"/>
            <a:ext cx="320040" cy="320040"/>
            <a:chOff x="982662" y="1847850"/>
            <a:chExt cx="269875" cy="269875"/>
          </a:xfrm>
        </p:grpSpPr>
        <p:sp>
          <p:nvSpPr>
            <p:cNvPr id="4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45" name="Group 44"/>
          <p:cNvGrpSpPr>
            <a:grpSpLocks noChangeAspect="1"/>
          </p:cNvGrpSpPr>
          <p:nvPr/>
        </p:nvGrpSpPr>
        <p:grpSpPr>
          <a:xfrm>
            <a:off x="4454797" y="3317769"/>
            <a:ext cx="320040" cy="320040"/>
            <a:chOff x="982662" y="1847850"/>
            <a:chExt cx="269875" cy="269875"/>
          </a:xfrm>
        </p:grpSpPr>
        <p:sp>
          <p:nvSpPr>
            <p:cNvPr id="46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47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4454797" y="4181922"/>
            <a:ext cx="320040" cy="320040"/>
            <a:chOff x="982662" y="1847850"/>
            <a:chExt cx="269875" cy="269875"/>
          </a:xfrm>
        </p:grpSpPr>
        <p:sp>
          <p:nvSpPr>
            <p:cNvPr id="53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4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55" name="Group 54"/>
          <p:cNvGrpSpPr>
            <a:grpSpLocks noChangeAspect="1"/>
          </p:cNvGrpSpPr>
          <p:nvPr/>
        </p:nvGrpSpPr>
        <p:grpSpPr>
          <a:xfrm>
            <a:off x="4454797" y="5600073"/>
            <a:ext cx="320040" cy="320040"/>
            <a:chOff x="982662" y="1847850"/>
            <a:chExt cx="269875" cy="269875"/>
          </a:xfrm>
        </p:grpSpPr>
        <p:sp>
          <p:nvSpPr>
            <p:cNvPr id="57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403393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58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cxnSp>
        <p:nvCxnSpPr>
          <p:cNvPr id="59" name="Straight Connector 58"/>
          <p:cNvCxnSpPr/>
          <p:nvPr/>
        </p:nvCxnSpPr>
        <p:spPr>
          <a:xfrm>
            <a:off x="4454795" y="1182008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4454795" y="2513982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4454795" y="3193469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4454795" y="4057622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4454795" y="5475773"/>
            <a:ext cx="7108555" cy="0"/>
          </a:xfrm>
          <a:prstGeom prst="line">
            <a:avLst/>
          </a:prstGeom>
          <a:ln w="9525" cap="rnd">
            <a:solidFill>
              <a:srgbClr val="9A9A9A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erlay">
            <a:extLst>
              <a:ext uri="{FF2B5EF4-FFF2-40B4-BE49-F238E27FC236}">
                <a16:creationId xmlns:a16="http://schemas.microsoft.com/office/drawing/2014/main" id="{57BA926F-1A30-423D-A2F7-322681700E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4076699" cy="6855347"/>
          </a:xfrm>
          <a:prstGeom prst="rect">
            <a:avLst/>
          </a:prstGeom>
          <a:solidFill>
            <a:srgbClr val="000000">
              <a:alpha val="7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B5D1487-9E63-4624-82BE-656980C2BC42}"/>
              </a:ext>
            </a:extLst>
          </p:cNvPr>
          <p:cNvSpPr txBox="1"/>
          <p:nvPr/>
        </p:nvSpPr>
        <p:spPr>
          <a:xfrm>
            <a:off x="372952" y="228205"/>
            <a:ext cx="3330791" cy="9848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9A90D8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b="1">
                <a:solidFill>
                  <a:srgbClr val="9A90D8"/>
                </a:solidFill>
              </a:rPr>
              <a:t>Career Technical Initiative (CTI)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DD7AE90-676F-4DED-A3C2-65D7F5D04877}"/>
              </a:ext>
            </a:extLst>
          </p:cNvPr>
          <p:cNvSpPr/>
          <p:nvPr/>
        </p:nvSpPr>
        <p:spPr>
          <a:xfrm>
            <a:off x="511392" y="5818265"/>
            <a:ext cx="2933156" cy="406265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1440" tIns="91440" rIns="91440" bIns="91440" anchor="t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9A90D8"/>
                </a:solidFill>
                <a:cs typeface="Arial"/>
              </a:rPr>
              <a:t>Responses due: </a:t>
            </a:r>
            <a:r>
              <a:rPr lang="en-US" sz="1600">
                <a:solidFill>
                  <a:schemeClr val="bg1"/>
                </a:solidFill>
                <a:cs typeface="Arial"/>
              </a:rPr>
              <a:t>April 29th</a:t>
            </a:r>
            <a:endParaRPr lang="en-US" sz="16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5C21BB7-3787-4320-A9C5-16074E431CE3}"/>
              </a:ext>
            </a:extLst>
          </p:cNvPr>
          <p:cNvSpPr/>
          <p:nvPr/>
        </p:nvSpPr>
        <p:spPr>
          <a:xfrm>
            <a:off x="372953" y="1496555"/>
            <a:ext cx="3330791" cy="4023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e Workforce Skills Cabinet and Commonwealth Corporation have launched CTI to expand adult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access to construction/skilled trades and manufacturing</a:t>
            </a:r>
            <a:b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</a:b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training programs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CTI will provide High Schools with aligned C74 programs with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funding to expand "third shift" training capacity 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and develop programs that train and place under/unemployed adults</a:t>
            </a:r>
          </a:p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Through the program, schools receive </a:t>
            </a:r>
            <a:r>
              <a:rPr lang="en-US" sz="1600">
                <a:solidFill>
                  <a:srgbClr val="9A90D8"/>
                </a:solidFill>
                <a:cs typeface="Arial" panose="020B0604020202020204" pitchFamily="34" charset="0"/>
              </a:rPr>
              <a:t>technical assistance and recruiting support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 from </a:t>
            </a:r>
            <a:r>
              <a:rPr lang="en-US" sz="1600" err="1">
                <a:solidFill>
                  <a:srgbClr val="FFFFFF"/>
                </a:solidFill>
                <a:cs typeface="Arial" panose="020B0604020202020204" pitchFamily="34" charset="0"/>
              </a:rPr>
              <a:t>MassHire</a:t>
            </a:r>
            <a:r>
              <a:rPr lang="en-US" sz="1600">
                <a:solidFill>
                  <a:srgbClr val="FFFFFF"/>
                </a:solidFill>
                <a:cs typeface="Arial" panose="020B0604020202020204" pitchFamily="34" charset="0"/>
              </a:rPr>
              <a:t> Career Centers and regional workforce board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284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nternal stakeholder-facing grant summari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881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83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itle 1">
            <a:extLst>
              <a:ext uri="{FF2B5EF4-FFF2-40B4-BE49-F238E27FC236}">
                <a16:creationId xmlns:a16="http://schemas.microsoft.com/office/drawing/2014/main" id="{13BA9B84-D188-4F80-BDE7-AD2E23D893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04699"/>
          </a:xfrm>
        </p:spPr>
        <p:txBody>
          <a:bodyPr vert="horz"/>
          <a:lstStyle/>
          <a:p>
            <a:r>
              <a:rPr lang="en-US" sz="2200">
                <a:solidFill>
                  <a:srgbClr val="00269E"/>
                </a:solidFill>
              </a:rPr>
              <a:t>Summary of key facts for three newest ARPA funded program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9E7172E-DEDD-4FF5-9B53-34D6FB7087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RPA pipeline training gran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336FB8-6564-4D04-8F54-51D617F3E383}"/>
              </a:ext>
            </a:extLst>
          </p:cNvPr>
          <p:cNvSpPr/>
          <p:nvPr/>
        </p:nvSpPr>
        <p:spPr>
          <a:xfrm>
            <a:off x="618835" y="5750383"/>
            <a:ext cx="10944515" cy="41070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6A6A6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7F7F7F"/>
                </a:solidFill>
                <a:latin typeface="Karla" pitchFamily="2" charset="0"/>
                <a:sym typeface="Karla" pitchFamily="2" charset="0"/>
              </a:rPr>
              <a:t>Not included: Other supports and funding programs e.g., Workforce training fund, </a:t>
            </a:r>
            <a:r>
              <a:rPr lang="en-US" sz="1200" err="1">
                <a:solidFill>
                  <a:srgbClr val="7F7F7F"/>
                </a:solidFill>
                <a:latin typeface="Karla" pitchFamily="2" charset="0"/>
                <a:sym typeface="Karla" pitchFamily="2" charset="0"/>
              </a:rPr>
              <a:t>MassSTEP</a:t>
            </a:r>
            <a:r>
              <a:rPr lang="en-US" sz="1200">
                <a:solidFill>
                  <a:srgbClr val="7F7F7F"/>
                </a:solidFill>
                <a:latin typeface="Karla" pitchFamily="2" charset="0"/>
                <a:sym typeface="Karla" pitchFamily="2" charset="0"/>
              </a:rPr>
              <a:t> (ESOL), </a:t>
            </a:r>
            <a:r>
              <a:rPr lang="en-US" sz="1200" err="1">
                <a:solidFill>
                  <a:srgbClr val="7F7F7F"/>
                </a:solidFill>
                <a:latin typeface="Karla" pitchFamily="2" charset="0"/>
                <a:sym typeface="Karla" pitchFamily="2" charset="0"/>
              </a:rPr>
              <a:t>etc</a:t>
            </a:r>
            <a:endParaRPr lang="en-US" sz="1200">
              <a:solidFill>
                <a:srgbClr val="7F7F7F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ED9ED6-B895-47E6-9F65-04FDC6B4BF7E}"/>
              </a:ext>
            </a:extLst>
          </p:cNvPr>
          <p:cNvSpPr/>
          <p:nvPr/>
        </p:nvSpPr>
        <p:spPr>
          <a:xfrm>
            <a:off x="1105786" y="1603268"/>
            <a:ext cx="1690577" cy="620783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algn="ctr" defTabSz="914400" rtl="0" eaLnBrk="1" latinLnBrk="0" hangingPunct="1"/>
            <a:r>
              <a:rPr lang="en-US" sz="1600" b="1" kern="1200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Key </a:t>
            </a:r>
            <a:br>
              <a:rPr lang="en-US" sz="1600" b="1" kern="1200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</a:br>
            <a:r>
              <a:rPr lang="en-US" sz="1600" b="1" kern="1200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dates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1B51FCC3-FC36-493A-88E5-6056355BA20E}"/>
              </a:ext>
            </a:extLst>
          </p:cNvPr>
          <p:cNvSpPr/>
          <p:nvPr/>
        </p:nvSpPr>
        <p:spPr>
          <a:xfrm>
            <a:off x="2834640" y="1603268"/>
            <a:ext cx="1690577" cy="620783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Target industrie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BD0A3B07-87BD-40AD-B118-FDCCF827604B}"/>
              </a:ext>
            </a:extLst>
          </p:cNvPr>
          <p:cNvSpPr/>
          <p:nvPr/>
        </p:nvSpPr>
        <p:spPr>
          <a:xfrm>
            <a:off x="4563494" y="1603268"/>
            <a:ext cx="1690577" cy="620783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Target population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57B27C32-A528-42CF-AA31-5E9F5EB9484E}"/>
              </a:ext>
            </a:extLst>
          </p:cNvPr>
          <p:cNvSpPr/>
          <p:nvPr/>
        </p:nvSpPr>
        <p:spPr>
          <a:xfrm>
            <a:off x="6292348" y="1603268"/>
            <a:ext cx="1690577" cy="620783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Eligible applicants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2815CCE4-5588-4F2A-BEA6-58F9453E5256}"/>
              </a:ext>
            </a:extLst>
          </p:cNvPr>
          <p:cNvSpPr/>
          <p:nvPr/>
        </p:nvSpPr>
        <p:spPr>
          <a:xfrm>
            <a:off x="8021202" y="1603268"/>
            <a:ext cx="1690577" cy="620783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Value &amp; Duration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1F247F18-9175-42B8-A10B-31BAD25F8183}"/>
              </a:ext>
            </a:extLst>
          </p:cNvPr>
          <p:cNvSpPr/>
          <p:nvPr/>
        </p:nvSpPr>
        <p:spPr>
          <a:xfrm>
            <a:off x="9750057" y="1603268"/>
            <a:ext cx="1690577" cy="620783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rgbClr val="00269E"/>
                </a:solidFill>
                <a:latin typeface="Karla" pitchFamily="2" charset="0"/>
                <a:sym typeface="Karla" pitchFamily="2" charset="0"/>
              </a:rPr>
              <a:t>Allowable costs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448F2FAD-5D4A-4605-9959-99E36CE9CA74}"/>
              </a:ext>
            </a:extLst>
          </p:cNvPr>
          <p:cNvSpPr/>
          <p:nvPr/>
        </p:nvSpPr>
        <p:spPr>
          <a:xfrm>
            <a:off x="628650" y="2224052"/>
            <a:ext cx="477136" cy="933820"/>
          </a:xfrm>
          <a:prstGeom prst="rect">
            <a:avLst/>
          </a:prstGeom>
          <a:solidFill>
            <a:srgbClr val="5C96FF"/>
          </a:solidFill>
          <a:ln w="127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err="1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WCTF</a:t>
            </a:r>
            <a:endParaRPr lang="en-US" sz="1600" b="1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EE14F4E-14DF-4828-8231-D0F23E9D468F}"/>
              </a:ext>
            </a:extLst>
          </p:cNvPr>
          <p:cNvSpPr/>
          <p:nvPr/>
        </p:nvSpPr>
        <p:spPr>
          <a:xfrm>
            <a:off x="628650" y="3448501"/>
            <a:ext cx="477136" cy="933820"/>
          </a:xfrm>
          <a:prstGeom prst="rect">
            <a:avLst/>
          </a:prstGeom>
          <a:solidFill>
            <a:srgbClr val="5C96FF"/>
          </a:solidFill>
          <a:ln w="127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u="none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RENEW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22CF0BBC-D34D-42B3-B515-ADCE5FEDABAC}"/>
              </a:ext>
            </a:extLst>
          </p:cNvPr>
          <p:cNvSpPr/>
          <p:nvPr/>
        </p:nvSpPr>
        <p:spPr>
          <a:xfrm>
            <a:off x="628650" y="4672948"/>
            <a:ext cx="477136" cy="933821"/>
          </a:xfrm>
          <a:prstGeom prst="rect">
            <a:avLst/>
          </a:prstGeom>
          <a:solidFill>
            <a:srgbClr val="5C96FF"/>
          </a:solidFill>
          <a:ln w="127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u="none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CTI</a:t>
            </a:r>
            <a:endParaRPr lang="en-US" sz="1600" b="1" i="0" u="none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D487714F-FB8B-40A2-A532-32A3E6D60353}"/>
              </a:ext>
            </a:extLst>
          </p:cNvPr>
          <p:cNvSpPr/>
          <p:nvPr/>
        </p:nvSpPr>
        <p:spPr>
          <a:xfrm>
            <a:off x="1105786" y="2224051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Launch: Oct 18</a:t>
            </a:r>
            <a:r>
              <a:rPr lang="en-US" sz="1000" baseline="30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th</a:t>
            </a: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 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Due: rolling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EA751FF6-871F-445D-8258-DEECF0C15477}"/>
              </a:ext>
            </a:extLst>
          </p:cNvPr>
          <p:cNvSpPr/>
          <p:nvPr/>
        </p:nvSpPr>
        <p:spPr>
          <a:xfrm>
            <a:off x="2834640" y="2224051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 i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ll priority occupations ex. Advanced Manufacturing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38C5444-A3CD-4D4C-BD31-5DFA4FD57A04}"/>
              </a:ext>
            </a:extLst>
          </p:cNvPr>
          <p:cNvSpPr/>
          <p:nvPr/>
        </p:nvSpPr>
        <p:spPr>
          <a:xfrm>
            <a:off x="4563494" y="2224051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nder/ unemployed adult workers (with special consideration given to LTE populations)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3B7ABB9D-22EF-49A8-972A-CAE97739A26F}"/>
              </a:ext>
            </a:extLst>
          </p:cNvPr>
          <p:cNvSpPr/>
          <p:nvPr/>
        </p:nvSpPr>
        <p:spPr>
          <a:xfrm>
            <a:off x="6292348" y="2224051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 algn="l" defTabSz="914400" rtl="0" eaLnBrk="1" latinLnBrk="0" hangingPunct="1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ducation institutions</a:t>
            </a:r>
          </a:p>
          <a:p>
            <a:pPr marL="270000" lvl="1" indent="-180000" algn="l" defTabSz="914400" rtl="0" eaLnBrk="1" latinLnBrk="0" hangingPunct="1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mployers/</a:t>
            </a:r>
            <a:b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</a:b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industry members</a:t>
            </a:r>
          </a:p>
          <a:p>
            <a:pPr marL="270000" lvl="1" indent="-180000" algn="l" defTabSz="914400" rtl="0" eaLnBrk="1" latinLnBrk="0" hangingPunct="1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Community orgs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3732BF87-2FF0-492F-9F87-6558C2AAFBFF}"/>
              </a:ext>
            </a:extLst>
          </p:cNvPr>
          <p:cNvSpPr/>
          <p:nvPr/>
        </p:nvSpPr>
        <p:spPr>
          <a:xfrm>
            <a:off x="8021202" y="2224051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2-year program with consideration for 3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10k per student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wardee needs to </a:t>
            </a:r>
            <a:b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</a:b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cover 30%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45F57A4F-9299-4123-ADF9-D3C09BB5F5F2}"/>
              </a:ext>
            </a:extLst>
          </p:cNvPr>
          <p:cNvSpPr/>
          <p:nvPr/>
        </p:nvSpPr>
        <p:spPr>
          <a:xfrm>
            <a:off x="9750057" y="2224051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gram costs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tudent support costs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icipant stipends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4B5399A2-1F02-407B-A26F-14C15E638D2A}"/>
              </a:ext>
            </a:extLst>
          </p:cNvPr>
          <p:cNvSpPr/>
          <p:nvPr/>
        </p:nvSpPr>
        <p:spPr>
          <a:xfrm>
            <a:off x="1105786" y="3448499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Launch: Oct 22</a:t>
            </a:r>
            <a:r>
              <a:rPr lang="en-US" sz="1000" baseline="30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nd</a:t>
            </a:r>
            <a:endParaRPr lang="en-US" sz="1000">
              <a:solidFill>
                <a:srgbClr val="000000"/>
              </a:solidFill>
              <a:latin typeface="Karla" pitchFamily="2" charset="0"/>
              <a:sym typeface="Karla" pitchFamily="2" charset="0"/>
            </a:endParaRPr>
          </a:p>
          <a:p>
            <a:pPr marL="324000" lvl="1" indent="-216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Due: rolling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231FC202-BF3E-47B3-BC2E-20E37AF48AB1}"/>
              </a:ext>
            </a:extLst>
          </p:cNvPr>
          <p:cNvSpPr/>
          <p:nvPr/>
        </p:nvSpPr>
        <p:spPr>
          <a:xfrm>
            <a:off x="2834640" y="3448499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 i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ll priority occupations </a:t>
            </a:r>
            <a:endParaRPr lang="en-US" sz="1000">
              <a:solidFill>
                <a:srgbClr val="000000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86B9B29A-D4EF-4C61-A35D-104B864DFC48}"/>
              </a:ext>
            </a:extLst>
          </p:cNvPr>
          <p:cNvSpPr/>
          <p:nvPr/>
        </p:nvSpPr>
        <p:spPr>
          <a:xfrm>
            <a:off x="4563494" y="3448499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nder/ unemployed adult workers (with focus on traditionally underserved communities)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121FE333-0BBB-4B9B-97F6-2E9F47D7CB9C}"/>
              </a:ext>
            </a:extLst>
          </p:cNvPr>
          <p:cNvSpPr/>
          <p:nvPr/>
        </p:nvSpPr>
        <p:spPr>
          <a:xfrm>
            <a:off x="6292348" y="3448499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 algn="l" defTabSz="914400" rtl="0" eaLnBrk="1" latinLnBrk="0" hangingPunct="1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ducation institutions</a:t>
            </a:r>
          </a:p>
          <a:p>
            <a:pPr marL="270000" lvl="1" indent="-180000" algn="l" defTabSz="914400" rtl="0" eaLnBrk="1" latinLnBrk="0" hangingPunct="1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mployers/</a:t>
            </a:r>
            <a:b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</a:b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industry members</a:t>
            </a:r>
          </a:p>
          <a:p>
            <a:pPr marL="270000" lvl="1" indent="-180000" algn="l" defTabSz="914400" rtl="0" eaLnBrk="1" latinLnBrk="0" hangingPunct="1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Community orgs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148138CD-A5AB-4DAD-BD6F-B2880724CE3C}"/>
              </a:ext>
            </a:extLst>
          </p:cNvPr>
          <p:cNvSpPr/>
          <p:nvPr/>
        </p:nvSpPr>
        <p:spPr>
          <a:xfrm>
            <a:off x="8021202" y="3448499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marR="0" lvl="1" indent="-180000" algn="l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9E"/>
              </a:buClr>
              <a:buSzTx/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3-year program</a:t>
            </a:r>
          </a:p>
          <a:p>
            <a:pPr marL="270000" marR="0" lvl="1" indent="-1800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9E"/>
              </a:buClr>
              <a:buSzTx/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10k per student</a:t>
            </a:r>
          </a:p>
          <a:p>
            <a:pPr marL="27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9E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mployer pays back 50% upon hire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BE1E7852-C5F2-4BA8-81C6-F3BD9B65697E}"/>
              </a:ext>
            </a:extLst>
          </p:cNvPr>
          <p:cNvSpPr/>
          <p:nvPr/>
        </p:nvSpPr>
        <p:spPr>
          <a:xfrm>
            <a:off x="9750057" y="3448499"/>
            <a:ext cx="1690577" cy="933820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9E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gram costs</a:t>
            </a:r>
          </a:p>
          <a:p>
            <a:pPr marL="27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9E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tudent support costs</a:t>
            </a:r>
          </a:p>
          <a:p>
            <a:pPr marL="27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69E"/>
              </a:buClr>
              <a:buSzTx/>
              <a:buFont typeface="Trebuchet MS" panose="020B0603020202020204" pitchFamily="34" charset="0"/>
              <a:buChar char="•"/>
              <a:tabLst/>
              <a:defRPr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icipant stipends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2FE7DB7-8E31-4754-84EE-0BE328F68707}"/>
              </a:ext>
            </a:extLst>
          </p:cNvPr>
          <p:cNvSpPr/>
          <p:nvPr/>
        </p:nvSpPr>
        <p:spPr>
          <a:xfrm>
            <a:off x="1105786" y="4672948"/>
            <a:ext cx="1690577" cy="933821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23850" lvl="1" indent="-2159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/>
                <a:sym typeface="Karla" pitchFamily="2" charset="0"/>
              </a:rPr>
              <a:t>Due: April 29th </a:t>
            </a:r>
            <a:endParaRPr lang="en-US" sz="1000">
              <a:solidFill>
                <a:srgbClr val="000000"/>
              </a:solidFill>
              <a:latin typeface="Karla" pitchFamily="2" charset="0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D6FA9680-2E6A-4594-BF9D-C3584DBF0E10}"/>
              </a:ext>
            </a:extLst>
          </p:cNvPr>
          <p:cNvSpPr/>
          <p:nvPr/>
        </p:nvSpPr>
        <p:spPr>
          <a:xfrm>
            <a:off x="2834640" y="4672948"/>
            <a:ext cx="1690577" cy="933821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Construction/skilled trades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Manufacturing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C4CFF76E-15B9-484E-9BE3-65377E23884A}"/>
              </a:ext>
            </a:extLst>
          </p:cNvPr>
          <p:cNvSpPr/>
          <p:nvPr/>
        </p:nvSpPr>
        <p:spPr>
          <a:xfrm>
            <a:off x="4563494" y="4672948"/>
            <a:ext cx="1690577" cy="933821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nder/ unemployed adult workers (with added flexibility for workers with day responsibilities)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B770D2D-11E4-4CA1-8BFC-4C11D329194C}"/>
              </a:ext>
            </a:extLst>
          </p:cNvPr>
          <p:cNvSpPr/>
          <p:nvPr/>
        </p:nvSpPr>
        <p:spPr>
          <a:xfrm>
            <a:off x="6292348" y="4672948"/>
            <a:ext cx="1690577" cy="933821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High schools with aligned C74 vocational programs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59FCFB41-2513-4542-BB42-1CE1466A2BF7}"/>
              </a:ext>
            </a:extLst>
          </p:cNvPr>
          <p:cNvSpPr/>
          <p:nvPr/>
        </p:nvSpPr>
        <p:spPr>
          <a:xfrm>
            <a:off x="8021202" y="4672948"/>
            <a:ext cx="1690577" cy="933821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2-year program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6k per student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40k startup funds for new grantees </a:t>
            </a:r>
            <a:endParaRPr lang="en-US" sz="1000">
              <a:latin typeface="Karla" pitchFamily="2" charset="0"/>
              <a:sym typeface="Karla" pitchFamily="2" charset="0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9544E352-8639-41A1-BB57-39E7BCF08B0E}"/>
              </a:ext>
            </a:extLst>
          </p:cNvPr>
          <p:cNvSpPr/>
          <p:nvPr/>
        </p:nvSpPr>
        <p:spPr>
          <a:xfrm>
            <a:off x="9750057" y="4672948"/>
            <a:ext cx="1690577" cy="933821"/>
          </a:xfrm>
          <a:prstGeom prst="rect">
            <a:avLst/>
          </a:prstGeom>
          <a:noFill/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12700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gram costs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tudent support costs</a:t>
            </a:r>
          </a:p>
          <a:p>
            <a:pPr marL="270000" lvl="1" indent="-180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0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icipant stipend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302461-7F21-4D65-91FC-FF364BD12D47}"/>
              </a:ext>
            </a:extLst>
          </p:cNvPr>
          <p:cNvCxnSpPr>
            <a:cxnSpLocks/>
          </p:cNvCxnSpPr>
          <p:nvPr/>
        </p:nvCxnSpPr>
        <p:spPr>
          <a:xfrm>
            <a:off x="1164874" y="222405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B66F5D8D-A872-465D-9FC7-D656462695C8}"/>
              </a:ext>
            </a:extLst>
          </p:cNvPr>
          <p:cNvCxnSpPr>
            <a:cxnSpLocks/>
          </p:cNvCxnSpPr>
          <p:nvPr/>
        </p:nvCxnSpPr>
        <p:spPr>
          <a:xfrm>
            <a:off x="2893728" y="222405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96E5ECDF-3A6F-4317-9C05-A1375CCC290B}"/>
              </a:ext>
            </a:extLst>
          </p:cNvPr>
          <p:cNvCxnSpPr>
            <a:cxnSpLocks/>
          </p:cNvCxnSpPr>
          <p:nvPr/>
        </p:nvCxnSpPr>
        <p:spPr>
          <a:xfrm>
            <a:off x="4622583" y="222405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3BECEE34-1DAD-4758-A6AD-89170AF6139C}"/>
              </a:ext>
            </a:extLst>
          </p:cNvPr>
          <p:cNvCxnSpPr>
            <a:cxnSpLocks/>
          </p:cNvCxnSpPr>
          <p:nvPr/>
        </p:nvCxnSpPr>
        <p:spPr>
          <a:xfrm>
            <a:off x="6351436" y="222405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4D4E0624-0B3C-4548-BB26-29AAD8C8FB49}"/>
              </a:ext>
            </a:extLst>
          </p:cNvPr>
          <p:cNvCxnSpPr>
            <a:cxnSpLocks/>
          </p:cNvCxnSpPr>
          <p:nvPr/>
        </p:nvCxnSpPr>
        <p:spPr>
          <a:xfrm>
            <a:off x="8080291" y="222405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D8EB1585-B433-46F9-B7D3-3EC6D3AB3EFA}"/>
              </a:ext>
            </a:extLst>
          </p:cNvPr>
          <p:cNvCxnSpPr>
            <a:cxnSpLocks/>
          </p:cNvCxnSpPr>
          <p:nvPr/>
        </p:nvCxnSpPr>
        <p:spPr>
          <a:xfrm>
            <a:off x="9809145" y="222405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A37ABA15-6791-463E-850A-BF0AFA357BAD}"/>
              </a:ext>
            </a:extLst>
          </p:cNvPr>
          <p:cNvCxnSpPr>
            <a:cxnSpLocks/>
          </p:cNvCxnSpPr>
          <p:nvPr/>
        </p:nvCxnSpPr>
        <p:spPr>
          <a:xfrm>
            <a:off x="1164874" y="3159717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D24E9004-6044-4D99-B0DB-431E172B35A3}"/>
              </a:ext>
            </a:extLst>
          </p:cNvPr>
          <p:cNvCxnSpPr>
            <a:cxnSpLocks/>
          </p:cNvCxnSpPr>
          <p:nvPr/>
        </p:nvCxnSpPr>
        <p:spPr>
          <a:xfrm>
            <a:off x="1164874" y="438231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5EABD2BC-172A-4709-8D76-9D90732B91B5}"/>
              </a:ext>
            </a:extLst>
          </p:cNvPr>
          <p:cNvCxnSpPr>
            <a:cxnSpLocks/>
          </p:cNvCxnSpPr>
          <p:nvPr/>
        </p:nvCxnSpPr>
        <p:spPr>
          <a:xfrm>
            <a:off x="1164874" y="560676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8125732B-3881-4ED0-AB9C-AF0420701752}"/>
              </a:ext>
            </a:extLst>
          </p:cNvPr>
          <p:cNvCxnSpPr>
            <a:cxnSpLocks/>
          </p:cNvCxnSpPr>
          <p:nvPr/>
        </p:nvCxnSpPr>
        <p:spPr>
          <a:xfrm>
            <a:off x="2893728" y="3159717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500C3598-9ADB-4BDD-8FDE-DFA7F9DE0FDF}"/>
              </a:ext>
            </a:extLst>
          </p:cNvPr>
          <p:cNvCxnSpPr>
            <a:cxnSpLocks/>
          </p:cNvCxnSpPr>
          <p:nvPr/>
        </p:nvCxnSpPr>
        <p:spPr>
          <a:xfrm>
            <a:off x="4622583" y="3159717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DB1A7703-5CC1-497E-B302-16E0969CE9A8}"/>
              </a:ext>
            </a:extLst>
          </p:cNvPr>
          <p:cNvCxnSpPr>
            <a:cxnSpLocks/>
          </p:cNvCxnSpPr>
          <p:nvPr/>
        </p:nvCxnSpPr>
        <p:spPr>
          <a:xfrm>
            <a:off x="6351436" y="3159717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8B4E3EBD-54F4-482B-B8E5-03A2C19E9C9A}"/>
              </a:ext>
            </a:extLst>
          </p:cNvPr>
          <p:cNvCxnSpPr>
            <a:cxnSpLocks/>
          </p:cNvCxnSpPr>
          <p:nvPr/>
        </p:nvCxnSpPr>
        <p:spPr>
          <a:xfrm>
            <a:off x="8080291" y="3159717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B9F79356-2F11-441B-8EB6-3DD1A0DCCC69}"/>
              </a:ext>
            </a:extLst>
          </p:cNvPr>
          <p:cNvCxnSpPr>
            <a:cxnSpLocks/>
          </p:cNvCxnSpPr>
          <p:nvPr/>
        </p:nvCxnSpPr>
        <p:spPr>
          <a:xfrm>
            <a:off x="9809145" y="3159717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4CCC5A08-7765-4AF8-92CA-112D025130DE}"/>
              </a:ext>
            </a:extLst>
          </p:cNvPr>
          <p:cNvCxnSpPr>
            <a:cxnSpLocks/>
          </p:cNvCxnSpPr>
          <p:nvPr/>
        </p:nvCxnSpPr>
        <p:spPr>
          <a:xfrm>
            <a:off x="2893728" y="436290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2BD92881-850D-42F4-89DE-719AF76378C1}"/>
              </a:ext>
            </a:extLst>
          </p:cNvPr>
          <p:cNvCxnSpPr>
            <a:cxnSpLocks/>
          </p:cNvCxnSpPr>
          <p:nvPr/>
        </p:nvCxnSpPr>
        <p:spPr>
          <a:xfrm>
            <a:off x="4622583" y="436290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A47147DE-46A7-4710-88D7-ECB9BA6D7092}"/>
              </a:ext>
            </a:extLst>
          </p:cNvPr>
          <p:cNvCxnSpPr>
            <a:cxnSpLocks/>
          </p:cNvCxnSpPr>
          <p:nvPr/>
        </p:nvCxnSpPr>
        <p:spPr>
          <a:xfrm>
            <a:off x="6351436" y="436290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FA032468-ABE8-4B78-A51B-D748BF97AC12}"/>
              </a:ext>
            </a:extLst>
          </p:cNvPr>
          <p:cNvCxnSpPr>
            <a:cxnSpLocks/>
          </p:cNvCxnSpPr>
          <p:nvPr/>
        </p:nvCxnSpPr>
        <p:spPr>
          <a:xfrm>
            <a:off x="8080291" y="436290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01642C69-85F9-41EA-B790-E51978F5AE69}"/>
              </a:ext>
            </a:extLst>
          </p:cNvPr>
          <p:cNvCxnSpPr>
            <a:cxnSpLocks/>
          </p:cNvCxnSpPr>
          <p:nvPr/>
        </p:nvCxnSpPr>
        <p:spPr>
          <a:xfrm>
            <a:off x="9809145" y="4362901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B479E73F-A3CA-49F8-A305-F414AB5C83A3}"/>
              </a:ext>
            </a:extLst>
          </p:cNvPr>
          <p:cNvCxnSpPr>
            <a:cxnSpLocks/>
          </p:cNvCxnSpPr>
          <p:nvPr/>
        </p:nvCxnSpPr>
        <p:spPr>
          <a:xfrm>
            <a:off x="2893728" y="560676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C561434F-624B-4153-8909-76A7485F0558}"/>
              </a:ext>
            </a:extLst>
          </p:cNvPr>
          <p:cNvCxnSpPr>
            <a:cxnSpLocks/>
          </p:cNvCxnSpPr>
          <p:nvPr/>
        </p:nvCxnSpPr>
        <p:spPr>
          <a:xfrm>
            <a:off x="4622583" y="560676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5ABFB09A-5105-4B00-A4E7-2D6A002AE06C}"/>
              </a:ext>
            </a:extLst>
          </p:cNvPr>
          <p:cNvCxnSpPr>
            <a:cxnSpLocks/>
          </p:cNvCxnSpPr>
          <p:nvPr/>
        </p:nvCxnSpPr>
        <p:spPr>
          <a:xfrm>
            <a:off x="6351436" y="560676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05D0D271-9C7A-4D2A-B010-D151D443C204}"/>
              </a:ext>
            </a:extLst>
          </p:cNvPr>
          <p:cNvCxnSpPr>
            <a:cxnSpLocks/>
          </p:cNvCxnSpPr>
          <p:nvPr/>
        </p:nvCxnSpPr>
        <p:spPr>
          <a:xfrm>
            <a:off x="8080291" y="560676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0F9BF6CD-A0FB-4EBC-B6E4-D0D716E9DC9E}"/>
              </a:ext>
            </a:extLst>
          </p:cNvPr>
          <p:cNvCxnSpPr>
            <a:cxnSpLocks/>
          </p:cNvCxnSpPr>
          <p:nvPr/>
        </p:nvCxnSpPr>
        <p:spPr>
          <a:xfrm>
            <a:off x="9809145" y="560676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70132E8A-C798-4E11-A4B0-8C9F28D4FCF7}"/>
              </a:ext>
            </a:extLst>
          </p:cNvPr>
          <p:cNvCxnSpPr>
            <a:cxnSpLocks/>
          </p:cNvCxnSpPr>
          <p:nvPr/>
        </p:nvCxnSpPr>
        <p:spPr>
          <a:xfrm>
            <a:off x="1164874" y="344849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DE6BE098-948F-4DEA-9E85-1A48EED57597}"/>
              </a:ext>
            </a:extLst>
          </p:cNvPr>
          <p:cNvCxnSpPr>
            <a:cxnSpLocks/>
          </p:cNvCxnSpPr>
          <p:nvPr/>
        </p:nvCxnSpPr>
        <p:spPr>
          <a:xfrm>
            <a:off x="2893728" y="344849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24FBB8C5-8D45-4EDD-9861-0C2D2110CD7B}"/>
              </a:ext>
            </a:extLst>
          </p:cNvPr>
          <p:cNvCxnSpPr>
            <a:cxnSpLocks/>
          </p:cNvCxnSpPr>
          <p:nvPr/>
        </p:nvCxnSpPr>
        <p:spPr>
          <a:xfrm>
            <a:off x="4622583" y="344849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C025B143-3048-42AA-A3F0-77ECD94E3E68}"/>
              </a:ext>
            </a:extLst>
          </p:cNvPr>
          <p:cNvCxnSpPr>
            <a:cxnSpLocks/>
          </p:cNvCxnSpPr>
          <p:nvPr/>
        </p:nvCxnSpPr>
        <p:spPr>
          <a:xfrm>
            <a:off x="6351436" y="344849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D6F85D75-535C-495A-98AC-9F9A77C823E2}"/>
              </a:ext>
            </a:extLst>
          </p:cNvPr>
          <p:cNvCxnSpPr>
            <a:cxnSpLocks/>
          </p:cNvCxnSpPr>
          <p:nvPr/>
        </p:nvCxnSpPr>
        <p:spPr>
          <a:xfrm>
            <a:off x="8080291" y="344849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CC9CE355-BB97-40BF-A84F-14E5B18DF9DE}"/>
              </a:ext>
            </a:extLst>
          </p:cNvPr>
          <p:cNvCxnSpPr>
            <a:cxnSpLocks/>
          </p:cNvCxnSpPr>
          <p:nvPr/>
        </p:nvCxnSpPr>
        <p:spPr>
          <a:xfrm>
            <a:off x="9809145" y="3448499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9201C71E-11D9-4987-A0DE-A76DCB35F2F7}"/>
              </a:ext>
            </a:extLst>
          </p:cNvPr>
          <p:cNvCxnSpPr>
            <a:cxnSpLocks/>
          </p:cNvCxnSpPr>
          <p:nvPr/>
        </p:nvCxnSpPr>
        <p:spPr>
          <a:xfrm>
            <a:off x="1164874" y="4672948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0B77F209-5D40-4DED-BE6A-6CEE12D23185}"/>
              </a:ext>
            </a:extLst>
          </p:cNvPr>
          <p:cNvCxnSpPr>
            <a:cxnSpLocks/>
          </p:cNvCxnSpPr>
          <p:nvPr/>
        </p:nvCxnSpPr>
        <p:spPr>
          <a:xfrm>
            <a:off x="2893728" y="4672948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AFEB1FAB-9D04-4FCA-9EEC-8AB03EBDA1F6}"/>
              </a:ext>
            </a:extLst>
          </p:cNvPr>
          <p:cNvCxnSpPr>
            <a:cxnSpLocks/>
          </p:cNvCxnSpPr>
          <p:nvPr/>
        </p:nvCxnSpPr>
        <p:spPr>
          <a:xfrm>
            <a:off x="4622583" y="4672948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22118D82-5908-4B6E-AF8C-EE39026649AD}"/>
              </a:ext>
            </a:extLst>
          </p:cNvPr>
          <p:cNvCxnSpPr>
            <a:cxnSpLocks/>
          </p:cNvCxnSpPr>
          <p:nvPr/>
        </p:nvCxnSpPr>
        <p:spPr>
          <a:xfrm>
            <a:off x="6351436" y="4672948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D922BF0A-7AAD-44B3-AC73-9F0CE0450DD8}"/>
              </a:ext>
            </a:extLst>
          </p:cNvPr>
          <p:cNvCxnSpPr>
            <a:cxnSpLocks/>
          </p:cNvCxnSpPr>
          <p:nvPr/>
        </p:nvCxnSpPr>
        <p:spPr>
          <a:xfrm>
            <a:off x="8080291" y="4672948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5731302C-1422-4745-81AF-8193612B9320}"/>
              </a:ext>
            </a:extLst>
          </p:cNvPr>
          <p:cNvCxnSpPr>
            <a:cxnSpLocks/>
          </p:cNvCxnSpPr>
          <p:nvPr/>
        </p:nvCxnSpPr>
        <p:spPr>
          <a:xfrm>
            <a:off x="9809145" y="4672948"/>
            <a:ext cx="1572400" cy="0"/>
          </a:xfrm>
          <a:prstGeom prst="line">
            <a:avLst/>
          </a:prstGeom>
          <a:ln w="25400" cap="rnd" cmpd="sng" algn="ctr">
            <a:solidFill>
              <a:srgbClr val="5C96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Isosceles Triangle 71">
            <a:extLst>
              <a:ext uri="{FF2B5EF4-FFF2-40B4-BE49-F238E27FC236}">
                <a16:creationId xmlns:a16="http://schemas.microsoft.com/office/drawing/2014/main" id="{463CFED8-FF49-45C2-A7A4-9AA2980DA82D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3" name="Oval 20">
            <a:extLst>
              <a:ext uri="{FF2B5EF4-FFF2-40B4-BE49-F238E27FC236}">
                <a16:creationId xmlns:a16="http://schemas.microsoft.com/office/drawing/2014/main" id="{FD8C4869-7F66-49D9-8890-B4DEDA11A93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3482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2E3A35AC-1F7C-48F9-8042-EF01DAAF76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2E3A35AC-1F7C-48F9-8042-EF01DAAF76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9C8D8C1-E14C-428D-B81B-C2CBF1EA124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076701" cy="6855346"/>
          </a:xfrm>
          <a:prstGeom prst="rect">
            <a:avLst/>
          </a:prstGeom>
        </p:spPr>
      </p:pic>
      <p:sp>
        <p:nvSpPr>
          <p:cNvPr id="27" name="Overlay">
            <a:extLst>
              <a:ext uri="{FF2B5EF4-FFF2-40B4-BE49-F238E27FC236}">
                <a16:creationId xmlns:a16="http://schemas.microsoft.com/office/drawing/2014/main" id="{F988D21B-DCBB-455C-9CFC-A9A3F259292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6152"/>
            <a:ext cx="4076699" cy="6861499"/>
          </a:xfrm>
          <a:prstGeom prst="rect">
            <a:avLst/>
          </a:prstGeom>
          <a:solidFill>
            <a:srgbClr val="000000">
              <a:alpha val="76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Karla" pitchFamily="2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313147C-5326-4714-93FB-E558FBA4F8E6}"/>
              </a:ext>
            </a:extLst>
          </p:cNvPr>
          <p:cNvSpPr txBox="1"/>
          <p:nvPr/>
        </p:nvSpPr>
        <p:spPr>
          <a:xfrm>
            <a:off x="422055" y="283631"/>
            <a:ext cx="3302221" cy="3095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800" b="1">
                <a:solidFill>
                  <a:srgbClr val="FFC000"/>
                </a:solidFill>
                <a:latin typeface="Karla" pitchFamily="2" charset="0"/>
              </a:rPr>
              <a:t>Workforce Competitiveness Trust Fund (</a:t>
            </a:r>
            <a:r>
              <a:rPr lang="en-US" sz="2800" b="1" err="1">
                <a:solidFill>
                  <a:srgbClr val="FFC000"/>
                </a:solidFill>
                <a:latin typeface="Karla" pitchFamily="2" charset="0"/>
              </a:rPr>
              <a:t>WCTF</a:t>
            </a:r>
            <a:r>
              <a:rPr lang="en-US" sz="2800" b="1">
                <a:solidFill>
                  <a:srgbClr val="FFC000"/>
                </a:solidFill>
                <a:latin typeface="Karla" pitchFamily="2" charset="0"/>
              </a:rPr>
              <a:t>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2DEF72D-DDA1-4397-B291-80AD8BF9A204}"/>
              </a:ext>
            </a:extLst>
          </p:cNvPr>
          <p:cNvSpPr/>
          <p:nvPr/>
        </p:nvSpPr>
        <p:spPr>
          <a:xfrm>
            <a:off x="315800" y="1734443"/>
            <a:ext cx="3610477" cy="49873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Supports </a:t>
            </a:r>
            <a:r>
              <a:rPr lang="en-US" sz="1600" b="1">
                <a:solidFill>
                  <a:srgbClr val="FFC000"/>
                </a:solidFill>
                <a:latin typeface="Karla" pitchFamily="2" charset="0"/>
              </a:rPr>
              <a:t>employer led partnerships </a:t>
            </a: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that train workers with the skillset demanded by employers</a:t>
            </a: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Provides funding for programs that identify, train, and place </a:t>
            </a:r>
            <a:r>
              <a:rPr lang="en-US" sz="1600" b="1">
                <a:solidFill>
                  <a:srgbClr val="FFC000"/>
                </a:solidFill>
                <a:latin typeface="Karla" pitchFamily="2" charset="0"/>
              </a:rPr>
              <a:t>low-income populations with additional funds available to support job seekers on public assistance</a:t>
            </a: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Supports programs </a:t>
            </a:r>
            <a:r>
              <a:rPr lang="en-US" sz="1600" b="1">
                <a:solidFill>
                  <a:srgbClr val="FFC000"/>
                </a:solidFill>
                <a:latin typeface="Karla" pitchFamily="2" charset="0"/>
              </a:rPr>
              <a:t>across all priority sectors and occupations </a:t>
            </a: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(excluding manufacturing)</a:t>
            </a: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Provides partnerships with </a:t>
            </a:r>
            <a:r>
              <a:rPr lang="en-US" sz="1600" b="1">
                <a:solidFill>
                  <a:srgbClr val="FFC000"/>
                </a:solidFill>
                <a:latin typeface="Karla" pitchFamily="2" charset="0"/>
              </a:rPr>
              <a:t>marketing and recruiting support  </a:t>
            </a: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en-US" sz="1600" b="1">
              <a:solidFill>
                <a:srgbClr val="FFC000"/>
              </a:solidFill>
              <a:latin typeface="Karla" pitchFamily="2" charset="0"/>
            </a:endParaRPr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2D2AA215-D263-42DF-889D-13E26F74143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8551" y="1768449"/>
            <a:ext cx="306910" cy="30691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1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083B5BB2-4285-420C-B1BC-76BB0FDA2F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8551" y="3032820"/>
            <a:ext cx="306910" cy="30691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2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8E457C83-AEB6-4757-8F4C-756DAA895AA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8551" y="4843173"/>
            <a:ext cx="306910" cy="30691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3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E0E7EAEA-94DA-4F71-9430-629A815BB7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8551" y="5814858"/>
            <a:ext cx="306910" cy="30691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4</a:t>
            </a:r>
          </a:p>
        </p:txBody>
      </p:sp>
      <p:pic>
        <p:nvPicPr>
          <p:cNvPr id="47" name="Picture 46" descr="A picture containing person, person, wearing, male&#10;&#10;Description automatically generated">
            <a:extLst>
              <a:ext uri="{FF2B5EF4-FFF2-40B4-BE49-F238E27FC236}">
                <a16:creationId xmlns:a16="http://schemas.microsoft.com/office/drawing/2014/main" id="{2FD673EB-D7E7-4A9E-80C4-8F12B6725FA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4770" y="-6151"/>
            <a:ext cx="4076699" cy="6864150"/>
          </a:xfrm>
          <a:prstGeom prst="rect">
            <a:avLst/>
          </a:prstGeom>
        </p:spPr>
      </p:pic>
      <p:sp>
        <p:nvSpPr>
          <p:cNvPr id="48" name="Overlay">
            <a:extLst>
              <a:ext uri="{FF2B5EF4-FFF2-40B4-BE49-F238E27FC236}">
                <a16:creationId xmlns:a16="http://schemas.microsoft.com/office/drawing/2014/main" id="{868DA5E1-EC60-4F76-99C0-B4D51E392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054769" y="-6151"/>
            <a:ext cx="4076699" cy="6864151"/>
          </a:xfrm>
          <a:prstGeom prst="rect">
            <a:avLst/>
          </a:prstGeom>
          <a:solidFill>
            <a:srgbClr val="000000">
              <a:alpha val="76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Karla" pitchFamily="2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C2CA303-A556-489A-977A-BEB35FBAA9DF}"/>
              </a:ext>
            </a:extLst>
          </p:cNvPr>
          <p:cNvSpPr/>
          <p:nvPr/>
        </p:nvSpPr>
        <p:spPr>
          <a:xfrm>
            <a:off x="4476825" y="1704256"/>
            <a:ext cx="3302221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>
              <a:latin typeface="Karla" pitchFamily="2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059B76D-4353-4256-83CA-2C686D142057}"/>
              </a:ext>
            </a:extLst>
          </p:cNvPr>
          <p:cNvSpPr txBox="1"/>
          <p:nvPr/>
        </p:nvSpPr>
        <p:spPr>
          <a:xfrm>
            <a:off x="4476825" y="277480"/>
            <a:ext cx="3302221" cy="3095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b="1">
                <a:solidFill>
                  <a:schemeClr val="accent1">
                    <a:lumMod val="25000"/>
                    <a:lumOff val="75000"/>
                  </a:schemeClr>
                </a:solidFill>
                <a:latin typeface="Karla" pitchFamily="2" charset="0"/>
              </a:rPr>
              <a:t>Replenishing Employer </a:t>
            </a:r>
            <a:r>
              <a:rPr lang="en-US" sz="2000" b="1" err="1">
                <a:solidFill>
                  <a:schemeClr val="accent1">
                    <a:lumMod val="25000"/>
                    <a:lumOff val="75000"/>
                  </a:schemeClr>
                </a:solidFill>
                <a:latin typeface="Karla" pitchFamily="2" charset="0"/>
              </a:rPr>
              <a:t>iNvestment</a:t>
            </a:r>
            <a:r>
              <a:rPr lang="en-US" sz="2000" b="1">
                <a:solidFill>
                  <a:schemeClr val="accent1">
                    <a:lumMod val="25000"/>
                    <a:lumOff val="75000"/>
                  </a:schemeClr>
                </a:solidFill>
                <a:latin typeface="Karla" pitchFamily="2" charset="0"/>
              </a:rPr>
              <a:t> in Education &amp; Workforce Training (RENEW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DF903E4-5229-4224-AFBE-9B8CA25CAF33}"/>
              </a:ext>
            </a:extLst>
          </p:cNvPr>
          <p:cNvSpPr/>
          <p:nvPr/>
        </p:nvSpPr>
        <p:spPr>
          <a:xfrm>
            <a:off x="4370571" y="1710398"/>
            <a:ext cx="3573586" cy="4852739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Mobilizes 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employer-led partnerships </a:t>
            </a: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that support the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 employers in meeting their diversity hiring goals </a:t>
            </a: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by developing programs that train and place under/unemployed 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members of the </a:t>
            </a:r>
            <a:r>
              <a:rPr lang="en-US" sz="1600" b="1" err="1">
                <a:solidFill>
                  <a:srgbClr val="90ABFF"/>
                </a:solidFill>
                <a:latin typeface="Karla" pitchFamily="2" charset="0"/>
              </a:rPr>
              <a:t>BIPOC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 community</a:t>
            </a:r>
            <a:endParaRPr lang="en-US" sz="1600" b="1">
              <a:solidFill>
                <a:schemeClr val="bg1"/>
              </a:solidFill>
              <a:latin typeface="Karla" pitchFamily="2" charset="0"/>
            </a:endParaRP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Employers pay into the training fund as an 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alternative to traditional recruiting costs</a:t>
            </a: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High degree of flexibility </a:t>
            </a: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across 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all priority sectors and occupations</a:t>
            </a:r>
          </a:p>
          <a:p>
            <a:pPr marL="285750" indent="-285750">
              <a:lnSpc>
                <a:spcPct val="114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Gives employers and training partners </a:t>
            </a:r>
            <a:r>
              <a:rPr lang="en-US" sz="1600" b="1">
                <a:solidFill>
                  <a:srgbClr val="90ABFF"/>
                </a:solidFill>
                <a:latin typeface="Karla" pitchFamily="2" charset="0"/>
              </a:rPr>
              <a:t>technical assistance, marketing funds, and recruiting support  </a:t>
            </a:r>
          </a:p>
        </p:txBody>
      </p:sp>
      <p:sp>
        <p:nvSpPr>
          <p:cNvPr id="53" name="Oval 20">
            <a:extLst>
              <a:ext uri="{FF2B5EF4-FFF2-40B4-BE49-F238E27FC236}">
                <a16:creationId xmlns:a16="http://schemas.microsoft.com/office/drawing/2014/main" id="{0ED973F1-7B29-4515-9DD0-D5AA656203B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3321" y="1753062"/>
            <a:ext cx="306910" cy="306910"/>
          </a:xfrm>
          <a:prstGeom prst="ellipse">
            <a:avLst/>
          </a:prstGeom>
          <a:solidFill>
            <a:srgbClr val="90ABFF"/>
          </a:solidFill>
          <a:ln w="9525" cap="flat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1</a:t>
            </a:r>
          </a:p>
        </p:txBody>
      </p:sp>
      <p:sp>
        <p:nvSpPr>
          <p:cNvPr id="54" name="Oval 20">
            <a:extLst>
              <a:ext uri="{FF2B5EF4-FFF2-40B4-BE49-F238E27FC236}">
                <a16:creationId xmlns:a16="http://schemas.microsoft.com/office/drawing/2014/main" id="{F99DE5E5-4905-4404-8C6B-5DF4A023341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3321" y="3843025"/>
            <a:ext cx="306910" cy="306910"/>
          </a:xfrm>
          <a:prstGeom prst="ellipse">
            <a:avLst/>
          </a:prstGeom>
          <a:solidFill>
            <a:srgbClr val="90ABFF"/>
          </a:solidFill>
          <a:ln w="9525" cap="flat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2</a:t>
            </a:r>
          </a:p>
        </p:txBody>
      </p:sp>
      <p:sp>
        <p:nvSpPr>
          <p:cNvPr id="55" name="Oval 20">
            <a:extLst>
              <a:ext uri="{FF2B5EF4-FFF2-40B4-BE49-F238E27FC236}">
                <a16:creationId xmlns:a16="http://schemas.microsoft.com/office/drawing/2014/main" id="{D3B80D5B-483E-43DF-AE76-31F80E210A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3321" y="4804890"/>
            <a:ext cx="306910" cy="306910"/>
          </a:xfrm>
          <a:prstGeom prst="ellipse">
            <a:avLst/>
          </a:prstGeom>
          <a:solidFill>
            <a:srgbClr val="90ABFF"/>
          </a:solidFill>
          <a:ln w="9525" cap="flat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3</a:t>
            </a:r>
          </a:p>
        </p:txBody>
      </p:sp>
      <p:sp>
        <p:nvSpPr>
          <p:cNvPr id="56" name="Oval 20">
            <a:extLst>
              <a:ext uri="{FF2B5EF4-FFF2-40B4-BE49-F238E27FC236}">
                <a16:creationId xmlns:a16="http://schemas.microsoft.com/office/drawing/2014/main" id="{EC7B24EA-11A0-4A5B-A079-6A1D6A84877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253321" y="5479224"/>
            <a:ext cx="306910" cy="306910"/>
          </a:xfrm>
          <a:prstGeom prst="ellipse">
            <a:avLst/>
          </a:prstGeom>
          <a:solidFill>
            <a:srgbClr val="90ABFF"/>
          </a:solidFill>
          <a:ln w="9525" cap="flat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4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B635239-9ADC-44A5-887B-C9F558032E2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9537" y="0"/>
            <a:ext cx="4076700" cy="6855347"/>
          </a:xfrm>
          <a:prstGeom prst="rect">
            <a:avLst/>
          </a:prstGeom>
        </p:spPr>
      </p:pic>
      <p:sp>
        <p:nvSpPr>
          <p:cNvPr id="36" name="Overlay">
            <a:extLst>
              <a:ext uri="{FF2B5EF4-FFF2-40B4-BE49-F238E27FC236}">
                <a16:creationId xmlns:a16="http://schemas.microsoft.com/office/drawing/2014/main" id="{1B04124A-674A-492F-97BE-4060BC92DEF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109537" y="-6150"/>
            <a:ext cx="4082463" cy="6867648"/>
          </a:xfrm>
          <a:prstGeom prst="rect">
            <a:avLst/>
          </a:prstGeom>
          <a:solidFill>
            <a:srgbClr val="000000">
              <a:alpha val="7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Karla" pitchFamily="2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A9A948C-1B8B-4500-87DE-A858F9754FCC}"/>
              </a:ext>
            </a:extLst>
          </p:cNvPr>
          <p:cNvSpPr txBox="1"/>
          <p:nvPr/>
        </p:nvSpPr>
        <p:spPr>
          <a:xfrm>
            <a:off x="8531593" y="289781"/>
            <a:ext cx="3302221" cy="3095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200" b="1">
                <a:solidFill>
                  <a:srgbClr val="5BBB2B"/>
                </a:solidFill>
                <a:latin typeface="Karla" pitchFamily="2" charset="0"/>
              </a:rPr>
              <a:t>Career Technical Initiative (CTI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82F6464-C791-4B19-A3C0-5A0E9404030E}"/>
              </a:ext>
            </a:extLst>
          </p:cNvPr>
          <p:cNvSpPr/>
          <p:nvPr/>
        </p:nvSpPr>
        <p:spPr>
          <a:xfrm>
            <a:off x="8425339" y="2088074"/>
            <a:ext cx="344509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400">
                <a:solidFill>
                  <a:srgbClr val="FFFFFF"/>
                </a:solidFill>
                <a:latin typeface="Karla" pitchFamily="2" charset="0"/>
              </a:rPr>
              <a:t>	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BC0F9B9B-7F08-431F-92A9-7D79C5F23086}"/>
              </a:ext>
            </a:extLst>
          </p:cNvPr>
          <p:cNvSpPr/>
          <p:nvPr/>
        </p:nvSpPr>
        <p:spPr>
          <a:xfrm>
            <a:off x="8425339" y="1750118"/>
            <a:ext cx="3573586" cy="4047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lnSpc>
                <a:spcPct val="12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Expands </a:t>
            </a: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access to training for</a:t>
            </a:r>
            <a:r>
              <a:rPr lang="en-US" sz="1600" b="1">
                <a:solidFill>
                  <a:srgbClr val="5BBB2B"/>
                </a:solidFill>
                <a:latin typeface="Karla" pitchFamily="2" charset="0"/>
              </a:rPr>
              <a:t> construction/skilled trades and manufacturing </a:t>
            </a:r>
          </a:p>
          <a:p>
            <a:pPr marL="285750" indent="-285750">
              <a:lnSpc>
                <a:spcPct val="12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Karla" pitchFamily="2" charset="0"/>
              </a:rPr>
              <a:t>Helps schools with aligned C74 programs </a:t>
            </a:r>
            <a:r>
              <a:rPr lang="en-US" sz="1600" b="1">
                <a:solidFill>
                  <a:srgbClr val="5BBB2B"/>
                </a:solidFill>
                <a:latin typeface="Karla" pitchFamily="2" charset="0"/>
              </a:rPr>
              <a:t>to expand "third shift" training programs </a:t>
            </a:r>
          </a:p>
          <a:p>
            <a:pPr marL="285750" indent="-285750">
              <a:lnSpc>
                <a:spcPct val="12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 b="1">
                <a:solidFill>
                  <a:srgbClr val="5BBB2B"/>
                </a:solidFill>
                <a:latin typeface="Karla" pitchFamily="2" charset="0"/>
              </a:rPr>
              <a:t>Maximizes the utilization of existing resources </a:t>
            </a: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and</a:t>
            </a:r>
            <a:r>
              <a:rPr lang="en-US" sz="1600" b="1">
                <a:solidFill>
                  <a:srgbClr val="5BBB2B"/>
                </a:solidFill>
                <a:latin typeface="Karla" pitchFamily="2" charset="0"/>
              </a:rPr>
              <a:t> provides additional flexible capacity</a:t>
            </a:r>
          </a:p>
          <a:p>
            <a:pPr marL="285750" indent="-285750">
              <a:lnSpc>
                <a:spcPct val="12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Karla" pitchFamily="2" charset="0"/>
              </a:rPr>
              <a:t>Gives training partners </a:t>
            </a:r>
            <a:r>
              <a:rPr lang="en-US" sz="1600" b="1">
                <a:solidFill>
                  <a:srgbClr val="5BBB2B"/>
                </a:solidFill>
                <a:latin typeface="Karla" pitchFamily="2" charset="0"/>
              </a:rPr>
              <a:t>technical assistance, marketing funds, and recruiting support</a:t>
            </a:r>
          </a:p>
        </p:txBody>
      </p:sp>
      <p:sp>
        <p:nvSpPr>
          <p:cNvPr id="41" name="Oval 20">
            <a:extLst>
              <a:ext uri="{FF2B5EF4-FFF2-40B4-BE49-F238E27FC236}">
                <a16:creationId xmlns:a16="http://schemas.microsoft.com/office/drawing/2014/main" id="{A221B835-D061-444D-A1CD-0171B08844C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08089" y="1765363"/>
            <a:ext cx="306910" cy="306910"/>
          </a:xfrm>
          <a:prstGeom prst="ellipse">
            <a:avLst/>
          </a:prstGeom>
          <a:solidFill>
            <a:srgbClr val="5BBB2B"/>
          </a:solidFill>
          <a:ln w="9525" cap="flat" cmpd="sng" algn="ctr">
            <a:solidFill>
              <a:srgbClr val="5BBB2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1</a:t>
            </a:r>
          </a:p>
        </p:txBody>
      </p:sp>
      <p:sp>
        <p:nvSpPr>
          <p:cNvPr id="42" name="Oval 20">
            <a:extLst>
              <a:ext uri="{FF2B5EF4-FFF2-40B4-BE49-F238E27FC236}">
                <a16:creationId xmlns:a16="http://schemas.microsoft.com/office/drawing/2014/main" id="{75A8596B-3E99-44DA-AFCD-C99072DD86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08089" y="2892441"/>
            <a:ext cx="306910" cy="306910"/>
          </a:xfrm>
          <a:prstGeom prst="ellipse">
            <a:avLst/>
          </a:prstGeom>
          <a:solidFill>
            <a:srgbClr val="5BBB2B"/>
          </a:solidFill>
          <a:ln w="9525" cap="flat" cmpd="sng" algn="ctr">
            <a:solidFill>
              <a:srgbClr val="5BBB2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2</a:t>
            </a: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FA96CCDB-B7F6-4F67-B56E-453536EB548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08089" y="3912906"/>
            <a:ext cx="306910" cy="306910"/>
          </a:xfrm>
          <a:prstGeom prst="ellipse">
            <a:avLst/>
          </a:prstGeom>
          <a:solidFill>
            <a:srgbClr val="5BBB2B"/>
          </a:solidFill>
          <a:ln w="9525" cap="flat" cmpd="sng" algn="ctr">
            <a:solidFill>
              <a:srgbClr val="5BBB2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3</a:t>
            </a:r>
          </a:p>
        </p:txBody>
      </p:sp>
      <p:sp>
        <p:nvSpPr>
          <p:cNvPr id="44" name="Oval 20">
            <a:extLst>
              <a:ext uri="{FF2B5EF4-FFF2-40B4-BE49-F238E27FC236}">
                <a16:creationId xmlns:a16="http://schemas.microsoft.com/office/drawing/2014/main" id="{C11664DC-D8B3-451C-8C12-F4FF1B6AB29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08089" y="4937352"/>
            <a:ext cx="306910" cy="306910"/>
          </a:xfrm>
          <a:prstGeom prst="ellipse">
            <a:avLst/>
          </a:prstGeom>
          <a:solidFill>
            <a:srgbClr val="5BBB2B"/>
          </a:solidFill>
          <a:ln w="9525" cap="flat" cmpd="sng" algn="ctr">
            <a:solidFill>
              <a:srgbClr val="5BBB2B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0000"/>
                </a:solidFill>
                <a:latin typeface="Karla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9163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166D4A-F487-49AF-8A3D-845433DA5F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3306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1" imgH="371" progId="TCLayout.ActiveDocument.1">
                  <p:embed/>
                </p:oleObj>
              </mc:Choice>
              <mc:Fallback>
                <p:oleObj name="think-cell Slide" r:id="rId5" imgW="371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166D4A-F487-49AF-8A3D-845433DA5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3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3E52D1EF-E421-4650-B659-D4ADD091C3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9"/>
          <a:stretch/>
        </p:blipFill>
        <p:spPr>
          <a:xfrm>
            <a:off x="0" y="2654"/>
            <a:ext cx="4699591" cy="6855346"/>
          </a:xfrm>
          <a:prstGeom prst="rect">
            <a:avLst/>
          </a:prstGeom>
        </p:spPr>
      </p:pic>
      <p:sp>
        <p:nvSpPr>
          <p:cNvPr id="37" name="Overlay">
            <a:extLst>
              <a:ext uri="{FF2B5EF4-FFF2-40B4-BE49-F238E27FC236}">
                <a16:creationId xmlns:a16="http://schemas.microsoft.com/office/drawing/2014/main" id="{13962721-6049-423B-B6A0-BE52C971511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4699591" cy="6857999"/>
          </a:xfrm>
          <a:prstGeom prst="rect">
            <a:avLst/>
          </a:prstGeom>
          <a:solidFill>
            <a:srgbClr val="000000">
              <a:alpha val="7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Karla" pitchFamily="2" charset="0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0F5E1C5A-AE4D-4C41-8537-8727BE221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22507" y="692164"/>
            <a:ext cx="5350581" cy="304699"/>
          </a:xfrm>
        </p:spPr>
        <p:txBody>
          <a:bodyPr vert="horz" wrap="square">
            <a:spAutoFit/>
          </a:bodyPr>
          <a:lstStyle/>
          <a:p>
            <a:r>
              <a:rPr lang="en-US" sz="2200" b="1">
                <a:solidFill>
                  <a:srgbClr val="00269E"/>
                </a:solidFill>
              </a:rPr>
              <a:t>Workforce Competitiveness Trust Fund</a:t>
            </a:r>
            <a:endParaRPr lang="en-US" sz="2200">
              <a:solidFill>
                <a:srgbClr val="00269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E969650-D839-4DDE-8359-E63932EE65D0}"/>
              </a:ext>
            </a:extLst>
          </p:cNvPr>
          <p:cNvSpPr txBox="1"/>
          <p:nvPr/>
        </p:nvSpPr>
        <p:spPr>
          <a:xfrm>
            <a:off x="4976998" y="1268474"/>
            <a:ext cx="6622928" cy="7167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Open to a variety of sectors and occupation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ll state and regional priority industries and occupations (excluding manufacturing) as listed in the MA </a:t>
            </a:r>
            <a:r>
              <a:rPr lang="en-US" sz="1200">
                <a:solidFill>
                  <a:srgbClr val="00269E"/>
                </a:solidFill>
                <a:effectLst/>
                <a:latin typeface="Karla" pitchFamily="2" charset="0"/>
                <a:sym typeface="Karla" pitchFamily="2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onal blueprint</a:t>
            </a:r>
            <a:endParaRPr lang="en-US" sz="1200">
              <a:solidFill>
                <a:srgbClr val="00269E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4B85E2E-676B-49A4-9C95-2A1AAA02D7B6}"/>
              </a:ext>
            </a:extLst>
          </p:cNvPr>
          <p:cNvSpPr txBox="1"/>
          <p:nvPr/>
        </p:nvSpPr>
        <p:spPr>
          <a:xfrm>
            <a:off x="4973415" y="2079526"/>
            <a:ext cx="6640843" cy="7167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Focuses on low-income population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nemployed/underemployed workers at 65% or less of median income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dditional wrap around support for individuals on public assistanc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DFF1F6-148A-4D0D-871F-972AB01552FE}"/>
              </a:ext>
            </a:extLst>
          </p:cNvPr>
          <p:cNvSpPr txBox="1"/>
          <p:nvPr/>
        </p:nvSpPr>
        <p:spPr>
          <a:xfrm>
            <a:off x="4959083" y="2890579"/>
            <a:ext cx="6640843" cy="8418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upplies larger grant values for high throughout program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500k for single provider grant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1M for multiple provider / multi-regional / high throughput applicant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11D434B-EAEB-48B9-A3C7-70A1C44F2A02}"/>
              </a:ext>
            </a:extLst>
          </p:cNvPr>
          <p:cNvSpPr txBox="1"/>
          <p:nvPr/>
        </p:nvSpPr>
        <p:spPr>
          <a:xfrm>
            <a:off x="4980581" y="3799289"/>
            <a:ext cx="6622928" cy="738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mphasizes sustainable employer/trainer partnership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stablished partnership of training partner, two or more committed employer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pplicants match funds equal to 30% of total award</a:t>
            </a:r>
            <a:endParaRPr lang="en-US" sz="1100">
              <a:solidFill>
                <a:srgbClr val="000000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6B0C7CC-47E6-4E90-98DE-DF1786658EC3}"/>
              </a:ext>
            </a:extLst>
          </p:cNvPr>
          <p:cNvSpPr txBox="1"/>
          <p:nvPr/>
        </p:nvSpPr>
        <p:spPr>
          <a:xfrm>
            <a:off x="4984164" y="4659656"/>
            <a:ext cx="6622928" cy="9091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vides flexible funding for student support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gram administration cost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tudent support costs 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icipant stipend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7604E47-829E-4A06-88A1-CC23B7C5A6F9}"/>
              </a:ext>
            </a:extLst>
          </p:cNvPr>
          <p:cNvSpPr txBox="1"/>
          <p:nvPr/>
        </p:nvSpPr>
        <p:spPr>
          <a:xfrm>
            <a:off x="4987747" y="5663029"/>
            <a:ext cx="6118403" cy="5505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vailable to broad range of training providers, institutions, and employer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5C467D4-22D5-4AD3-BB2F-A13AEDF370F1}"/>
              </a:ext>
            </a:extLst>
          </p:cNvPr>
          <p:cNvSpPr/>
          <p:nvPr/>
        </p:nvSpPr>
        <p:spPr>
          <a:xfrm>
            <a:off x="365378" y="5802579"/>
            <a:ext cx="4251917" cy="692491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0" rIns="91440" bIns="0" anchor="ctr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rgbClr val="F48429"/>
                </a:solidFill>
                <a:latin typeface="Karla" pitchFamily="2" charset="0"/>
                <a:sym typeface="Karla" pitchFamily="2" charset="0"/>
              </a:rPr>
              <a:t>Release date</a:t>
            </a:r>
            <a:r>
              <a:rPr lang="en-US" sz="1400">
                <a:solidFill>
                  <a:srgbClr val="F48429"/>
                </a:solidFill>
                <a:latin typeface="Karla" pitchFamily="2" charset="0"/>
                <a:sym typeface="Karla" pitchFamily="2" charset="0"/>
              </a:rPr>
              <a:t>: </a:t>
            </a:r>
            <a:r>
              <a:rPr lang="en-US" sz="1400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October 18</a:t>
            </a:r>
            <a:r>
              <a:rPr lang="en-US" sz="1400" baseline="30000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th</a:t>
            </a:r>
            <a:r>
              <a:rPr lang="en-US" sz="1400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 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rgbClr val="F48429"/>
                </a:solidFill>
                <a:latin typeface="Karla" pitchFamily="2" charset="0"/>
                <a:sym typeface="Karla" pitchFamily="2" charset="0"/>
              </a:rPr>
              <a:t>Responses due</a:t>
            </a:r>
            <a:r>
              <a:rPr lang="en-US" sz="1400">
                <a:solidFill>
                  <a:srgbClr val="F48429"/>
                </a:solidFill>
                <a:latin typeface="Karla" pitchFamily="2" charset="0"/>
                <a:sym typeface="Karla" pitchFamily="2" charset="0"/>
              </a:rPr>
              <a:t>: </a:t>
            </a:r>
            <a:r>
              <a:rPr lang="en-US" sz="1400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Ongoing</a:t>
            </a:r>
          </a:p>
        </p:txBody>
      </p:sp>
      <p:sp>
        <p:nvSpPr>
          <p:cNvPr id="47" name="Freeform 51">
            <a:extLst>
              <a:ext uri="{FF2B5EF4-FFF2-40B4-BE49-F238E27FC236}">
                <a16:creationId xmlns:a16="http://schemas.microsoft.com/office/drawing/2014/main" id="{620AC0C3-F0FF-4C29-AB08-E446DD3B0973}"/>
              </a:ext>
            </a:extLst>
          </p:cNvPr>
          <p:cNvSpPr>
            <a:spLocks/>
          </p:cNvSpPr>
          <p:nvPr/>
        </p:nvSpPr>
        <p:spPr bwMode="auto">
          <a:xfrm>
            <a:off x="4859226" y="1323417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8" name="Freeform 51">
            <a:extLst>
              <a:ext uri="{FF2B5EF4-FFF2-40B4-BE49-F238E27FC236}">
                <a16:creationId xmlns:a16="http://schemas.microsoft.com/office/drawing/2014/main" id="{ECAC49BB-36C5-4A3A-A043-012AC947C1AE}"/>
              </a:ext>
            </a:extLst>
          </p:cNvPr>
          <p:cNvSpPr>
            <a:spLocks/>
          </p:cNvSpPr>
          <p:nvPr/>
        </p:nvSpPr>
        <p:spPr bwMode="auto">
          <a:xfrm>
            <a:off x="4859226" y="2128812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9" name="Freeform 51">
            <a:extLst>
              <a:ext uri="{FF2B5EF4-FFF2-40B4-BE49-F238E27FC236}">
                <a16:creationId xmlns:a16="http://schemas.microsoft.com/office/drawing/2014/main" id="{575108F8-654B-47DD-B611-C59E50C150DC}"/>
              </a:ext>
            </a:extLst>
          </p:cNvPr>
          <p:cNvSpPr>
            <a:spLocks/>
          </p:cNvSpPr>
          <p:nvPr/>
        </p:nvSpPr>
        <p:spPr bwMode="auto">
          <a:xfrm>
            <a:off x="4859226" y="2928831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0" name="Freeform 51">
            <a:extLst>
              <a:ext uri="{FF2B5EF4-FFF2-40B4-BE49-F238E27FC236}">
                <a16:creationId xmlns:a16="http://schemas.microsoft.com/office/drawing/2014/main" id="{BC34B04E-FAAC-4FAC-A216-FBDB4AD2E2BA}"/>
              </a:ext>
            </a:extLst>
          </p:cNvPr>
          <p:cNvSpPr>
            <a:spLocks/>
          </p:cNvSpPr>
          <p:nvPr/>
        </p:nvSpPr>
        <p:spPr bwMode="auto">
          <a:xfrm>
            <a:off x="4859226" y="3851491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1" name="Freeform 51">
            <a:extLst>
              <a:ext uri="{FF2B5EF4-FFF2-40B4-BE49-F238E27FC236}">
                <a16:creationId xmlns:a16="http://schemas.microsoft.com/office/drawing/2014/main" id="{5A460591-2A41-4F73-AA53-103B59D5DCE9}"/>
              </a:ext>
            </a:extLst>
          </p:cNvPr>
          <p:cNvSpPr>
            <a:spLocks/>
          </p:cNvSpPr>
          <p:nvPr/>
        </p:nvSpPr>
        <p:spPr bwMode="auto">
          <a:xfrm>
            <a:off x="4859226" y="4684426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B4DC0AA5-FD0C-43A3-8AD5-5F765C0E927A}"/>
              </a:ext>
            </a:extLst>
          </p:cNvPr>
          <p:cNvSpPr>
            <a:spLocks/>
          </p:cNvSpPr>
          <p:nvPr/>
        </p:nvSpPr>
        <p:spPr bwMode="auto">
          <a:xfrm>
            <a:off x="4859226" y="5719756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3" name="Title 20">
            <a:extLst>
              <a:ext uri="{FF2B5EF4-FFF2-40B4-BE49-F238E27FC236}">
                <a16:creationId xmlns:a16="http://schemas.microsoft.com/office/drawing/2014/main" id="{2A6BDCFC-7DD9-44EB-A011-F2D2D00F07C7}"/>
              </a:ext>
            </a:extLst>
          </p:cNvPr>
          <p:cNvSpPr txBox="1">
            <a:spLocks/>
          </p:cNvSpPr>
          <p:nvPr/>
        </p:nvSpPr>
        <p:spPr>
          <a:xfrm>
            <a:off x="1719375" y="487150"/>
            <a:ext cx="1543922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Karla" pitchFamily="2" charset="0"/>
                <a:ea typeface="+mj-ea"/>
                <a:cs typeface="+mj-cs"/>
                <a:sym typeface="Karla" pitchFamily="2" charset="0"/>
              </a:defRPr>
            </a:lvl1pPr>
          </a:lstStyle>
          <a:p>
            <a:pPr algn="ctr"/>
            <a:r>
              <a:rPr lang="en-US" sz="3600" err="1">
                <a:solidFill>
                  <a:srgbClr val="F48429"/>
                </a:solidFill>
              </a:rPr>
              <a:t>WCTF</a:t>
            </a:r>
            <a:endParaRPr lang="en-US" sz="3600">
              <a:solidFill>
                <a:srgbClr val="F48429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B79A01F-6C69-4A03-A1EE-92901E829785}"/>
              </a:ext>
            </a:extLst>
          </p:cNvPr>
          <p:cNvGrpSpPr/>
          <p:nvPr/>
        </p:nvGrpSpPr>
        <p:grpSpPr>
          <a:xfrm>
            <a:off x="248265" y="1127745"/>
            <a:ext cx="4159971" cy="4371417"/>
            <a:chOff x="293157" y="1028827"/>
            <a:chExt cx="4159971" cy="4371417"/>
          </a:xfrm>
        </p:grpSpPr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2DED2C2A-8750-4842-986A-6C3C5D56D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3157" y="4418354"/>
              <a:ext cx="981890" cy="981890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C2B7A235-E322-4FBE-966D-43E731997C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220541" y="1101444"/>
              <a:ext cx="1127123" cy="981890"/>
            </a:xfrm>
            <a:prstGeom prst="rect">
              <a:avLst/>
            </a:prstGeom>
          </p:spPr>
        </p:pic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04B9FDB1-CA29-4863-83FB-81F3E16EDC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220541" y="2236725"/>
              <a:ext cx="1127123" cy="981890"/>
            </a:xfrm>
            <a:prstGeom prst="rect">
              <a:avLst/>
            </a:prstGeom>
          </p:spPr>
        </p:pic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8C9BE7F-CBAE-4CFD-A385-A95F324BCE92}"/>
                </a:ext>
              </a:extLst>
            </p:cNvPr>
            <p:cNvSpPr/>
            <p:nvPr/>
          </p:nvSpPr>
          <p:spPr>
            <a:xfrm>
              <a:off x="533989" y="1251437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  <a:defRPr/>
              </a:pPr>
              <a:r>
                <a:rPr lang="en-US" sz="3200">
                  <a:solidFill>
                    <a:srgbClr val="E3E3E3"/>
                  </a:solidFill>
                  <a:latin typeface="Karla" pitchFamily="2" charset="0"/>
                  <a:sym typeface="Karla" pitchFamily="2" charset="0"/>
                </a:rPr>
                <a:t>1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4C3812E7-26CD-4C71-BDFC-A3C210187C5B}"/>
                </a:ext>
              </a:extLst>
            </p:cNvPr>
            <p:cNvSpPr/>
            <p:nvPr/>
          </p:nvSpPr>
          <p:spPr>
            <a:xfrm>
              <a:off x="533989" y="2415378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</a:pPr>
              <a:r>
                <a:rPr lang="en-US" sz="3200">
                  <a:solidFill>
                    <a:srgbClr val="E3E3E3"/>
                  </a:solidFill>
                  <a:latin typeface="Karla" pitchFamily="2" charset="0"/>
                  <a:sym typeface="Karla" pitchFamily="2" charset="0"/>
                </a:rPr>
                <a:t>2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3FD1DA40-7F8F-4C5A-8932-F626CF3AAA16}"/>
                </a:ext>
              </a:extLst>
            </p:cNvPr>
            <p:cNvSpPr/>
            <p:nvPr/>
          </p:nvSpPr>
          <p:spPr>
            <a:xfrm>
              <a:off x="533989" y="4659186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  <a:defRPr/>
              </a:pPr>
              <a:r>
                <a:rPr lang="en-US" sz="3200">
                  <a:solidFill>
                    <a:srgbClr val="E3E3E3"/>
                  </a:solidFill>
                  <a:latin typeface="Karla" pitchFamily="2" charset="0"/>
                  <a:sym typeface="Karla" pitchFamily="2" charset="0"/>
                </a:rPr>
                <a:t>4</a:t>
              </a:r>
            </a:p>
          </p:txBody>
        </p:sp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BD98DB30-0BE7-4BC6-A791-3ADF30EA43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220541" y="3363848"/>
              <a:ext cx="1127123" cy="981890"/>
            </a:xfrm>
            <a:prstGeom prst="rect">
              <a:avLst/>
            </a:prstGeom>
          </p:spPr>
        </p:pic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120EE82D-19DE-430E-918A-2EF02C4F3D3F}"/>
                </a:ext>
              </a:extLst>
            </p:cNvPr>
            <p:cNvSpPr/>
            <p:nvPr/>
          </p:nvSpPr>
          <p:spPr>
            <a:xfrm>
              <a:off x="533989" y="3548233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</a:pPr>
              <a:r>
                <a:rPr lang="en-US" sz="3200">
                  <a:solidFill>
                    <a:srgbClr val="E3E3E3"/>
                  </a:solidFill>
                  <a:latin typeface="Karla" pitchFamily="2" charset="0"/>
                  <a:sym typeface="Karla" pitchFamily="2" charset="0"/>
                </a:rPr>
                <a:t>3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E8BC9C5C-03F1-4C0F-89FA-94D6BF791D0F}"/>
                </a:ext>
              </a:extLst>
            </p:cNvPr>
            <p:cNvSpPr/>
            <p:nvPr/>
          </p:nvSpPr>
          <p:spPr>
            <a:xfrm>
              <a:off x="1275046" y="1132218"/>
              <a:ext cx="3095361" cy="825547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Supports </a:t>
              </a:r>
              <a:r>
                <a:rPr lang="en-US" sz="1400" b="1">
                  <a:solidFill>
                    <a:srgbClr val="F48429"/>
                  </a:solidFill>
                  <a:latin typeface="Karla" pitchFamily="2" charset="0"/>
                  <a:sym typeface="Karla" pitchFamily="2" charset="0"/>
                </a:rPr>
                <a:t>employer led partnerships </a:t>
              </a: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that train workers with the specific skillset demanded by employers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090813C-7CDF-4E61-A5B5-2706523A427D}"/>
                </a:ext>
              </a:extLst>
            </p:cNvPr>
            <p:cNvSpPr/>
            <p:nvPr/>
          </p:nvSpPr>
          <p:spPr>
            <a:xfrm>
              <a:off x="1275046" y="2177287"/>
              <a:ext cx="3178082" cy="1008674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Provides funding for programs that identify, train, and place </a:t>
              </a:r>
              <a:r>
                <a:rPr lang="en-US" sz="1400" b="1">
                  <a:solidFill>
                    <a:srgbClr val="F48429"/>
                  </a:solidFill>
                  <a:latin typeface="Karla" pitchFamily="2" charset="0"/>
                  <a:sym typeface="Karla" pitchFamily="2" charset="0"/>
                </a:rPr>
                <a:t>low-income populations with additional funds available to support job seekers on public assistance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B87F0E8-BF8B-43FB-8157-B38CA619C10F}"/>
                </a:ext>
              </a:extLst>
            </p:cNvPr>
            <p:cNvSpPr/>
            <p:nvPr/>
          </p:nvSpPr>
          <p:spPr>
            <a:xfrm>
              <a:off x="1275046" y="3357869"/>
              <a:ext cx="3095361" cy="824841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Establish sustainable talent development pipelines </a:t>
              </a:r>
              <a:r>
                <a:rPr lang="en-US" sz="1400" b="1">
                  <a:solidFill>
                    <a:srgbClr val="F48429"/>
                  </a:solidFill>
                  <a:latin typeface="Karla" pitchFamily="2" charset="0"/>
                  <a:sym typeface="Karla" pitchFamily="2" charset="0"/>
                </a:rPr>
                <a:t>across all priority sectors and occupations (excluding manufacturing)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A77E424-9A8C-48E2-8E3C-9B037C230BD0}"/>
                </a:ext>
              </a:extLst>
            </p:cNvPr>
            <p:cNvSpPr/>
            <p:nvPr/>
          </p:nvSpPr>
          <p:spPr>
            <a:xfrm>
              <a:off x="1275046" y="4539967"/>
              <a:ext cx="3095361" cy="824841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Give employers and training partners </a:t>
              </a:r>
              <a:r>
                <a:rPr lang="en-US" sz="1400" b="1">
                  <a:solidFill>
                    <a:srgbClr val="F48429"/>
                  </a:solidFill>
                  <a:latin typeface="Karla" pitchFamily="2" charset="0"/>
                  <a:sym typeface="Karla" pitchFamily="2" charset="0"/>
                </a:rPr>
                <a:t>technical assistance, marketing funds, and recruiting support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748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166D4A-F487-49AF-8A3D-845433DA5F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1" imgH="371" progId="TCLayout.ActiveDocument.1">
                  <p:embed/>
                </p:oleObj>
              </mc:Choice>
              <mc:Fallback>
                <p:oleObj name="think-cell Slide" r:id="rId5" imgW="371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166D4A-F487-49AF-8A3D-845433DA5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45" descr="A picture containing person, person, wearing, male&#10;&#10;Description automatically generated">
            <a:extLst>
              <a:ext uri="{FF2B5EF4-FFF2-40B4-BE49-F238E27FC236}">
                <a16:creationId xmlns:a16="http://schemas.microsoft.com/office/drawing/2014/main" id="{1171EA8B-A1D3-4196-B62F-751333BD6D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313"/>
            <a:ext cx="4699590" cy="6864150"/>
          </a:xfrm>
          <a:prstGeom prst="rect">
            <a:avLst/>
          </a:prstGeom>
        </p:spPr>
      </p:pic>
      <p:sp>
        <p:nvSpPr>
          <p:cNvPr id="43" name="Overlay">
            <a:extLst>
              <a:ext uri="{FF2B5EF4-FFF2-40B4-BE49-F238E27FC236}">
                <a16:creationId xmlns:a16="http://schemas.microsoft.com/office/drawing/2014/main" id="{5489B9F3-2267-451B-A708-CE544FEA27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4699591" cy="6855347"/>
          </a:xfrm>
          <a:prstGeom prst="rect">
            <a:avLst/>
          </a:prstGeom>
          <a:solidFill>
            <a:srgbClr val="000000">
              <a:alpha val="7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Karla" pitchFamily="2" charset="0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0F5E1C5A-AE4D-4C41-8537-8727BE221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5282" y="579087"/>
            <a:ext cx="5746576" cy="553998"/>
          </a:xfrm>
        </p:spPr>
        <p:txBody>
          <a:bodyPr vert="horz" wrap="square">
            <a:spAutoFit/>
          </a:bodyPr>
          <a:lstStyle/>
          <a:p>
            <a:r>
              <a:rPr lang="en-US" sz="2000" b="1">
                <a:solidFill>
                  <a:srgbClr val="403392"/>
                </a:solidFill>
              </a:rPr>
              <a:t>Replenishing Employer Investment in Education &amp; Workforce Training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8BC7C1A-B7B0-48EA-BD4D-E310A4CC1191}"/>
              </a:ext>
            </a:extLst>
          </p:cNvPr>
          <p:cNvGrpSpPr/>
          <p:nvPr/>
        </p:nvGrpSpPr>
        <p:grpSpPr>
          <a:xfrm>
            <a:off x="248265" y="1127745"/>
            <a:ext cx="4230216" cy="4371417"/>
            <a:chOff x="622341" y="1339723"/>
            <a:chExt cx="4230216" cy="4371417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2F9827A3-F5E2-4187-A369-9EFC30CFA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2341" y="4729250"/>
              <a:ext cx="981890" cy="981890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279BC730-C649-4494-BCC0-B5EDD7C10D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549725" y="1412340"/>
              <a:ext cx="1127123" cy="98189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C138ED9-4F7A-430B-AC8B-3FB0BC6CE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549725" y="2547621"/>
              <a:ext cx="1127123" cy="98189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D780F23-161F-45A2-9FC3-8D06A8C57104}"/>
                </a:ext>
              </a:extLst>
            </p:cNvPr>
            <p:cNvSpPr/>
            <p:nvPr/>
          </p:nvSpPr>
          <p:spPr>
            <a:xfrm>
              <a:off x="863173" y="1562333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  <a:defRPr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1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BE5A514-35AF-4E1F-9EF6-356B0E6C067C}"/>
                </a:ext>
              </a:extLst>
            </p:cNvPr>
            <p:cNvSpPr/>
            <p:nvPr/>
          </p:nvSpPr>
          <p:spPr>
            <a:xfrm>
              <a:off x="863173" y="2726274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2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9305FB8-C06A-4950-96E2-FE4B2908B64C}"/>
                </a:ext>
              </a:extLst>
            </p:cNvPr>
            <p:cNvSpPr/>
            <p:nvPr/>
          </p:nvSpPr>
          <p:spPr>
            <a:xfrm>
              <a:off x="863173" y="4970082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  <a:defRPr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4</a:t>
              </a: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345AD20C-9754-44FF-B0E1-B663EF7A1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549725" y="3674744"/>
              <a:ext cx="1127123" cy="981890"/>
            </a:xfrm>
            <a:prstGeom prst="rect">
              <a:avLst/>
            </a:prstGeom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F8CB824-3C06-46FD-8A19-7D9ADA2DFA6C}"/>
                </a:ext>
              </a:extLst>
            </p:cNvPr>
            <p:cNvSpPr/>
            <p:nvPr/>
          </p:nvSpPr>
          <p:spPr>
            <a:xfrm>
              <a:off x="863173" y="3859129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3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DF7287C-21F9-4EA3-9059-A72322B9E6F4}"/>
                </a:ext>
              </a:extLst>
            </p:cNvPr>
            <p:cNvSpPr/>
            <p:nvPr/>
          </p:nvSpPr>
          <p:spPr>
            <a:xfrm>
              <a:off x="1604230" y="1349196"/>
              <a:ext cx="3248327" cy="1191801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Mobilizes 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employer-led partnerships</a:t>
              </a: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 that support the employers in 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meeting their diversity hiring goals</a:t>
              </a: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 by developing programs that train and place under/unemployed 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members of the </a:t>
              </a:r>
              <a:r>
                <a:rPr lang="en-US" sz="1400" b="1" err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BIPOC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 community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A6FC702-BDF2-4F15-B310-F181A8FEAB5D}"/>
                </a:ext>
              </a:extLst>
            </p:cNvPr>
            <p:cNvSpPr/>
            <p:nvPr/>
          </p:nvSpPr>
          <p:spPr>
            <a:xfrm>
              <a:off x="1604230" y="2721908"/>
              <a:ext cx="3095361" cy="674031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</a:rPr>
                <a:t>Employers pay into the training fund as an 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</a:rPr>
                <a:t>alternative to traditional recruiting cost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D07E536-7210-4187-9C41-F4C097569311}"/>
                </a:ext>
              </a:extLst>
            </p:cNvPr>
            <p:cNvSpPr/>
            <p:nvPr/>
          </p:nvSpPr>
          <p:spPr>
            <a:xfrm>
              <a:off x="1604230" y="3855010"/>
              <a:ext cx="3095361" cy="458587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High degree of flexibility across 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all priority sectors and occupation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AB3D98A-5FF1-4A1E-B434-D49C0AF36532}"/>
                </a:ext>
              </a:extLst>
            </p:cNvPr>
            <p:cNvSpPr/>
            <p:nvPr/>
          </p:nvSpPr>
          <p:spPr>
            <a:xfrm>
              <a:off x="1604230" y="4857773"/>
              <a:ext cx="3095361" cy="824841"/>
            </a:xfrm>
            <a:prstGeom prst="rect">
              <a:avLst/>
            </a:pr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269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Gives employers and training partners </a:t>
              </a:r>
              <a:r>
                <a:rPr lang="en-US" sz="1400" b="1">
                  <a:solidFill>
                    <a:srgbClr val="5C97FF"/>
                  </a:solidFill>
                  <a:latin typeface="Karla" pitchFamily="2" charset="0"/>
                  <a:sym typeface="Karla" pitchFamily="2" charset="0"/>
                </a:rPr>
                <a:t>technical assistance, marketing funds, and recruiting support 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FE969650-D839-4DDE-8359-E63932EE65D0}"/>
              </a:ext>
            </a:extLst>
          </p:cNvPr>
          <p:cNvSpPr txBox="1"/>
          <p:nvPr/>
        </p:nvSpPr>
        <p:spPr>
          <a:xfrm>
            <a:off x="4976998" y="1268474"/>
            <a:ext cx="6622928" cy="71678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Open to all sectors and occupation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Open to any industry/occupation, preference for in-demand occupations associated with an industry-recognized credenti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4B85E2E-676B-49A4-9C95-2A1AAA02D7B6}"/>
              </a:ext>
            </a:extLst>
          </p:cNvPr>
          <p:cNvSpPr txBox="1"/>
          <p:nvPr/>
        </p:nvSpPr>
        <p:spPr>
          <a:xfrm>
            <a:off x="4973415" y="2060672"/>
            <a:ext cx="6640843" cy="7167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Emphasizes meeting employers' diversity hiring goals</a:t>
            </a:r>
            <a:endParaRPr lang="en-US" sz="1200">
              <a:solidFill>
                <a:srgbClr val="000000"/>
              </a:solidFill>
              <a:latin typeface="Karla" pitchFamily="2" charset="0"/>
              <a:sym typeface="Karla" pitchFamily="2" charset="0"/>
            </a:endParaRP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Focus on </a:t>
            </a:r>
            <a:r>
              <a:rPr lang="en-US" sz="1200" err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BIPOC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 below at or below 60% median income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nemployed/underemployed work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DFF1F6-148A-4D0D-871F-972AB01552FE}"/>
              </a:ext>
            </a:extLst>
          </p:cNvPr>
          <p:cNvSpPr txBox="1"/>
          <p:nvPr/>
        </p:nvSpPr>
        <p:spPr>
          <a:xfrm>
            <a:off x="4959083" y="2852871"/>
            <a:ext cx="6640843" cy="84187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cales available funding by program size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$10k per student trained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dditional funding available for pilot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3-year program dur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11D434B-EAEB-48B9-A3C7-70A1C44F2A02}"/>
              </a:ext>
            </a:extLst>
          </p:cNvPr>
          <p:cNvSpPr txBox="1"/>
          <p:nvPr/>
        </p:nvSpPr>
        <p:spPr>
          <a:xfrm>
            <a:off x="4980581" y="3770159"/>
            <a:ext cx="6963154" cy="83293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Mobilizes large employers to support equitable outcome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Committed employers agree to pay back 50% of training costs for each trained and </a:t>
            </a:r>
            <a:br>
              <a:rPr lang="en-US" sz="1200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</a:br>
            <a:r>
              <a:rPr lang="en-US" sz="1200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hired person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dirty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nership with training partner, and one or more employers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6B0C7CC-47E6-4E90-98DE-DF1786658EC3}"/>
              </a:ext>
            </a:extLst>
          </p:cNvPr>
          <p:cNvSpPr txBox="1"/>
          <p:nvPr/>
        </p:nvSpPr>
        <p:spPr>
          <a:xfrm>
            <a:off x="4984164" y="4678510"/>
            <a:ext cx="6622928" cy="90910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vides flexible funding for student support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gram administration cost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tudent support costs 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icipant stipend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7604E47-829E-4A06-88A1-CC23B7C5A6F9}"/>
              </a:ext>
            </a:extLst>
          </p:cNvPr>
          <p:cNvSpPr txBox="1"/>
          <p:nvPr/>
        </p:nvSpPr>
        <p:spPr>
          <a:xfrm>
            <a:off x="4987747" y="5663029"/>
            <a:ext cx="6175553" cy="5505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vailable to broad range of training providers, institutions, and employer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5C467D4-22D5-4AD3-BB2F-A13AEDF370F1}"/>
              </a:ext>
            </a:extLst>
          </p:cNvPr>
          <p:cNvSpPr/>
          <p:nvPr/>
        </p:nvSpPr>
        <p:spPr>
          <a:xfrm>
            <a:off x="447674" y="5711139"/>
            <a:ext cx="4251917" cy="692491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0" rIns="91440" bIns="0" anchor="ctr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400" b="1">
                <a:solidFill>
                  <a:srgbClr val="5C97FF"/>
                </a:solidFill>
                <a:latin typeface="Karla" pitchFamily="2" charset="0"/>
                <a:sym typeface="Karla" pitchFamily="2" charset="0"/>
              </a:rPr>
              <a:t>Release date</a:t>
            </a:r>
            <a:r>
              <a:rPr lang="en-US" sz="1400">
                <a:solidFill>
                  <a:srgbClr val="5C97FF"/>
                </a:solidFill>
                <a:latin typeface="Karla" pitchFamily="2" charset="0"/>
                <a:sym typeface="Karla" pitchFamily="2" charset="0"/>
              </a:rPr>
              <a:t>: </a:t>
            </a:r>
            <a:r>
              <a:rPr lang="en-US" sz="1400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October 22nd </a:t>
            </a:r>
            <a:br>
              <a:rPr lang="en-US" sz="14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</a:br>
            <a:r>
              <a:rPr lang="en-US" sz="1400" b="1">
                <a:solidFill>
                  <a:srgbClr val="5C97FF"/>
                </a:solidFill>
                <a:latin typeface="Karla" pitchFamily="2" charset="0"/>
                <a:sym typeface="Karla" pitchFamily="2" charset="0"/>
              </a:rPr>
              <a:t>Responses due</a:t>
            </a:r>
            <a:r>
              <a:rPr lang="en-US" sz="1400">
                <a:solidFill>
                  <a:srgbClr val="5C97FF"/>
                </a:solidFill>
                <a:latin typeface="Karla" pitchFamily="2" charset="0"/>
                <a:sym typeface="Karla" pitchFamily="2" charset="0"/>
              </a:rPr>
              <a:t>: </a:t>
            </a:r>
            <a:r>
              <a:rPr lang="en-US" sz="1400">
                <a:solidFill>
                  <a:schemeClr val="bg1"/>
                </a:solidFill>
                <a:latin typeface="Karla" pitchFamily="2" charset="0"/>
                <a:sym typeface="Karla" pitchFamily="2" charset="0"/>
              </a:rPr>
              <a:t>Ongoing</a:t>
            </a:r>
          </a:p>
        </p:txBody>
      </p:sp>
      <p:sp>
        <p:nvSpPr>
          <p:cNvPr id="47" name="Freeform 51">
            <a:extLst>
              <a:ext uri="{FF2B5EF4-FFF2-40B4-BE49-F238E27FC236}">
                <a16:creationId xmlns:a16="http://schemas.microsoft.com/office/drawing/2014/main" id="{620AC0C3-F0FF-4C29-AB08-E446DD3B0973}"/>
              </a:ext>
            </a:extLst>
          </p:cNvPr>
          <p:cNvSpPr>
            <a:spLocks/>
          </p:cNvSpPr>
          <p:nvPr/>
        </p:nvSpPr>
        <p:spPr bwMode="auto">
          <a:xfrm>
            <a:off x="4859226" y="1323417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8" name="Freeform 51">
            <a:extLst>
              <a:ext uri="{FF2B5EF4-FFF2-40B4-BE49-F238E27FC236}">
                <a16:creationId xmlns:a16="http://schemas.microsoft.com/office/drawing/2014/main" id="{ECAC49BB-36C5-4A3A-A043-012AC947C1AE}"/>
              </a:ext>
            </a:extLst>
          </p:cNvPr>
          <p:cNvSpPr>
            <a:spLocks/>
          </p:cNvSpPr>
          <p:nvPr/>
        </p:nvSpPr>
        <p:spPr bwMode="auto">
          <a:xfrm>
            <a:off x="4859226" y="2128812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9" name="Freeform 51">
            <a:extLst>
              <a:ext uri="{FF2B5EF4-FFF2-40B4-BE49-F238E27FC236}">
                <a16:creationId xmlns:a16="http://schemas.microsoft.com/office/drawing/2014/main" id="{575108F8-654B-47DD-B611-C59E50C150DC}"/>
              </a:ext>
            </a:extLst>
          </p:cNvPr>
          <p:cNvSpPr>
            <a:spLocks/>
          </p:cNvSpPr>
          <p:nvPr/>
        </p:nvSpPr>
        <p:spPr bwMode="auto">
          <a:xfrm>
            <a:off x="4859226" y="2928831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0" name="Freeform 51">
            <a:extLst>
              <a:ext uri="{FF2B5EF4-FFF2-40B4-BE49-F238E27FC236}">
                <a16:creationId xmlns:a16="http://schemas.microsoft.com/office/drawing/2014/main" id="{BC34B04E-FAAC-4FAC-A216-FBDB4AD2E2BA}"/>
              </a:ext>
            </a:extLst>
          </p:cNvPr>
          <p:cNvSpPr>
            <a:spLocks/>
          </p:cNvSpPr>
          <p:nvPr/>
        </p:nvSpPr>
        <p:spPr bwMode="auto">
          <a:xfrm>
            <a:off x="4859226" y="3851491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1" name="Freeform 51">
            <a:extLst>
              <a:ext uri="{FF2B5EF4-FFF2-40B4-BE49-F238E27FC236}">
                <a16:creationId xmlns:a16="http://schemas.microsoft.com/office/drawing/2014/main" id="{5A460591-2A41-4F73-AA53-103B59D5DCE9}"/>
              </a:ext>
            </a:extLst>
          </p:cNvPr>
          <p:cNvSpPr>
            <a:spLocks/>
          </p:cNvSpPr>
          <p:nvPr/>
        </p:nvSpPr>
        <p:spPr bwMode="auto">
          <a:xfrm>
            <a:off x="4859226" y="4730146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B4DC0AA5-FD0C-43A3-8AD5-5F765C0E927A}"/>
              </a:ext>
            </a:extLst>
          </p:cNvPr>
          <p:cNvSpPr>
            <a:spLocks/>
          </p:cNvSpPr>
          <p:nvPr/>
        </p:nvSpPr>
        <p:spPr bwMode="auto">
          <a:xfrm>
            <a:off x="4859226" y="5719756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3" name="Title 20">
            <a:extLst>
              <a:ext uri="{FF2B5EF4-FFF2-40B4-BE49-F238E27FC236}">
                <a16:creationId xmlns:a16="http://schemas.microsoft.com/office/drawing/2014/main" id="{2BEB7B5B-DEB5-45CD-BAD5-918DC1977841}"/>
              </a:ext>
            </a:extLst>
          </p:cNvPr>
          <p:cNvSpPr txBox="1">
            <a:spLocks/>
          </p:cNvSpPr>
          <p:nvPr/>
        </p:nvSpPr>
        <p:spPr>
          <a:xfrm>
            <a:off x="1469413" y="489086"/>
            <a:ext cx="1760763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Karla" pitchFamily="2" charset="0"/>
                <a:ea typeface="+mj-ea"/>
                <a:cs typeface="+mj-cs"/>
                <a:sym typeface="Karla" pitchFamily="2" charset="0"/>
              </a:defRPr>
            </a:lvl1pPr>
          </a:lstStyle>
          <a:p>
            <a:pPr algn="ctr"/>
            <a:r>
              <a:rPr lang="en-US" sz="3600">
                <a:solidFill>
                  <a:srgbClr val="5C97FF"/>
                </a:solidFill>
              </a:rPr>
              <a:t>RENEW</a:t>
            </a:r>
          </a:p>
        </p:txBody>
      </p:sp>
    </p:spTree>
    <p:extLst>
      <p:ext uri="{BB962C8B-B14F-4D97-AF65-F5344CB8AC3E}">
        <p14:creationId xmlns:p14="http://schemas.microsoft.com/office/powerpoint/2010/main" val="412885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166D4A-F487-49AF-8A3D-845433DA5F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71" imgH="371" progId="TCLayout.ActiveDocument.1">
                  <p:embed/>
                </p:oleObj>
              </mc:Choice>
              <mc:Fallback>
                <p:oleObj name="think-cell Slide" r:id="rId5" imgW="371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166D4A-F487-49AF-8A3D-845433DA5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7F524D96-90D9-4743-B2B9-F02E3CA6A2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28"/>
          <a:stretch/>
        </p:blipFill>
        <p:spPr>
          <a:xfrm>
            <a:off x="0" y="-6151"/>
            <a:ext cx="4699590" cy="6855347"/>
          </a:xfrm>
          <a:prstGeom prst="rect">
            <a:avLst/>
          </a:prstGeom>
        </p:spPr>
      </p:pic>
      <p:sp>
        <p:nvSpPr>
          <p:cNvPr id="33" name="Overlay">
            <a:extLst>
              <a:ext uri="{FF2B5EF4-FFF2-40B4-BE49-F238E27FC236}">
                <a16:creationId xmlns:a16="http://schemas.microsoft.com/office/drawing/2014/main" id="{7B112C0A-07C5-4614-B7D1-911EA90B8E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4699591" cy="6855347"/>
          </a:xfrm>
          <a:prstGeom prst="rect">
            <a:avLst/>
          </a:prstGeom>
          <a:solidFill>
            <a:srgbClr val="000000">
              <a:alpha val="70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Karla" pitchFamily="2" charset="0"/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0F5E1C5A-AE4D-4C41-8537-8727BE221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7746" y="705253"/>
            <a:ext cx="5982547" cy="276999"/>
          </a:xfrm>
        </p:spPr>
        <p:txBody>
          <a:bodyPr vert="horz" wrap="square">
            <a:spAutoFit/>
          </a:bodyPr>
          <a:lstStyle/>
          <a:p>
            <a:r>
              <a:rPr lang="en-US" sz="2000" b="1"/>
              <a:t>Career Technical Initiativ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E969650-D839-4DDE-8359-E63932EE65D0}"/>
              </a:ext>
            </a:extLst>
          </p:cNvPr>
          <p:cNvSpPr txBox="1"/>
          <p:nvPr/>
        </p:nvSpPr>
        <p:spPr>
          <a:xfrm>
            <a:off x="4976998" y="1268474"/>
            <a:ext cx="6622928" cy="10335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Targeted list of occupations within construction/skilled trades </a:t>
            </a:r>
            <a:b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</a:b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nd manufacturing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b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Construction/skilled trades (13 occupations)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 b="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Manufacturing (7 occupations).</a:t>
            </a:r>
          </a:p>
          <a:p>
            <a:pPr marL="177800" lvl="1" indent="-118745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For additional info see </a:t>
            </a:r>
            <a:r>
              <a:rPr lang="en-US" sz="1200">
                <a:solidFill>
                  <a:srgbClr val="00269E"/>
                </a:solidFill>
                <a:latin typeface="Karla" pitchFamily="2" charset="0"/>
                <a:sym typeface="Karla" pitchFamily="2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FP online</a:t>
            </a:r>
            <a:endParaRPr lang="en-US" sz="1100">
              <a:solidFill>
                <a:srgbClr val="00269E"/>
              </a:solidFill>
              <a:latin typeface="Karla" pitchFamily="2" charset="0"/>
              <a:cs typeface="Arial"/>
              <a:sym typeface="Karla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4B85E2E-676B-49A4-9C95-2A1AAA02D7B6}"/>
              </a:ext>
            </a:extLst>
          </p:cNvPr>
          <p:cNvSpPr txBox="1"/>
          <p:nvPr/>
        </p:nvSpPr>
        <p:spPr>
          <a:xfrm>
            <a:off x="4973415" y="2474099"/>
            <a:ext cx="6640843" cy="50605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upports under/unemployed worker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nemployed/underemployed workers at 65% or less of median incom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DFF1F6-148A-4D0D-871F-972AB01552FE}"/>
              </a:ext>
            </a:extLst>
          </p:cNvPr>
          <p:cNvSpPr txBox="1"/>
          <p:nvPr/>
        </p:nvSpPr>
        <p:spPr>
          <a:xfrm>
            <a:off x="4959083" y="3152217"/>
            <a:ext cx="6640843" cy="7151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cales available funding by program size</a:t>
            </a:r>
          </a:p>
          <a:p>
            <a:pPr marL="177800" lvl="1" indent="-118745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Up to $6k per student </a:t>
            </a:r>
            <a:endParaRPr lang="en-US" sz="1200">
              <a:solidFill>
                <a:srgbClr val="000000"/>
              </a:solidFill>
              <a:latin typeface="Karla" pitchFamily="2" charset="0"/>
              <a:cs typeface="Arial"/>
              <a:sym typeface="Karla" pitchFamily="2" charset="0"/>
            </a:endParaRPr>
          </a:p>
          <a:p>
            <a:pPr marL="177800" lvl="1" indent="-118745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2-year program</a:t>
            </a:r>
            <a:endParaRPr lang="en-US" sz="1200">
              <a:solidFill>
                <a:srgbClr val="000000"/>
              </a:solidFill>
              <a:latin typeface="Karla" pitchFamily="2" charset="0"/>
              <a:cs typeface="Arial"/>
              <a:sym typeface="Karla" pitchFamily="2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11D434B-EAEB-48B9-A3C7-70A1C44F2A02}"/>
              </a:ext>
            </a:extLst>
          </p:cNvPr>
          <p:cNvSpPr txBox="1"/>
          <p:nvPr/>
        </p:nvSpPr>
        <p:spPr>
          <a:xfrm>
            <a:off x="4980581" y="4039432"/>
            <a:ext cx="6622928" cy="7289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</a:rPr>
              <a:t>Emphasizes sustainable employer/trainer partnership</a:t>
            </a:r>
          </a:p>
          <a:p>
            <a:pPr marL="177800" lvl="1" indent="-118745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Training in 1+ target occupations with 1-6 cohorts (cohort minimum = 10)</a:t>
            </a:r>
          </a:p>
          <a:p>
            <a:pPr marL="177800" lvl="1" indent="-118745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nership must include training provider, 3+ employers, and </a:t>
            </a:r>
            <a:r>
              <a:rPr lang="en-US" sz="1200" err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MassHire</a:t>
            </a: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 </a:t>
            </a:r>
            <a:endParaRPr lang="en-US" sz="1200">
              <a:solidFill>
                <a:srgbClr val="000000"/>
              </a:solidFill>
              <a:latin typeface="Karla" pitchFamily="2" charset="0"/>
              <a:cs typeface="Arial"/>
              <a:sym typeface="Karla" pitchFamily="2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6B0C7CC-47E6-4E90-98DE-DF1786658EC3}"/>
              </a:ext>
            </a:extLst>
          </p:cNvPr>
          <p:cNvSpPr txBox="1"/>
          <p:nvPr/>
        </p:nvSpPr>
        <p:spPr>
          <a:xfrm>
            <a:off x="4987746" y="4862064"/>
            <a:ext cx="6756579" cy="127419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vides flexible funding for program development and student support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rogram costs (e.g., recruitment and marketing, training delivery, administrative costs, etc.)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Student support costs 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Participant stipends</a:t>
            </a:r>
          </a:p>
          <a:p>
            <a:pPr marL="178200" lvl="1" indent="-118800">
              <a:buClr>
                <a:srgbClr val="00269E"/>
              </a:buClr>
              <a:buFont typeface="Trebuchet MS" panose="020B0603020202020204" pitchFamily="34" charset="0"/>
              <a:buChar char="•"/>
            </a:pPr>
            <a:endParaRPr lang="en-US" sz="1200">
              <a:solidFill>
                <a:srgbClr val="000000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7604E47-829E-4A06-88A1-CC23B7C5A6F9}"/>
              </a:ext>
            </a:extLst>
          </p:cNvPr>
          <p:cNvSpPr txBox="1"/>
          <p:nvPr/>
        </p:nvSpPr>
        <p:spPr>
          <a:xfrm>
            <a:off x="4987747" y="6031504"/>
            <a:ext cx="6622928" cy="27527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noAutofit/>
          </a:bodyPr>
          <a:lstStyle/>
          <a:p>
            <a:pPr>
              <a:lnSpc>
                <a:spcPct val="90000"/>
              </a:lnSpc>
            </a:pPr>
            <a:r>
              <a:rPr lang="en-US" sz="1600" b="1">
                <a:solidFill>
                  <a:srgbClr val="000000"/>
                </a:solidFill>
                <a:latin typeface="Karla" pitchFamily="2" charset="0"/>
                <a:sym typeface="Karla" pitchFamily="2" charset="0"/>
              </a:rPr>
              <a:t>All aligned Chapter 74 vocational programs eligible</a:t>
            </a:r>
            <a:endParaRPr lang="en-US" sz="1200">
              <a:solidFill>
                <a:srgbClr val="000000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5C467D4-22D5-4AD3-BB2F-A13AEDF370F1}"/>
              </a:ext>
            </a:extLst>
          </p:cNvPr>
          <p:cNvSpPr/>
          <p:nvPr/>
        </p:nvSpPr>
        <p:spPr>
          <a:xfrm>
            <a:off x="447674" y="5711139"/>
            <a:ext cx="4251917" cy="692491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91440" tIns="0" rIns="91440" bIns="0" anchor="ctr"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br>
              <a:rPr lang="en-US" sz="1400">
                <a:latin typeface="Karla" pitchFamily="2" charset="0"/>
              </a:rPr>
            </a:br>
            <a:r>
              <a:rPr lang="en-US" sz="1400" b="1">
                <a:solidFill>
                  <a:srgbClr val="86C27E"/>
                </a:solidFill>
                <a:latin typeface="Karla"/>
                <a:sym typeface="Karla" pitchFamily="2" charset="0"/>
              </a:rPr>
              <a:t>Responses due</a:t>
            </a:r>
            <a:r>
              <a:rPr lang="en-US" sz="1400">
                <a:solidFill>
                  <a:srgbClr val="86C27E"/>
                </a:solidFill>
                <a:latin typeface="Karla"/>
                <a:sym typeface="Karla" pitchFamily="2" charset="0"/>
              </a:rPr>
              <a:t>: </a:t>
            </a:r>
            <a:r>
              <a:rPr lang="en-US" sz="1400">
                <a:solidFill>
                  <a:schemeClr val="bg1"/>
                </a:solidFill>
                <a:latin typeface="Karla"/>
                <a:sym typeface="Karla" pitchFamily="2" charset="0"/>
              </a:rPr>
              <a:t>April 29th </a:t>
            </a:r>
            <a:endParaRPr lang="en-US"/>
          </a:p>
        </p:txBody>
      </p:sp>
      <p:sp>
        <p:nvSpPr>
          <p:cNvPr id="47" name="Freeform 51">
            <a:extLst>
              <a:ext uri="{FF2B5EF4-FFF2-40B4-BE49-F238E27FC236}">
                <a16:creationId xmlns:a16="http://schemas.microsoft.com/office/drawing/2014/main" id="{620AC0C3-F0FF-4C29-AB08-E446DD3B0973}"/>
              </a:ext>
            </a:extLst>
          </p:cNvPr>
          <p:cNvSpPr>
            <a:spLocks/>
          </p:cNvSpPr>
          <p:nvPr/>
        </p:nvSpPr>
        <p:spPr bwMode="auto">
          <a:xfrm>
            <a:off x="4859226" y="1323417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8" name="Freeform 51">
            <a:extLst>
              <a:ext uri="{FF2B5EF4-FFF2-40B4-BE49-F238E27FC236}">
                <a16:creationId xmlns:a16="http://schemas.microsoft.com/office/drawing/2014/main" id="{ECAC49BB-36C5-4A3A-A043-012AC947C1AE}"/>
              </a:ext>
            </a:extLst>
          </p:cNvPr>
          <p:cNvSpPr>
            <a:spLocks/>
          </p:cNvSpPr>
          <p:nvPr/>
        </p:nvSpPr>
        <p:spPr bwMode="auto">
          <a:xfrm>
            <a:off x="4859226" y="2499499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49" name="Freeform 51">
            <a:extLst>
              <a:ext uri="{FF2B5EF4-FFF2-40B4-BE49-F238E27FC236}">
                <a16:creationId xmlns:a16="http://schemas.microsoft.com/office/drawing/2014/main" id="{575108F8-654B-47DD-B611-C59E50C150DC}"/>
              </a:ext>
            </a:extLst>
          </p:cNvPr>
          <p:cNvSpPr>
            <a:spLocks/>
          </p:cNvSpPr>
          <p:nvPr/>
        </p:nvSpPr>
        <p:spPr bwMode="auto">
          <a:xfrm>
            <a:off x="4859226" y="3176032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0" name="Freeform 51">
            <a:extLst>
              <a:ext uri="{FF2B5EF4-FFF2-40B4-BE49-F238E27FC236}">
                <a16:creationId xmlns:a16="http://schemas.microsoft.com/office/drawing/2014/main" id="{BC34B04E-FAAC-4FAC-A216-FBDB4AD2E2BA}"/>
              </a:ext>
            </a:extLst>
          </p:cNvPr>
          <p:cNvSpPr>
            <a:spLocks/>
          </p:cNvSpPr>
          <p:nvPr/>
        </p:nvSpPr>
        <p:spPr bwMode="auto">
          <a:xfrm>
            <a:off x="4859226" y="4063247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1" name="Freeform 51">
            <a:extLst>
              <a:ext uri="{FF2B5EF4-FFF2-40B4-BE49-F238E27FC236}">
                <a16:creationId xmlns:a16="http://schemas.microsoft.com/office/drawing/2014/main" id="{5A460591-2A41-4F73-AA53-103B59D5DCE9}"/>
              </a:ext>
            </a:extLst>
          </p:cNvPr>
          <p:cNvSpPr>
            <a:spLocks/>
          </p:cNvSpPr>
          <p:nvPr/>
        </p:nvSpPr>
        <p:spPr bwMode="auto">
          <a:xfrm>
            <a:off x="4862809" y="4899442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B4DC0AA5-FD0C-43A3-8AD5-5F765C0E927A}"/>
              </a:ext>
            </a:extLst>
          </p:cNvPr>
          <p:cNvSpPr>
            <a:spLocks/>
          </p:cNvSpPr>
          <p:nvPr/>
        </p:nvSpPr>
        <p:spPr bwMode="auto">
          <a:xfrm>
            <a:off x="4859226" y="6088231"/>
            <a:ext cx="121192" cy="218546"/>
          </a:xfrm>
          <a:custGeom>
            <a:avLst/>
            <a:gdLst>
              <a:gd name="T0" fmla="*/ 6 w 61"/>
              <a:gd name="T1" fmla="*/ 0 h 110"/>
              <a:gd name="T2" fmla="*/ 0 w 61"/>
              <a:gd name="T3" fmla="*/ 7 h 110"/>
              <a:gd name="T4" fmla="*/ 48 w 61"/>
              <a:gd name="T5" fmla="*/ 55 h 110"/>
              <a:gd name="T6" fmla="*/ 0 w 61"/>
              <a:gd name="T7" fmla="*/ 104 h 110"/>
              <a:gd name="T8" fmla="*/ 6 w 61"/>
              <a:gd name="T9" fmla="*/ 110 h 110"/>
              <a:gd name="T10" fmla="*/ 54 w 61"/>
              <a:gd name="T11" fmla="*/ 62 h 110"/>
              <a:gd name="T12" fmla="*/ 61 w 61"/>
              <a:gd name="T13" fmla="*/ 55 h 110"/>
              <a:gd name="T14" fmla="*/ 54 w 61"/>
              <a:gd name="T15" fmla="*/ 49 h 110"/>
              <a:gd name="T16" fmla="*/ 6 w 61"/>
              <a:gd name="T17" fmla="*/ 0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1" h="110">
                <a:moveTo>
                  <a:pt x="6" y="0"/>
                </a:moveTo>
                <a:lnTo>
                  <a:pt x="0" y="7"/>
                </a:lnTo>
                <a:lnTo>
                  <a:pt x="48" y="55"/>
                </a:lnTo>
                <a:lnTo>
                  <a:pt x="0" y="104"/>
                </a:lnTo>
                <a:lnTo>
                  <a:pt x="6" y="110"/>
                </a:lnTo>
                <a:lnTo>
                  <a:pt x="54" y="62"/>
                </a:lnTo>
                <a:lnTo>
                  <a:pt x="61" y="55"/>
                </a:lnTo>
                <a:lnTo>
                  <a:pt x="54" y="49"/>
                </a:lnTo>
                <a:lnTo>
                  <a:pt x="6" y="0"/>
                </a:lnTo>
                <a:close/>
              </a:path>
            </a:pathLst>
          </a:custGeom>
          <a:solidFill>
            <a:srgbClr val="40339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  <a:latin typeface="Karla" pitchFamily="2" charset="0"/>
              <a:sym typeface="Karla" pitchFamily="2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BB5D98B-7F6D-46F0-B71E-5AC143CD9F4C}"/>
              </a:ext>
            </a:extLst>
          </p:cNvPr>
          <p:cNvGrpSpPr/>
          <p:nvPr/>
        </p:nvGrpSpPr>
        <p:grpSpPr>
          <a:xfrm>
            <a:off x="248265" y="1127745"/>
            <a:ext cx="4077250" cy="4371417"/>
            <a:chOff x="622341" y="1339723"/>
            <a:chExt cx="4077250" cy="4371417"/>
          </a:xfrm>
        </p:grpSpPr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11BBB994-3FDE-4CD3-AF4A-551D8A42E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22341" y="4729250"/>
              <a:ext cx="981890" cy="981890"/>
            </a:xfrm>
            <a:prstGeom prst="rect">
              <a:avLst/>
            </a:prstGeom>
          </p:spPr>
        </p:pic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D606F931-AE57-4521-8452-C86B52831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549725" y="1412340"/>
              <a:ext cx="1127123" cy="981890"/>
            </a:xfrm>
            <a:prstGeom prst="rect">
              <a:avLst/>
            </a:prstGeom>
          </p:spPr>
        </p:pic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EC5FEDB8-2F40-4167-B543-D991DB44EA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549725" y="2547621"/>
              <a:ext cx="1127123" cy="981890"/>
            </a:xfrm>
            <a:prstGeom prst="rect">
              <a:avLst/>
            </a:prstGeom>
          </p:spPr>
        </p:pic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414670E9-D35B-46C8-A58F-B7840B9FAC31}"/>
                </a:ext>
              </a:extLst>
            </p:cNvPr>
            <p:cNvSpPr/>
            <p:nvPr/>
          </p:nvSpPr>
          <p:spPr>
            <a:xfrm>
              <a:off x="863173" y="1562333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  <a:defRPr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1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132C58C8-CD91-4325-9440-C3AE7F7E684A}"/>
                </a:ext>
              </a:extLst>
            </p:cNvPr>
            <p:cNvSpPr/>
            <p:nvPr/>
          </p:nvSpPr>
          <p:spPr>
            <a:xfrm>
              <a:off x="863173" y="2726274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2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70FE4328-1926-4BA7-89F4-BF96B4E0F359}"/>
                </a:ext>
              </a:extLst>
            </p:cNvPr>
            <p:cNvSpPr/>
            <p:nvPr/>
          </p:nvSpPr>
          <p:spPr>
            <a:xfrm>
              <a:off x="863173" y="4970082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  <a:defRPr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4</a:t>
              </a: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371F3C51-B94D-46B2-9EA5-05879EC8E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5400000">
              <a:off x="549725" y="3674744"/>
              <a:ext cx="1127123" cy="981890"/>
            </a:xfrm>
            <a:prstGeom prst="rect">
              <a:avLst/>
            </a:prstGeom>
          </p:spPr>
        </p:pic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75A0F85-2B1D-49FA-A0F9-47AFDDC00203}"/>
                </a:ext>
              </a:extLst>
            </p:cNvPr>
            <p:cNvSpPr/>
            <p:nvPr/>
          </p:nvSpPr>
          <p:spPr>
            <a:xfrm>
              <a:off x="863173" y="3854366"/>
              <a:ext cx="500227" cy="500227"/>
            </a:xfrm>
            <a:prstGeom prst="rect">
              <a:avLst/>
            </a:prstGeom>
            <a:noFill/>
            <a:ln w="2857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 cap="rnd" cmpd="sng" algn="ctr">
                  <a:solidFill>
                    <a:srgbClr val="D4DF33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Font typeface="Trebuchet MS" panose="020B0603020202020204" pitchFamily="34" charset="0"/>
                <a:buChar char="​"/>
              </a:pPr>
              <a:r>
                <a:rPr lang="en-US" sz="32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3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238DA994-C5C8-4149-97EF-11CE4AC9F6E0}"/>
                </a:ext>
              </a:extLst>
            </p:cNvPr>
            <p:cNvSpPr/>
            <p:nvPr/>
          </p:nvSpPr>
          <p:spPr>
            <a:xfrm>
              <a:off x="1604230" y="1491590"/>
              <a:ext cx="3095361" cy="641714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Expands access to training for </a:t>
              </a:r>
              <a:r>
                <a:rPr lang="en-US" sz="1400" b="1">
                  <a:solidFill>
                    <a:srgbClr val="86C27E"/>
                  </a:solidFill>
                  <a:latin typeface="Karla" pitchFamily="2" charset="0"/>
                  <a:sym typeface="Karla" pitchFamily="2" charset="0"/>
                </a:rPr>
                <a:t>construction/skilled trades and manufacturing 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EE1892C-D7F0-457D-8770-B680B47218CD}"/>
                </a:ext>
              </a:extLst>
            </p:cNvPr>
            <p:cNvSpPr/>
            <p:nvPr/>
          </p:nvSpPr>
          <p:spPr>
            <a:xfrm>
              <a:off x="1604230" y="2655531"/>
              <a:ext cx="3095361" cy="641714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Helps schools with aligned C74 programs </a:t>
              </a:r>
              <a:r>
                <a:rPr lang="en-US" sz="1400" b="1">
                  <a:solidFill>
                    <a:srgbClr val="86C27E"/>
                  </a:solidFill>
                  <a:latin typeface="Karla" pitchFamily="2" charset="0"/>
                  <a:sym typeface="Karla" pitchFamily="2" charset="0"/>
                </a:rPr>
                <a:t>to expand "third shift" training programs 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C7F9D330-CAE4-4AF1-82A1-CA2FDB2C56B5}"/>
                </a:ext>
              </a:extLst>
            </p:cNvPr>
            <p:cNvSpPr/>
            <p:nvPr/>
          </p:nvSpPr>
          <p:spPr>
            <a:xfrm>
              <a:off x="1604230" y="3783623"/>
              <a:ext cx="3095361" cy="641714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 b="1">
                  <a:solidFill>
                    <a:srgbClr val="86C27E"/>
                  </a:solidFill>
                  <a:latin typeface="Karla" pitchFamily="2" charset="0"/>
                  <a:sym typeface="Karla" pitchFamily="2" charset="0"/>
                </a:rPr>
                <a:t>Maximizes the utilization of existing resources and provides additional flexible capacity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15154AB-A411-4CD9-B9B1-0E68A0B94B9B}"/>
                </a:ext>
              </a:extLst>
            </p:cNvPr>
            <p:cNvSpPr/>
            <p:nvPr/>
          </p:nvSpPr>
          <p:spPr>
            <a:xfrm>
              <a:off x="1604230" y="4899338"/>
              <a:ext cx="3095361" cy="641714"/>
            </a:xfrm>
            <a:prstGeom prst="rect">
              <a:avLst/>
            </a:prstGeom>
          </p:spPr>
          <p:txBody>
            <a:bodyPr wrap="square" lIns="91440" tIns="45720" rIns="91440" bIns="45720">
              <a:spAutoFit/>
            </a:bodyPr>
            <a:lstStyle/>
            <a:p>
              <a:pPr>
                <a:lnSpc>
                  <a:spcPct val="85000"/>
                </a:lnSpc>
                <a:buFont typeface="Trebuchet MS" panose="020B0603020202020204" pitchFamily="34" charset="0"/>
                <a:buChar char="​"/>
              </a:pPr>
              <a:r>
                <a:rPr lang="en-US" sz="1400">
                  <a:solidFill>
                    <a:schemeClr val="bg1"/>
                  </a:solidFill>
                  <a:latin typeface="Karla" pitchFamily="2" charset="0"/>
                  <a:sym typeface="Karla" pitchFamily="2" charset="0"/>
                </a:rPr>
                <a:t>Give training partners </a:t>
              </a:r>
              <a:r>
                <a:rPr lang="en-US" sz="1400" b="1">
                  <a:solidFill>
                    <a:srgbClr val="86C27E"/>
                  </a:solidFill>
                  <a:latin typeface="Karla" pitchFamily="2" charset="0"/>
                  <a:sym typeface="Karla" pitchFamily="2" charset="0"/>
                </a:rPr>
                <a:t>technical assistance, marketing funds, and recruiting support</a:t>
              </a:r>
            </a:p>
          </p:txBody>
        </p:sp>
      </p:grpSp>
      <p:sp>
        <p:nvSpPr>
          <p:cNvPr id="64" name="Title 20">
            <a:extLst>
              <a:ext uri="{FF2B5EF4-FFF2-40B4-BE49-F238E27FC236}">
                <a16:creationId xmlns:a16="http://schemas.microsoft.com/office/drawing/2014/main" id="{37C51BBC-0CEB-4C57-B5C5-9268E6E86A12}"/>
              </a:ext>
            </a:extLst>
          </p:cNvPr>
          <p:cNvSpPr txBox="1">
            <a:spLocks/>
          </p:cNvSpPr>
          <p:nvPr/>
        </p:nvSpPr>
        <p:spPr>
          <a:xfrm>
            <a:off x="1469413" y="488764"/>
            <a:ext cx="1760763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Karla" pitchFamily="2" charset="0"/>
                <a:ea typeface="+mj-ea"/>
                <a:cs typeface="+mj-cs"/>
                <a:sym typeface="Karla" pitchFamily="2" charset="0"/>
              </a:defRPr>
            </a:lvl1pPr>
          </a:lstStyle>
          <a:p>
            <a:pPr algn="ctr"/>
            <a:r>
              <a:rPr lang="en-US" sz="3600">
                <a:solidFill>
                  <a:srgbClr val="86C27E"/>
                </a:solidFill>
              </a:rPr>
              <a:t>CTI</a:t>
            </a:r>
          </a:p>
        </p:txBody>
      </p:sp>
    </p:spTree>
    <p:extLst>
      <p:ext uri="{BB962C8B-B14F-4D97-AF65-F5344CB8AC3E}">
        <p14:creationId xmlns:p14="http://schemas.microsoft.com/office/powerpoint/2010/main" val="134809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2674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Occupations vs gran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48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E6A44F7E-E71B-4207-97BC-9CC466A88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E6A44F7E-E71B-4207-97BC-9CC466A88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258A4A-E635-4B86-A1DD-DF6203B16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/>
              <a:t>Backup</a:t>
            </a:r>
            <a:r>
              <a:rPr lang="en-US"/>
              <a:t>: Occupations supported across several gra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55FFA6-A5ED-4FCC-BE84-83233C02D1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RPA pipeline training grants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91900286-376F-406A-A91F-71B78FB187E2}"/>
              </a:ext>
            </a:extLst>
          </p:cNvPr>
          <p:cNvGraphicFramePr>
            <a:graphicFrameLocks noGrp="1"/>
          </p:cNvGraphicFramePr>
          <p:nvPr/>
        </p:nvGraphicFramePr>
        <p:xfrm>
          <a:off x="629994" y="1195657"/>
          <a:ext cx="10932040" cy="5218176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566607083"/>
                    </a:ext>
                  </a:extLst>
                </a:gridCol>
                <a:gridCol w="1023605">
                  <a:extLst>
                    <a:ext uri="{9D8B030D-6E8A-4147-A177-3AD203B41FA5}">
                      <a16:colId xmlns:a16="http://schemas.microsoft.com/office/drawing/2014/main" val="3268344815"/>
                    </a:ext>
                  </a:extLst>
                </a:gridCol>
                <a:gridCol w="1023605">
                  <a:extLst>
                    <a:ext uri="{9D8B030D-6E8A-4147-A177-3AD203B41FA5}">
                      <a16:colId xmlns:a16="http://schemas.microsoft.com/office/drawing/2014/main" val="331416935"/>
                    </a:ext>
                  </a:extLst>
                </a:gridCol>
                <a:gridCol w="1023605">
                  <a:extLst>
                    <a:ext uri="{9D8B030D-6E8A-4147-A177-3AD203B41FA5}">
                      <a16:colId xmlns:a16="http://schemas.microsoft.com/office/drawing/2014/main" val="2745835644"/>
                    </a:ext>
                  </a:extLst>
                </a:gridCol>
                <a:gridCol w="1023605">
                  <a:extLst>
                    <a:ext uri="{9D8B030D-6E8A-4147-A177-3AD203B41FA5}">
                      <a16:colId xmlns:a16="http://schemas.microsoft.com/office/drawing/2014/main" val="4291883011"/>
                    </a:ext>
                  </a:extLst>
                </a:gridCol>
                <a:gridCol w="1023605">
                  <a:extLst>
                    <a:ext uri="{9D8B030D-6E8A-4147-A177-3AD203B41FA5}">
                      <a16:colId xmlns:a16="http://schemas.microsoft.com/office/drawing/2014/main" val="4290595070"/>
                    </a:ext>
                  </a:extLst>
                </a:gridCol>
                <a:gridCol w="1023605">
                  <a:extLst>
                    <a:ext uri="{9D8B030D-6E8A-4147-A177-3AD203B41FA5}">
                      <a16:colId xmlns:a16="http://schemas.microsoft.com/office/drawing/2014/main" val="3327218745"/>
                    </a:ext>
                  </a:extLst>
                </a:gridCol>
                <a:gridCol w="1062322">
                  <a:extLst>
                    <a:ext uri="{9D8B030D-6E8A-4147-A177-3AD203B41FA5}">
                      <a16:colId xmlns:a16="http://schemas.microsoft.com/office/drawing/2014/main" val="1367090424"/>
                    </a:ext>
                  </a:extLst>
                </a:gridCol>
                <a:gridCol w="984888">
                  <a:extLst>
                    <a:ext uri="{9D8B030D-6E8A-4147-A177-3AD203B41FA5}">
                      <a16:colId xmlns:a16="http://schemas.microsoft.com/office/drawing/2014/main" val="2325392726"/>
                    </a:ext>
                  </a:extLst>
                </a:gridCol>
              </a:tblGrid>
              <a:tr h="539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u="none" dirty="0">
                        <a:solidFill>
                          <a:srgbClr val="403393"/>
                        </a:solidFill>
                        <a:latin typeface="Karla" panose="020B0004030503030003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Font typeface="Trebuchet MS" panose="020B0603020202020204" pitchFamily="34" charset="0"/>
                        <a:buNone/>
                        <a:tabLst/>
                      </a:pPr>
                      <a:endParaRPr lang="en-US" sz="1600" b="1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72000" marT="73152" marB="73152" anchor="b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2878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Construction/Skilled Trades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75696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Manufacturing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endParaRPr lang="en-US" sz="1200" b="0" i="0" u="none">
                        <a:solidFill>
                          <a:srgbClr val="403393"/>
                        </a:solidFill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6971495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Automotive Services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079873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Transportation, Warehousing, Logistics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605970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Healthcare and Social Assistance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19719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Information technology/data science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2687583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Professional and Technical Services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4318375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Office and Administrative Support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665862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Finance and Insurance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85131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ducation, Training, and Library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435042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Arts, Entertainment, Recreation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120504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Hospitality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7970755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Retail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135285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Food Services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344119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Horticulture/landscaping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771778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Regulatory Affairs</a:t>
                      </a: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645221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Other Life Science Occupations </a:t>
                      </a:r>
                      <a:r>
                        <a:rPr lang="en-US" sz="1000" b="0" i="0" u="none" strike="noStrike">
                          <a:solidFill>
                            <a:srgbClr val="403393"/>
                          </a:solidFill>
                          <a:effectLst/>
                          <a:latin typeface="+mn-lt"/>
                        </a:rPr>
                        <a:t>(other life sciences roles not included in the above)</a:t>
                      </a:r>
                      <a:endParaRPr lang="en-US" sz="1200" b="0" i="0" u="none" strike="noStrike">
                        <a:solidFill>
                          <a:srgbClr val="403393"/>
                        </a:solidFill>
                        <a:effectLst/>
                        <a:latin typeface="Karla" panose="020B0004030503030003"/>
                      </a:endParaRPr>
                    </a:p>
                  </a:txBody>
                  <a:tcPr marL="4572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i="0" u="none">
                        <a:latin typeface="Karla" panose="020B0004030503030003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>
                          <a:solidFill>
                            <a:srgbClr val="403393"/>
                          </a:solidFill>
                          <a:latin typeface="Karla" panose="020B0004030503030003" pitchFamily="34" charset="0"/>
                        </a:rPr>
                        <a:t>✔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5340364"/>
                  </a:ext>
                </a:extLst>
              </a:tr>
            </a:tbl>
          </a:graphicData>
        </a:graphic>
      </p:graphicFrame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5C4FC7B-D5B5-46B9-BEB8-18ED221E7BC8}"/>
              </a:ext>
            </a:extLst>
          </p:cNvPr>
          <p:cNvCxnSpPr>
            <a:stCxn id="36" idx="1"/>
          </p:cNvCxnSpPr>
          <p:nvPr/>
        </p:nvCxnSpPr>
        <p:spPr>
          <a:xfrm>
            <a:off x="630000" y="1553645"/>
            <a:ext cx="10906503" cy="0"/>
          </a:xfrm>
          <a:prstGeom prst="line">
            <a:avLst/>
          </a:prstGeom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ounded Rectangle 11">
            <a:extLst>
              <a:ext uri="{FF2B5EF4-FFF2-40B4-BE49-F238E27FC236}">
                <a16:creationId xmlns:a16="http://schemas.microsoft.com/office/drawing/2014/main" id="{D58F4C39-A8F2-4241-8387-60F9DDF981CD}"/>
              </a:ext>
            </a:extLst>
          </p:cNvPr>
          <p:cNvSpPr/>
          <p:nvPr/>
        </p:nvSpPr>
        <p:spPr>
          <a:xfrm>
            <a:off x="3449215" y="1384238"/>
            <a:ext cx="871562" cy="338814"/>
          </a:xfrm>
          <a:prstGeom prst="roundRect">
            <a:avLst>
              <a:gd name="adj" fmla="val 6701486"/>
            </a:avLst>
          </a:prstGeom>
          <a:solidFill>
            <a:srgbClr val="002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WCTF</a:t>
            </a:r>
          </a:p>
        </p:txBody>
      </p:sp>
      <p:sp>
        <p:nvSpPr>
          <p:cNvPr id="29" name="Rounded Rectangle 10">
            <a:extLst>
              <a:ext uri="{FF2B5EF4-FFF2-40B4-BE49-F238E27FC236}">
                <a16:creationId xmlns:a16="http://schemas.microsoft.com/office/drawing/2014/main" id="{697C0A20-48DB-42BD-839C-22F0FB839C92}"/>
              </a:ext>
            </a:extLst>
          </p:cNvPr>
          <p:cNvSpPr/>
          <p:nvPr/>
        </p:nvSpPr>
        <p:spPr>
          <a:xfrm>
            <a:off x="4472820" y="1384238"/>
            <a:ext cx="871562" cy="338814"/>
          </a:xfrm>
          <a:prstGeom prst="roundRect">
            <a:avLst>
              <a:gd name="adj" fmla="val 6701486"/>
            </a:avLst>
          </a:prstGeom>
          <a:solidFill>
            <a:srgbClr val="002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RENEW</a:t>
            </a:r>
          </a:p>
        </p:txBody>
      </p:sp>
      <p:sp>
        <p:nvSpPr>
          <p:cNvPr id="30" name="Rounded Rectangle 12">
            <a:extLst>
              <a:ext uri="{FF2B5EF4-FFF2-40B4-BE49-F238E27FC236}">
                <a16:creationId xmlns:a16="http://schemas.microsoft.com/office/drawing/2014/main" id="{B36EE338-49BC-4898-9D76-D888AB100C13}"/>
              </a:ext>
            </a:extLst>
          </p:cNvPr>
          <p:cNvSpPr/>
          <p:nvPr/>
        </p:nvSpPr>
        <p:spPr>
          <a:xfrm>
            <a:off x="5496425" y="1384238"/>
            <a:ext cx="871562" cy="338814"/>
          </a:xfrm>
          <a:prstGeom prst="roundRect">
            <a:avLst>
              <a:gd name="adj" fmla="val 6701486"/>
            </a:avLst>
          </a:prstGeom>
          <a:solidFill>
            <a:srgbClr val="002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CTI</a:t>
            </a:r>
          </a:p>
        </p:txBody>
      </p:sp>
      <p:sp>
        <p:nvSpPr>
          <p:cNvPr id="31" name="Rounded Rectangle 13">
            <a:extLst>
              <a:ext uri="{FF2B5EF4-FFF2-40B4-BE49-F238E27FC236}">
                <a16:creationId xmlns:a16="http://schemas.microsoft.com/office/drawing/2014/main" id="{05C4CBFE-6B25-40D4-AC34-2E11BF331611}"/>
              </a:ext>
            </a:extLst>
          </p:cNvPr>
          <p:cNvSpPr/>
          <p:nvPr/>
        </p:nvSpPr>
        <p:spPr>
          <a:xfrm>
            <a:off x="6520030" y="1384238"/>
            <a:ext cx="871562" cy="338814"/>
          </a:xfrm>
          <a:prstGeom prst="roundRect">
            <a:avLst>
              <a:gd name="adj" fmla="val 6701486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YAWD</a:t>
            </a:r>
          </a:p>
        </p:txBody>
      </p:sp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586768B0-443F-46DB-A7DB-5E1994586F16}"/>
              </a:ext>
            </a:extLst>
          </p:cNvPr>
          <p:cNvSpPr/>
          <p:nvPr/>
        </p:nvSpPr>
        <p:spPr>
          <a:xfrm>
            <a:off x="7543636" y="1384238"/>
            <a:ext cx="871562" cy="338814"/>
          </a:xfrm>
          <a:prstGeom prst="roundRect">
            <a:avLst>
              <a:gd name="adj" fmla="val 6701486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Reentry</a:t>
            </a:r>
          </a:p>
        </p:txBody>
      </p:sp>
      <p:sp>
        <p:nvSpPr>
          <p:cNvPr id="33" name="Rounded Rectangle 15">
            <a:extLst>
              <a:ext uri="{FF2B5EF4-FFF2-40B4-BE49-F238E27FC236}">
                <a16:creationId xmlns:a16="http://schemas.microsoft.com/office/drawing/2014/main" id="{0C11A287-5FE0-4572-A088-3814A8986442}"/>
              </a:ext>
            </a:extLst>
          </p:cNvPr>
          <p:cNvSpPr/>
          <p:nvPr/>
        </p:nvSpPr>
        <p:spPr>
          <a:xfrm>
            <a:off x="8567240" y="1384238"/>
            <a:ext cx="871562" cy="338814"/>
          </a:xfrm>
          <a:prstGeom prst="roundRect">
            <a:avLst>
              <a:gd name="adj" fmla="val 6701486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TRAIN</a:t>
            </a:r>
          </a:p>
        </p:txBody>
      </p:sp>
      <p:sp>
        <p:nvSpPr>
          <p:cNvPr id="34" name="Rounded Rectangle 16">
            <a:extLst>
              <a:ext uri="{FF2B5EF4-FFF2-40B4-BE49-F238E27FC236}">
                <a16:creationId xmlns:a16="http://schemas.microsoft.com/office/drawing/2014/main" id="{5AE2BBA4-E901-4DE4-9222-FBB722523AB4}"/>
              </a:ext>
            </a:extLst>
          </p:cNvPr>
          <p:cNvSpPr/>
          <p:nvPr/>
        </p:nvSpPr>
        <p:spPr>
          <a:xfrm>
            <a:off x="9545897" y="1384238"/>
            <a:ext cx="1000176" cy="338814"/>
          </a:xfrm>
          <a:prstGeom prst="roundRect">
            <a:avLst>
              <a:gd name="adj" fmla="val 6701486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MassSTEP</a:t>
            </a:r>
          </a:p>
        </p:txBody>
      </p:sp>
      <p:sp>
        <p:nvSpPr>
          <p:cNvPr id="35" name="Rounded Rectangle 18">
            <a:extLst>
              <a:ext uri="{FF2B5EF4-FFF2-40B4-BE49-F238E27FC236}">
                <a16:creationId xmlns:a16="http://schemas.microsoft.com/office/drawing/2014/main" id="{D18ED356-8C2B-46BE-A988-24FB2844667C}"/>
              </a:ext>
            </a:extLst>
          </p:cNvPr>
          <p:cNvSpPr/>
          <p:nvPr/>
        </p:nvSpPr>
        <p:spPr>
          <a:xfrm>
            <a:off x="10633809" y="1384238"/>
            <a:ext cx="871562" cy="338814"/>
          </a:xfrm>
          <a:prstGeom prst="roundRect">
            <a:avLst>
              <a:gd name="adj" fmla="val 6701486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buClr>
                <a:srgbClr val="00269E"/>
              </a:buClr>
            </a:pPr>
            <a:r>
              <a:rPr lang="en-US" sz="1400" b="1">
                <a:solidFill>
                  <a:srgbClr val="FFFFFF"/>
                </a:solidFill>
                <a:latin typeface="Karla" panose="020B0004030503030003" pitchFamily="34" charset="0"/>
              </a:rPr>
              <a:t>WDCP</a:t>
            </a:r>
          </a:p>
        </p:txBody>
      </p:sp>
      <p:sp>
        <p:nvSpPr>
          <p:cNvPr id="36" name="Rounded Rectangle 20">
            <a:extLst>
              <a:ext uri="{FF2B5EF4-FFF2-40B4-BE49-F238E27FC236}">
                <a16:creationId xmlns:a16="http://schemas.microsoft.com/office/drawing/2014/main" id="{4153AF26-CFF5-48E6-8809-81EE9CC1B08B}"/>
              </a:ext>
            </a:extLst>
          </p:cNvPr>
          <p:cNvSpPr/>
          <p:nvPr/>
        </p:nvSpPr>
        <p:spPr>
          <a:xfrm>
            <a:off x="630000" y="1384238"/>
            <a:ext cx="2535231" cy="338814"/>
          </a:xfrm>
          <a:prstGeom prst="roundRect">
            <a:avLst>
              <a:gd name="adj" fmla="val 6701486"/>
            </a:avLst>
          </a:prstGeom>
          <a:gradFill flip="none" rotWithShape="1">
            <a:gsLst>
              <a:gs pos="0">
                <a:schemeClr val="tx1">
                  <a:shade val="30000"/>
                  <a:satMod val="115000"/>
                </a:schemeClr>
              </a:gs>
              <a:gs pos="50000">
                <a:schemeClr val="tx1">
                  <a:shade val="67500"/>
                  <a:satMod val="115000"/>
                </a:schemeClr>
              </a:gs>
              <a:gs pos="100000">
                <a:schemeClr val="tx1"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5000"/>
              </a:lnSpc>
            </a:pPr>
            <a:r>
              <a:rPr lang="en-US" sz="1400" b="1">
                <a:solidFill>
                  <a:srgbClr val="FFFFFF"/>
                </a:solidFill>
              </a:rPr>
              <a:t>Occupation category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BBFB482D-EDA7-424D-914F-2A4B53FED843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" name="Oval 20">
            <a:extLst>
              <a:ext uri="{FF2B5EF4-FFF2-40B4-BE49-F238E27FC236}">
                <a16:creationId xmlns:a16="http://schemas.microsoft.com/office/drawing/2014/main" id="{FACAA0D3-ED92-4624-8B74-40ACDF3C3A8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1411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ECAF1379-9B6C-45BF-9997-0F57C78D6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001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ECAF1379-9B6C-45BF-9997-0F57C78D6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F842E481-2984-4FF1-9E88-A2051116C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68304"/>
            <a:ext cx="10117513" cy="553998"/>
          </a:xfrm>
        </p:spPr>
        <p:txBody>
          <a:bodyPr vert="horz"/>
          <a:lstStyle/>
          <a:p>
            <a:r>
              <a:rPr lang="en-US" sz="2000" u="sng"/>
              <a:t>ARPA Context</a:t>
            </a:r>
            <a:r>
              <a:rPr lang="en-US" sz="2000"/>
              <a:t>: ~$240M currently allocated to WSC workforce upskilling efforts inclusive of FY22 Commonwealth budget and ARP allocations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5321923-1647-4AC2-8518-314EAD28A22E}"/>
              </a:ext>
            </a:extLst>
          </p:cNvPr>
          <p:cNvSpPr txBox="1"/>
          <p:nvPr/>
        </p:nvSpPr>
        <p:spPr>
          <a:xfrm>
            <a:off x="4552896" y="2268281"/>
            <a:ext cx="3018123" cy="5847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rgbClr val="00269E"/>
                </a:solidFill>
              </a:rPr>
              <a:t>$54M in FY22 Commonwealth budget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49068D-9AA4-44D5-AA12-7B0193B12959}"/>
              </a:ext>
            </a:extLst>
          </p:cNvPr>
          <p:cNvSpPr txBox="1"/>
          <p:nvPr/>
        </p:nvSpPr>
        <p:spPr>
          <a:xfrm>
            <a:off x="4548249" y="3459994"/>
            <a:ext cx="3018123" cy="5847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rgbClr val="00269E"/>
                </a:solidFill>
              </a:rPr>
              <a:t>$50M in ARP advanced authorization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4DC9CB-2EBA-4318-A78C-B7EAB856B61A}"/>
              </a:ext>
            </a:extLst>
          </p:cNvPr>
          <p:cNvSpPr txBox="1"/>
          <p:nvPr/>
        </p:nvSpPr>
        <p:spPr>
          <a:xfrm>
            <a:off x="4548249" y="4651707"/>
            <a:ext cx="3018123" cy="5847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rgbClr val="00269E"/>
                </a:solidFill>
              </a:rPr>
              <a:t>$137.5M in ARP legislature line item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7C97874-8F83-4772-BE5A-1B4D23BD7DCA}"/>
              </a:ext>
            </a:extLst>
          </p:cNvPr>
          <p:cNvCxnSpPr>
            <a:cxnSpLocks/>
          </p:cNvCxnSpPr>
          <p:nvPr/>
        </p:nvCxnSpPr>
        <p:spPr>
          <a:xfrm>
            <a:off x="7850919" y="1507066"/>
            <a:ext cx="0" cy="4654022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95D60EC-F8E7-41A3-8FBC-2532813D5F03}"/>
              </a:ext>
            </a:extLst>
          </p:cNvPr>
          <p:cNvSpPr txBox="1"/>
          <p:nvPr/>
        </p:nvSpPr>
        <p:spPr>
          <a:xfrm>
            <a:off x="8490345" y="1740623"/>
            <a:ext cx="2835874" cy="107721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rgbClr val="00269E"/>
                </a:solidFill>
              </a:rPr>
              <a:t>WSC </a:t>
            </a:r>
            <a:r>
              <a:rPr lang="en-US" sz="1600" b="1">
                <a:solidFill>
                  <a:srgbClr val="00B0F0"/>
                </a:solidFill>
              </a:rPr>
              <a:t>implementing original framework for upskilling </a:t>
            </a:r>
            <a:r>
              <a:rPr lang="en-US" sz="1600" b="1">
                <a:solidFill>
                  <a:srgbClr val="00269E"/>
                </a:solidFill>
              </a:rPr>
              <a:t>rolling out capacity and program investmen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4CCF3DC-1649-486B-A226-4E0643176B0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8676" y="3103620"/>
            <a:ext cx="2907897" cy="1635692"/>
          </a:xfrm>
          <a:prstGeom prst="rect">
            <a:avLst/>
          </a:prstGeom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3B84707-2455-4451-89BD-33634405144B}"/>
              </a:ext>
            </a:extLst>
          </p:cNvPr>
          <p:cNvSpPr txBox="1"/>
          <p:nvPr/>
        </p:nvSpPr>
        <p:spPr>
          <a:xfrm>
            <a:off x="4548249" y="2853056"/>
            <a:ext cx="3018123" cy="5232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i="1">
                <a:solidFill>
                  <a:srgbClr val="000000"/>
                </a:solidFill>
              </a:rPr>
              <a:t>Yearly Commonwealth budget for July 21 – June 22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6E73306-E531-4E2A-8BC9-A2554600CCE7}"/>
              </a:ext>
            </a:extLst>
          </p:cNvPr>
          <p:cNvSpPr txBox="1"/>
          <p:nvPr/>
        </p:nvSpPr>
        <p:spPr>
          <a:xfrm>
            <a:off x="4548249" y="4044769"/>
            <a:ext cx="3018123" cy="52322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i="1">
                <a:solidFill>
                  <a:srgbClr val="000000"/>
                </a:solidFill>
              </a:rPr>
              <a:t>Governor advanced allocation from ARP for workforc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23E6126-41F7-4124-82F4-CCDEB08C18B5}"/>
              </a:ext>
            </a:extLst>
          </p:cNvPr>
          <p:cNvSpPr txBox="1"/>
          <p:nvPr/>
        </p:nvSpPr>
        <p:spPr>
          <a:xfrm>
            <a:off x="4548249" y="5236482"/>
            <a:ext cx="3018123" cy="73866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i="1">
                <a:solidFill>
                  <a:srgbClr val="000000"/>
                </a:solidFill>
              </a:rPr>
              <a:t>Line-items and earmarks flowing through WSC for upskilling from Dec 2021 legislature ARP bill</a:t>
            </a: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E0032835-0771-4383-B741-6471F88CBC6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12041" y="4739312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34" name="Oval 20">
            <a:extLst>
              <a:ext uri="{FF2B5EF4-FFF2-40B4-BE49-F238E27FC236}">
                <a16:creationId xmlns:a16="http://schemas.microsoft.com/office/drawing/2014/main" id="{56319B31-CB95-4F88-85FE-4B31484B74A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12041" y="3654482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35" name="Oval 20">
            <a:extLst>
              <a:ext uri="{FF2B5EF4-FFF2-40B4-BE49-F238E27FC236}">
                <a16:creationId xmlns:a16="http://schemas.microsoft.com/office/drawing/2014/main" id="{1894787D-9035-4CF0-9930-7393D861BEB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12041" y="2416197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9A21B0D-7F54-46DA-91D0-56AC7F5F2E97}"/>
              </a:ext>
            </a:extLst>
          </p:cNvPr>
          <p:cNvSpPr txBox="1"/>
          <p:nvPr/>
        </p:nvSpPr>
        <p:spPr>
          <a:xfrm>
            <a:off x="4100138" y="1466050"/>
            <a:ext cx="3596269" cy="8309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rgbClr val="00B0F0"/>
                </a:solidFill>
              </a:rPr>
              <a:t>Actual Appropriations: </a:t>
            </a:r>
            <a:r>
              <a:rPr lang="en-US" sz="1600" b="1">
                <a:solidFill>
                  <a:srgbClr val="00269E"/>
                </a:solidFill>
              </a:rPr>
              <a:t>Three funding allocations made through FY22 totaling $242M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AE906E6-5290-475E-809C-CC061BAF54A3}"/>
              </a:ext>
            </a:extLst>
          </p:cNvPr>
          <p:cNvCxnSpPr>
            <a:cxnSpLocks/>
          </p:cNvCxnSpPr>
          <p:nvPr/>
        </p:nvCxnSpPr>
        <p:spPr>
          <a:xfrm>
            <a:off x="3718486" y="1507066"/>
            <a:ext cx="0" cy="4654022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8AEC0F0B-F158-4055-AE14-24EBF24BD5AB}"/>
              </a:ext>
            </a:extLst>
          </p:cNvPr>
          <p:cNvSpPr txBox="1"/>
          <p:nvPr/>
        </p:nvSpPr>
        <p:spPr>
          <a:xfrm>
            <a:off x="395254" y="1462006"/>
            <a:ext cx="2801867" cy="5847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>
                <a:solidFill>
                  <a:srgbClr val="00B0F0"/>
                </a:solidFill>
              </a:rPr>
              <a:t>Original WSC proposal </a:t>
            </a:r>
            <a:r>
              <a:rPr lang="en-US" sz="1600" b="1">
                <a:solidFill>
                  <a:srgbClr val="00269E"/>
                </a:solidFill>
              </a:rPr>
              <a:t>totaled $240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CB263B0-8EF4-453C-BCD6-BF13369B25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480" y="2302741"/>
            <a:ext cx="3096936" cy="1742027"/>
          </a:xfrm>
          <a:prstGeom prst="rect">
            <a:avLst/>
          </a:prstGeom>
          <a:ln w="9525" cap="flat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2DE1BB31-921D-4B51-9674-BA38BA0127A8}"/>
              </a:ext>
            </a:extLst>
          </p:cNvPr>
          <p:cNvSpPr txBox="1"/>
          <p:nvPr/>
        </p:nvSpPr>
        <p:spPr>
          <a:xfrm>
            <a:off x="426122" y="4143875"/>
            <a:ext cx="3095587" cy="160043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rgbClr val="000000"/>
                </a:solidFill>
              </a:rPr>
              <a:t>Focused legislative proposal on </a:t>
            </a:r>
            <a:r>
              <a:rPr lang="en-US" sz="1400" b="1">
                <a:solidFill>
                  <a:srgbClr val="00B0F0"/>
                </a:solidFill>
              </a:rPr>
              <a:t>upskilling for unemployed </a:t>
            </a:r>
            <a:r>
              <a:rPr lang="en-US" sz="1400">
                <a:solidFill>
                  <a:srgbClr val="000000"/>
                </a:solidFill>
              </a:rPr>
              <a:t>impacted by COVI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Entry level technical ro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Mid-wage, credenti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ESOL/ABE, and work read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Capacity building for system</a:t>
            </a:r>
          </a:p>
        </p:txBody>
      </p:sp>
      <p:sp>
        <p:nvSpPr>
          <p:cNvPr id="9" name="ee4pFootnotes">
            <a:extLst>
              <a:ext uri="{FF2B5EF4-FFF2-40B4-BE49-F238E27FC236}">
                <a16:creationId xmlns:a16="http://schemas.microsoft.com/office/drawing/2014/main" id="{59E1A25B-D2DF-4A2B-BCB2-7CD210CFB2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3" y="6289030"/>
            <a:ext cx="10798502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sym typeface="+mn-lt"/>
              </a:rPr>
              <a:t>Note: Funding amounts not inclusive of proposed line items in Commonwealth FY23 budget</a:t>
            </a: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677DF0F2-7D8C-4214-94D7-6C538EE3224F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7" name="Oval 20">
            <a:extLst>
              <a:ext uri="{FF2B5EF4-FFF2-40B4-BE49-F238E27FC236}">
                <a16:creationId xmlns:a16="http://schemas.microsoft.com/office/drawing/2014/main" id="{4A9758B6-570D-46C1-916E-0AF07FA7D59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66CEF8F-6D05-49D7-9845-48113A5D21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ARPA workforce strategy, and how Market Makers support it</a:t>
            </a:r>
          </a:p>
        </p:txBody>
      </p:sp>
    </p:spTree>
    <p:extLst>
      <p:ext uri="{BB962C8B-B14F-4D97-AF65-F5344CB8AC3E}">
        <p14:creationId xmlns:p14="http://schemas.microsoft.com/office/powerpoint/2010/main" val="317092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E6A44F7E-E71B-4207-97BC-9CC466A88F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E6A44F7E-E71B-4207-97BC-9CC466A88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258A4A-E635-4B86-A1DD-DF6203B16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u="sng"/>
              <a:t>Backup</a:t>
            </a:r>
            <a:r>
              <a:rPr lang="en-US"/>
              <a:t>: Example occupations by occupation categor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55FFA6-A5ED-4FCC-BE84-83233C02D1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RPA pipeline training gran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D2EC522-A532-4B77-9AF4-DAA03FA2FD71}"/>
              </a:ext>
            </a:extLst>
          </p:cNvPr>
          <p:cNvGraphicFramePr>
            <a:graphicFrameLocks noGrp="1"/>
          </p:cNvGraphicFramePr>
          <p:nvPr/>
        </p:nvGraphicFramePr>
        <p:xfrm>
          <a:off x="630000" y="1546279"/>
          <a:ext cx="2743200" cy="4644908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566607083"/>
                    </a:ext>
                  </a:extLst>
                </a:gridCol>
              </a:tblGrid>
              <a:tr h="4861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>
                          <a:solidFill>
                            <a:srgbClr val="403393"/>
                          </a:solidFill>
                          <a:latin typeface="Karla" panose="020B0004030503030003"/>
                        </a:rPr>
                        <a:t>Occupation category</a:t>
                      </a:r>
                    </a:p>
                  </a:txBody>
                  <a:tcPr marL="0" marR="72000" marT="73152" marB="73152" anchor="b"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6528784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Construction/Skilled Trad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756961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Manufactur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66971495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Automotive Servic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0798730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Transportation, Warehousing, Logistic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6059701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Healthcare and Social Assistan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5197191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Information technology/data scien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26875839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Professional and Technical Servic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4318375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Office and Administrative Suppor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36658624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Finance and Insurance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851318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ducation, Training, and Librar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54350420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Arts, Entertainment, Recre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1205041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Hospitality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47970755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Retai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1352853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Food Servic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99344119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Horticulture/landscaping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57717784"/>
                  </a:ext>
                </a:extLst>
              </a:tr>
              <a:tr h="2389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Regulatory Affai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66452211"/>
                  </a:ext>
                </a:extLst>
              </a:tr>
              <a:tr h="30214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 dirty="0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Other Life Science Occupations </a:t>
                      </a:r>
                      <a:r>
                        <a:rPr lang="en-US" sz="1000" b="0" i="0" u="none" strike="noStrike" dirty="0">
                          <a:solidFill>
                            <a:srgbClr val="403393"/>
                          </a:solidFill>
                          <a:effectLst/>
                          <a:latin typeface="+mn-lt"/>
                        </a:rPr>
                        <a:t>(other life sciences roles not included in the above)</a:t>
                      </a:r>
                      <a:endParaRPr lang="en-US" sz="1200" b="0" i="0" u="none" strike="noStrike" dirty="0">
                        <a:solidFill>
                          <a:srgbClr val="403393"/>
                        </a:solidFill>
                        <a:effectLst/>
                        <a:latin typeface="Karla" panose="020B0004030503030003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35340364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17F988F-9C73-4A61-A941-E539A3D772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8785024"/>
              </p:ext>
            </p:extLst>
          </p:nvPr>
        </p:nvGraphicFramePr>
        <p:xfrm>
          <a:off x="3569677" y="1546279"/>
          <a:ext cx="7993673" cy="461177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7993673">
                  <a:extLst>
                    <a:ext uri="{9D8B030D-6E8A-4147-A177-3AD203B41FA5}">
                      <a16:colId xmlns:a16="http://schemas.microsoft.com/office/drawing/2014/main" val="3187907426"/>
                    </a:ext>
                  </a:extLst>
                </a:gridCol>
              </a:tblGrid>
              <a:tr h="492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>
                          <a:solidFill>
                            <a:srgbClr val="403393"/>
                          </a:solidFill>
                          <a:latin typeface="Karla" panose="020B0004030503030003"/>
                        </a:rPr>
                        <a:t>Example occupations</a:t>
                      </a:r>
                    </a:p>
                  </a:txBody>
                  <a:tcPr marL="0" marR="72000" marT="73152" marB="73152" anchor="b">
                    <a:lnB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6835963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HVAC Mechanic, Electrician, Plumber, Carpent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72000352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Machine Operator, CNC Machine Operator,  other manufacturing/biomanufacturing roles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3633198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Vehicle/Truck/Farm Equipment Mechanic, Repairer, Installer, </a:t>
                      </a:r>
                      <a:r>
                        <a:rPr lang="en-US" sz="1200" b="0" i="0" u="none" strike="noStrike" noProof="0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Automotive Technician, Diesel Tech, </a:t>
                      </a: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450456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CDL, Heavy &amp; Tractor Trailer Truck Drivers, warehousing/logistics positions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63256972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CAN, LPN, RN, Pharmaceutical technician, Direct care work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2757105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IT Support Specialist, Software Developer/Programmer, Cybersecurity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59144182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Designer, Scientific Research &amp; Development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55919994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Bookkeeping, Accounting, Administrative Support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88038578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Customer Service Rep, Clerk, Teller, Loan Offic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6427224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Educators (all levels), Teacher Assistant, Family Day Care, College Faculty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6157565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Recreation attendant, Talent agent, Fitness instructor, Tour guide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6264725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Hotel clerk, Concierge, Event Planner, Housekeep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6768428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Cashier, Sales Associate, Advertising/Marketing Manag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40996543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Chef, Cooks, Food service manag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52051749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Horticulturist, Landscaper, Groundskeeping, Equipment operators, et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94802954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Compliance specialist, Inspector, Regulatory affairs manager, etc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5763827"/>
                  </a:ext>
                </a:extLst>
              </a:tr>
              <a:tr h="2422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</a:pPr>
                      <a:r>
                        <a:rPr lang="en-US" sz="1200" b="0" i="0" u="none" strike="noStrike" kern="1200">
                          <a:solidFill>
                            <a:srgbClr val="403393"/>
                          </a:solidFill>
                          <a:effectLst/>
                          <a:latin typeface="Karla" panose="020B0004030503030003"/>
                        </a:rPr>
                        <a:t>e.g., Lab facilities management, Quality control, Quality assurance, etc.</a:t>
                      </a:r>
                      <a:endParaRPr lang="en-US" sz="1200" b="0" i="0" u="none" strike="noStrike" kern="1200">
                        <a:solidFill>
                          <a:srgbClr val="403393"/>
                        </a:solidFill>
                        <a:effectLst/>
                        <a:latin typeface="Karla" panose="020B0004030503030003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99999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35029268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34D8ABF-B285-4CA5-ABF7-64B10A1F46A3}"/>
              </a:ext>
            </a:extLst>
          </p:cNvPr>
          <p:cNvSpPr/>
          <p:nvPr/>
        </p:nvSpPr>
        <p:spPr>
          <a:xfrm>
            <a:off x="630000" y="1465823"/>
            <a:ext cx="2743200" cy="45719"/>
          </a:xfrm>
          <a:prstGeom prst="rect">
            <a:avLst/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846A53C-AFEC-4639-ADB0-56C04B5C4040}"/>
              </a:ext>
            </a:extLst>
          </p:cNvPr>
          <p:cNvGrpSpPr/>
          <p:nvPr/>
        </p:nvGrpSpPr>
        <p:grpSpPr>
          <a:xfrm>
            <a:off x="1810116" y="1297384"/>
            <a:ext cx="382967" cy="382598"/>
            <a:chOff x="4933057" y="2266057"/>
            <a:chExt cx="2325886" cy="2325886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28F2680-7BB0-468E-8FC0-D494387B2EC4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933057" y="2266057"/>
              <a:ext cx="2325886" cy="232588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gradFill flip="none" rotWithShape="1">
                <a:gsLst>
                  <a:gs pos="0">
                    <a:srgbClr val="1F1450"/>
                  </a:gs>
                  <a:gs pos="100000">
                    <a:srgbClr val="403393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/>
              <a:endParaRPr lang="en-US" kern="0">
                <a:solidFill>
                  <a:srgbClr val="403393"/>
                </a:solidFill>
              </a:endParaRP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6142F37-589D-4743-95E2-4E6E31EFB36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73675" y="2606675"/>
              <a:ext cx="1644650" cy="1644650"/>
              <a:chOff x="5273675" y="2606675"/>
              <a:chExt cx="1644650" cy="1644650"/>
            </a:xfrm>
          </p:grpSpPr>
          <p:sp>
            <p:nvSpPr>
              <p:cNvPr id="10" name="AutoShape 3">
                <a:extLst>
                  <a:ext uri="{FF2B5EF4-FFF2-40B4-BE49-F238E27FC236}">
                    <a16:creationId xmlns:a16="http://schemas.microsoft.com/office/drawing/2014/main" id="{82211688-F5A4-41FB-8038-609A9509226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15DFD858-31EF-420B-945F-064DA089A904}"/>
                  </a:ext>
                </a:extLst>
              </p:cNvPr>
              <p:cNvGrpSpPr/>
              <p:nvPr/>
            </p:nvGrpSpPr>
            <p:grpSpPr>
              <a:xfrm>
                <a:off x="5646738" y="2776538"/>
                <a:ext cx="898525" cy="1304925"/>
                <a:chOff x="5646738" y="2776538"/>
                <a:chExt cx="898525" cy="1304925"/>
              </a:xfrm>
            </p:grpSpPr>
            <p:sp>
              <p:nvSpPr>
                <p:cNvPr id="12" name="Freeform 24">
                  <a:extLst>
                    <a:ext uri="{FF2B5EF4-FFF2-40B4-BE49-F238E27FC236}">
                      <a16:creationId xmlns:a16="http://schemas.microsoft.com/office/drawing/2014/main" id="{738B5170-840E-4B70-8AB3-40185E0AFD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6738" y="2890838"/>
                  <a:ext cx="898525" cy="1190625"/>
                </a:xfrm>
                <a:custGeom>
                  <a:avLst/>
                  <a:gdLst>
                    <a:gd name="T0" fmla="*/ 22 w 1258"/>
                    <a:gd name="T1" fmla="*/ 1670 h 1670"/>
                    <a:gd name="T2" fmla="*/ 1236 w 1258"/>
                    <a:gd name="T3" fmla="*/ 1670 h 1670"/>
                    <a:gd name="T4" fmla="*/ 1258 w 1258"/>
                    <a:gd name="T5" fmla="*/ 1648 h 1670"/>
                    <a:gd name="T6" fmla="*/ 1258 w 1258"/>
                    <a:gd name="T7" fmla="*/ 22 h 1670"/>
                    <a:gd name="T8" fmla="*/ 1236 w 1258"/>
                    <a:gd name="T9" fmla="*/ 0 h 1670"/>
                    <a:gd name="T10" fmla="*/ 876 w 1258"/>
                    <a:gd name="T11" fmla="*/ 0 h 1670"/>
                    <a:gd name="T12" fmla="*/ 876 w 1258"/>
                    <a:gd name="T13" fmla="*/ 44 h 1670"/>
                    <a:gd name="T14" fmla="*/ 1214 w 1258"/>
                    <a:gd name="T15" fmla="*/ 44 h 1670"/>
                    <a:gd name="T16" fmla="*/ 1214 w 1258"/>
                    <a:gd name="T17" fmla="*/ 1626 h 1670"/>
                    <a:gd name="T18" fmla="*/ 44 w 1258"/>
                    <a:gd name="T19" fmla="*/ 1626 h 1670"/>
                    <a:gd name="T20" fmla="*/ 44 w 1258"/>
                    <a:gd name="T21" fmla="*/ 44 h 1670"/>
                    <a:gd name="T22" fmla="*/ 382 w 1258"/>
                    <a:gd name="T23" fmla="*/ 44 h 1670"/>
                    <a:gd name="T24" fmla="*/ 382 w 1258"/>
                    <a:gd name="T25" fmla="*/ 0 h 1670"/>
                    <a:gd name="T26" fmla="*/ 22 w 1258"/>
                    <a:gd name="T27" fmla="*/ 0 h 1670"/>
                    <a:gd name="T28" fmla="*/ 0 w 1258"/>
                    <a:gd name="T29" fmla="*/ 22 h 1670"/>
                    <a:gd name="T30" fmla="*/ 0 w 1258"/>
                    <a:gd name="T31" fmla="*/ 1648 h 1670"/>
                    <a:gd name="T32" fmla="*/ 22 w 1258"/>
                    <a:gd name="T33" fmla="*/ 1670 h 16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258" h="1670">
                      <a:moveTo>
                        <a:pt x="22" y="1670"/>
                      </a:moveTo>
                      <a:cubicBezTo>
                        <a:pt x="1236" y="1670"/>
                        <a:pt x="1236" y="1670"/>
                        <a:pt x="1236" y="1670"/>
                      </a:cubicBezTo>
                      <a:cubicBezTo>
                        <a:pt x="1249" y="1670"/>
                        <a:pt x="1258" y="1661"/>
                        <a:pt x="1258" y="1648"/>
                      </a:cubicBezTo>
                      <a:cubicBezTo>
                        <a:pt x="1258" y="22"/>
                        <a:pt x="1258" y="22"/>
                        <a:pt x="1258" y="22"/>
                      </a:cubicBezTo>
                      <a:cubicBezTo>
                        <a:pt x="1258" y="10"/>
                        <a:pt x="1249" y="0"/>
                        <a:pt x="1236" y="0"/>
                      </a:cubicBezTo>
                      <a:cubicBezTo>
                        <a:pt x="876" y="0"/>
                        <a:pt x="876" y="0"/>
                        <a:pt x="876" y="0"/>
                      </a:cubicBezTo>
                      <a:cubicBezTo>
                        <a:pt x="876" y="44"/>
                        <a:pt x="876" y="44"/>
                        <a:pt x="876" y="44"/>
                      </a:cubicBezTo>
                      <a:cubicBezTo>
                        <a:pt x="1214" y="44"/>
                        <a:pt x="1214" y="44"/>
                        <a:pt x="1214" y="44"/>
                      </a:cubicBezTo>
                      <a:cubicBezTo>
                        <a:pt x="1214" y="1626"/>
                        <a:pt x="1214" y="1626"/>
                        <a:pt x="1214" y="1626"/>
                      </a:cubicBezTo>
                      <a:cubicBezTo>
                        <a:pt x="44" y="1626"/>
                        <a:pt x="44" y="1626"/>
                        <a:pt x="44" y="1626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382" y="44"/>
                        <a:pt x="382" y="44"/>
                        <a:pt x="382" y="44"/>
                      </a:cubicBezTo>
                      <a:cubicBezTo>
                        <a:pt x="382" y="0"/>
                        <a:pt x="382" y="0"/>
                        <a:pt x="382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9" y="0"/>
                        <a:pt x="0" y="10"/>
                        <a:pt x="0" y="22"/>
                      </a:cubicBezTo>
                      <a:cubicBezTo>
                        <a:pt x="0" y="1648"/>
                        <a:pt x="0" y="1648"/>
                        <a:pt x="0" y="1648"/>
                      </a:cubicBezTo>
                      <a:cubicBezTo>
                        <a:pt x="0" y="1661"/>
                        <a:pt x="9" y="1670"/>
                        <a:pt x="22" y="1670"/>
                      </a:cubicBezTo>
                      <a:close/>
                    </a:path>
                  </a:pathLst>
                </a:custGeom>
                <a:solidFill>
                  <a:srgbClr val="160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" name="Freeform 25">
                  <a:extLst>
                    <a:ext uri="{FF2B5EF4-FFF2-40B4-BE49-F238E27FC236}">
                      <a16:creationId xmlns:a16="http://schemas.microsoft.com/office/drawing/2014/main" id="{200790C7-8FE0-4475-8322-289936723D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95963" y="2776538"/>
                  <a:ext cx="600075" cy="1093787"/>
                </a:xfrm>
                <a:custGeom>
                  <a:avLst/>
                  <a:gdLst>
                    <a:gd name="connsiteX0" fmla="*/ 296727 w 600075"/>
                    <a:gd name="connsiteY0" fmla="*/ 1044575 h 1093787"/>
                    <a:gd name="connsiteX1" fmla="*/ 584335 w 600075"/>
                    <a:gd name="connsiteY1" fmla="*/ 1044575 h 1093787"/>
                    <a:gd name="connsiteX2" fmla="*/ 600075 w 600075"/>
                    <a:gd name="connsiteY2" fmla="*/ 1060450 h 1093787"/>
                    <a:gd name="connsiteX3" fmla="*/ 584335 w 600075"/>
                    <a:gd name="connsiteY3" fmla="*/ 1076325 h 1093787"/>
                    <a:gd name="connsiteX4" fmla="*/ 296727 w 600075"/>
                    <a:gd name="connsiteY4" fmla="*/ 1076325 h 1093787"/>
                    <a:gd name="connsiteX5" fmla="*/ 280987 w 600075"/>
                    <a:gd name="connsiteY5" fmla="*/ 1060450 h 1093787"/>
                    <a:gd name="connsiteX6" fmla="*/ 296727 w 600075"/>
                    <a:gd name="connsiteY6" fmla="*/ 1044575 h 1093787"/>
                    <a:gd name="connsiteX7" fmla="*/ 31750 w 600075"/>
                    <a:gd name="connsiteY7" fmla="*/ 971550 h 1093787"/>
                    <a:gd name="connsiteX8" fmla="*/ 31750 w 600075"/>
                    <a:gd name="connsiteY8" fmla="*/ 1062038 h 1093787"/>
                    <a:gd name="connsiteX9" fmla="*/ 122238 w 600075"/>
                    <a:gd name="connsiteY9" fmla="*/ 1062038 h 1093787"/>
                    <a:gd name="connsiteX10" fmla="*/ 122238 w 600075"/>
                    <a:gd name="connsiteY10" fmla="*/ 971550 h 1093787"/>
                    <a:gd name="connsiteX11" fmla="*/ 296727 w 600075"/>
                    <a:gd name="connsiteY11" fmla="*/ 958850 h 1093787"/>
                    <a:gd name="connsiteX12" fmla="*/ 584335 w 600075"/>
                    <a:gd name="connsiteY12" fmla="*/ 958850 h 1093787"/>
                    <a:gd name="connsiteX13" fmla="*/ 600075 w 600075"/>
                    <a:gd name="connsiteY13" fmla="*/ 974725 h 1093787"/>
                    <a:gd name="connsiteX14" fmla="*/ 584335 w 600075"/>
                    <a:gd name="connsiteY14" fmla="*/ 990600 h 1093787"/>
                    <a:gd name="connsiteX15" fmla="*/ 296727 w 600075"/>
                    <a:gd name="connsiteY15" fmla="*/ 990600 h 1093787"/>
                    <a:gd name="connsiteX16" fmla="*/ 280987 w 600075"/>
                    <a:gd name="connsiteY16" fmla="*/ 974725 h 1093787"/>
                    <a:gd name="connsiteX17" fmla="*/ 296727 w 600075"/>
                    <a:gd name="connsiteY17" fmla="*/ 958850 h 1093787"/>
                    <a:gd name="connsiteX18" fmla="*/ 15668 w 600075"/>
                    <a:gd name="connsiteY18" fmla="*/ 941387 h 1093787"/>
                    <a:gd name="connsiteX19" fmla="*/ 136733 w 600075"/>
                    <a:gd name="connsiteY19" fmla="*/ 941387 h 1093787"/>
                    <a:gd name="connsiteX20" fmla="*/ 152400 w 600075"/>
                    <a:gd name="connsiteY20" fmla="*/ 957054 h 1093787"/>
                    <a:gd name="connsiteX21" fmla="*/ 152400 w 600075"/>
                    <a:gd name="connsiteY21" fmla="*/ 1078120 h 1093787"/>
                    <a:gd name="connsiteX22" fmla="*/ 136733 w 600075"/>
                    <a:gd name="connsiteY22" fmla="*/ 1093787 h 1093787"/>
                    <a:gd name="connsiteX23" fmla="*/ 15668 w 600075"/>
                    <a:gd name="connsiteY23" fmla="*/ 1093787 h 1093787"/>
                    <a:gd name="connsiteX24" fmla="*/ 0 w 600075"/>
                    <a:gd name="connsiteY24" fmla="*/ 1078120 h 1093787"/>
                    <a:gd name="connsiteX25" fmla="*/ 0 w 600075"/>
                    <a:gd name="connsiteY25" fmla="*/ 957054 h 1093787"/>
                    <a:gd name="connsiteX26" fmla="*/ 15668 w 600075"/>
                    <a:gd name="connsiteY26" fmla="*/ 941387 h 1093787"/>
                    <a:gd name="connsiteX27" fmla="*/ 296727 w 600075"/>
                    <a:gd name="connsiteY27" fmla="*/ 766762 h 1093787"/>
                    <a:gd name="connsiteX28" fmla="*/ 584335 w 600075"/>
                    <a:gd name="connsiteY28" fmla="*/ 766762 h 1093787"/>
                    <a:gd name="connsiteX29" fmla="*/ 600075 w 600075"/>
                    <a:gd name="connsiteY29" fmla="*/ 782637 h 1093787"/>
                    <a:gd name="connsiteX30" fmla="*/ 584335 w 600075"/>
                    <a:gd name="connsiteY30" fmla="*/ 798512 h 1093787"/>
                    <a:gd name="connsiteX31" fmla="*/ 296727 w 600075"/>
                    <a:gd name="connsiteY31" fmla="*/ 798512 h 1093787"/>
                    <a:gd name="connsiteX32" fmla="*/ 280987 w 600075"/>
                    <a:gd name="connsiteY32" fmla="*/ 782637 h 1093787"/>
                    <a:gd name="connsiteX33" fmla="*/ 296727 w 600075"/>
                    <a:gd name="connsiteY33" fmla="*/ 766762 h 1093787"/>
                    <a:gd name="connsiteX34" fmla="*/ 31750 w 600075"/>
                    <a:gd name="connsiteY34" fmla="*/ 695325 h 1093787"/>
                    <a:gd name="connsiteX35" fmla="*/ 31750 w 600075"/>
                    <a:gd name="connsiteY35" fmla="*/ 785813 h 1093787"/>
                    <a:gd name="connsiteX36" fmla="*/ 122238 w 600075"/>
                    <a:gd name="connsiteY36" fmla="*/ 785813 h 1093787"/>
                    <a:gd name="connsiteX37" fmla="*/ 122238 w 600075"/>
                    <a:gd name="connsiteY37" fmla="*/ 695325 h 1093787"/>
                    <a:gd name="connsiteX38" fmla="*/ 296727 w 600075"/>
                    <a:gd name="connsiteY38" fmla="*/ 681037 h 1093787"/>
                    <a:gd name="connsiteX39" fmla="*/ 584335 w 600075"/>
                    <a:gd name="connsiteY39" fmla="*/ 681037 h 1093787"/>
                    <a:gd name="connsiteX40" fmla="*/ 600075 w 600075"/>
                    <a:gd name="connsiteY40" fmla="*/ 696912 h 1093787"/>
                    <a:gd name="connsiteX41" fmla="*/ 584335 w 600075"/>
                    <a:gd name="connsiteY41" fmla="*/ 712787 h 1093787"/>
                    <a:gd name="connsiteX42" fmla="*/ 296727 w 600075"/>
                    <a:gd name="connsiteY42" fmla="*/ 712787 h 1093787"/>
                    <a:gd name="connsiteX43" fmla="*/ 280987 w 600075"/>
                    <a:gd name="connsiteY43" fmla="*/ 696912 h 1093787"/>
                    <a:gd name="connsiteX44" fmla="*/ 296727 w 600075"/>
                    <a:gd name="connsiteY44" fmla="*/ 681037 h 1093787"/>
                    <a:gd name="connsiteX45" fmla="*/ 15668 w 600075"/>
                    <a:gd name="connsiteY45" fmla="*/ 663575 h 1093787"/>
                    <a:gd name="connsiteX46" fmla="*/ 136733 w 600075"/>
                    <a:gd name="connsiteY46" fmla="*/ 663575 h 1093787"/>
                    <a:gd name="connsiteX47" fmla="*/ 152400 w 600075"/>
                    <a:gd name="connsiteY47" fmla="*/ 679242 h 1093787"/>
                    <a:gd name="connsiteX48" fmla="*/ 152400 w 600075"/>
                    <a:gd name="connsiteY48" fmla="*/ 800308 h 1093787"/>
                    <a:gd name="connsiteX49" fmla="*/ 136733 w 600075"/>
                    <a:gd name="connsiteY49" fmla="*/ 815975 h 1093787"/>
                    <a:gd name="connsiteX50" fmla="*/ 15668 w 600075"/>
                    <a:gd name="connsiteY50" fmla="*/ 815975 h 1093787"/>
                    <a:gd name="connsiteX51" fmla="*/ 0 w 600075"/>
                    <a:gd name="connsiteY51" fmla="*/ 800308 h 1093787"/>
                    <a:gd name="connsiteX52" fmla="*/ 0 w 600075"/>
                    <a:gd name="connsiteY52" fmla="*/ 679242 h 1093787"/>
                    <a:gd name="connsiteX53" fmla="*/ 15668 w 600075"/>
                    <a:gd name="connsiteY53" fmla="*/ 663575 h 1093787"/>
                    <a:gd name="connsiteX54" fmla="*/ 296727 w 600075"/>
                    <a:gd name="connsiteY54" fmla="*/ 485775 h 1093787"/>
                    <a:gd name="connsiteX55" fmla="*/ 584335 w 600075"/>
                    <a:gd name="connsiteY55" fmla="*/ 485775 h 1093787"/>
                    <a:gd name="connsiteX56" fmla="*/ 600075 w 600075"/>
                    <a:gd name="connsiteY56" fmla="*/ 501650 h 1093787"/>
                    <a:gd name="connsiteX57" fmla="*/ 584335 w 600075"/>
                    <a:gd name="connsiteY57" fmla="*/ 517525 h 1093787"/>
                    <a:gd name="connsiteX58" fmla="*/ 296727 w 600075"/>
                    <a:gd name="connsiteY58" fmla="*/ 517525 h 1093787"/>
                    <a:gd name="connsiteX59" fmla="*/ 280987 w 600075"/>
                    <a:gd name="connsiteY59" fmla="*/ 501650 h 1093787"/>
                    <a:gd name="connsiteX60" fmla="*/ 296727 w 600075"/>
                    <a:gd name="connsiteY60" fmla="*/ 485775 h 1093787"/>
                    <a:gd name="connsiteX61" fmla="*/ 31750 w 600075"/>
                    <a:gd name="connsiteY61" fmla="*/ 412750 h 1093787"/>
                    <a:gd name="connsiteX62" fmla="*/ 31750 w 600075"/>
                    <a:gd name="connsiteY62" fmla="*/ 503238 h 1093787"/>
                    <a:gd name="connsiteX63" fmla="*/ 122238 w 600075"/>
                    <a:gd name="connsiteY63" fmla="*/ 503238 h 1093787"/>
                    <a:gd name="connsiteX64" fmla="*/ 122238 w 600075"/>
                    <a:gd name="connsiteY64" fmla="*/ 412750 h 1093787"/>
                    <a:gd name="connsiteX65" fmla="*/ 296727 w 600075"/>
                    <a:gd name="connsiteY65" fmla="*/ 400050 h 1093787"/>
                    <a:gd name="connsiteX66" fmla="*/ 584335 w 600075"/>
                    <a:gd name="connsiteY66" fmla="*/ 400050 h 1093787"/>
                    <a:gd name="connsiteX67" fmla="*/ 600075 w 600075"/>
                    <a:gd name="connsiteY67" fmla="*/ 415925 h 1093787"/>
                    <a:gd name="connsiteX68" fmla="*/ 584335 w 600075"/>
                    <a:gd name="connsiteY68" fmla="*/ 431800 h 1093787"/>
                    <a:gd name="connsiteX69" fmla="*/ 296727 w 600075"/>
                    <a:gd name="connsiteY69" fmla="*/ 431800 h 1093787"/>
                    <a:gd name="connsiteX70" fmla="*/ 280987 w 600075"/>
                    <a:gd name="connsiteY70" fmla="*/ 415925 h 1093787"/>
                    <a:gd name="connsiteX71" fmla="*/ 296727 w 600075"/>
                    <a:gd name="connsiteY71" fmla="*/ 400050 h 1093787"/>
                    <a:gd name="connsiteX72" fmla="*/ 15668 w 600075"/>
                    <a:gd name="connsiteY72" fmla="*/ 382587 h 1093787"/>
                    <a:gd name="connsiteX73" fmla="*/ 136733 w 600075"/>
                    <a:gd name="connsiteY73" fmla="*/ 382587 h 1093787"/>
                    <a:gd name="connsiteX74" fmla="*/ 152400 w 600075"/>
                    <a:gd name="connsiteY74" fmla="*/ 398182 h 1093787"/>
                    <a:gd name="connsiteX75" fmla="*/ 152400 w 600075"/>
                    <a:gd name="connsiteY75" fmla="*/ 519393 h 1093787"/>
                    <a:gd name="connsiteX76" fmla="*/ 136733 w 600075"/>
                    <a:gd name="connsiteY76" fmla="*/ 534987 h 1093787"/>
                    <a:gd name="connsiteX77" fmla="*/ 15668 w 600075"/>
                    <a:gd name="connsiteY77" fmla="*/ 534987 h 1093787"/>
                    <a:gd name="connsiteX78" fmla="*/ 0 w 600075"/>
                    <a:gd name="connsiteY78" fmla="*/ 519393 h 1093787"/>
                    <a:gd name="connsiteX79" fmla="*/ 0 w 600075"/>
                    <a:gd name="connsiteY79" fmla="*/ 398182 h 1093787"/>
                    <a:gd name="connsiteX80" fmla="*/ 15668 w 600075"/>
                    <a:gd name="connsiteY80" fmla="*/ 382587 h 1093787"/>
                    <a:gd name="connsiteX81" fmla="*/ 301266 w 600075"/>
                    <a:gd name="connsiteY81" fmla="*/ 31750 h 1093787"/>
                    <a:gd name="connsiteX82" fmla="*/ 279758 w 600075"/>
                    <a:gd name="connsiteY82" fmla="*/ 36027 h 1093787"/>
                    <a:gd name="connsiteX83" fmla="*/ 246062 w 600075"/>
                    <a:gd name="connsiteY83" fmla="*/ 66675 h 1093787"/>
                    <a:gd name="connsiteX84" fmla="*/ 357187 w 600075"/>
                    <a:gd name="connsiteY84" fmla="*/ 66675 h 1093787"/>
                    <a:gd name="connsiteX85" fmla="*/ 323491 w 600075"/>
                    <a:gd name="connsiteY85" fmla="*/ 36027 h 1093787"/>
                    <a:gd name="connsiteX86" fmla="*/ 301266 w 600075"/>
                    <a:gd name="connsiteY86" fmla="*/ 31750 h 1093787"/>
                    <a:gd name="connsiteX87" fmla="*/ 300832 w 600075"/>
                    <a:gd name="connsiteY87" fmla="*/ 0 h 1093787"/>
                    <a:gd name="connsiteX88" fmla="*/ 373818 w 600075"/>
                    <a:gd name="connsiteY88" fmla="*/ 35602 h 1093787"/>
                    <a:gd name="connsiteX89" fmla="*/ 390275 w 600075"/>
                    <a:gd name="connsiteY89" fmla="*/ 66220 h 1093787"/>
                    <a:gd name="connsiteX90" fmla="*/ 439648 w 600075"/>
                    <a:gd name="connsiteY90" fmla="*/ 66220 h 1093787"/>
                    <a:gd name="connsiteX91" fmla="*/ 446088 w 600075"/>
                    <a:gd name="connsiteY91" fmla="*/ 73340 h 1093787"/>
                    <a:gd name="connsiteX92" fmla="*/ 446088 w 600075"/>
                    <a:gd name="connsiteY92" fmla="*/ 113927 h 1093787"/>
                    <a:gd name="connsiteX93" fmla="*/ 446088 w 600075"/>
                    <a:gd name="connsiteY93" fmla="*/ 145256 h 1093787"/>
                    <a:gd name="connsiteX94" fmla="*/ 446088 w 600075"/>
                    <a:gd name="connsiteY94" fmla="*/ 178010 h 1093787"/>
                    <a:gd name="connsiteX95" fmla="*/ 431062 w 600075"/>
                    <a:gd name="connsiteY95" fmla="*/ 193675 h 1093787"/>
                    <a:gd name="connsiteX96" fmla="*/ 171317 w 600075"/>
                    <a:gd name="connsiteY96" fmla="*/ 193675 h 1093787"/>
                    <a:gd name="connsiteX97" fmla="*/ 155575 w 600075"/>
                    <a:gd name="connsiteY97" fmla="*/ 178010 h 1093787"/>
                    <a:gd name="connsiteX98" fmla="*/ 155575 w 600075"/>
                    <a:gd name="connsiteY98" fmla="*/ 145256 h 1093787"/>
                    <a:gd name="connsiteX99" fmla="*/ 155575 w 600075"/>
                    <a:gd name="connsiteY99" fmla="*/ 113927 h 1093787"/>
                    <a:gd name="connsiteX100" fmla="*/ 155575 w 600075"/>
                    <a:gd name="connsiteY100" fmla="*/ 73340 h 1093787"/>
                    <a:gd name="connsiteX101" fmla="*/ 162731 w 600075"/>
                    <a:gd name="connsiteY101" fmla="*/ 66220 h 1093787"/>
                    <a:gd name="connsiteX102" fmla="*/ 212104 w 600075"/>
                    <a:gd name="connsiteY102" fmla="*/ 66220 h 1093787"/>
                    <a:gd name="connsiteX103" fmla="*/ 227846 w 600075"/>
                    <a:gd name="connsiteY103" fmla="*/ 35602 h 1093787"/>
                    <a:gd name="connsiteX104" fmla="*/ 300832 w 600075"/>
                    <a:gd name="connsiteY104" fmla="*/ 0 h 1093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</a:cxnLst>
                  <a:rect l="l" t="t" r="r" b="b"/>
                  <a:pathLst>
                    <a:path w="600075" h="1093787">
                      <a:moveTo>
                        <a:pt x="296727" y="1044575"/>
                      </a:moveTo>
                      <a:cubicBezTo>
                        <a:pt x="296727" y="1044575"/>
                        <a:pt x="296727" y="1044575"/>
                        <a:pt x="584335" y="1044575"/>
                      </a:cubicBezTo>
                      <a:cubicBezTo>
                        <a:pt x="592921" y="1044575"/>
                        <a:pt x="600075" y="1051791"/>
                        <a:pt x="600075" y="1060450"/>
                      </a:cubicBezTo>
                      <a:cubicBezTo>
                        <a:pt x="600075" y="1069109"/>
                        <a:pt x="592921" y="1076325"/>
                        <a:pt x="584335" y="1076325"/>
                      </a:cubicBezTo>
                      <a:cubicBezTo>
                        <a:pt x="584335" y="1076325"/>
                        <a:pt x="584335" y="1076325"/>
                        <a:pt x="296727" y="1076325"/>
                      </a:cubicBezTo>
                      <a:cubicBezTo>
                        <a:pt x="288142" y="1076325"/>
                        <a:pt x="280987" y="1069109"/>
                        <a:pt x="280987" y="1060450"/>
                      </a:cubicBezTo>
                      <a:cubicBezTo>
                        <a:pt x="280987" y="1051791"/>
                        <a:pt x="288142" y="1044575"/>
                        <a:pt x="296727" y="1044575"/>
                      </a:cubicBezTo>
                      <a:close/>
                      <a:moveTo>
                        <a:pt x="31750" y="971550"/>
                      </a:moveTo>
                      <a:lnTo>
                        <a:pt x="31750" y="1062038"/>
                      </a:lnTo>
                      <a:lnTo>
                        <a:pt x="122238" y="1062038"/>
                      </a:lnTo>
                      <a:lnTo>
                        <a:pt x="122238" y="971550"/>
                      </a:lnTo>
                      <a:close/>
                      <a:moveTo>
                        <a:pt x="296727" y="958850"/>
                      </a:moveTo>
                      <a:cubicBezTo>
                        <a:pt x="296727" y="958850"/>
                        <a:pt x="296727" y="958850"/>
                        <a:pt x="584335" y="958850"/>
                      </a:cubicBezTo>
                      <a:cubicBezTo>
                        <a:pt x="592921" y="958850"/>
                        <a:pt x="600075" y="966066"/>
                        <a:pt x="600075" y="974725"/>
                      </a:cubicBezTo>
                      <a:cubicBezTo>
                        <a:pt x="600075" y="983384"/>
                        <a:pt x="592921" y="990600"/>
                        <a:pt x="584335" y="990600"/>
                      </a:cubicBezTo>
                      <a:cubicBezTo>
                        <a:pt x="584335" y="990600"/>
                        <a:pt x="584335" y="990600"/>
                        <a:pt x="296727" y="990600"/>
                      </a:cubicBezTo>
                      <a:cubicBezTo>
                        <a:pt x="288142" y="990600"/>
                        <a:pt x="280987" y="983384"/>
                        <a:pt x="280987" y="974725"/>
                      </a:cubicBezTo>
                      <a:cubicBezTo>
                        <a:pt x="280987" y="966066"/>
                        <a:pt x="288142" y="958850"/>
                        <a:pt x="296727" y="958850"/>
                      </a:cubicBezTo>
                      <a:close/>
                      <a:moveTo>
                        <a:pt x="15668" y="941387"/>
                      </a:moveTo>
                      <a:cubicBezTo>
                        <a:pt x="15668" y="941387"/>
                        <a:pt x="15668" y="941387"/>
                        <a:pt x="136733" y="941387"/>
                      </a:cubicBezTo>
                      <a:cubicBezTo>
                        <a:pt x="145991" y="941387"/>
                        <a:pt x="152400" y="948509"/>
                        <a:pt x="152400" y="957054"/>
                      </a:cubicBezTo>
                      <a:cubicBezTo>
                        <a:pt x="152400" y="957054"/>
                        <a:pt x="152400" y="957054"/>
                        <a:pt x="152400" y="1078120"/>
                      </a:cubicBezTo>
                      <a:cubicBezTo>
                        <a:pt x="152400" y="1086666"/>
                        <a:pt x="145991" y="1093787"/>
                        <a:pt x="136733" y="1093787"/>
                      </a:cubicBezTo>
                      <a:cubicBezTo>
                        <a:pt x="136733" y="1093787"/>
                        <a:pt x="136733" y="1093787"/>
                        <a:pt x="15668" y="1093787"/>
                      </a:cubicBezTo>
                      <a:cubicBezTo>
                        <a:pt x="7122" y="1093787"/>
                        <a:pt x="0" y="1086666"/>
                        <a:pt x="0" y="1078120"/>
                      </a:cubicBezTo>
                      <a:cubicBezTo>
                        <a:pt x="0" y="1078120"/>
                        <a:pt x="0" y="1078120"/>
                        <a:pt x="0" y="957054"/>
                      </a:cubicBezTo>
                      <a:cubicBezTo>
                        <a:pt x="0" y="948509"/>
                        <a:pt x="7122" y="941387"/>
                        <a:pt x="15668" y="941387"/>
                      </a:cubicBezTo>
                      <a:close/>
                      <a:moveTo>
                        <a:pt x="296727" y="766762"/>
                      </a:moveTo>
                      <a:cubicBezTo>
                        <a:pt x="296727" y="766762"/>
                        <a:pt x="296727" y="766762"/>
                        <a:pt x="584335" y="766762"/>
                      </a:cubicBezTo>
                      <a:cubicBezTo>
                        <a:pt x="592921" y="766762"/>
                        <a:pt x="600075" y="773978"/>
                        <a:pt x="600075" y="782637"/>
                      </a:cubicBezTo>
                      <a:cubicBezTo>
                        <a:pt x="600075" y="791296"/>
                        <a:pt x="592921" y="798512"/>
                        <a:pt x="584335" y="798512"/>
                      </a:cubicBezTo>
                      <a:cubicBezTo>
                        <a:pt x="584335" y="798512"/>
                        <a:pt x="584335" y="798512"/>
                        <a:pt x="296727" y="798512"/>
                      </a:cubicBezTo>
                      <a:cubicBezTo>
                        <a:pt x="288142" y="798512"/>
                        <a:pt x="280987" y="791296"/>
                        <a:pt x="280987" y="782637"/>
                      </a:cubicBezTo>
                      <a:cubicBezTo>
                        <a:pt x="280987" y="773978"/>
                        <a:pt x="288142" y="766762"/>
                        <a:pt x="296727" y="766762"/>
                      </a:cubicBezTo>
                      <a:close/>
                      <a:moveTo>
                        <a:pt x="31750" y="695325"/>
                      </a:moveTo>
                      <a:lnTo>
                        <a:pt x="31750" y="785813"/>
                      </a:lnTo>
                      <a:lnTo>
                        <a:pt x="122238" y="785813"/>
                      </a:lnTo>
                      <a:lnTo>
                        <a:pt x="122238" y="695325"/>
                      </a:lnTo>
                      <a:close/>
                      <a:moveTo>
                        <a:pt x="296727" y="681037"/>
                      </a:moveTo>
                      <a:cubicBezTo>
                        <a:pt x="296727" y="681037"/>
                        <a:pt x="296727" y="681037"/>
                        <a:pt x="584335" y="681037"/>
                      </a:cubicBezTo>
                      <a:cubicBezTo>
                        <a:pt x="592921" y="681037"/>
                        <a:pt x="600075" y="688253"/>
                        <a:pt x="600075" y="696912"/>
                      </a:cubicBezTo>
                      <a:cubicBezTo>
                        <a:pt x="600075" y="705571"/>
                        <a:pt x="592921" y="712787"/>
                        <a:pt x="584335" y="712787"/>
                      </a:cubicBezTo>
                      <a:cubicBezTo>
                        <a:pt x="584335" y="712787"/>
                        <a:pt x="584335" y="712787"/>
                        <a:pt x="296727" y="712787"/>
                      </a:cubicBezTo>
                      <a:cubicBezTo>
                        <a:pt x="288142" y="712787"/>
                        <a:pt x="280987" y="705571"/>
                        <a:pt x="280987" y="696912"/>
                      </a:cubicBezTo>
                      <a:cubicBezTo>
                        <a:pt x="280987" y="688253"/>
                        <a:pt x="288142" y="681037"/>
                        <a:pt x="296727" y="681037"/>
                      </a:cubicBezTo>
                      <a:close/>
                      <a:moveTo>
                        <a:pt x="15668" y="663575"/>
                      </a:moveTo>
                      <a:cubicBezTo>
                        <a:pt x="15668" y="663575"/>
                        <a:pt x="15668" y="663575"/>
                        <a:pt x="136733" y="663575"/>
                      </a:cubicBezTo>
                      <a:cubicBezTo>
                        <a:pt x="145991" y="663575"/>
                        <a:pt x="152400" y="670697"/>
                        <a:pt x="152400" y="679242"/>
                      </a:cubicBezTo>
                      <a:cubicBezTo>
                        <a:pt x="152400" y="679242"/>
                        <a:pt x="152400" y="679242"/>
                        <a:pt x="152400" y="800308"/>
                      </a:cubicBezTo>
                      <a:cubicBezTo>
                        <a:pt x="152400" y="808854"/>
                        <a:pt x="145991" y="815975"/>
                        <a:pt x="136733" y="815975"/>
                      </a:cubicBezTo>
                      <a:cubicBezTo>
                        <a:pt x="136733" y="815975"/>
                        <a:pt x="136733" y="815975"/>
                        <a:pt x="15668" y="815975"/>
                      </a:cubicBezTo>
                      <a:cubicBezTo>
                        <a:pt x="7122" y="815975"/>
                        <a:pt x="0" y="808854"/>
                        <a:pt x="0" y="800308"/>
                      </a:cubicBezTo>
                      <a:cubicBezTo>
                        <a:pt x="0" y="800308"/>
                        <a:pt x="0" y="800308"/>
                        <a:pt x="0" y="679242"/>
                      </a:cubicBezTo>
                      <a:cubicBezTo>
                        <a:pt x="0" y="670697"/>
                        <a:pt x="7122" y="663575"/>
                        <a:pt x="15668" y="663575"/>
                      </a:cubicBezTo>
                      <a:close/>
                      <a:moveTo>
                        <a:pt x="296727" y="485775"/>
                      </a:moveTo>
                      <a:cubicBezTo>
                        <a:pt x="296727" y="485775"/>
                        <a:pt x="296727" y="485775"/>
                        <a:pt x="584335" y="485775"/>
                      </a:cubicBezTo>
                      <a:cubicBezTo>
                        <a:pt x="592921" y="485775"/>
                        <a:pt x="600075" y="492991"/>
                        <a:pt x="600075" y="501650"/>
                      </a:cubicBezTo>
                      <a:cubicBezTo>
                        <a:pt x="600075" y="511031"/>
                        <a:pt x="592921" y="517525"/>
                        <a:pt x="584335" y="517525"/>
                      </a:cubicBezTo>
                      <a:cubicBezTo>
                        <a:pt x="584335" y="517525"/>
                        <a:pt x="584335" y="517525"/>
                        <a:pt x="296727" y="517525"/>
                      </a:cubicBezTo>
                      <a:cubicBezTo>
                        <a:pt x="288142" y="517525"/>
                        <a:pt x="280987" y="511031"/>
                        <a:pt x="280987" y="501650"/>
                      </a:cubicBezTo>
                      <a:cubicBezTo>
                        <a:pt x="280987" y="492991"/>
                        <a:pt x="288142" y="485775"/>
                        <a:pt x="296727" y="485775"/>
                      </a:cubicBezTo>
                      <a:close/>
                      <a:moveTo>
                        <a:pt x="31750" y="412750"/>
                      </a:moveTo>
                      <a:lnTo>
                        <a:pt x="31750" y="503238"/>
                      </a:lnTo>
                      <a:lnTo>
                        <a:pt x="122238" y="503238"/>
                      </a:lnTo>
                      <a:lnTo>
                        <a:pt x="122238" y="412750"/>
                      </a:lnTo>
                      <a:close/>
                      <a:moveTo>
                        <a:pt x="296727" y="400050"/>
                      </a:moveTo>
                      <a:cubicBezTo>
                        <a:pt x="296727" y="400050"/>
                        <a:pt x="296727" y="400050"/>
                        <a:pt x="584335" y="400050"/>
                      </a:cubicBezTo>
                      <a:cubicBezTo>
                        <a:pt x="592921" y="400050"/>
                        <a:pt x="600075" y="406544"/>
                        <a:pt x="600075" y="415925"/>
                      </a:cubicBezTo>
                      <a:cubicBezTo>
                        <a:pt x="600075" y="424584"/>
                        <a:pt x="592921" y="431800"/>
                        <a:pt x="584335" y="431800"/>
                      </a:cubicBezTo>
                      <a:cubicBezTo>
                        <a:pt x="584335" y="431800"/>
                        <a:pt x="584335" y="431800"/>
                        <a:pt x="296727" y="431800"/>
                      </a:cubicBezTo>
                      <a:cubicBezTo>
                        <a:pt x="288142" y="431800"/>
                        <a:pt x="280987" y="424584"/>
                        <a:pt x="280987" y="415925"/>
                      </a:cubicBezTo>
                      <a:cubicBezTo>
                        <a:pt x="280987" y="406544"/>
                        <a:pt x="288142" y="400050"/>
                        <a:pt x="296727" y="400050"/>
                      </a:cubicBezTo>
                      <a:close/>
                      <a:moveTo>
                        <a:pt x="15668" y="382587"/>
                      </a:moveTo>
                      <a:cubicBezTo>
                        <a:pt x="15668" y="382587"/>
                        <a:pt x="15668" y="382587"/>
                        <a:pt x="136733" y="382587"/>
                      </a:cubicBezTo>
                      <a:cubicBezTo>
                        <a:pt x="145991" y="382587"/>
                        <a:pt x="152400" y="389675"/>
                        <a:pt x="152400" y="398182"/>
                      </a:cubicBezTo>
                      <a:cubicBezTo>
                        <a:pt x="152400" y="398182"/>
                        <a:pt x="152400" y="398182"/>
                        <a:pt x="152400" y="519393"/>
                      </a:cubicBezTo>
                      <a:cubicBezTo>
                        <a:pt x="152400" y="527899"/>
                        <a:pt x="145991" y="534987"/>
                        <a:pt x="136733" y="534987"/>
                      </a:cubicBezTo>
                      <a:cubicBezTo>
                        <a:pt x="136733" y="534987"/>
                        <a:pt x="136733" y="534987"/>
                        <a:pt x="15668" y="534987"/>
                      </a:cubicBezTo>
                      <a:cubicBezTo>
                        <a:pt x="7122" y="534987"/>
                        <a:pt x="0" y="527899"/>
                        <a:pt x="0" y="519393"/>
                      </a:cubicBezTo>
                      <a:cubicBezTo>
                        <a:pt x="0" y="519393"/>
                        <a:pt x="0" y="519393"/>
                        <a:pt x="0" y="398182"/>
                      </a:cubicBezTo>
                      <a:cubicBezTo>
                        <a:pt x="0" y="389675"/>
                        <a:pt x="7122" y="382587"/>
                        <a:pt x="15668" y="382587"/>
                      </a:cubicBezTo>
                      <a:close/>
                      <a:moveTo>
                        <a:pt x="301266" y="31750"/>
                      </a:moveTo>
                      <a:cubicBezTo>
                        <a:pt x="294097" y="31750"/>
                        <a:pt x="286211" y="33176"/>
                        <a:pt x="279758" y="36027"/>
                      </a:cubicBezTo>
                      <a:cubicBezTo>
                        <a:pt x="264703" y="41016"/>
                        <a:pt x="252515" y="52420"/>
                        <a:pt x="246062" y="66675"/>
                      </a:cubicBezTo>
                      <a:cubicBezTo>
                        <a:pt x="246062" y="66675"/>
                        <a:pt x="246062" y="66675"/>
                        <a:pt x="357187" y="66675"/>
                      </a:cubicBezTo>
                      <a:cubicBezTo>
                        <a:pt x="350018" y="52420"/>
                        <a:pt x="337830" y="41016"/>
                        <a:pt x="323491" y="36027"/>
                      </a:cubicBezTo>
                      <a:cubicBezTo>
                        <a:pt x="316322" y="33176"/>
                        <a:pt x="309153" y="31750"/>
                        <a:pt x="301266" y="31750"/>
                      </a:cubicBezTo>
                      <a:close/>
                      <a:moveTo>
                        <a:pt x="300832" y="0"/>
                      </a:moveTo>
                      <a:cubicBezTo>
                        <a:pt x="330885" y="0"/>
                        <a:pt x="356645" y="13529"/>
                        <a:pt x="373818" y="35602"/>
                      </a:cubicBezTo>
                      <a:cubicBezTo>
                        <a:pt x="380973" y="44147"/>
                        <a:pt x="386698" y="54827"/>
                        <a:pt x="390275" y="66220"/>
                      </a:cubicBezTo>
                      <a:cubicBezTo>
                        <a:pt x="390275" y="66220"/>
                        <a:pt x="390275" y="66220"/>
                        <a:pt x="439648" y="66220"/>
                      </a:cubicBezTo>
                      <a:cubicBezTo>
                        <a:pt x="443226" y="66220"/>
                        <a:pt x="446088" y="69068"/>
                        <a:pt x="446088" y="73340"/>
                      </a:cubicBezTo>
                      <a:cubicBezTo>
                        <a:pt x="446088" y="73340"/>
                        <a:pt x="446088" y="73340"/>
                        <a:pt x="446088" y="113927"/>
                      </a:cubicBezTo>
                      <a:cubicBezTo>
                        <a:pt x="446088" y="113927"/>
                        <a:pt x="446088" y="113927"/>
                        <a:pt x="446088" y="145256"/>
                      </a:cubicBezTo>
                      <a:cubicBezTo>
                        <a:pt x="446088" y="145256"/>
                        <a:pt x="446088" y="145256"/>
                        <a:pt x="446088" y="178010"/>
                      </a:cubicBezTo>
                      <a:cubicBezTo>
                        <a:pt x="446088" y="186555"/>
                        <a:pt x="439648" y="193675"/>
                        <a:pt x="431062" y="193675"/>
                      </a:cubicBezTo>
                      <a:lnTo>
                        <a:pt x="171317" y="193675"/>
                      </a:lnTo>
                      <a:cubicBezTo>
                        <a:pt x="162731" y="193675"/>
                        <a:pt x="155575" y="186555"/>
                        <a:pt x="155575" y="178010"/>
                      </a:cubicBezTo>
                      <a:cubicBezTo>
                        <a:pt x="155575" y="178010"/>
                        <a:pt x="155575" y="178010"/>
                        <a:pt x="155575" y="145256"/>
                      </a:cubicBezTo>
                      <a:cubicBezTo>
                        <a:pt x="155575" y="145256"/>
                        <a:pt x="155575" y="145256"/>
                        <a:pt x="155575" y="113927"/>
                      </a:cubicBezTo>
                      <a:cubicBezTo>
                        <a:pt x="155575" y="113927"/>
                        <a:pt x="155575" y="113927"/>
                        <a:pt x="155575" y="73340"/>
                      </a:cubicBezTo>
                      <a:cubicBezTo>
                        <a:pt x="155575" y="69068"/>
                        <a:pt x="159153" y="66220"/>
                        <a:pt x="162731" y="66220"/>
                      </a:cubicBezTo>
                      <a:cubicBezTo>
                        <a:pt x="162731" y="66220"/>
                        <a:pt x="162731" y="66220"/>
                        <a:pt x="212104" y="66220"/>
                      </a:cubicBezTo>
                      <a:cubicBezTo>
                        <a:pt x="215681" y="54827"/>
                        <a:pt x="220690" y="44147"/>
                        <a:pt x="227846" y="35602"/>
                      </a:cubicBezTo>
                      <a:cubicBezTo>
                        <a:pt x="245019" y="13529"/>
                        <a:pt x="271494" y="0"/>
                        <a:pt x="300832" y="0"/>
                      </a:cubicBezTo>
                      <a:close/>
                    </a:path>
                  </a:pathLst>
                </a:custGeom>
                <a:solidFill>
                  <a:srgbClr val="403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51E95736-CD63-4ADA-A257-462CC394D76A}"/>
              </a:ext>
            </a:extLst>
          </p:cNvPr>
          <p:cNvSpPr/>
          <p:nvPr/>
        </p:nvSpPr>
        <p:spPr>
          <a:xfrm>
            <a:off x="630000" y="6291773"/>
            <a:ext cx="2743200" cy="45719"/>
          </a:xfrm>
          <a:prstGeom prst="rect">
            <a:avLst/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E8C7D1-4685-4BBD-85C7-270EE82AA33D}"/>
              </a:ext>
            </a:extLst>
          </p:cNvPr>
          <p:cNvSpPr/>
          <p:nvPr/>
        </p:nvSpPr>
        <p:spPr>
          <a:xfrm>
            <a:off x="3569677" y="1465823"/>
            <a:ext cx="7993673" cy="45719"/>
          </a:xfrm>
          <a:prstGeom prst="rect">
            <a:avLst/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9FDD32-A712-4CED-B59F-D5889EA4B7E2}"/>
              </a:ext>
            </a:extLst>
          </p:cNvPr>
          <p:cNvSpPr/>
          <p:nvPr/>
        </p:nvSpPr>
        <p:spPr>
          <a:xfrm>
            <a:off x="3569677" y="6291772"/>
            <a:ext cx="7993673" cy="45719"/>
          </a:xfrm>
          <a:prstGeom prst="rect">
            <a:avLst/>
          </a:prstGeom>
          <a:solidFill>
            <a:srgbClr val="403393"/>
          </a:solidFill>
          <a:ln w="9525" cap="rnd" cmpd="sng" algn="ctr">
            <a:solidFill>
              <a:srgbClr val="40339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9F4B409-4675-446A-8AA8-D89F64F8E5B0}"/>
              </a:ext>
            </a:extLst>
          </p:cNvPr>
          <p:cNvGrpSpPr/>
          <p:nvPr/>
        </p:nvGrpSpPr>
        <p:grpSpPr>
          <a:xfrm>
            <a:off x="7375030" y="1297384"/>
            <a:ext cx="382967" cy="382598"/>
            <a:chOff x="575395" y="649461"/>
            <a:chExt cx="829803" cy="829004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A9597BA0-E077-4BB3-9A82-68210522799B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575395" y="649461"/>
              <a:ext cx="829803" cy="829004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gradFill flip="none" rotWithShape="1">
                <a:gsLst>
                  <a:gs pos="0">
                    <a:srgbClr val="1F1450"/>
                  </a:gs>
                  <a:gs pos="100000">
                    <a:srgbClr val="403393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/>
              <a:endParaRPr lang="en-US" kern="0">
                <a:solidFill>
                  <a:srgbClr val="403393"/>
                </a:solidFill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35074FE-667A-4CEF-80A8-4385C3CF6CA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96917" y="770866"/>
              <a:ext cx="586759" cy="586194"/>
              <a:chOff x="5273675" y="2606675"/>
              <a:chExt cx="1646238" cy="1644650"/>
            </a:xfrm>
          </p:grpSpPr>
          <p:sp>
            <p:nvSpPr>
              <p:cNvPr id="20" name="AutoShape 3">
                <a:extLst>
                  <a:ext uri="{FF2B5EF4-FFF2-40B4-BE49-F238E27FC236}">
                    <a16:creationId xmlns:a16="http://schemas.microsoft.com/office/drawing/2014/main" id="{A2E14F5B-6564-4A90-AE5E-A84ED5AAE2A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980E0844-9889-42D3-81A8-880793B5DE4B}"/>
                  </a:ext>
                </a:extLst>
              </p:cNvPr>
              <p:cNvGrpSpPr/>
              <p:nvPr/>
            </p:nvGrpSpPr>
            <p:grpSpPr>
              <a:xfrm>
                <a:off x="5651500" y="2971800"/>
                <a:ext cx="892175" cy="1109663"/>
                <a:chOff x="5651500" y="2971800"/>
                <a:chExt cx="892175" cy="1109663"/>
              </a:xfrm>
            </p:grpSpPr>
            <p:sp>
              <p:nvSpPr>
                <p:cNvPr id="22" name="Freeform 12">
                  <a:extLst>
                    <a:ext uri="{FF2B5EF4-FFF2-40B4-BE49-F238E27FC236}">
                      <a16:creationId xmlns:a16="http://schemas.microsoft.com/office/drawing/2014/main" id="{84A7C740-A6F7-445C-9955-03D05D65E7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51500" y="2971800"/>
                  <a:ext cx="892175" cy="1109663"/>
                </a:xfrm>
                <a:custGeom>
                  <a:avLst/>
                  <a:gdLst>
                    <a:gd name="connsiteX0" fmla="*/ 30163 w 892175"/>
                    <a:gd name="connsiteY0" fmla="*/ 198438 h 1109663"/>
                    <a:gd name="connsiteX1" fmla="*/ 30163 w 892175"/>
                    <a:gd name="connsiteY1" fmla="*/ 1077913 h 1109663"/>
                    <a:gd name="connsiteX2" fmla="*/ 654051 w 892175"/>
                    <a:gd name="connsiteY2" fmla="*/ 1077913 h 1109663"/>
                    <a:gd name="connsiteX3" fmla="*/ 654051 w 892175"/>
                    <a:gd name="connsiteY3" fmla="*/ 942976 h 1109663"/>
                    <a:gd name="connsiteX4" fmla="*/ 654051 w 892175"/>
                    <a:gd name="connsiteY4" fmla="*/ 927101 h 1109663"/>
                    <a:gd name="connsiteX5" fmla="*/ 654051 w 892175"/>
                    <a:gd name="connsiteY5" fmla="*/ 911226 h 1109663"/>
                    <a:gd name="connsiteX6" fmla="*/ 654051 w 892175"/>
                    <a:gd name="connsiteY6" fmla="*/ 198438 h 1109663"/>
                    <a:gd name="connsiteX7" fmla="*/ 238126 w 892175"/>
                    <a:gd name="connsiteY7" fmla="*/ 198438 h 1109663"/>
                    <a:gd name="connsiteX8" fmla="*/ 222251 w 892175"/>
                    <a:gd name="connsiteY8" fmla="*/ 198438 h 1109663"/>
                    <a:gd name="connsiteX9" fmla="*/ 206376 w 892175"/>
                    <a:gd name="connsiteY9" fmla="*/ 198438 h 1109663"/>
                    <a:gd name="connsiteX10" fmla="*/ 238125 w 892175"/>
                    <a:gd name="connsiteY10" fmla="*/ 31750 h 1109663"/>
                    <a:gd name="connsiteX11" fmla="*/ 238125 w 892175"/>
                    <a:gd name="connsiteY11" fmla="*/ 166670 h 1109663"/>
                    <a:gd name="connsiteX12" fmla="*/ 670100 w 892175"/>
                    <a:gd name="connsiteY12" fmla="*/ 166670 h 1109663"/>
                    <a:gd name="connsiteX13" fmla="*/ 685782 w 892175"/>
                    <a:gd name="connsiteY13" fmla="*/ 182375 h 1109663"/>
                    <a:gd name="connsiteX14" fmla="*/ 685782 w 892175"/>
                    <a:gd name="connsiteY14" fmla="*/ 911225 h 1109663"/>
                    <a:gd name="connsiteX15" fmla="*/ 860425 w 892175"/>
                    <a:gd name="connsiteY15" fmla="*/ 911225 h 1109663"/>
                    <a:gd name="connsiteX16" fmla="*/ 860425 w 892175"/>
                    <a:gd name="connsiteY16" fmla="*/ 31750 h 1109663"/>
                    <a:gd name="connsiteX17" fmla="*/ 238125 w 892175"/>
                    <a:gd name="connsiteY17" fmla="*/ 31750 h 1109663"/>
                    <a:gd name="connsiteX18" fmla="*/ 221973 w 892175"/>
                    <a:gd name="connsiteY18" fmla="*/ 0 h 1109663"/>
                    <a:gd name="connsiteX19" fmla="*/ 876473 w 892175"/>
                    <a:gd name="connsiteY19" fmla="*/ 0 h 1109663"/>
                    <a:gd name="connsiteX20" fmla="*/ 892175 w 892175"/>
                    <a:gd name="connsiteY20" fmla="*/ 15720 h 1109663"/>
                    <a:gd name="connsiteX21" fmla="*/ 892175 w 892175"/>
                    <a:gd name="connsiteY21" fmla="*/ 927458 h 1109663"/>
                    <a:gd name="connsiteX22" fmla="*/ 876473 w 892175"/>
                    <a:gd name="connsiteY22" fmla="*/ 943178 h 1109663"/>
                    <a:gd name="connsiteX23" fmla="*/ 685904 w 892175"/>
                    <a:gd name="connsiteY23" fmla="*/ 943178 h 1109663"/>
                    <a:gd name="connsiteX24" fmla="*/ 685904 w 892175"/>
                    <a:gd name="connsiteY24" fmla="*/ 1093944 h 1109663"/>
                    <a:gd name="connsiteX25" fmla="*/ 670202 w 892175"/>
                    <a:gd name="connsiteY25" fmla="*/ 1109663 h 1109663"/>
                    <a:gd name="connsiteX26" fmla="*/ 15703 w 892175"/>
                    <a:gd name="connsiteY26" fmla="*/ 1109663 h 1109663"/>
                    <a:gd name="connsiteX27" fmla="*/ 0 w 892175"/>
                    <a:gd name="connsiteY27" fmla="*/ 1093944 h 1109663"/>
                    <a:gd name="connsiteX28" fmla="*/ 0 w 892175"/>
                    <a:gd name="connsiteY28" fmla="*/ 182205 h 1109663"/>
                    <a:gd name="connsiteX29" fmla="*/ 15703 w 892175"/>
                    <a:gd name="connsiteY29" fmla="*/ 166485 h 1109663"/>
                    <a:gd name="connsiteX30" fmla="*/ 206271 w 892175"/>
                    <a:gd name="connsiteY30" fmla="*/ 166485 h 1109663"/>
                    <a:gd name="connsiteX31" fmla="*/ 206271 w 892175"/>
                    <a:gd name="connsiteY31" fmla="*/ 15720 h 1109663"/>
                    <a:gd name="connsiteX32" fmla="*/ 221973 w 892175"/>
                    <a:gd name="connsiteY32" fmla="*/ 0 h 1109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892175" h="1109663">
                      <a:moveTo>
                        <a:pt x="30163" y="198438"/>
                      </a:moveTo>
                      <a:lnTo>
                        <a:pt x="30163" y="1077913"/>
                      </a:lnTo>
                      <a:lnTo>
                        <a:pt x="654051" y="1077913"/>
                      </a:lnTo>
                      <a:lnTo>
                        <a:pt x="654051" y="942976"/>
                      </a:lnTo>
                      <a:lnTo>
                        <a:pt x="654051" y="927101"/>
                      </a:lnTo>
                      <a:lnTo>
                        <a:pt x="654051" y="911226"/>
                      </a:lnTo>
                      <a:lnTo>
                        <a:pt x="654051" y="198438"/>
                      </a:lnTo>
                      <a:lnTo>
                        <a:pt x="238126" y="198438"/>
                      </a:lnTo>
                      <a:lnTo>
                        <a:pt x="222251" y="198438"/>
                      </a:lnTo>
                      <a:lnTo>
                        <a:pt x="206376" y="198438"/>
                      </a:lnTo>
                      <a:close/>
                      <a:moveTo>
                        <a:pt x="238125" y="31750"/>
                      </a:moveTo>
                      <a:lnTo>
                        <a:pt x="238125" y="166670"/>
                      </a:lnTo>
                      <a:cubicBezTo>
                        <a:pt x="238125" y="166670"/>
                        <a:pt x="238125" y="166670"/>
                        <a:pt x="670100" y="166670"/>
                      </a:cubicBezTo>
                      <a:cubicBezTo>
                        <a:pt x="678654" y="166670"/>
                        <a:pt x="685782" y="173808"/>
                        <a:pt x="685782" y="182375"/>
                      </a:cubicBezTo>
                      <a:cubicBezTo>
                        <a:pt x="685782" y="182375"/>
                        <a:pt x="685782" y="182375"/>
                        <a:pt x="685782" y="911225"/>
                      </a:cubicBezTo>
                      <a:cubicBezTo>
                        <a:pt x="685782" y="911225"/>
                        <a:pt x="685782" y="911225"/>
                        <a:pt x="860425" y="911225"/>
                      </a:cubicBezTo>
                      <a:cubicBezTo>
                        <a:pt x="860425" y="911225"/>
                        <a:pt x="860425" y="911225"/>
                        <a:pt x="860425" y="31750"/>
                      </a:cubicBezTo>
                      <a:cubicBezTo>
                        <a:pt x="860425" y="31750"/>
                        <a:pt x="860425" y="31750"/>
                        <a:pt x="238125" y="31750"/>
                      </a:cubicBezTo>
                      <a:close/>
                      <a:moveTo>
                        <a:pt x="221973" y="0"/>
                      </a:moveTo>
                      <a:cubicBezTo>
                        <a:pt x="221973" y="0"/>
                        <a:pt x="221973" y="0"/>
                        <a:pt x="876473" y="0"/>
                      </a:cubicBezTo>
                      <a:cubicBezTo>
                        <a:pt x="885752" y="0"/>
                        <a:pt x="892175" y="7145"/>
                        <a:pt x="892175" y="15720"/>
                      </a:cubicBezTo>
                      <a:cubicBezTo>
                        <a:pt x="892175" y="15720"/>
                        <a:pt x="892175" y="15720"/>
                        <a:pt x="892175" y="927458"/>
                      </a:cubicBezTo>
                      <a:cubicBezTo>
                        <a:pt x="892175" y="936033"/>
                        <a:pt x="885752" y="943178"/>
                        <a:pt x="876473" y="943178"/>
                      </a:cubicBezTo>
                      <a:cubicBezTo>
                        <a:pt x="876473" y="943178"/>
                        <a:pt x="876473" y="943178"/>
                        <a:pt x="685904" y="943178"/>
                      </a:cubicBezTo>
                      <a:cubicBezTo>
                        <a:pt x="685904" y="943178"/>
                        <a:pt x="685904" y="943178"/>
                        <a:pt x="685904" y="1093944"/>
                      </a:cubicBezTo>
                      <a:cubicBezTo>
                        <a:pt x="685904" y="1102518"/>
                        <a:pt x="678767" y="1109663"/>
                        <a:pt x="670202" y="1109663"/>
                      </a:cubicBezTo>
                      <a:cubicBezTo>
                        <a:pt x="670202" y="1109663"/>
                        <a:pt x="670202" y="1109663"/>
                        <a:pt x="15703" y="1109663"/>
                      </a:cubicBezTo>
                      <a:cubicBezTo>
                        <a:pt x="6424" y="1109663"/>
                        <a:pt x="0" y="1102518"/>
                        <a:pt x="0" y="1093944"/>
                      </a:cubicBezTo>
                      <a:cubicBezTo>
                        <a:pt x="0" y="1093944"/>
                        <a:pt x="0" y="1093944"/>
                        <a:pt x="0" y="182205"/>
                      </a:cubicBezTo>
                      <a:cubicBezTo>
                        <a:pt x="0" y="173631"/>
                        <a:pt x="6424" y="166485"/>
                        <a:pt x="15703" y="166485"/>
                      </a:cubicBezTo>
                      <a:cubicBezTo>
                        <a:pt x="15703" y="166485"/>
                        <a:pt x="15703" y="166485"/>
                        <a:pt x="206271" y="166485"/>
                      </a:cubicBezTo>
                      <a:cubicBezTo>
                        <a:pt x="206271" y="166485"/>
                        <a:pt x="206271" y="166485"/>
                        <a:pt x="206271" y="15720"/>
                      </a:cubicBezTo>
                      <a:cubicBezTo>
                        <a:pt x="206271" y="7145"/>
                        <a:pt x="213409" y="0"/>
                        <a:pt x="221973" y="0"/>
                      </a:cubicBezTo>
                      <a:close/>
                    </a:path>
                  </a:pathLst>
                </a:custGeom>
                <a:solidFill>
                  <a:srgbClr val="160E3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23" name="Freeform 13">
                  <a:extLst>
                    <a:ext uri="{FF2B5EF4-FFF2-40B4-BE49-F238E27FC236}">
                      <a16:creationId xmlns:a16="http://schemas.microsoft.com/office/drawing/2014/main" id="{F44524CF-A799-4825-A725-47AEF2EF22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67388" y="3287713"/>
                  <a:ext cx="454025" cy="646113"/>
                </a:xfrm>
                <a:custGeom>
                  <a:avLst/>
                  <a:gdLst>
                    <a:gd name="connsiteX0" fmla="*/ 15681 w 454025"/>
                    <a:gd name="connsiteY0" fmla="*/ 615950 h 646113"/>
                    <a:gd name="connsiteX1" fmla="*/ 91233 w 454025"/>
                    <a:gd name="connsiteY1" fmla="*/ 615950 h 646113"/>
                    <a:gd name="connsiteX2" fmla="*/ 439057 w 454025"/>
                    <a:gd name="connsiteY2" fmla="*/ 615950 h 646113"/>
                    <a:gd name="connsiteX3" fmla="*/ 453312 w 454025"/>
                    <a:gd name="connsiteY3" fmla="*/ 626472 h 646113"/>
                    <a:gd name="connsiteX4" fmla="*/ 454025 w 454025"/>
                    <a:gd name="connsiteY4" fmla="*/ 631382 h 646113"/>
                    <a:gd name="connsiteX5" fmla="*/ 454025 w 454025"/>
                    <a:gd name="connsiteY5" fmla="*/ 632785 h 646113"/>
                    <a:gd name="connsiteX6" fmla="*/ 444047 w 454025"/>
                    <a:gd name="connsiteY6" fmla="*/ 645412 h 646113"/>
                    <a:gd name="connsiteX7" fmla="*/ 442621 w 454025"/>
                    <a:gd name="connsiteY7" fmla="*/ 646113 h 646113"/>
                    <a:gd name="connsiteX8" fmla="*/ 441908 w 454025"/>
                    <a:gd name="connsiteY8" fmla="*/ 646113 h 646113"/>
                    <a:gd name="connsiteX9" fmla="*/ 439057 w 454025"/>
                    <a:gd name="connsiteY9" fmla="*/ 646113 h 646113"/>
                    <a:gd name="connsiteX10" fmla="*/ 15681 w 454025"/>
                    <a:gd name="connsiteY10" fmla="*/ 646113 h 646113"/>
                    <a:gd name="connsiteX11" fmla="*/ 14968 w 454025"/>
                    <a:gd name="connsiteY11" fmla="*/ 646113 h 646113"/>
                    <a:gd name="connsiteX12" fmla="*/ 0 w 454025"/>
                    <a:gd name="connsiteY12" fmla="*/ 631382 h 646113"/>
                    <a:gd name="connsiteX13" fmla="*/ 15681 w 454025"/>
                    <a:gd name="connsiteY13" fmla="*/ 615950 h 646113"/>
                    <a:gd name="connsiteX14" fmla="*/ 15681 w 454025"/>
                    <a:gd name="connsiteY14" fmla="*/ 512762 h 646113"/>
                    <a:gd name="connsiteX15" fmla="*/ 90520 w 454025"/>
                    <a:gd name="connsiteY15" fmla="*/ 512762 h 646113"/>
                    <a:gd name="connsiteX16" fmla="*/ 106201 w 454025"/>
                    <a:gd name="connsiteY16" fmla="*/ 512762 h 646113"/>
                    <a:gd name="connsiteX17" fmla="*/ 121881 w 454025"/>
                    <a:gd name="connsiteY17" fmla="*/ 512762 h 646113"/>
                    <a:gd name="connsiteX18" fmla="*/ 439057 w 454025"/>
                    <a:gd name="connsiteY18" fmla="*/ 512762 h 646113"/>
                    <a:gd name="connsiteX19" fmla="*/ 454025 w 454025"/>
                    <a:gd name="connsiteY19" fmla="*/ 528637 h 646113"/>
                    <a:gd name="connsiteX20" fmla="*/ 454025 w 454025"/>
                    <a:gd name="connsiteY20" fmla="*/ 531523 h 646113"/>
                    <a:gd name="connsiteX21" fmla="*/ 453312 w 454025"/>
                    <a:gd name="connsiteY21" fmla="*/ 532967 h 646113"/>
                    <a:gd name="connsiteX22" fmla="*/ 453312 w 454025"/>
                    <a:gd name="connsiteY22" fmla="*/ 533688 h 646113"/>
                    <a:gd name="connsiteX23" fmla="*/ 444047 w 454025"/>
                    <a:gd name="connsiteY23" fmla="*/ 543791 h 646113"/>
                    <a:gd name="connsiteX24" fmla="*/ 443334 w 454025"/>
                    <a:gd name="connsiteY24" fmla="*/ 543791 h 646113"/>
                    <a:gd name="connsiteX25" fmla="*/ 441908 w 454025"/>
                    <a:gd name="connsiteY25" fmla="*/ 544512 h 646113"/>
                    <a:gd name="connsiteX26" fmla="*/ 439057 w 454025"/>
                    <a:gd name="connsiteY26" fmla="*/ 544512 h 646113"/>
                    <a:gd name="connsiteX27" fmla="*/ 121881 w 454025"/>
                    <a:gd name="connsiteY27" fmla="*/ 544512 h 646113"/>
                    <a:gd name="connsiteX28" fmla="*/ 106201 w 454025"/>
                    <a:gd name="connsiteY28" fmla="*/ 544512 h 646113"/>
                    <a:gd name="connsiteX29" fmla="*/ 90520 w 454025"/>
                    <a:gd name="connsiteY29" fmla="*/ 544512 h 646113"/>
                    <a:gd name="connsiteX30" fmla="*/ 15681 w 454025"/>
                    <a:gd name="connsiteY30" fmla="*/ 544512 h 646113"/>
                    <a:gd name="connsiteX31" fmla="*/ 0 w 454025"/>
                    <a:gd name="connsiteY31" fmla="*/ 528637 h 646113"/>
                    <a:gd name="connsiteX32" fmla="*/ 15681 w 454025"/>
                    <a:gd name="connsiteY32" fmla="*/ 512762 h 646113"/>
                    <a:gd name="connsiteX33" fmla="*/ 15681 w 454025"/>
                    <a:gd name="connsiteY33" fmla="*/ 411162 h 646113"/>
                    <a:gd name="connsiteX34" fmla="*/ 90520 w 454025"/>
                    <a:gd name="connsiteY34" fmla="*/ 411162 h 646113"/>
                    <a:gd name="connsiteX35" fmla="*/ 106201 w 454025"/>
                    <a:gd name="connsiteY35" fmla="*/ 411162 h 646113"/>
                    <a:gd name="connsiteX36" fmla="*/ 121881 w 454025"/>
                    <a:gd name="connsiteY36" fmla="*/ 411162 h 646113"/>
                    <a:gd name="connsiteX37" fmla="*/ 439057 w 454025"/>
                    <a:gd name="connsiteY37" fmla="*/ 411162 h 646113"/>
                    <a:gd name="connsiteX38" fmla="*/ 454025 w 454025"/>
                    <a:gd name="connsiteY38" fmla="*/ 426594 h 646113"/>
                    <a:gd name="connsiteX39" fmla="*/ 439057 w 454025"/>
                    <a:gd name="connsiteY39" fmla="*/ 441325 h 646113"/>
                    <a:gd name="connsiteX40" fmla="*/ 121881 w 454025"/>
                    <a:gd name="connsiteY40" fmla="*/ 441325 h 646113"/>
                    <a:gd name="connsiteX41" fmla="*/ 106201 w 454025"/>
                    <a:gd name="connsiteY41" fmla="*/ 441325 h 646113"/>
                    <a:gd name="connsiteX42" fmla="*/ 90520 w 454025"/>
                    <a:gd name="connsiteY42" fmla="*/ 441325 h 646113"/>
                    <a:gd name="connsiteX43" fmla="*/ 15681 w 454025"/>
                    <a:gd name="connsiteY43" fmla="*/ 441325 h 646113"/>
                    <a:gd name="connsiteX44" fmla="*/ 0 w 454025"/>
                    <a:gd name="connsiteY44" fmla="*/ 426594 h 646113"/>
                    <a:gd name="connsiteX45" fmla="*/ 15681 w 454025"/>
                    <a:gd name="connsiteY45" fmla="*/ 411162 h 646113"/>
                    <a:gd name="connsiteX46" fmla="*/ 15681 w 454025"/>
                    <a:gd name="connsiteY46" fmla="*/ 307975 h 646113"/>
                    <a:gd name="connsiteX47" fmla="*/ 90520 w 454025"/>
                    <a:gd name="connsiteY47" fmla="*/ 307975 h 646113"/>
                    <a:gd name="connsiteX48" fmla="*/ 106201 w 454025"/>
                    <a:gd name="connsiteY48" fmla="*/ 307975 h 646113"/>
                    <a:gd name="connsiteX49" fmla="*/ 121881 w 454025"/>
                    <a:gd name="connsiteY49" fmla="*/ 307975 h 646113"/>
                    <a:gd name="connsiteX50" fmla="*/ 439057 w 454025"/>
                    <a:gd name="connsiteY50" fmla="*/ 307975 h 646113"/>
                    <a:gd name="connsiteX51" fmla="*/ 454025 w 454025"/>
                    <a:gd name="connsiteY51" fmla="*/ 323057 h 646113"/>
                    <a:gd name="connsiteX52" fmla="*/ 439057 w 454025"/>
                    <a:gd name="connsiteY52" fmla="*/ 338138 h 646113"/>
                    <a:gd name="connsiteX53" fmla="*/ 121881 w 454025"/>
                    <a:gd name="connsiteY53" fmla="*/ 338138 h 646113"/>
                    <a:gd name="connsiteX54" fmla="*/ 106201 w 454025"/>
                    <a:gd name="connsiteY54" fmla="*/ 338138 h 646113"/>
                    <a:gd name="connsiteX55" fmla="*/ 90520 w 454025"/>
                    <a:gd name="connsiteY55" fmla="*/ 338138 h 646113"/>
                    <a:gd name="connsiteX56" fmla="*/ 15681 w 454025"/>
                    <a:gd name="connsiteY56" fmla="*/ 338138 h 646113"/>
                    <a:gd name="connsiteX57" fmla="*/ 0 w 454025"/>
                    <a:gd name="connsiteY57" fmla="*/ 323057 h 646113"/>
                    <a:gd name="connsiteX58" fmla="*/ 15681 w 454025"/>
                    <a:gd name="connsiteY58" fmla="*/ 307975 h 646113"/>
                    <a:gd name="connsiteX59" fmla="*/ 15681 w 454025"/>
                    <a:gd name="connsiteY59" fmla="*/ 204787 h 646113"/>
                    <a:gd name="connsiteX60" fmla="*/ 90520 w 454025"/>
                    <a:gd name="connsiteY60" fmla="*/ 204787 h 646113"/>
                    <a:gd name="connsiteX61" fmla="*/ 106201 w 454025"/>
                    <a:gd name="connsiteY61" fmla="*/ 204787 h 646113"/>
                    <a:gd name="connsiteX62" fmla="*/ 121881 w 454025"/>
                    <a:gd name="connsiteY62" fmla="*/ 204787 h 646113"/>
                    <a:gd name="connsiteX63" fmla="*/ 439057 w 454025"/>
                    <a:gd name="connsiteY63" fmla="*/ 204787 h 646113"/>
                    <a:gd name="connsiteX64" fmla="*/ 454025 w 454025"/>
                    <a:gd name="connsiteY64" fmla="*/ 220219 h 646113"/>
                    <a:gd name="connsiteX65" fmla="*/ 439057 w 454025"/>
                    <a:gd name="connsiteY65" fmla="*/ 234950 h 646113"/>
                    <a:gd name="connsiteX66" fmla="*/ 121881 w 454025"/>
                    <a:gd name="connsiteY66" fmla="*/ 234950 h 646113"/>
                    <a:gd name="connsiteX67" fmla="*/ 106201 w 454025"/>
                    <a:gd name="connsiteY67" fmla="*/ 234950 h 646113"/>
                    <a:gd name="connsiteX68" fmla="*/ 90520 w 454025"/>
                    <a:gd name="connsiteY68" fmla="*/ 234950 h 646113"/>
                    <a:gd name="connsiteX69" fmla="*/ 15681 w 454025"/>
                    <a:gd name="connsiteY69" fmla="*/ 234950 h 646113"/>
                    <a:gd name="connsiteX70" fmla="*/ 0 w 454025"/>
                    <a:gd name="connsiteY70" fmla="*/ 220219 h 646113"/>
                    <a:gd name="connsiteX71" fmla="*/ 15681 w 454025"/>
                    <a:gd name="connsiteY71" fmla="*/ 204787 h 646113"/>
                    <a:gd name="connsiteX72" fmla="*/ 15681 w 454025"/>
                    <a:gd name="connsiteY72" fmla="*/ 101600 h 646113"/>
                    <a:gd name="connsiteX73" fmla="*/ 90520 w 454025"/>
                    <a:gd name="connsiteY73" fmla="*/ 101600 h 646113"/>
                    <a:gd name="connsiteX74" fmla="*/ 106201 w 454025"/>
                    <a:gd name="connsiteY74" fmla="*/ 101600 h 646113"/>
                    <a:gd name="connsiteX75" fmla="*/ 121881 w 454025"/>
                    <a:gd name="connsiteY75" fmla="*/ 101600 h 646113"/>
                    <a:gd name="connsiteX76" fmla="*/ 439057 w 454025"/>
                    <a:gd name="connsiteY76" fmla="*/ 101600 h 646113"/>
                    <a:gd name="connsiteX77" fmla="*/ 454025 w 454025"/>
                    <a:gd name="connsiteY77" fmla="*/ 117475 h 646113"/>
                    <a:gd name="connsiteX78" fmla="*/ 439057 w 454025"/>
                    <a:gd name="connsiteY78" fmla="*/ 133350 h 646113"/>
                    <a:gd name="connsiteX79" fmla="*/ 121881 w 454025"/>
                    <a:gd name="connsiteY79" fmla="*/ 133350 h 646113"/>
                    <a:gd name="connsiteX80" fmla="*/ 106201 w 454025"/>
                    <a:gd name="connsiteY80" fmla="*/ 133350 h 646113"/>
                    <a:gd name="connsiteX81" fmla="*/ 90520 w 454025"/>
                    <a:gd name="connsiteY81" fmla="*/ 133350 h 646113"/>
                    <a:gd name="connsiteX82" fmla="*/ 15681 w 454025"/>
                    <a:gd name="connsiteY82" fmla="*/ 133350 h 646113"/>
                    <a:gd name="connsiteX83" fmla="*/ 0 w 454025"/>
                    <a:gd name="connsiteY83" fmla="*/ 117475 h 646113"/>
                    <a:gd name="connsiteX84" fmla="*/ 15681 w 454025"/>
                    <a:gd name="connsiteY84" fmla="*/ 101600 h 646113"/>
                    <a:gd name="connsiteX85" fmla="*/ 15681 w 454025"/>
                    <a:gd name="connsiteY85" fmla="*/ 0 h 646113"/>
                    <a:gd name="connsiteX86" fmla="*/ 90520 w 454025"/>
                    <a:gd name="connsiteY86" fmla="*/ 0 h 646113"/>
                    <a:gd name="connsiteX87" fmla="*/ 106201 w 454025"/>
                    <a:gd name="connsiteY87" fmla="*/ 0 h 646113"/>
                    <a:gd name="connsiteX88" fmla="*/ 121881 w 454025"/>
                    <a:gd name="connsiteY88" fmla="*/ 0 h 646113"/>
                    <a:gd name="connsiteX89" fmla="*/ 439057 w 454025"/>
                    <a:gd name="connsiteY89" fmla="*/ 0 h 646113"/>
                    <a:gd name="connsiteX90" fmla="*/ 454025 w 454025"/>
                    <a:gd name="connsiteY90" fmla="*/ 15432 h 646113"/>
                    <a:gd name="connsiteX91" fmla="*/ 439057 w 454025"/>
                    <a:gd name="connsiteY91" fmla="*/ 30163 h 646113"/>
                    <a:gd name="connsiteX92" fmla="*/ 121881 w 454025"/>
                    <a:gd name="connsiteY92" fmla="*/ 30163 h 646113"/>
                    <a:gd name="connsiteX93" fmla="*/ 106201 w 454025"/>
                    <a:gd name="connsiteY93" fmla="*/ 30163 h 646113"/>
                    <a:gd name="connsiteX94" fmla="*/ 90520 w 454025"/>
                    <a:gd name="connsiteY94" fmla="*/ 30163 h 646113"/>
                    <a:gd name="connsiteX95" fmla="*/ 15681 w 454025"/>
                    <a:gd name="connsiteY95" fmla="*/ 30163 h 646113"/>
                    <a:gd name="connsiteX96" fmla="*/ 0 w 454025"/>
                    <a:gd name="connsiteY96" fmla="*/ 15432 h 646113"/>
                    <a:gd name="connsiteX97" fmla="*/ 15681 w 454025"/>
                    <a:gd name="connsiteY97" fmla="*/ 0 h 646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</a:cxnLst>
                  <a:rect l="l" t="t" r="r" b="b"/>
                  <a:pathLst>
                    <a:path w="454025" h="646113">
                      <a:moveTo>
                        <a:pt x="15681" y="615950"/>
                      </a:moveTo>
                      <a:cubicBezTo>
                        <a:pt x="42766" y="615950"/>
                        <a:pt x="67712" y="615950"/>
                        <a:pt x="91233" y="615950"/>
                      </a:cubicBezTo>
                      <a:cubicBezTo>
                        <a:pt x="439057" y="615950"/>
                        <a:pt x="439057" y="615950"/>
                        <a:pt x="439057" y="615950"/>
                      </a:cubicBezTo>
                      <a:cubicBezTo>
                        <a:pt x="446185" y="615950"/>
                        <a:pt x="451887" y="620159"/>
                        <a:pt x="453312" y="626472"/>
                      </a:cubicBezTo>
                      <a:cubicBezTo>
                        <a:pt x="454025" y="627875"/>
                        <a:pt x="454025" y="629278"/>
                        <a:pt x="454025" y="631382"/>
                      </a:cubicBezTo>
                      <a:cubicBezTo>
                        <a:pt x="454025" y="632084"/>
                        <a:pt x="454025" y="632084"/>
                        <a:pt x="454025" y="632785"/>
                      </a:cubicBezTo>
                      <a:cubicBezTo>
                        <a:pt x="453312" y="638397"/>
                        <a:pt x="449749" y="643307"/>
                        <a:pt x="444047" y="645412"/>
                      </a:cubicBezTo>
                      <a:cubicBezTo>
                        <a:pt x="444047" y="645412"/>
                        <a:pt x="443334" y="646113"/>
                        <a:pt x="442621" y="646113"/>
                      </a:cubicBezTo>
                      <a:cubicBezTo>
                        <a:pt x="442621" y="646113"/>
                        <a:pt x="441908" y="646113"/>
                        <a:pt x="441908" y="646113"/>
                      </a:cubicBezTo>
                      <a:cubicBezTo>
                        <a:pt x="441196" y="646113"/>
                        <a:pt x="439770" y="646113"/>
                        <a:pt x="439057" y="646113"/>
                      </a:cubicBezTo>
                      <a:cubicBezTo>
                        <a:pt x="15681" y="646113"/>
                        <a:pt x="15681" y="646113"/>
                        <a:pt x="15681" y="646113"/>
                      </a:cubicBezTo>
                      <a:cubicBezTo>
                        <a:pt x="15681" y="646113"/>
                        <a:pt x="14968" y="646113"/>
                        <a:pt x="14968" y="646113"/>
                      </a:cubicBezTo>
                      <a:cubicBezTo>
                        <a:pt x="7128" y="646113"/>
                        <a:pt x="713" y="639800"/>
                        <a:pt x="0" y="631382"/>
                      </a:cubicBezTo>
                      <a:cubicBezTo>
                        <a:pt x="0" y="622965"/>
                        <a:pt x="7128" y="615950"/>
                        <a:pt x="15681" y="615950"/>
                      </a:cubicBezTo>
                      <a:close/>
                      <a:moveTo>
                        <a:pt x="15681" y="512762"/>
                      </a:moveTo>
                      <a:cubicBezTo>
                        <a:pt x="42053" y="512762"/>
                        <a:pt x="67712" y="512762"/>
                        <a:pt x="90520" y="512762"/>
                      </a:cubicBezTo>
                      <a:cubicBezTo>
                        <a:pt x="96222" y="512762"/>
                        <a:pt x="101211" y="512762"/>
                        <a:pt x="106201" y="512762"/>
                      </a:cubicBezTo>
                      <a:cubicBezTo>
                        <a:pt x="111903" y="512762"/>
                        <a:pt x="116892" y="512762"/>
                        <a:pt x="121881" y="512762"/>
                      </a:cubicBezTo>
                      <a:cubicBezTo>
                        <a:pt x="439057" y="512762"/>
                        <a:pt x="439057" y="512762"/>
                        <a:pt x="439057" y="512762"/>
                      </a:cubicBezTo>
                      <a:cubicBezTo>
                        <a:pt x="447610" y="512762"/>
                        <a:pt x="454025" y="519978"/>
                        <a:pt x="454025" y="528637"/>
                      </a:cubicBezTo>
                      <a:cubicBezTo>
                        <a:pt x="454025" y="530080"/>
                        <a:pt x="454025" y="530802"/>
                        <a:pt x="454025" y="531523"/>
                      </a:cubicBezTo>
                      <a:cubicBezTo>
                        <a:pt x="454025" y="532245"/>
                        <a:pt x="454025" y="532967"/>
                        <a:pt x="453312" y="532967"/>
                      </a:cubicBezTo>
                      <a:cubicBezTo>
                        <a:pt x="453312" y="533688"/>
                        <a:pt x="453312" y="533688"/>
                        <a:pt x="453312" y="533688"/>
                      </a:cubicBezTo>
                      <a:cubicBezTo>
                        <a:pt x="451887" y="538739"/>
                        <a:pt x="449036" y="542347"/>
                        <a:pt x="444047" y="543791"/>
                      </a:cubicBezTo>
                      <a:cubicBezTo>
                        <a:pt x="443334" y="543791"/>
                        <a:pt x="443334" y="543791"/>
                        <a:pt x="443334" y="543791"/>
                      </a:cubicBezTo>
                      <a:cubicBezTo>
                        <a:pt x="442621" y="543791"/>
                        <a:pt x="441908" y="543791"/>
                        <a:pt x="441908" y="544512"/>
                      </a:cubicBezTo>
                      <a:cubicBezTo>
                        <a:pt x="440483" y="544512"/>
                        <a:pt x="439770" y="544512"/>
                        <a:pt x="439057" y="544512"/>
                      </a:cubicBezTo>
                      <a:cubicBezTo>
                        <a:pt x="282964" y="544512"/>
                        <a:pt x="184604" y="544512"/>
                        <a:pt x="121881" y="544512"/>
                      </a:cubicBezTo>
                      <a:cubicBezTo>
                        <a:pt x="116892" y="544512"/>
                        <a:pt x="111190" y="544512"/>
                        <a:pt x="106201" y="544512"/>
                      </a:cubicBezTo>
                      <a:cubicBezTo>
                        <a:pt x="101211" y="544512"/>
                        <a:pt x="95509" y="544512"/>
                        <a:pt x="90520" y="544512"/>
                      </a:cubicBezTo>
                      <a:cubicBezTo>
                        <a:pt x="15681" y="544512"/>
                        <a:pt x="15681" y="544512"/>
                        <a:pt x="15681" y="544512"/>
                      </a:cubicBezTo>
                      <a:cubicBezTo>
                        <a:pt x="7128" y="544512"/>
                        <a:pt x="0" y="538018"/>
                        <a:pt x="0" y="528637"/>
                      </a:cubicBezTo>
                      <a:cubicBezTo>
                        <a:pt x="0" y="519978"/>
                        <a:pt x="7128" y="512762"/>
                        <a:pt x="15681" y="512762"/>
                      </a:cubicBezTo>
                      <a:close/>
                      <a:moveTo>
                        <a:pt x="15681" y="411162"/>
                      </a:moveTo>
                      <a:cubicBezTo>
                        <a:pt x="42053" y="411162"/>
                        <a:pt x="67712" y="411162"/>
                        <a:pt x="90520" y="411162"/>
                      </a:cubicBezTo>
                      <a:cubicBezTo>
                        <a:pt x="96222" y="411162"/>
                        <a:pt x="101211" y="411162"/>
                        <a:pt x="106201" y="411162"/>
                      </a:cubicBezTo>
                      <a:cubicBezTo>
                        <a:pt x="111903" y="411162"/>
                        <a:pt x="116892" y="411162"/>
                        <a:pt x="121881" y="411162"/>
                      </a:cubicBezTo>
                      <a:cubicBezTo>
                        <a:pt x="439057" y="411162"/>
                        <a:pt x="439057" y="411162"/>
                        <a:pt x="439057" y="411162"/>
                      </a:cubicBezTo>
                      <a:cubicBezTo>
                        <a:pt x="447610" y="411162"/>
                        <a:pt x="454025" y="418177"/>
                        <a:pt x="454025" y="426594"/>
                      </a:cubicBezTo>
                      <a:cubicBezTo>
                        <a:pt x="454025" y="435012"/>
                        <a:pt x="447610" y="441325"/>
                        <a:pt x="439057" y="441325"/>
                      </a:cubicBezTo>
                      <a:cubicBezTo>
                        <a:pt x="282964" y="441325"/>
                        <a:pt x="184604" y="441325"/>
                        <a:pt x="121881" y="441325"/>
                      </a:cubicBezTo>
                      <a:cubicBezTo>
                        <a:pt x="116892" y="441325"/>
                        <a:pt x="111190" y="441325"/>
                        <a:pt x="106201" y="441325"/>
                      </a:cubicBezTo>
                      <a:cubicBezTo>
                        <a:pt x="101211" y="441325"/>
                        <a:pt x="95509" y="441325"/>
                        <a:pt x="90520" y="441325"/>
                      </a:cubicBezTo>
                      <a:cubicBezTo>
                        <a:pt x="15681" y="441325"/>
                        <a:pt x="15681" y="441325"/>
                        <a:pt x="15681" y="441325"/>
                      </a:cubicBezTo>
                      <a:cubicBezTo>
                        <a:pt x="7128" y="441325"/>
                        <a:pt x="0" y="435012"/>
                        <a:pt x="0" y="426594"/>
                      </a:cubicBezTo>
                      <a:cubicBezTo>
                        <a:pt x="0" y="418177"/>
                        <a:pt x="7128" y="411162"/>
                        <a:pt x="15681" y="411162"/>
                      </a:cubicBezTo>
                      <a:close/>
                      <a:moveTo>
                        <a:pt x="15681" y="307975"/>
                      </a:moveTo>
                      <a:cubicBezTo>
                        <a:pt x="42053" y="307975"/>
                        <a:pt x="67712" y="307975"/>
                        <a:pt x="90520" y="307975"/>
                      </a:cubicBezTo>
                      <a:cubicBezTo>
                        <a:pt x="96222" y="307975"/>
                        <a:pt x="101211" y="307975"/>
                        <a:pt x="106201" y="307975"/>
                      </a:cubicBezTo>
                      <a:cubicBezTo>
                        <a:pt x="111903" y="307975"/>
                        <a:pt x="116892" y="307975"/>
                        <a:pt x="121881" y="307975"/>
                      </a:cubicBezTo>
                      <a:cubicBezTo>
                        <a:pt x="439057" y="307975"/>
                        <a:pt x="439057" y="307975"/>
                        <a:pt x="439057" y="307975"/>
                      </a:cubicBezTo>
                      <a:cubicBezTo>
                        <a:pt x="447610" y="307975"/>
                        <a:pt x="454025" y="315157"/>
                        <a:pt x="454025" y="323057"/>
                      </a:cubicBezTo>
                      <a:cubicBezTo>
                        <a:pt x="454025" y="330956"/>
                        <a:pt x="447610" y="338138"/>
                        <a:pt x="439057" y="338138"/>
                      </a:cubicBezTo>
                      <a:cubicBezTo>
                        <a:pt x="282964" y="338138"/>
                        <a:pt x="184604" y="338138"/>
                        <a:pt x="121881" y="338138"/>
                      </a:cubicBezTo>
                      <a:cubicBezTo>
                        <a:pt x="116892" y="338138"/>
                        <a:pt x="111190" y="338138"/>
                        <a:pt x="106201" y="338138"/>
                      </a:cubicBezTo>
                      <a:cubicBezTo>
                        <a:pt x="101211" y="338138"/>
                        <a:pt x="95509" y="338138"/>
                        <a:pt x="90520" y="338138"/>
                      </a:cubicBezTo>
                      <a:cubicBezTo>
                        <a:pt x="15681" y="338138"/>
                        <a:pt x="15681" y="338138"/>
                        <a:pt x="15681" y="338138"/>
                      </a:cubicBezTo>
                      <a:cubicBezTo>
                        <a:pt x="7128" y="338138"/>
                        <a:pt x="0" y="330956"/>
                        <a:pt x="0" y="323057"/>
                      </a:cubicBezTo>
                      <a:cubicBezTo>
                        <a:pt x="0" y="315157"/>
                        <a:pt x="7128" y="307975"/>
                        <a:pt x="15681" y="307975"/>
                      </a:cubicBezTo>
                      <a:close/>
                      <a:moveTo>
                        <a:pt x="15681" y="204787"/>
                      </a:moveTo>
                      <a:cubicBezTo>
                        <a:pt x="42053" y="204787"/>
                        <a:pt x="67712" y="204787"/>
                        <a:pt x="90520" y="204787"/>
                      </a:cubicBezTo>
                      <a:cubicBezTo>
                        <a:pt x="96222" y="204787"/>
                        <a:pt x="101211" y="204787"/>
                        <a:pt x="106201" y="204787"/>
                      </a:cubicBezTo>
                      <a:cubicBezTo>
                        <a:pt x="111903" y="204787"/>
                        <a:pt x="116892" y="204787"/>
                        <a:pt x="121881" y="204787"/>
                      </a:cubicBezTo>
                      <a:cubicBezTo>
                        <a:pt x="439057" y="204787"/>
                        <a:pt x="439057" y="204787"/>
                        <a:pt x="439057" y="204787"/>
                      </a:cubicBezTo>
                      <a:cubicBezTo>
                        <a:pt x="447610" y="204787"/>
                        <a:pt x="454025" y="211802"/>
                        <a:pt x="454025" y="220219"/>
                      </a:cubicBezTo>
                      <a:cubicBezTo>
                        <a:pt x="454025" y="227935"/>
                        <a:pt x="447610" y="234950"/>
                        <a:pt x="439057" y="234950"/>
                      </a:cubicBezTo>
                      <a:cubicBezTo>
                        <a:pt x="282964" y="234950"/>
                        <a:pt x="184604" y="234950"/>
                        <a:pt x="121881" y="234950"/>
                      </a:cubicBezTo>
                      <a:cubicBezTo>
                        <a:pt x="116892" y="234950"/>
                        <a:pt x="111190" y="234950"/>
                        <a:pt x="106201" y="234950"/>
                      </a:cubicBezTo>
                      <a:cubicBezTo>
                        <a:pt x="101211" y="234950"/>
                        <a:pt x="95509" y="234950"/>
                        <a:pt x="90520" y="234950"/>
                      </a:cubicBezTo>
                      <a:cubicBezTo>
                        <a:pt x="15681" y="234950"/>
                        <a:pt x="15681" y="234950"/>
                        <a:pt x="15681" y="234950"/>
                      </a:cubicBezTo>
                      <a:cubicBezTo>
                        <a:pt x="7128" y="234950"/>
                        <a:pt x="0" y="227935"/>
                        <a:pt x="0" y="220219"/>
                      </a:cubicBezTo>
                      <a:cubicBezTo>
                        <a:pt x="0" y="211802"/>
                        <a:pt x="7128" y="204787"/>
                        <a:pt x="15681" y="204787"/>
                      </a:cubicBezTo>
                      <a:close/>
                      <a:moveTo>
                        <a:pt x="15681" y="101600"/>
                      </a:moveTo>
                      <a:cubicBezTo>
                        <a:pt x="42053" y="101600"/>
                        <a:pt x="67712" y="101600"/>
                        <a:pt x="90520" y="101600"/>
                      </a:cubicBezTo>
                      <a:cubicBezTo>
                        <a:pt x="96222" y="101600"/>
                        <a:pt x="101211" y="101600"/>
                        <a:pt x="106201" y="101600"/>
                      </a:cubicBezTo>
                      <a:cubicBezTo>
                        <a:pt x="111903" y="101600"/>
                        <a:pt x="116892" y="101600"/>
                        <a:pt x="121881" y="101600"/>
                      </a:cubicBezTo>
                      <a:cubicBezTo>
                        <a:pt x="439057" y="101600"/>
                        <a:pt x="439057" y="101600"/>
                        <a:pt x="439057" y="101600"/>
                      </a:cubicBezTo>
                      <a:cubicBezTo>
                        <a:pt x="447610" y="101600"/>
                        <a:pt x="454025" y="108816"/>
                        <a:pt x="454025" y="117475"/>
                      </a:cubicBezTo>
                      <a:cubicBezTo>
                        <a:pt x="454025" y="126134"/>
                        <a:pt x="447610" y="133350"/>
                        <a:pt x="439057" y="133350"/>
                      </a:cubicBezTo>
                      <a:cubicBezTo>
                        <a:pt x="282964" y="133350"/>
                        <a:pt x="184604" y="133350"/>
                        <a:pt x="121881" y="133350"/>
                      </a:cubicBezTo>
                      <a:cubicBezTo>
                        <a:pt x="116892" y="133350"/>
                        <a:pt x="111190" y="133350"/>
                        <a:pt x="106201" y="133350"/>
                      </a:cubicBezTo>
                      <a:cubicBezTo>
                        <a:pt x="101211" y="133350"/>
                        <a:pt x="95509" y="133350"/>
                        <a:pt x="90520" y="133350"/>
                      </a:cubicBezTo>
                      <a:cubicBezTo>
                        <a:pt x="15681" y="133350"/>
                        <a:pt x="15681" y="133350"/>
                        <a:pt x="15681" y="133350"/>
                      </a:cubicBezTo>
                      <a:cubicBezTo>
                        <a:pt x="7128" y="133350"/>
                        <a:pt x="0" y="126134"/>
                        <a:pt x="0" y="117475"/>
                      </a:cubicBezTo>
                      <a:cubicBezTo>
                        <a:pt x="0" y="108816"/>
                        <a:pt x="7128" y="101600"/>
                        <a:pt x="15681" y="101600"/>
                      </a:cubicBezTo>
                      <a:close/>
                      <a:moveTo>
                        <a:pt x="15681" y="0"/>
                      </a:moveTo>
                      <a:cubicBezTo>
                        <a:pt x="42053" y="0"/>
                        <a:pt x="67712" y="0"/>
                        <a:pt x="90520" y="0"/>
                      </a:cubicBezTo>
                      <a:cubicBezTo>
                        <a:pt x="96222" y="0"/>
                        <a:pt x="101211" y="0"/>
                        <a:pt x="106201" y="0"/>
                      </a:cubicBezTo>
                      <a:cubicBezTo>
                        <a:pt x="111903" y="0"/>
                        <a:pt x="116892" y="0"/>
                        <a:pt x="121881" y="0"/>
                      </a:cubicBezTo>
                      <a:cubicBezTo>
                        <a:pt x="439057" y="0"/>
                        <a:pt x="439057" y="0"/>
                        <a:pt x="439057" y="0"/>
                      </a:cubicBezTo>
                      <a:cubicBezTo>
                        <a:pt x="447610" y="0"/>
                        <a:pt x="454025" y="6313"/>
                        <a:pt x="454025" y="15432"/>
                      </a:cubicBezTo>
                      <a:cubicBezTo>
                        <a:pt x="454025" y="23148"/>
                        <a:pt x="447610" y="30163"/>
                        <a:pt x="439057" y="30163"/>
                      </a:cubicBezTo>
                      <a:cubicBezTo>
                        <a:pt x="282964" y="30163"/>
                        <a:pt x="184604" y="30163"/>
                        <a:pt x="121881" y="30163"/>
                      </a:cubicBezTo>
                      <a:cubicBezTo>
                        <a:pt x="116892" y="30163"/>
                        <a:pt x="111190" y="30163"/>
                        <a:pt x="106201" y="30163"/>
                      </a:cubicBezTo>
                      <a:cubicBezTo>
                        <a:pt x="101211" y="30163"/>
                        <a:pt x="95509" y="30163"/>
                        <a:pt x="90520" y="30163"/>
                      </a:cubicBezTo>
                      <a:cubicBezTo>
                        <a:pt x="15681" y="30163"/>
                        <a:pt x="15681" y="30163"/>
                        <a:pt x="15681" y="30163"/>
                      </a:cubicBezTo>
                      <a:cubicBezTo>
                        <a:pt x="7128" y="30163"/>
                        <a:pt x="0" y="23148"/>
                        <a:pt x="0" y="15432"/>
                      </a:cubicBezTo>
                      <a:cubicBezTo>
                        <a:pt x="0" y="6313"/>
                        <a:pt x="7128" y="0"/>
                        <a:pt x="15681" y="0"/>
                      </a:cubicBezTo>
                      <a:close/>
                    </a:path>
                  </a:pathLst>
                </a:custGeom>
                <a:solidFill>
                  <a:srgbClr val="40339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D6FF00DB-02F8-4847-A604-80787CFB30CE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7" name="Oval 20">
            <a:extLst>
              <a:ext uri="{FF2B5EF4-FFF2-40B4-BE49-F238E27FC236}">
                <a16:creationId xmlns:a16="http://schemas.microsoft.com/office/drawing/2014/main" id="{6BD004CD-8A39-471B-AC7E-B6D986F5B35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18529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4B0C60-90C3-4B11-9088-5944CB0D0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724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4B0C60-90C3-4B11-9088-5944CB0D0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24364D6-0FA9-4E28-86EE-C0AAF7297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rket Maker collaboration with training providers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74B13FAF-20C0-4E25-B320-8E17C2A05DD2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32B22EDD-710E-49F9-90DF-5DB4632457E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4774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e4pContent1"/>
          <p:cNvSpPr txBox="1"/>
          <p:nvPr/>
        </p:nvSpPr>
        <p:spPr>
          <a:xfrm>
            <a:off x="4389120" y="2119978"/>
            <a:ext cx="7101840" cy="42645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/>
              <a:t>Objective of subsequent training partner materials are to help Market Makers know: </a:t>
            </a:r>
          </a:p>
          <a:p>
            <a:pPr lvl="1"/>
            <a:r>
              <a:rPr lang="en-US"/>
              <a:t>What in-demand occupations does CTI fund? </a:t>
            </a:r>
          </a:p>
          <a:p>
            <a:pPr lvl="1"/>
            <a:r>
              <a:rPr lang="en-US"/>
              <a:t>What programs are CTI training partners running?</a:t>
            </a:r>
          </a:p>
          <a:p>
            <a:pPr lvl="1"/>
            <a:r>
              <a:rPr lang="en-US"/>
              <a:t>Who are the CTI training partners in their regions?</a:t>
            </a:r>
          </a:p>
          <a:p>
            <a:pPr>
              <a:buNone/>
            </a:pP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raining providers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B4E6D6F6-82DD-4390-A3D8-8722450467B9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3D516B01-4A06-4ACC-8F16-7A241F2C99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3E86B60-D4F8-4173-A968-ED2AFC13765C}"/>
              </a:ext>
            </a:extLst>
          </p:cNvPr>
          <p:cNvSpPr txBox="1">
            <a:spLocks/>
          </p:cNvSpPr>
          <p:nvPr/>
        </p:nvSpPr>
        <p:spPr>
          <a:xfrm>
            <a:off x="462684" y="304799"/>
            <a:ext cx="2257367" cy="26235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Market Maker collaboration with training provide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924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63" progId="TCLayout.ActiveDocument.1">
                  <p:embed/>
                </p:oleObj>
              </mc:Choice>
              <mc:Fallback>
                <p:oleObj name="think-cell Slide" r:id="rId4" imgW="353" imgH="363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793F5D3A-616F-4916-8EFF-646B1E7FD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+mn-l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F425FCCA-B1BF-4170-86B6-53654201F7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ABA3FDE-432E-49C9-9799-1D649C0DACD7}"/>
              </a:ext>
            </a:extLst>
          </p:cNvPr>
          <p:cNvSpPr/>
          <p:nvPr/>
        </p:nvSpPr>
        <p:spPr>
          <a:xfrm>
            <a:off x="0" y="0"/>
            <a:ext cx="12192000" cy="120449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E0BD79B-374D-4C96-BC27-62C3DA7264EC}"/>
              </a:ext>
            </a:extLst>
          </p:cNvPr>
          <p:cNvSpPr/>
          <p:nvPr/>
        </p:nvSpPr>
        <p:spPr>
          <a:xfrm>
            <a:off x="0" y="1271333"/>
            <a:ext cx="12192000" cy="1016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endParaRPr lang="en-US" kern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5" name="Title 5">
            <a:extLst>
              <a:ext uri="{FF2B5EF4-FFF2-40B4-BE49-F238E27FC236}">
                <a16:creationId xmlns:a16="http://schemas.microsoft.com/office/drawing/2014/main" id="{E69D46DB-DF5C-486A-8551-5BCCCDD28D53}"/>
              </a:ext>
            </a:extLst>
          </p:cNvPr>
          <p:cNvSpPr txBox="1">
            <a:spLocks/>
          </p:cNvSpPr>
          <p:nvPr/>
        </p:nvSpPr>
        <p:spPr>
          <a:xfrm>
            <a:off x="1722783" y="356026"/>
            <a:ext cx="9885281" cy="49244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chemeClr val="bg1"/>
                </a:solidFill>
                <a:latin typeface="+mj-lt"/>
                <a:sym typeface="+mn-lt"/>
              </a:rPr>
              <a:t>CTI funds training for 20 in-demand occupations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AF79AE6A-6563-449D-B605-426043655B45}"/>
              </a:ext>
            </a:extLst>
          </p:cNvPr>
          <p:cNvGrpSpPr>
            <a:grpSpLocks noChangeAspect="1"/>
          </p:cNvGrpSpPr>
          <p:nvPr/>
        </p:nvGrpSpPr>
        <p:grpSpPr>
          <a:xfrm>
            <a:off x="599103" y="174864"/>
            <a:ext cx="853974" cy="854766"/>
            <a:chOff x="5273801" y="2606040"/>
            <a:chExt cx="1644396" cy="1645920"/>
          </a:xfrm>
        </p:grpSpPr>
        <p:sp>
          <p:nvSpPr>
            <p:cNvPr id="91" name="AutoShape 8">
              <a:extLst>
                <a:ext uri="{FF2B5EF4-FFF2-40B4-BE49-F238E27FC236}">
                  <a16:creationId xmlns:a16="http://schemas.microsoft.com/office/drawing/2014/main" id="{287B2C8B-203B-410A-8265-54EDA7EE0AE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D4DCA1A-7C9E-476B-8990-9AA377C3BC0A}"/>
                </a:ext>
              </a:extLst>
            </p:cNvPr>
            <p:cNvGrpSpPr/>
            <p:nvPr/>
          </p:nvGrpSpPr>
          <p:grpSpPr>
            <a:xfrm>
              <a:off x="5452109" y="2739771"/>
              <a:ext cx="1288923" cy="1264920"/>
              <a:chOff x="5452109" y="2739771"/>
              <a:chExt cx="1288923" cy="1264920"/>
            </a:xfrm>
          </p:grpSpPr>
          <p:sp>
            <p:nvSpPr>
              <p:cNvPr id="93" name="Freeform 10">
                <a:extLst>
                  <a:ext uri="{FF2B5EF4-FFF2-40B4-BE49-F238E27FC236}">
                    <a16:creationId xmlns:a16="http://schemas.microsoft.com/office/drawing/2014/main" id="{C0FDC4CC-C6B4-4C72-BC5A-EB1132E84E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52109" y="3198114"/>
                <a:ext cx="1288923" cy="806577"/>
              </a:xfrm>
              <a:custGeom>
                <a:avLst/>
                <a:gdLst>
                  <a:gd name="T0" fmla="*/ 26 w 1806"/>
                  <a:gd name="T1" fmla="*/ 1129 h 1129"/>
                  <a:gd name="T2" fmla="*/ 5 w 1806"/>
                  <a:gd name="T3" fmla="*/ 1099 h 1129"/>
                  <a:gd name="T4" fmla="*/ 223 w 1806"/>
                  <a:gd name="T5" fmla="*/ 782 h 1129"/>
                  <a:gd name="T6" fmla="*/ 611 w 1806"/>
                  <a:gd name="T7" fmla="*/ 716 h 1129"/>
                  <a:gd name="T8" fmla="*/ 611 w 1806"/>
                  <a:gd name="T9" fmla="*/ 716 h 1129"/>
                  <a:gd name="T10" fmla="*/ 908 w 1806"/>
                  <a:gd name="T11" fmla="*/ 856 h 1129"/>
                  <a:gd name="T12" fmla="*/ 898 w 1806"/>
                  <a:gd name="T13" fmla="*/ 856 h 1129"/>
                  <a:gd name="T14" fmla="*/ 1195 w 1806"/>
                  <a:gd name="T15" fmla="*/ 716 h 1129"/>
                  <a:gd name="T16" fmla="*/ 1195 w 1806"/>
                  <a:gd name="T17" fmla="*/ 716 h 1129"/>
                  <a:gd name="T18" fmla="*/ 1583 w 1806"/>
                  <a:gd name="T19" fmla="*/ 782 h 1129"/>
                  <a:gd name="T20" fmla="*/ 1801 w 1806"/>
                  <a:gd name="T21" fmla="*/ 1099 h 1129"/>
                  <a:gd name="T22" fmla="*/ 1780 w 1806"/>
                  <a:gd name="T23" fmla="*/ 1129 h 1129"/>
                  <a:gd name="T24" fmla="*/ 26 w 1806"/>
                  <a:gd name="T25" fmla="*/ 1129 h 1129"/>
                  <a:gd name="T26" fmla="*/ 1329 w 1806"/>
                  <a:gd name="T27" fmla="*/ 192 h 1129"/>
                  <a:gd name="T28" fmla="*/ 1283 w 1806"/>
                  <a:gd name="T29" fmla="*/ 245 h 1129"/>
                  <a:gd name="T30" fmla="*/ 1273 w 1806"/>
                  <a:gd name="T31" fmla="*/ 257 h 1129"/>
                  <a:gd name="T32" fmla="*/ 1129 w 1806"/>
                  <a:gd name="T33" fmla="*/ 559 h 1129"/>
                  <a:gd name="T34" fmla="*/ 903 w 1806"/>
                  <a:gd name="T35" fmla="*/ 672 h 1129"/>
                  <a:gd name="T36" fmla="*/ 677 w 1806"/>
                  <a:gd name="T37" fmla="*/ 559 h 1129"/>
                  <a:gd name="T38" fmla="*/ 533 w 1806"/>
                  <a:gd name="T39" fmla="*/ 257 h 1129"/>
                  <a:gd name="T40" fmla="*/ 523 w 1806"/>
                  <a:gd name="T41" fmla="*/ 245 h 1129"/>
                  <a:gd name="T42" fmla="*/ 477 w 1806"/>
                  <a:gd name="T43" fmla="*/ 192 h 1129"/>
                  <a:gd name="T44" fmla="*/ 426 w 1806"/>
                  <a:gd name="T45" fmla="*/ 168 h 1129"/>
                  <a:gd name="T46" fmla="*/ 426 w 1806"/>
                  <a:gd name="T47" fmla="*/ 173 h 1129"/>
                  <a:gd name="T48" fmla="*/ 495 w 1806"/>
                  <a:gd name="T49" fmla="*/ 280 h 1129"/>
                  <a:gd name="T50" fmla="*/ 639 w 1806"/>
                  <a:gd name="T51" fmla="*/ 582 h 1129"/>
                  <a:gd name="T52" fmla="*/ 639 w 1806"/>
                  <a:gd name="T53" fmla="*/ 680 h 1129"/>
                  <a:gd name="T54" fmla="*/ 646 w 1806"/>
                  <a:gd name="T55" fmla="*/ 690 h 1129"/>
                  <a:gd name="T56" fmla="*/ 683 w 1806"/>
                  <a:gd name="T57" fmla="*/ 728 h 1129"/>
                  <a:gd name="T58" fmla="*/ 683 w 1806"/>
                  <a:gd name="T59" fmla="*/ 619 h 1129"/>
                  <a:gd name="T60" fmla="*/ 903 w 1806"/>
                  <a:gd name="T61" fmla="*/ 716 h 1129"/>
                  <a:gd name="T62" fmla="*/ 1123 w 1806"/>
                  <a:gd name="T63" fmla="*/ 619 h 1129"/>
                  <a:gd name="T64" fmla="*/ 1123 w 1806"/>
                  <a:gd name="T65" fmla="*/ 728 h 1129"/>
                  <a:gd name="T66" fmla="*/ 1160 w 1806"/>
                  <a:gd name="T67" fmla="*/ 690 h 1129"/>
                  <a:gd name="T68" fmla="*/ 1167 w 1806"/>
                  <a:gd name="T69" fmla="*/ 680 h 1129"/>
                  <a:gd name="T70" fmla="*/ 1167 w 1806"/>
                  <a:gd name="T71" fmla="*/ 582 h 1129"/>
                  <a:gd name="T72" fmla="*/ 1311 w 1806"/>
                  <a:gd name="T73" fmla="*/ 280 h 1129"/>
                  <a:gd name="T74" fmla="*/ 1380 w 1806"/>
                  <a:gd name="T75" fmla="*/ 171 h 1129"/>
                  <a:gd name="T76" fmla="*/ 1380 w 1806"/>
                  <a:gd name="T77" fmla="*/ 168 h 1129"/>
                  <a:gd name="T78" fmla="*/ 1329 w 1806"/>
                  <a:gd name="T79" fmla="*/ 192 h 1129"/>
                  <a:gd name="T80" fmla="*/ 529 w 1806"/>
                  <a:gd name="T81" fmla="*/ 52 h 1129"/>
                  <a:gd name="T82" fmla="*/ 471 w 1806"/>
                  <a:gd name="T83" fmla="*/ 23 h 1129"/>
                  <a:gd name="T84" fmla="*/ 432 w 1806"/>
                  <a:gd name="T85" fmla="*/ 4 h 1129"/>
                  <a:gd name="T86" fmla="*/ 450 w 1806"/>
                  <a:gd name="T87" fmla="*/ 100 h 1129"/>
                  <a:gd name="T88" fmla="*/ 450 w 1806"/>
                  <a:gd name="T89" fmla="*/ 101 h 1129"/>
                  <a:gd name="T90" fmla="*/ 497 w 1806"/>
                  <a:gd name="T91" fmla="*/ 161 h 1129"/>
                  <a:gd name="T92" fmla="*/ 528 w 1806"/>
                  <a:gd name="T93" fmla="*/ 164 h 1129"/>
                  <a:gd name="T94" fmla="*/ 529 w 1806"/>
                  <a:gd name="T95" fmla="*/ 52 h 1129"/>
                  <a:gd name="T96" fmla="*/ 1298 w 1806"/>
                  <a:gd name="T97" fmla="*/ 38 h 1129"/>
                  <a:gd name="T98" fmla="*/ 1268 w 1806"/>
                  <a:gd name="T99" fmla="*/ 53 h 1129"/>
                  <a:gd name="T100" fmla="*/ 1270 w 1806"/>
                  <a:gd name="T101" fmla="*/ 170 h 1129"/>
                  <a:gd name="T102" fmla="*/ 1304 w 1806"/>
                  <a:gd name="T103" fmla="*/ 170 h 1129"/>
                  <a:gd name="T104" fmla="*/ 1358 w 1806"/>
                  <a:gd name="T105" fmla="*/ 94 h 1129"/>
                  <a:gd name="T106" fmla="*/ 1358 w 1806"/>
                  <a:gd name="T107" fmla="*/ 95 h 1129"/>
                  <a:gd name="T108" fmla="*/ 1374 w 1806"/>
                  <a:gd name="T109" fmla="*/ 0 h 1129"/>
                  <a:gd name="T110" fmla="*/ 1298 w 1806"/>
                  <a:gd name="T111" fmla="*/ 38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06" h="1129">
                    <a:moveTo>
                      <a:pt x="26" y="1129"/>
                    </a:moveTo>
                    <a:cubicBezTo>
                      <a:pt x="10" y="1129"/>
                      <a:pt x="0" y="1113"/>
                      <a:pt x="5" y="1099"/>
                    </a:cubicBezTo>
                    <a:cubicBezTo>
                      <a:pt x="33" y="1025"/>
                      <a:pt x="113" y="832"/>
                      <a:pt x="223" y="782"/>
                    </a:cubicBezTo>
                    <a:cubicBezTo>
                      <a:pt x="359" y="719"/>
                      <a:pt x="611" y="716"/>
                      <a:pt x="611" y="716"/>
                    </a:cubicBezTo>
                    <a:cubicBezTo>
                      <a:pt x="611" y="716"/>
                      <a:pt x="611" y="716"/>
                      <a:pt x="611" y="716"/>
                    </a:cubicBezTo>
                    <a:cubicBezTo>
                      <a:pt x="611" y="716"/>
                      <a:pt x="711" y="856"/>
                      <a:pt x="908" y="856"/>
                    </a:cubicBezTo>
                    <a:cubicBezTo>
                      <a:pt x="898" y="856"/>
                      <a:pt x="898" y="856"/>
                      <a:pt x="898" y="856"/>
                    </a:cubicBezTo>
                    <a:cubicBezTo>
                      <a:pt x="1095" y="856"/>
                      <a:pt x="1195" y="716"/>
                      <a:pt x="1195" y="716"/>
                    </a:cubicBezTo>
                    <a:cubicBezTo>
                      <a:pt x="1195" y="716"/>
                      <a:pt x="1195" y="716"/>
                      <a:pt x="1195" y="716"/>
                    </a:cubicBezTo>
                    <a:cubicBezTo>
                      <a:pt x="1195" y="716"/>
                      <a:pt x="1447" y="719"/>
                      <a:pt x="1583" y="782"/>
                    </a:cubicBezTo>
                    <a:cubicBezTo>
                      <a:pt x="1693" y="832"/>
                      <a:pt x="1773" y="1025"/>
                      <a:pt x="1801" y="1099"/>
                    </a:cubicBezTo>
                    <a:cubicBezTo>
                      <a:pt x="1806" y="1113"/>
                      <a:pt x="1796" y="1129"/>
                      <a:pt x="1780" y="1129"/>
                    </a:cubicBezTo>
                    <a:lnTo>
                      <a:pt x="26" y="1129"/>
                    </a:lnTo>
                    <a:close/>
                    <a:moveTo>
                      <a:pt x="1329" y="192"/>
                    </a:moveTo>
                    <a:cubicBezTo>
                      <a:pt x="1322" y="211"/>
                      <a:pt x="1308" y="233"/>
                      <a:pt x="1283" y="245"/>
                    </a:cubicBezTo>
                    <a:cubicBezTo>
                      <a:pt x="1278" y="248"/>
                      <a:pt x="1274" y="252"/>
                      <a:pt x="1273" y="257"/>
                    </a:cubicBezTo>
                    <a:cubicBezTo>
                      <a:pt x="1232" y="360"/>
                      <a:pt x="1157" y="533"/>
                      <a:pt x="1129" y="559"/>
                    </a:cubicBezTo>
                    <a:cubicBezTo>
                      <a:pt x="1084" y="598"/>
                      <a:pt x="968" y="672"/>
                      <a:pt x="903" y="672"/>
                    </a:cubicBezTo>
                    <a:cubicBezTo>
                      <a:pt x="838" y="672"/>
                      <a:pt x="722" y="598"/>
                      <a:pt x="677" y="559"/>
                    </a:cubicBezTo>
                    <a:cubicBezTo>
                      <a:pt x="649" y="533"/>
                      <a:pt x="574" y="360"/>
                      <a:pt x="533" y="257"/>
                    </a:cubicBezTo>
                    <a:cubicBezTo>
                      <a:pt x="532" y="252"/>
                      <a:pt x="528" y="248"/>
                      <a:pt x="523" y="245"/>
                    </a:cubicBezTo>
                    <a:cubicBezTo>
                      <a:pt x="498" y="233"/>
                      <a:pt x="484" y="211"/>
                      <a:pt x="477" y="192"/>
                    </a:cubicBezTo>
                    <a:cubicBezTo>
                      <a:pt x="426" y="168"/>
                      <a:pt x="426" y="168"/>
                      <a:pt x="426" y="168"/>
                    </a:cubicBezTo>
                    <a:cubicBezTo>
                      <a:pt x="426" y="170"/>
                      <a:pt x="426" y="172"/>
                      <a:pt x="426" y="173"/>
                    </a:cubicBezTo>
                    <a:cubicBezTo>
                      <a:pt x="431" y="201"/>
                      <a:pt x="446" y="251"/>
                      <a:pt x="495" y="280"/>
                    </a:cubicBezTo>
                    <a:cubicBezTo>
                      <a:pt x="517" y="336"/>
                      <a:pt x="594" y="527"/>
                      <a:pt x="639" y="582"/>
                    </a:cubicBezTo>
                    <a:cubicBezTo>
                      <a:pt x="639" y="680"/>
                      <a:pt x="639" y="680"/>
                      <a:pt x="639" y="680"/>
                    </a:cubicBezTo>
                    <a:cubicBezTo>
                      <a:pt x="646" y="690"/>
                      <a:pt x="646" y="690"/>
                      <a:pt x="646" y="690"/>
                    </a:cubicBezTo>
                    <a:cubicBezTo>
                      <a:pt x="648" y="692"/>
                      <a:pt x="660" y="708"/>
                      <a:pt x="683" y="728"/>
                    </a:cubicBezTo>
                    <a:cubicBezTo>
                      <a:pt x="683" y="619"/>
                      <a:pt x="683" y="619"/>
                      <a:pt x="683" y="619"/>
                    </a:cubicBezTo>
                    <a:cubicBezTo>
                      <a:pt x="742" y="662"/>
                      <a:pt x="838" y="716"/>
                      <a:pt x="903" y="716"/>
                    </a:cubicBezTo>
                    <a:cubicBezTo>
                      <a:pt x="968" y="716"/>
                      <a:pt x="1064" y="662"/>
                      <a:pt x="1123" y="619"/>
                    </a:cubicBezTo>
                    <a:cubicBezTo>
                      <a:pt x="1123" y="728"/>
                      <a:pt x="1123" y="728"/>
                      <a:pt x="1123" y="728"/>
                    </a:cubicBezTo>
                    <a:cubicBezTo>
                      <a:pt x="1146" y="708"/>
                      <a:pt x="1158" y="692"/>
                      <a:pt x="1160" y="690"/>
                    </a:cubicBezTo>
                    <a:cubicBezTo>
                      <a:pt x="1167" y="680"/>
                      <a:pt x="1167" y="680"/>
                      <a:pt x="1167" y="680"/>
                    </a:cubicBezTo>
                    <a:cubicBezTo>
                      <a:pt x="1167" y="582"/>
                      <a:pt x="1167" y="582"/>
                      <a:pt x="1167" y="582"/>
                    </a:cubicBezTo>
                    <a:cubicBezTo>
                      <a:pt x="1212" y="526"/>
                      <a:pt x="1289" y="336"/>
                      <a:pt x="1311" y="280"/>
                    </a:cubicBezTo>
                    <a:cubicBezTo>
                      <a:pt x="1363" y="250"/>
                      <a:pt x="1377" y="194"/>
                      <a:pt x="1380" y="171"/>
                    </a:cubicBezTo>
                    <a:cubicBezTo>
                      <a:pt x="1380" y="170"/>
                      <a:pt x="1380" y="169"/>
                      <a:pt x="1380" y="168"/>
                    </a:cubicBezTo>
                    <a:lnTo>
                      <a:pt x="1329" y="192"/>
                    </a:lnTo>
                    <a:close/>
                    <a:moveTo>
                      <a:pt x="529" y="52"/>
                    </a:moveTo>
                    <a:cubicBezTo>
                      <a:pt x="514" y="45"/>
                      <a:pt x="495" y="35"/>
                      <a:pt x="471" y="23"/>
                    </a:cubicBezTo>
                    <a:cubicBezTo>
                      <a:pt x="458" y="16"/>
                      <a:pt x="444" y="10"/>
                      <a:pt x="432" y="4"/>
                    </a:cubicBezTo>
                    <a:cubicBezTo>
                      <a:pt x="434" y="37"/>
                      <a:pt x="438" y="69"/>
                      <a:pt x="450" y="100"/>
                    </a:cubicBezTo>
                    <a:cubicBezTo>
                      <a:pt x="450" y="100"/>
                      <a:pt x="450" y="101"/>
                      <a:pt x="450" y="101"/>
                    </a:cubicBezTo>
                    <a:cubicBezTo>
                      <a:pt x="497" y="143"/>
                      <a:pt x="497" y="161"/>
                      <a:pt x="497" y="161"/>
                    </a:cubicBezTo>
                    <a:cubicBezTo>
                      <a:pt x="528" y="164"/>
                      <a:pt x="528" y="164"/>
                      <a:pt x="528" y="164"/>
                    </a:cubicBezTo>
                    <a:cubicBezTo>
                      <a:pt x="528" y="164"/>
                      <a:pt x="524" y="113"/>
                      <a:pt x="529" y="52"/>
                    </a:cubicBezTo>
                    <a:close/>
                    <a:moveTo>
                      <a:pt x="1298" y="38"/>
                    </a:moveTo>
                    <a:cubicBezTo>
                      <a:pt x="1286" y="44"/>
                      <a:pt x="1276" y="49"/>
                      <a:pt x="1268" y="53"/>
                    </a:cubicBezTo>
                    <a:cubicBezTo>
                      <a:pt x="1270" y="162"/>
                      <a:pt x="1270" y="170"/>
                      <a:pt x="1270" y="170"/>
                    </a:cubicBezTo>
                    <a:cubicBezTo>
                      <a:pt x="1304" y="170"/>
                      <a:pt x="1304" y="170"/>
                      <a:pt x="1304" y="170"/>
                    </a:cubicBezTo>
                    <a:cubicBezTo>
                      <a:pt x="1349" y="120"/>
                      <a:pt x="1356" y="95"/>
                      <a:pt x="1358" y="94"/>
                    </a:cubicBezTo>
                    <a:cubicBezTo>
                      <a:pt x="1358" y="95"/>
                      <a:pt x="1358" y="95"/>
                      <a:pt x="1358" y="95"/>
                    </a:cubicBezTo>
                    <a:cubicBezTo>
                      <a:pt x="1369" y="65"/>
                      <a:pt x="1373" y="33"/>
                      <a:pt x="1374" y="0"/>
                    </a:cubicBezTo>
                    <a:cubicBezTo>
                      <a:pt x="1355" y="10"/>
                      <a:pt x="1324" y="25"/>
                      <a:pt x="1298" y="3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11">
                <a:extLst>
                  <a:ext uri="{FF2B5EF4-FFF2-40B4-BE49-F238E27FC236}">
                    <a16:creationId xmlns:a16="http://schemas.microsoft.com/office/drawing/2014/main" id="{A80BD424-F6CF-4ED3-8CE5-C82E3281D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5756" y="2739771"/>
                <a:ext cx="842010" cy="526923"/>
              </a:xfrm>
              <a:custGeom>
                <a:avLst/>
                <a:gdLst>
                  <a:gd name="T0" fmla="*/ 1056 w 1180"/>
                  <a:gd name="T1" fmla="*/ 596 h 738"/>
                  <a:gd name="T2" fmla="*/ 1177 w 1180"/>
                  <a:gd name="T3" fmla="*/ 550 h 738"/>
                  <a:gd name="T4" fmla="*/ 1180 w 1180"/>
                  <a:gd name="T5" fmla="*/ 547 h 738"/>
                  <a:gd name="T6" fmla="*/ 1162 w 1180"/>
                  <a:gd name="T7" fmla="*/ 465 h 738"/>
                  <a:gd name="T8" fmla="*/ 1161 w 1180"/>
                  <a:gd name="T9" fmla="*/ 463 h 738"/>
                  <a:gd name="T10" fmla="*/ 1149 w 1180"/>
                  <a:gd name="T11" fmla="*/ 458 h 738"/>
                  <a:gd name="T12" fmla="*/ 1054 w 1180"/>
                  <a:gd name="T13" fmla="*/ 380 h 738"/>
                  <a:gd name="T14" fmla="*/ 1052 w 1180"/>
                  <a:gd name="T15" fmla="*/ 375 h 738"/>
                  <a:gd name="T16" fmla="*/ 791 w 1180"/>
                  <a:gd name="T17" fmla="*/ 53 h 738"/>
                  <a:gd name="T18" fmla="*/ 779 w 1180"/>
                  <a:gd name="T19" fmla="*/ 62 h 738"/>
                  <a:gd name="T20" fmla="*/ 781 w 1180"/>
                  <a:gd name="T21" fmla="*/ 501 h 738"/>
                  <a:gd name="T22" fmla="*/ 737 w 1180"/>
                  <a:gd name="T23" fmla="*/ 558 h 738"/>
                  <a:gd name="T24" fmla="*/ 737 w 1180"/>
                  <a:gd name="T25" fmla="*/ 558 h 738"/>
                  <a:gd name="T26" fmla="*/ 695 w 1180"/>
                  <a:gd name="T27" fmla="*/ 515 h 738"/>
                  <a:gd name="T28" fmla="*/ 695 w 1180"/>
                  <a:gd name="T29" fmla="*/ 501 h 738"/>
                  <a:gd name="T30" fmla="*/ 694 w 1180"/>
                  <a:gd name="T31" fmla="*/ 4 h 738"/>
                  <a:gd name="T32" fmla="*/ 694 w 1180"/>
                  <a:gd name="T33" fmla="*/ 0 h 738"/>
                  <a:gd name="T34" fmla="*/ 486 w 1180"/>
                  <a:gd name="T35" fmla="*/ 0 h 738"/>
                  <a:gd name="T36" fmla="*/ 486 w 1180"/>
                  <a:gd name="T37" fmla="*/ 4 h 738"/>
                  <a:gd name="T38" fmla="*/ 486 w 1180"/>
                  <a:gd name="T39" fmla="*/ 501 h 738"/>
                  <a:gd name="T40" fmla="*/ 486 w 1180"/>
                  <a:gd name="T41" fmla="*/ 501 h 738"/>
                  <a:gd name="T42" fmla="*/ 482 w 1180"/>
                  <a:gd name="T43" fmla="*/ 528 h 738"/>
                  <a:gd name="T44" fmla="*/ 443 w 1180"/>
                  <a:gd name="T45" fmla="*/ 558 h 738"/>
                  <a:gd name="T46" fmla="*/ 443 w 1180"/>
                  <a:gd name="T47" fmla="*/ 558 h 738"/>
                  <a:gd name="T48" fmla="*/ 401 w 1180"/>
                  <a:gd name="T49" fmla="*/ 515 h 738"/>
                  <a:gd name="T50" fmla="*/ 401 w 1180"/>
                  <a:gd name="T51" fmla="*/ 500 h 738"/>
                  <a:gd name="T52" fmla="*/ 402 w 1180"/>
                  <a:gd name="T53" fmla="*/ 62 h 738"/>
                  <a:gd name="T54" fmla="*/ 389 w 1180"/>
                  <a:gd name="T55" fmla="*/ 53 h 738"/>
                  <a:gd name="T56" fmla="*/ 128 w 1180"/>
                  <a:gd name="T57" fmla="*/ 375 h 738"/>
                  <a:gd name="T58" fmla="*/ 128 w 1180"/>
                  <a:gd name="T59" fmla="*/ 380 h 738"/>
                  <a:gd name="T60" fmla="*/ 33 w 1180"/>
                  <a:gd name="T61" fmla="*/ 458 h 738"/>
                  <a:gd name="T62" fmla="*/ 21 w 1180"/>
                  <a:gd name="T63" fmla="*/ 463 h 738"/>
                  <a:gd name="T64" fmla="*/ 18 w 1180"/>
                  <a:gd name="T65" fmla="*/ 465 h 738"/>
                  <a:gd name="T66" fmla="*/ 0 w 1180"/>
                  <a:gd name="T67" fmla="*/ 548 h 738"/>
                  <a:gd name="T68" fmla="*/ 3 w 1180"/>
                  <a:gd name="T69" fmla="*/ 552 h 738"/>
                  <a:gd name="T70" fmla="*/ 110 w 1180"/>
                  <a:gd name="T71" fmla="*/ 592 h 738"/>
                  <a:gd name="T72" fmla="*/ 267 w 1180"/>
                  <a:gd name="T73" fmla="*/ 669 h 738"/>
                  <a:gd name="T74" fmla="*/ 591 w 1180"/>
                  <a:gd name="T75" fmla="*/ 738 h 738"/>
                  <a:gd name="T76" fmla="*/ 915 w 1180"/>
                  <a:gd name="T77" fmla="*/ 666 h 738"/>
                  <a:gd name="T78" fmla="*/ 1056 w 1180"/>
                  <a:gd name="T79" fmla="*/ 596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180" h="738">
                    <a:moveTo>
                      <a:pt x="1056" y="596"/>
                    </a:moveTo>
                    <a:cubicBezTo>
                      <a:pt x="1093" y="578"/>
                      <a:pt x="1133" y="562"/>
                      <a:pt x="1177" y="550"/>
                    </a:cubicBezTo>
                    <a:cubicBezTo>
                      <a:pt x="1179" y="550"/>
                      <a:pt x="1180" y="548"/>
                      <a:pt x="1180" y="547"/>
                    </a:cubicBezTo>
                    <a:cubicBezTo>
                      <a:pt x="1179" y="519"/>
                      <a:pt x="1163" y="486"/>
                      <a:pt x="1162" y="465"/>
                    </a:cubicBezTo>
                    <a:cubicBezTo>
                      <a:pt x="1162" y="464"/>
                      <a:pt x="1162" y="463"/>
                      <a:pt x="1161" y="463"/>
                    </a:cubicBezTo>
                    <a:cubicBezTo>
                      <a:pt x="1157" y="461"/>
                      <a:pt x="1152" y="459"/>
                      <a:pt x="1149" y="458"/>
                    </a:cubicBezTo>
                    <a:cubicBezTo>
                      <a:pt x="1118" y="447"/>
                      <a:pt x="1073" y="456"/>
                      <a:pt x="1054" y="380"/>
                    </a:cubicBezTo>
                    <a:cubicBezTo>
                      <a:pt x="1052" y="375"/>
                      <a:pt x="1052" y="375"/>
                      <a:pt x="1052" y="375"/>
                    </a:cubicBezTo>
                    <a:cubicBezTo>
                      <a:pt x="1033" y="300"/>
                      <a:pt x="985" y="120"/>
                      <a:pt x="791" y="53"/>
                    </a:cubicBezTo>
                    <a:cubicBezTo>
                      <a:pt x="785" y="50"/>
                      <a:pt x="779" y="55"/>
                      <a:pt x="779" y="62"/>
                    </a:cubicBezTo>
                    <a:cubicBezTo>
                      <a:pt x="781" y="501"/>
                      <a:pt x="781" y="501"/>
                      <a:pt x="781" y="501"/>
                    </a:cubicBezTo>
                    <a:cubicBezTo>
                      <a:pt x="781" y="533"/>
                      <a:pt x="769" y="558"/>
                      <a:pt x="737" y="558"/>
                    </a:cubicBezTo>
                    <a:cubicBezTo>
                      <a:pt x="737" y="558"/>
                      <a:pt x="737" y="558"/>
                      <a:pt x="737" y="558"/>
                    </a:cubicBezTo>
                    <a:cubicBezTo>
                      <a:pt x="714" y="558"/>
                      <a:pt x="695" y="539"/>
                      <a:pt x="695" y="515"/>
                    </a:cubicBezTo>
                    <a:cubicBezTo>
                      <a:pt x="695" y="501"/>
                      <a:pt x="695" y="501"/>
                      <a:pt x="695" y="501"/>
                    </a:cubicBezTo>
                    <a:cubicBezTo>
                      <a:pt x="694" y="4"/>
                      <a:pt x="694" y="4"/>
                      <a:pt x="694" y="4"/>
                    </a:cubicBezTo>
                    <a:cubicBezTo>
                      <a:pt x="694" y="0"/>
                      <a:pt x="694" y="0"/>
                      <a:pt x="694" y="0"/>
                    </a:cubicBezTo>
                    <a:cubicBezTo>
                      <a:pt x="486" y="0"/>
                      <a:pt x="486" y="0"/>
                      <a:pt x="486" y="0"/>
                    </a:cubicBezTo>
                    <a:cubicBezTo>
                      <a:pt x="486" y="4"/>
                      <a:pt x="486" y="4"/>
                      <a:pt x="486" y="4"/>
                    </a:cubicBezTo>
                    <a:cubicBezTo>
                      <a:pt x="486" y="501"/>
                      <a:pt x="486" y="501"/>
                      <a:pt x="486" y="501"/>
                    </a:cubicBezTo>
                    <a:cubicBezTo>
                      <a:pt x="486" y="501"/>
                      <a:pt x="486" y="501"/>
                      <a:pt x="486" y="501"/>
                    </a:cubicBezTo>
                    <a:cubicBezTo>
                      <a:pt x="486" y="511"/>
                      <a:pt x="485" y="519"/>
                      <a:pt x="482" y="528"/>
                    </a:cubicBezTo>
                    <a:cubicBezTo>
                      <a:pt x="476" y="546"/>
                      <a:pt x="464" y="558"/>
                      <a:pt x="443" y="558"/>
                    </a:cubicBezTo>
                    <a:cubicBezTo>
                      <a:pt x="443" y="558"/>
                      <a:pt x="443" y="558"/>
                      <a:pt x="443" y="558"/>
                    </a:cubicBezTo>
                    <a:cubicBezTo>
                      <a:pt x="420" y="558"/>
                      <a:pt x="401" y="539"/>
                      <a:pt x="401" y="515"/>
                    </a:cubicBezTo>
                    <a:cubicBezTo>
                      <a:pt x="401" y="500"/>
                      <a:pt x="401" y="500"/>
                      <a:pt x="401" y="500"/>
                    </a:cubicBezTo>
                    <a:cubicBezTo>
                      <a:pt x="402" y="62"/>
                      <a:pt x="402" y="62"/>
                      <a:pt x="402" y="62"/>
                    </a:cubicBezTo>
                    <a:cubicBezTo>
                      <a:pt x="402" y="55"/>
                      <a:pt x="395" y="50"/>
                      <a:pt x="389" y="53"/>
                    </a:cubicBezTo>
                    <a:cubicBezTo>
                      <a:pt x="195" y="120"/>
                      <a:pt x="148" y="300"/>
                      <a:pt x="128" y="375"/>
                    </a:cubicBezTo>
                    <a:cubicBezTo>
                      <a:pt x="128" y="380"/>
                      <a:pt x="128" y="380"/>
                      <a:pt x="128" y="380"/>
                    </a:cubicBezTo>
                    <a:cubicBezTo>
                      <a:pt x="107" y="456"/>
                      <a:pt x="63" y="447"/>
                      <a:pt x="33" y="458"/>
                    </a:cubicBezTo>
                    <a:cubicBezTo>
                      <a:pt x="29" y="459"/>
                      <a:pt x="24" y="461"/>
                      <a:pt x="21" y="463"/>
                    </a:cubicBezTo>
                    <a:cubicBezTo>
                      <a:pt x="19" y="463"/>
                      <a:pt x="18" y="464"/>
                      <a:pt x="18" y="465"/>
                    </a:cubicBezTo>
                    <a:cubicBezTo>
                      <a:pt x="17" y="487"/>
                      <a:pt x="1" y="520"/>
                      <a:pt x="0" y="548"/>
                    </a:cubicBezTo>
                    <a:cubicBezTo>
                      <a:pt x="0" y="550"/>
                      <a:pt x="1" y="552"/>
                      <a:pt x="3" y="552"/>
                    </a:cubicBezTo>
                    <a:cubicBezTo>
                      <a:pt x="41" y="563"/>
                      <a:pt x="76" y="578"/>
                      <a:pt x="110" y="592"/>
                    </a:cubicBezTo>
                    <a:cubicBezTo>
                      <a:pt x="136" y="605"/>
                      <a:pt x="249" y="662"/>
                      <a:pt x="267" y="669"/>
                    </a:cubicBezTo>
                    <a:cubicBezTo>
                      <a:pt x="351" y="708"/>
                      <a:pt x="445" y="738"/>
                      <a:pt x="591" y="738"/>
                    </a:cubicBezTo>
                    <a:cubicBezTo>
                      <a:pt x="735" y="738"/>
                      <a:pt x="831" y="706"/>
                      <a:pt x="915" y="666"/>
                    </a:cubicBezTo>
                    <a:cubicBezTo>
                      <a:pt x="926" y="661"/>
                      <a:pt x="1032" y="607"/>
                      <a:pt x="1056" y="59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0D6E4573-F6E6-4CA2-B526-12F2E35B8E41}"/>
              </a:ext>
            </a:extLst>
          </p:cNvPr>
          <p:cNvSpPr/>
          <p:nvPr/>
        </p:nvSpPr>
        <p:spPr>
          <a:xfrm>
            <a:off x="4600876" y="1645919"/>
            <a:ext cx="6962474" cy="2844037"/>
          </a:xfrm>
          <a:prstGeom prst="rect">
            <a:avLst/>
          </a:prstGeom>
          <a:noFill/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36E56C2-3E07-4A03-8B84-A4017B678A20}"/>
              </a:ext>
            </a:extLst>
          </p:cNvPr>
          <p:cNvSpPr/>
          <p:nvPr/>
        </p:nvSpPr>
        <p:spPr>
          <a:xfrm>
            <a:off x="4600876" y="4619029"/>
            <a:ext cx="6962474" cy="1721168"/>
          </a:xfrm>
          <a:prstGeom prst="rect">
            <a:avLst/>
          </a:prstGeom>
          <a:noFill/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856B88F8-65A9-489E-9A67-B8CEF447F06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655" y="2270932"/>
            <a:ext cx="1778380" cy="159401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70B87147-9436-4B47-B521-BEB5503B3B0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765" y="4657702"/>
            <a:ext cx="1779270" cy="159401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5B1F03C-AF8B-4345-B7F9-9F0805C8DCEC}"/>
              </a:ext>
            </a:extLst>
          </p:cNvPr>
          <p:cNvCxnSpPr/>
          <p:nvPr/>
        </p:nvCxnSpPr>
        <p:spPr>
          <a:xfrm>
            <a:off x="628650" y="4549950"/>
            <a:ext cx="109347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53CC3011-54B5-4F38-B1B9-8E1DB785D103}"/>
              </a:ext>
            </a:extLst>
          </p:cNvPr>
          <p:cNvSpPr/>
          <p:nvPr/>
        </p:nvSpPr>
        <p:spPr>
          <a:xfrm>
            <a:off x="2804159" y="1645919"/>
            <a:ext cx="1758215" cy="2844037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FFFFFF"/>
                </a:solidFill>
              </a:rPr>
              <a:t>Construction/</a:t>
            </a:r>
            <a:br>
              <a:rPr lang="en-US">
                <a:solidFill>
                  <a:srgbClr val="FFFFFF"/>
                </a:solidFill>
              </a:rPr>
            </a:br>
            <a:r>
              <a:rPr lang="en-US">
                <a:solidFill>
                  <a:srgbClr val="FFFFFF"/>
                </a:solidFill>
              </a:rPr>
              <a:t>skilled trade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3D16704-5AEA-42BD-A0A1-6165D899597A}"/>
              </a:ext>
            </a:extLst>
          </p:cNvPr>
          <p:cNvSpPr/>
          <p:nvPr/>
        </p:nvSpPr>
        <p:spPr>
          <a:xfrm>
            <a:off x="2804159" y="4619029"/>
            <a:ext cx="1758215" cy="1721168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FFFFFF"/>
                </a:solidFill>
              </a:rPr>
              <a:t>Manufacturing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BDC2429D-AFCC-4708-9612-61EA5C698D15}"/>
              </a:ext>
            </a:extLst>
          </p:cNvPr>
          <p:cNvGraphicFramePr>
            <a:graphicFrameLocks noGrp="1"/>
          </p:cNvGraphicFramePr>
          <p:nvPr/>
        </p:nvGraphicFramePr>
        <p:xfrm>
          <a:off x="4706795" y="1741341"/>
          <a:ext cx="6643077" cy="26136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77057">
                  <a:extLst>
                    <a:ext uri="{9D8B030D-6E8A-4147-A177-3AD203B41FA5}">
                      <a16:colId xmlns:a16="http://schemas.microsoft.com/office/drawing/2014/main" val="1623946333"/>
                    </a:ext>
                  </a:extLst>
                </a:gridCol>
                <a:gridCol w="3666020">
                  <a:extLst>
                    <a:ext uri="{9D8B030D-6E8A-4147-A177-3AD203B41FA5}">
                      <a16:colId xmlns:a16="http://schemas.microsoft.com/office/drawing/2014/main" val="864287210"/>
                    </a:ext>
                  </a:extLst>
                </a:gridCol>
              </a:tblGrid>
              <a:tr h="1003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Occupatio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Corresponding C74 program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75039270"/>
                  </a:ext>
                </a:extLst>
              </a:tr>
              <a:tr h="200652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VAC Mechanics &amp; Installe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ating Ventilation Air Conditioning Refrigera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170623"/>
                  </a:ext>
                </a:extLst>
              </a:tr>
              <a:tr h="200652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otive Service Techs &amp; Mechanic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otive Technology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4858966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otive Body Repaire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otive Collision Repair &amp; Refinishing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9400857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i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8264269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umbe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umb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9802660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rpen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rpentry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3930193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ld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l Fabrication &amp; Joining Technologies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684534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raft Labor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struction Craft Labor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1719416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ilding &amp; General Maintenance Tec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ilding/Property Maintenance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693296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esel Tec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esel Technolog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03828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ine Trades Technicia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rine Service Technolog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0109220"/>
                  </a:ext>
                </a:extLst>
              </a:tr>
              <a:tr h="100326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ok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linary Art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5661138"/>
                  </a:ext>
                </a:extLst>
              </a:tr>
              <a:tr h="200652"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undskeeping &amp; Equipment Operato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rticulture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594854549"/>
                  </a:ext>
                </a:extLst>
              </a:tr>
            </a:tbl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C4D4051-495C-467A-A60E-D7A11A5BD3A1}"/>
              </a:ext>
            </a:extLst>
          </p:cNvPr>
          <p:cNvGraphicFramePr>
            <a:graphicFrameLocks noGrp="1"/>
          </p:cNvGraphicFramePr>
          <p:nvPr/>
        </p:nvGraphicFramePr>
        <p:xfrm>
          <a:off x="4706795" y="4748093"/>
          <a:ext cx="6647689" cy="1463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80945">
                  <a:extLst>
                    <a:ext uri="{9D8B030D-6E8A-4147-A177-3AD203B41FA5}">
                      <a16:colId xmlns:a16="http://schemas.microsoft.com/office/drawing/2014/main" val="3959777646"/>
                    </a:ext>
                  </a:extLst>
                </a:gridCol>
                <a:gridCol w="3666744">
                  <a:extLst>
                    <a:ext uri="{9D8B030D-6E8A-4147-A177-3AD203B41FA5}">
                      <a16:colId xmlns:a16="http://schemas.microsoft.com/office/drawing/2014/main" val="1787662148"/>
                    </a:ext>
                  </a:extLst>
                </a:gridCol>
              </a:tblGrid>
              <a:tr h="152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Occupation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Corresponding C74 program </a:t>
                      </a: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03348834"/>
                  </a:ext>
                </a:extLst>
              </a:tr>
              <a:tr h="152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chine Operato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anced Manufacturing Technolog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802388"/>
                  </a:ext>
                </a:extLst>
              </a:tr>
              <a:tr h="121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NC Machine Operato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anced Manufacturing Technolog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874029"/>
                  </a:ext>
                </a:extLst>
              </a:tr>
              <a:tr h="121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eet Metal Worker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heet Metalwork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4321013"/>
                  </a:ext>
                </a:extLst>
              </a:tr>
              <a:tr h="152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olab, Medical &amp; Clinical Lab Tec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otechnolog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70408"/>
                  </a:ext>
                </a:extLst>
              </a:tr>
              <a:tr h="121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al Tec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ici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1385484"/>
                  </a:ext>
                </a:extLst>
              </a:tr>
              <a:tr h="1212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onics Tech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onic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3883784"/>
                  </a:ext>
                </a:extLst>
              </a:tr>
              <a:tr h="1524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botic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94400" lvl="1" indent="-1296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20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botics and Automation Technolog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b"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4360063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582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870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802CD9E-2A5C-411F-8BEE-B7F9FDA46292}"/>
              </a:ext>
            </a:extLst>
          </p:cNvPr>
          <p:cNvGraphicFramePr>
            <a:graphicFrameLocks noGrp="1"/>
          </p:cNvGraphicFramePr>
          <p:nvPr/>
        </p:nvGraphicFramePr>
        <p:xfrm>
          <a:off x="462687" y="1313213"/>
          <a:ext cx="11100663" cy="477145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60395">
                  <a:extLst>
                    <a:ext uri="{9D8B030D-6E8A-4147-A177-3AD203B41FA5}">
                      <a16:colId xmlns:a16="http://schemas.microsoft.com/office/drawing/2014/main" val="4220880978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3034728341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2566609136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3255746668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2156427413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1222209701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44247421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1124728369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466443681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304475940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449641189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951484358"/>
                    </a:ext>
                  </a:extLst>
                </a:gridCol>
                <a:gridCol w="811689">
                  <a:extLst>
                    <a:ext uri="{9D8B030D-6E8A-4147-A177-3AD203B41FA5}">
                      <a16:colId xmlns:a16="http://schemas.microsoft.com/office/drawing/2014/main" val="3650873016"/>
                    </a:ext>
                  </a:extLst>
                </a:gridCol>
              </a:tblGrid>
              <a:tr h="114254">
                <a:tc rowSpan="2"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400" marR="2400" marT="2400" marB="0" anchor="b">
                    <a:lnR>
                      <a:noFill/>
                    </a:lnR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ortheast</a:t>
                      </a:r>
                    </a:p>
                  </a:txBody>
                  <a:tcPr marL="18288" marR="18288" marT="18288" marB="18288" anchor="ctr">
                    <a:lnL>
                      <a:noFill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eater Boston</a:t>
                      </a:r>
                    </a:p>
                  </a:txBody>
                  <a:tcPr marL="18288" marR="18288" marT="18288" marB="18288"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outheast</a:t>
                      </a:r>
                    </a:p>
                  </a:txBody>
                  <a:tcPr marL="18288" marR="18288" marT="18288" marB="18288"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0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entral</a:t>
                      </a:r>
                    </a:p>
                  </a:txBody>
                  <a:tcPr marL="18288" marR="18288" marT="18288" marB="18288" anchor="ctr">
                    <a:lnL w="28575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980408"/>
                  </a:ext>
                </a:extLst>
              </a:tr>
              <a:tr h="290254">
                <a:tc vMerge="1">
                  <a:txBody>
                    <a:bodyPr/>
                    <a:lstStyle/>
                    <a:p>
                      <a:pPr algn="l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400" marR="2400" marT="2400" marB="0" anchor="b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Essex North Shore Agricultur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Greater Lawrence Technic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Greater Lowell Technic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Nashoba Valley Technic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Whittier Region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Assabet Valley Regional</a:t>
                      </a: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Madison Park Technic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Minuteman Regional Vocation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Tri County Regional</a:t>
                      </a: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Greater Fall River Vocation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Southeastern Region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u="none" strike="noStrike">
                          <a:solidFill>
                            <a:srgbClr val="00269E"/>
                          </a:solidFill>
                          <a:effectLst/>
                          <a:latin typeface="+mn-lt"/>
                        </a:rPr>
                        <a:t>Montachusett Regional Vocational</a:t>
                      </a:r>
                      <a:endParaRPr lang="en-US" sz="900" b="1" i="0" u="none" strike="noStrike">
                        <a:solidFill>
                          <a:srgbClr val="00269E"/>
                        </a:solidFill>
                        <a:effectLst/>
                        <a:latin typeface="+mn-lt"/>
                      </a:endParaRPr>
                    </a:p>
                  </a:txBody>
                  <a:tcPr marL="18288" marR="18288" marT="18288" marB="18288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9594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anced manufacturing (incl. CNC operator)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accent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88193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otive collision and repair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ABA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176389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utomotive technology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ABAB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ABAB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117369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iotechnology lab technician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436674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perty maintenance 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0462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rpentry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469109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Construction labor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82193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oks / Culinary 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1822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esel Tech 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267297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Electrical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030673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ectronics Tech 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1612427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oundskeeping and equipment operator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567316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VAC (incl. oil burner tech)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5052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u="none" strike="noStrike">
                          <a:effectLst/>
                          <a:latin typeface="+mn-lt"/>
                        </a:rPr>
                        <a:t>Marine trades technician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4133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spc="-30" baseline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tal fabrication (welding)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ABAB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n-US" sz="1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1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5459068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umbing</a:t>
                      </a:r>
                    </a:p>
                  </a:txBody>
                  <a:tcPr marL="2400" marR="2400" marT="240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 err="1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 err="1">
                          <a:ln>
                            <a:noFill/>
                          </a:ln>
                          <a:solidFill>
                            <a:srgbClr val="00ABAB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uLnTx/>
                          <a:uFillTx/>
                          <a:latin typeface="Wingdings" panose="05000000000000000000" pitchFamily="2" charset="2"/>
                          <a:ea typeface="+mn-ea"/>
                          <a:cs typeface="+mn-cs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00269E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r>
                        <a:rPr lang="en-US" sz="1600" b="0" i="0" u="none" strike="noStrike" kern="1200" spc="0" baseline="0">
                          <a:ln>
                            <a:noFill/>
                          </a:ln>
                          <a:solidFill>
                            <a:srgbClr val="99CCFF"/>
                          </a:solidFill>
                          <a:effectLst/>
                          <a:latin typeface="Wingdings" panose="05000000000000000000" pitchFamily="2" charset="2"/>
                        </a:rPr>
                        <a:t>l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99CC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839264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ED703D75-A1B1-4241-88AC-8C071580C544}"/>
              </a:ext>
            </a:extLst>
          </p:cNvPr>
          <p:cNvSpPr txBox="1"/>
          <p:nvPr/>
        </p:nvSpPr>
        <p:spPr>
          <a:xfrm>
            <a:off x="2118100" y="6154123"/>
            <a:ext cx="7789836" cy="2769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fontAlgn="b"/>
            <a:r>
              <a:rPr lang="en-US" sz="1200" b="0" i="0" u="none" strike="noStrike" kern="1200" spc="0" baseline="0">
                <a:ln>
                  <a:noFill/>
                </a:ln>
                <a:solidFill>
                  <a:srgbClr val="00269E"/>
                </a:solidFill>
                <a:effectLst/>
                <a:latin typeface="Wingdings" panose="05000000000000000000" pitchFamily="2" charset="2"/>
              </a:rPr>
              <a:t>l </a:t>
            </a:r>
            <a:r>
              <a:rPr lang="en-US" sz="1200">
                <a:solidFill>
                  <a:srgbClr val="000000"/>
                </a:solidFill>
              </a:rPr>
              <a:t>Pathway previously completed   </a:t>
            </a:r>
            <a:r>
              <a:rPr lang="en-US" sz="1200" b="0" i="0" u="none" strike="noStrike" kern="1200" spc="0" baseline="0">
                <a:ln>
                  <a:noFill/>
                </a:ln>
                <a:solidFill>
                  <a:srgbClr val="00ABAB"/>
                </a:solidFill>
                <a:effectLst/>
                <a:latin typeface="Wingdings" panose="05000000000000000000" pitchFamily="2" charset="2"/>
              </a:rPr>
              <a:t>l</a:t>
            </a:r>
            <a:r>
              <a:rPr lang="en-US" sz="1200" b="0" i="0" u="none" strike="noStrike" kern="1200" spc="0" baseline="0">
                <a:ln>
                  <a:noFill/>
                </a:ln>
                <a:solidFill>
                  <a:srgbClr val="99CCFF"/>
                </a:solidFill>
                <a:effectLst/>
                <a:latin typeface="Wingdings" panose="05000000000000000000" pitchFamily="2" charset="2"/>
              </a:rPr>
              <a:t> </a:t>
            </a:r>
            <a:r>
              <a:rPr lang="en-US" sz="1200">
                <a:solidFill>
                  <a:srgbClr val="000000"/>
                </a:solidFill>
              </a:rPr>
              <a:t>Pathway currently in progress   </a:t>
            </a:r>
            <a:r>
              <a:rPr lang="en-US" sz="1200" b="0" i="0" u="none" strike="noStrike" kern="1200" spc="0" baseline="0">
                <a:ln>
                  <a:noFill/>
                </a:ln>
                <a:solidFill>
                  <a:srgbClr val="99CCFF"/>
                </a:solidFill>
                <a:effectLst/>
                <a:latin typeface="Wingdings" panose="05000000000000000000" pitchFamily="2" charset="2"/>
              </a:rPr>
              <a:t>l </a:t>
            </a:r>
            <a:r>
              <a:rPr lang="en-US" sz="1200">
                <a:solidFill>
                  <a:srgbClr val="000000"/>
                </a:solidFill>
              </a:rPr>
              <a:t>Pathway pending award / start</a:t>
            </a:r>
          </a:p>
        </p:txBody>
      </p:sp>
      <p:sp>
        <p:nvSpPr>
          <p:cNvPr id="14" name="ee4pFootnotes">
            <a:extLst>
              <a:ext uri="{FF2B5EF4-FFF2-40B4-BE49-F238E27FC236}">
                <a16:creationId xmlns:a16="http://schemas.microsoft.com/office/drawing/2014/main" id="{511B1E7E-BD89-4812-95DE-45402E1E3C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687" y="6558997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sym typeface="+mn-lt"/>
              </a:rPr>
              <a:t>Note: Based on Jan 2021 data, pathway phase (completed, in progress, pending award / start) may have shifted 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7C83B4A8-A957-43D6-8960-919A856A3770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id="{6F32769A-70DB-4CD7-B46F-E0C8FB91E31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64F55D4-6E91-4E20-A070-93D81DDD63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  <p:sp>
        <p:nvSpPr>
          <p:cNvPr id="16" name="Title 5">
            <a:extLst>
              <a:ext uri="{FF2B5EF4-FFF2-40B4-BE49-F238E27FC236}">
                <a16:creationId xmlns:a16="http://schemas.microsoft.com/office/drawing/2014/main" id="{4F8DD2DD-E885-4D1B-90E2-4567439B1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7" y="609607"/>
            <a:ext cx="10258425" cy="553998"/>
          </a:xfrm>
        </p:spPr>
        <p:txBody>
          <a:bodyPr vert="horz"/>
          <a:lstStyle/>
          <a:p>
            <a:r>
              <a:rPr lang="en-US" sz="2000"/>
              <a:t>As of 3/29/2022, 12 schools currently engaged in CTI adult education training across 16 occupations </a:t>
            </a:r>
          </a:p>
        </p:txBody>
      </p:sp>
    </p:spTree>
    <p:extLst>
      <p:ext uri="{BB962C8B-B14F-4D97-AF65-F5344CB8AC3E}">
        <p14:creationId xmlns:p14="http://schemas.microsoft.com/office/powerpoint/2010/main" val="2884694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TI training partners and programs by reg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935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Berkshires: CTI eligible C74 pathways by school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264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Charles McCann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594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onument Mt Region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1432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Taconic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8746ED1-974E-4C50-894F-1EFDC5429280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7CA5FED-F5D9-4EC3-81D4-D992E2738494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8D70BA07-E39C-4A78-8116-BC8BC21D7812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EC2C72A1-0E0E-4719-80E7-8CDD2099943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954A217-EF36-4E3A-AA8E-3F0486CF88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243962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ape &amp; Islands: CTI eligible C74 pathways by school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9296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artha’s Vineyard Region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Upper Cape Cod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48301643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ine Servic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Cape Cod Regional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utomotive Collision Repair and Refinish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utomotive Technolog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Carpentr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Culinary Ar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Electric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104042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0" baseline="0">
                          <a:solidFill>
                            <a:srgbClr val="000000"/>
                          </a:solidFill>
                          <a:effectLst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Marine Servic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26A4001-C90B-47DF-AD9E-B8781749E2E2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271CDE-FF67-467E-B739-D9AE4A16047E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5076886-6F66-4206-A4C7-C6C01FD9A77D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F22AF46F-506E-4959-80CC-2E7E24213C8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2A638F-3F5A-48EC-8758-C230F2FDE2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124870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entral: CTI eligible C74 pathways by school (I/II)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ay </a:t>
                      </a:r>
                      <a:r>
                        <a:rPr lang="en-US" sz="1100" b="1" u="none" strike="noStrike" spc="-20" baseline="0">
                          <a:solidFill>
                            <a:schemeClr val="bg1"/>
                          </a:solidFill>
                          <a:effectLst/>
                        </a:rPr>
                        <a:t>Path Regional Vocational Technical High Schoo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ilding/Property Maintenanc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lackstone Valley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dvanced Manufacturing Technolog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utomotive Collision Repair and Refinish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utomotive Technolog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Carpentr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Culinary Ar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Electric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104042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Center For Technical Education Innovation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5977353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ontachusett Regional Vocational Technica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ilding/Property Maintenanc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594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outh High Community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esel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3822810"/>
          <a:ext cx="3566160" cy="9296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Tantasqua Regional Vocation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2A0D3528-FCF3-4EE0-A857-A7368B8DB1E9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AEFDC03-965E-47D0-92C3-B9164EB7EA5F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E4C5CB84-CC63-4349-A585-407D2740AE61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95175131-DD27-4512-A6D1-A2D8EB11343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CAAD9FD-E2B4-48A7-AD1D-22196F9553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4139461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entral: CTI eligible C74 pathways by school (II/II)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Worcester Technic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99775139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C4694F5-E029-4FD9-9EC7-6E1EA973BA47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5BD703F-5F53-4F2B-B4A8-B83AAE9DBB7B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003844ED-9121-4A5D-B6F3-5FBFA6CA40C9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76238D7F-E02E-421C-AEDC-E08A3FE777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B1107D6-4DE0-4F0F-84EB-5FF041216F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204831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7D1851-6E62-4F97-BC24-C075466140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091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7D1851-6E62-4F97-BC24-C07546614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2685" y="583557"/>
            <a:ext cx="10194231" cy="498598"/>
          </a:xfrm>
        </p:spPr>
        <p:txBody>
          <a:bodyPr vert="horz"/>
          <a:lstStyle/>
          <a:p>
            <a:r>
              <a:rPr lang="en-US" sz="1800"/>
              <a:t>WSC Framework for ARPA: </a:t>
            </a:r>
            <a:r>
              <a:rPr lang="en-US" sz="1800" b="0"/>
              <a:t>ARPA is increasing the resources available in the workforce system, and WSC is building capacity to make sure employers and people know about available resources</a:t>
            </a:r>
            <a:endParaRPr lang="en-US" sz="180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E0B87BF-71B8-4B17-A56A-A3A20A9E3EFC}"/>
              </a:ext>
            </a:extLst>
          </p:cNvPr>
          <p:cNvSpPr txBox="1"/>
          <p:nvPr/>
        </p:nvSpPr>
        <p:spPr>
          <a:xfrm rot="5400000">
            <a:off x="9206474" y="-418617"/>
            <a:ext cx="467022" cy="4466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endParaRPr lang="en-US" sz="1800" kern="0">
              <a:solidFill>
                <a:schemeClr val="bg1"/>
              </a:solidFill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DE28DB0D-88F5-463E-B875-595925157522}"/>
              </a:ext>
            </a:extLst>
          </p:cNvPr>
          <p:cNvSpPr>
            <a:spLocks/>
          </p:cNvSpPr>
          <p:nvPr/>
        </p:nvSpPr>
        <p:spPr bwMode="auto">
          <a:xfrm>
            <a:off x="7207047" y="4942097"/>
            <a:ext cx="1750572" cy="1131314"/>
          </a:xfrm>
          <a:custGeom>
            <a:avLst/>
            <a:gdLst>
              <a:gd name="connsiteX0" fmla="*/ 0 w 758274"/>
              <a:gd name="connsiteY0" fmla="*/ 0 h 1131314"/>
              <a:gd name="connsiteX1" fmla="*/ 518542 w 758274"/>
              <a:gd name="connsiteY1" fmla="*/ 0 h 1131314"/>
              <a:gd name="connsiteX2" fmla="*/ 758274 w 758274"/>
              <a:gd name="connsiteY2" fmla="*/ 1131314 h 1131314"/>
              <a:gd name="connsiteX3" fmla="*/ 0 w 758274"/>
              <a:gd name="connsiteY3" fmla="*/ 1131314 h 1131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274" h="1131314">
                <a:moveTo>
                  <a:pt x="0" y="0"/>
                </a:moveTo>
                <a:lnTo>
                  <a:pt x="518542" y="0"/>
                </a:lnTo>
                <a:lnTo>
                  <a:pt x="758274" y="1131314"/>
                </a:lnTo>
                <a:lnTo>
                  <a:pt x="0" y="1131314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US" sz="2400" kern="0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AA63FA3-7A66-4BFC-B6FD-FBD89B13CBC0}"/>
              </a:ext>
            </a:extLst>
          </p:cNvPr>
          <p:cNvSpPr/>
          <p:nvPr/>
        </p:nvSpPr>
        <p:spPr>
          <a:xfrm>
            <a:off x="7207047" y="2160319"/>
            <a:ext cx="1176463" cy="2676444"/>
          </a:xfrm>
          <a:custGeom>
            <a:avLst/>
            <a:gdLst>
              <a:gd name="connsiteX0" fmla="*/ 3080 w 519851"/>
              <a:gd name="connsiteY0" fmla="*/ 0 h 2676444"/>
              <a:gd name="connsiteX1" fmla="*/ 519851 w 519851"/>
              <a:gd name="connsiteY1" fmla="*/ 2676444 h 2676444"/>
              <a:gd name="connsiteX2" fmla="*/ 0 w 519851"/>
              <a:gd name="connsiteY2" fmla="*/ 2676444 h 2676444"/>
              <a:gd name="connsiteX3" fmla="*/ 0 w 519851"/>
              <a:gd name="connsiteY3" fmla="*/ 15952 h 267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9851" h="2676444">
                <a:moveTo>
                  <a:pt x="3080" y="0"/>
                </a:moveTo>
                <a:lnTo>
                  <a:pt x="519851" y="2676444"/>
                </a:lnTo>
                <a:lnTo>
                  <a:pt x="0" y="2676444"/>
                </a:lnTo>
                <a:lnTo>
                  <a:pt x="0" y="15952"/>
                </a:lnTo>
                <a:close/>
              </a:path>
            </a:pathLst>
          </a:cu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58CF4CC-A26D-478C-84FA-DE5E494981D5}"/>
              </a:ext>
            </a:extLst>
          </p:cNvPr>
          <p:cNvSpPr txBox="1"/>
          <p:nvPr/>
        </p:nvSpPr>
        <p:spPr>
          <a:xfrm>
            <a:off x="7170035" y="4374901"/>
            <a:ext cx="1276695" cy="47243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300" kern="0">
                <a:solidFill>
                  <a:schemeClr val="bg1"/>
                </a:solidFill>
              </a:rPr>
              <a:t>WSC funding opportuniti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68FDFC6-CDAD-498D-938E-7D5B7A023460}"/>
              </a:ext>
            </a:extLst>
          </p:cNvPr>
          <p:cNvSpPr txBox="1"/>
          <p:nvPr/>
        </p:nvSpPr>
        <p:spPr>
          <a:xfrm>
            <a:off x="7170035" y="5429202"/>
            <a:ext cx="1412323" cy="66248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300" kern="0">
                <a:solidFill>
                  <a:schemeClr val="bg1"/>
                </a:solidFill>
              </a:rPr>
              <a:t>Future: Develop linkages to other partner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E923FB21-E7B6-40AD-A406-75BC8D282565}"/>
              </a:ext>
            </a:extLst>
          </p:cNvPr>
          <p:cNvSpPr/>
          <p:nvPr/>
        </p:nvSpPr>
        <p:spPr>
          <a:xfrm>
            <a:off x="7375367" y="2191797"/>
            <a:ext cx="4380086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orkforce Competitiveness Trust Fund (WCTF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A24EF58-3168-44E4-BC30-A08DECC6946D}"/>
              </a:ext>
            </a:extLst>
          </p:cNvPr>
          <p:cNvSpPr/>
          <p:nvPr/>
        </p:nvSpPr>
        <p:spPr>
          <a:xfrm>
            <a:off x="7531266" y="2625437"/>
            <a:ext cx="3874188" cy="27432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Career Technical Initiative (CTI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FF4A7461-3EED-45FA-9D3F-9135F9F024C8}"/>
              </a:ext>
            </a:extLst>
          </p:cNvPr>
          <p:cNvSpPr/>
          <p:nvPr/>
        </p:nvSpPr>
        <p:spPr>
          <a:xfrm>
            <a:off x="7696866" y="2968311"/>
            <a:ext cx="3961363" cy="830997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Replenishing Employer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iNvestment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 in Education and Workforce Training (RENEW)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8EF958A-43BE-40D1-9657-D566D1965D47}"/>
              </a:ext>
            </a:extLst>
          </p:cNvPr>
          <p:cNvSpPr/>
          <p:nvPr/>
        </p:nvSpPr>
        <p:spPr>
          <a:xfrm>
            <a:off x="8144198" y="4012867"/>
            <a:ext cx="3611731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t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endParaRPr lang="en-US" sz="1400" dirty="0">
              <a:solidFill>
                <a:srgbClr val="000000">
                  <a:lumMod val="100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FB50E8C-97B9-47C1-B38B-199391D9E62D}"/>
              </a:ext>
            </a:extLst>
          </p:cNvPr>
          <p:cNvSpPr/>
          <p:nvPr/>
        </p:nvSpPr>
        <p:spPr>
          <a:xfrm>
            <a:off x="8466029" y="4933541"/>
            <a:ext cx="3069473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HHS ($100M behavioral health)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5C5CD02-04B0-4A01-8D71-219B30FDA6D0}"/>
              </a:ext>
            </a:extLst>
          </p:cNvPr>
          <p:cNvSpPr/>
          <p:nvPr/>
        </p:nvSpPr>
        <p:spPr>
          <a:xfrm>
            <a:off x="8622712" y="5321701"/>
            <a:ext cx="2807429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Clean Energy (TBD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74F1545-8966-49B1-8260-55A3B4DC943B}"/>
              </a:ext>
            </a:extLst>
          </p:cNvPr>
          <p:cNvSpPr/>
          <p:nvPr/>
        </p:nvSpPr>
        <p:spPr>
          <a:xfrm>
            <a:off x="8799219" y="5709861"/>
            <a:ext cx="2313281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Life Sciences (TBD)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A876948-A214-4447-A046-E68F390E90D8}"/>
              </a:ext>
            </a:extLst>
          </p:cNvPr>
          <p:cNvSpPr/>
          <p:nvPr/>
        </p:nvSpPr>
        <p:spPr>
          <a:xfrm>
            <a:off x="8009243" y="3798327"/>
            <a:ext cx="3596034" cy="615553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orkforce Training Fund Programs (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TFP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8A1F9B7-46A8-4E66-96C9-34D1BCA5A125}"/>
              </a:ext>
            </a:extLst>
          </p:cNvPr>
          <p:cNvSpPr txBox="1"/>
          <p:nvPr/>
        </p:nvSpPr>
        <p:spPr>
          <a:xfrm>
            <a:off x="8137605" y="1677218"/>
            <a:ext cx="258815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Grant support</a:t>
            </a:r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BC22B264-9C63-47A5-B348-45A542D39312}"/>
              </a:ext>
            </a:extLst>
          </p:cNvPr>
          <p:cNvSpPr/>
          <p:nvPr/>
        </p:nvSpPr>
        <p:spPr>
          <a:xfrm rot="10800000">
            <a:off x="7207047" y="2035686"/>
            <a:ext cx="4466000" cy="4125402"/>
          </a:xfrm>
          <a:prstGeom prst="round2SameRect">
            <a:avLst>
              <a:gd name="adj1" fmla="val 3142"/>
              <a:gd name="adj2" fmla="val 0"/>
            </a:avLst>
          </a:prstGeom>
          <a:noFill/>
          <a:ln w="12700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6" name="Rectangle: Top Corners Rounded 85">
            <a:extLst>
              <a:ext uri="{FF2B5EF4-FFF2-40B4-BE49-F238E27FC236}">
                <a16:creationId xmlns:a16="http://schemas.microsoft.com/office/drawing/2014/main" id="{061985D6-B925-48C3-BB15-D27B72742B1A}"/>
              </a:ext>
            </a:extLst>
          </p:cNvPr>
          <p:cNvSpPr/>
          <p:nvPr/>
        </p:nvSpPr>
        <p:spPr>
          <a:xfrm rot="5400000">
            <a:off x="1125433" y="379380"/>
            <a:ext cx="4656927" cy="6907794"/>
          </a:xfrm>
          <a:prstGeom prst="round2SameRect">
            <a:avLst>
              <a:gd name="adj1" fmla="val 6657"/>
              <a:gd name="adj2" fmla="val 0"/>
            </a:avLst>
          </a:prstGeom>
          <a:solidFill>
            <a:schemeClr val="accent5">
              <a:lumMod val="20000"/>
              <a:lumOff val="80000"/>
              <a:alpha val="36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213EE153-2270-4C38-9003-954E64AA98BB}"/>
              </a:ext>
            </a:extLst>
          </p:cNvPr>
          <p:cNvSpPr/>
          <p:nvPr/>
        </p:nvSpPr>
        <p:spPr>
          <a:xfrm>
            <a:off x="2621843" y="2992940"/>
            <a:ext cx="1226590" cy="122659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Seven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Regional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Teams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2896033-E2B2-4ADB-B2D1-4A4003ED76DA}"/>
              </a:ext>
            </a:extLst>
          </p:cNvPr>
          <p:cNvSpPr/>
          <p:nvPr/>
        </p:nvSpPr>
        <p:spPr>
          <a:xfrm>
            <a:off x="4891500" y="1879801"/>
            <a:ext cx="1226590" cy="122659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Market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Makers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2AA5AF60-B7D7-4F6A-8A25-48E184A0E2D3}"/>
              </a:ext>
            </a:extLst>
          </p:cNvPr>
          <p:cNvSpPr/>
          <p:nvPr/>
        </p:nvSpPr>
        <p:spPr>
          <a:xfrm>
            <a:off x="4891500" y="4327150"/>
            <a:ext cx="1226590" cy="122659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Upskilling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Navigators</a:t>
            </a:r>
          </a:p>
        </p:txBody>
      </p:sp>
      <p:cxnSp>
        <p:nvCxnSpPr>
          <p:cNvPr id="90" name="Connector: Elbow 97">
            <a:extLst>
              <a:ext uri="{FF2B5EF4-FFF2-40B4-BE49-F238E27FC236}">
                <a16:creationId xmlns:a16="http://schemas.microsoft.com/office/drawing/2014/main" id="{1846A445-B76F-4AD0-9E4C-B54DC8D96406}"/>
              </a:ext>
            </a:extLst>
          </p:cNvPr>
          <p:cNvCxnSpPr>
            <a:cxnSpLocks/>
          </p:cNvCxnSpPr>
          <p:nvPr/>
        </p:nvCxnSpPr>
        <p:spPr>
          <a:xfrm>
            <a:off x="445438" y="4124475"/>
            <a:ext cx="0" cy="1704825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AAFF251A-F3EE-40FA-A89A-8A54DE3CA313}"/>
              </a:ext>
            </a:extLst>
          </p:cNvPr>
          <p:cNvSpPr/>
          <p:nvPr/>
        </p:nvSpPr>
        <p:spPr>
          <a:xfrm>
            <a:off x="365039" y="3087995"/>
            <a:ext cx="1763591" cy="103648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Stat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08E985B-0DB5-4E53-ACAE-727C5A9D7D7B}"/>
              </a:ext>
            </a:extLst>
          </p:cNvPr>
          <p:cNvSpPr txBox="1"/>
          <p:nvPr/>
        </p:nvSpPr>
        <p:spPr>
          <a:xfrm>
            <a:off x="5117491" y="1779870"/>
            <a:ext cx="774607" cy="23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prstTxWarp prst="textArchUp">
              <a:avLst>
                <a:gd name="adj" fmla="val 10659085"/>
              </a:avLst>
            </a:prstTxWarp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kern="0">
                <a:solidFill>
                  <a:srgbClr val="00269E"/>
                </a:solidFill>
              </a:rPr>
              <a:t>Demand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398CBEF-13B5-4D1E-ACFE-1DF70A23A9D4}"/>
              </a:ext>
            </a:extLst>
          </p:cNvPr>
          <p:cNvSpPr txBox="1"/>
          <p:nvPr/>
        </p:nvSpPr>
        <p:spPr>
          <a:xfrm>
            <a:off x="5117491" y="4190941"/>
            <a:ext cx="774607" cy="23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prstTxWarp prst="textArchUp">
              <a:avLst>
                <a:gd name="adj" fmla="val 10659085"/>
              </a:avLst>
            </a:prstTxWarp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kern="0">
                <a:solidFill>
                  <a:srgbClr val="00269E"/>
                </a:solidFill>
              </a:rPr>
              <a:t>Supply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89C9070-0EDA-4831-9E55-EA917E146569}"/>
              </a:ext>
            </a:extLst>
          </p:cNvPr>
          <p:cNvSpPr txBox="1"/>
          <p:nvPr/>
        </p:nvSpPr>
        <p:spPr>
          <a:xfrm>
            <a:off x="2734821" y="2874850"/>
            <a:ext cx="1000634" cy="23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prstTxWarp prst="textArchUp">
              <a:avLst>
                <a:gd name="adj" fmla="val 8409826"/>
              </a:avLst>
            </a:prstTxWarp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kern="0">
                <a:solidFill>
                  <a:srgbClr val="00269E"/>
                </a:solidFill>
              </a:rPr>
              <a:t>Strategy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39B22E7-82E1-4CEB-82FD-123DA179760A}"/>
              </a:ext>
            </a:extLst>
          </p:cNvPr>
          <p:cNvSpPr txBox="1"/>
          <p:nvPr/>
        </p:nvSpPr>
        <p:spPr>
          <a:xfrm>
            <a:off x="4696306" y="3104743"/>
            <a:ext cx="1616978" cy="6186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200" kern="0">
                <a:solidFill>
                  <a:schemeClr val="tx1"/>
                </a:solidFill>
              </a:rPr>
              <a:t>Engage employers and match to </a:t>
            </a:r>
            <a:br>
              <a:rPr lang="en-US" sz="1200" kern="0">
                <a:solidFill>
                  <a:schemeClr val="tx1"/>
                </a:solidFill>
              </a:rPr>
            </a:br>
            <a:r>
              <a:rPr lang="en-US" sz="1200" kern="0">
                <a:solidFill>
                  <a:schemeClr val="tx1"/>
                </a:solidFill>
              </a:rPr>
              <a:t>training provider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7D55CCB-C790-4EC1-A664-97FEE54A9B83}"/>
              </a:ext>
            </a:extLst>
          </p:cNvPr>
          <p:cNvSpPr txBox="1"/>
          <p:nvPr/>
        </p:nvSpPr>
        <p:spPr>
          <a:xfrm>
            <a:off x="4730576" y="5570226"/>
            <a:ext cx="1548438" cy="4431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200" kern="0">
                <a:solidFill>
                  <a:schemeClr val="tx1"/>
                </a:solidFill>
              </a:rPr>
              <a:t>Recruit, screen, and enroll participants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DD0AAC1-A41D-408E-A7DD-6F36E5CF3042}"/>
              </a:ext>
            </a:extLst>
          </p:cNvPr>
          <p:cNvSpPr txBox="1"/>
          <p:nvPr/>
        </p:nvSpPr>
        <p:spPr>
          <a:xfrm>
            <a:off x="2384740" y="4248319"/>
            <a:ext cx="1700796" cy="7940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200" kern="0">
                <a:solidFill>
                  <a:schemeClr val="tx1"/>
                </a:solidFill>
              </a:rPr>
              <a:t>Define investment plan, identify gaps, run healthcare and manufacturing hubs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A1BCA3ED-959D-4810-8BD1-722AC8DF2E91}"/>
              </a:ext>
            </a:extLst>
          </p:cNvPr>
          <p:cNvCxnSpPr>
            <a:cxnSpLocks/>
            <a:stCxn id="91" idx="3"/>
            <a:endCxn id="87" idx="2"/>
          </p:cNvCxnSpPr>
          <p:nvPr/>
        </p:nvCxnSpPr>
        <p:spPr>
          <a:xfrm>
            <a:off x="2128630" y="3606235"/>
            <a:ext cx="493213" cy="0"/>
          </a:xfrm>
          <a:prstGeom prst="straightConnector1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45">
            <a:extLst>
              <a:ext uri="{FF2B5EF4-FFF2-40B4-BE49-F238E27FC236}">
                <a16:creationId xmlns:a16="http://schemas.microsoft.com/office/drawing/2014/main" id="{4ADD4C16-8907-4452-94B6-8DD239F8DCB7}"/>
              </a:ext>
            </a:extLst>
          </p:cNvPr>
          <p:cNvCxnSpPr>
            <a:cxnSpLocks/>
            <a:stCxn id="87" idx="6"/>
            <a:endCxn id="88" idx="2"/>
          </p:cNvCxnSpPr>
          <p:nvPr/>
        </p:nvCxnSpPr>
        <p:spPr>
          <a:xfrm flipV="1">
            <a:off x="3848433" y="2493096"/>
            <a:ext cx="1043067" cy="1113139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45">
            <a:extLst>
              <a:ext uri="{FF2B5EF4-FFF2-40B4-BE49-F238E27FC236}">
                <a16:creationId xmlns:a16="http://schemas.microsoft.com/office/drawing/2014/main" id="{FB5839A1-71DD-4BCD-8ED2-F3B5C21B41F3}"/>
              </a:ext>
            </a:extLst>
          </p:cNvPr>
          <p:cNvCxnSpPr>
            <a:cxnSpLocks/>
            <a:stCxn id="87" idx="6"/>
            <a:endCxn id="89" idx="2"/>
          </p:cNvCxnSpPr>
          <p:nvPr/>
        </p:nvCxnSpPr>
        <p:spPr>
          <a:xfrm>
            <a:off x="3848433" y="3606235"/>
            <a:ext cx="1043067" cy="1334210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51083CA3-2460-42EC-A59F-204339D406D8}"/>
              </a:ext>
            </a:extLst>
          </p:cNvPr>
          <p:cNvGrpSpPr>
            <a:grpSpLocks noChangeAspect="1"/>
          </p:cNvGrpSpPr>
          <p:nvPr/>
        </p:nvGrpSpPr>
        <p:grpSpPr>
          <a:xfrm>
            <a:off x="6744684" y="3679821"/>
            <a:ext cx="306910" cy="306910"/>
            <a:chOff x="982662" y="1847850"/>
            <a:chExt cx="269875" cy="269875"/>
          </a:xfrm>
        </p:grpSpPr>
        <p:sp>
          <p:nvSpPr>
            <p:cNvPr id="118" name="Oval 50">
              <a:extLst>
                <a:ext uri="{FF2B5EF4-FFF2-40B4-BE49-F238E27FC236}">
                  <a16:creationId xmlns:a16="http://schemas.microsoft.com/office/drawing/2014/main" id="{204D709F-8BB0-43DB-B12A-6AF51D490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9" name="Freeform 51">
              <a:extLst>
                <a:ext uri="{FF2B5EF4-FFF2-40B4-BE49-F238E27FC236}">
                  <a16:creationId xmlns:a16="http://schemas.microsoft.com/office/drawing/2014/main" id="{0B47D9FA-F519-415A-BB38-4DEB38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9326E6D-07A3-44A8-AAA5-4251D1719801}"/>
              </a:ext>
            </a:extLst>
          </p:cNvPr>
          <p:cNvGrpSpPr/>
          <p:nvPr/>
        </p:nvGrpSpPr>
        <p:grpSpPr>
          <a:xfrm>
            <a:off x="456142" y="4397617"/>
            <a:ext cx="1672492" cy="398936"/>
            <a:chOff x="238858" y="4397617"/>
            <a:chExt cx="1672492" cy="398936"/>
          </a:xfrm>
        </p:grpSpPr>
        <p:sp>
          <p:nvSpPr>
            <p:cNvPr id="121" name="Rectangle: Top Corners Rounded 120">
              <a:extLst>
                <a:ext uri="{FF2B5EF4-FFF2-40B4-BE49-F238E27FC236}">
                  <a16:creationId xmlns:a16="http://schemas.microsoft.com/office/drawing/2014/main" id="{53E1AF09-E3F2-43A0-BAAC-1850FF435A6D}"/>
                </a:ext>
              </a:extLst>
            </p:cNvPr>
            <p:cNvSpPr/>
            <p:nvPr/>
          </p:nvSpPr>
          <p:spPr>
            <a:xfrm rot="5400000">
              <a:off x="963312" y="3760840"/>
              <a:ext cx="223584" cy="1672491"/>
            </a:xfrm>
            <a:prstGeom prst="round2SameRect">
              <a:avLst/>
            </a:prstGeom>
            <a:solidFill>
              <a:srgbClr val="00269E"/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E27BCA43-92ED-44D8-B6F9-4D112D65C9B3}"/>
                </a:ext>
              </a:extLst>
            </p:cNvPr>
            <p:cNvGrpSpPr/>
            <p:nvPr/>
          </p:nvGrpSpPr>
          <p:grpSpPr>
            <a:xfrm>
              <a:off x="324295" y="4397617"/>
              <a:ext cx="398566" cy="398936"/>
              <a:chOff x="6510577" y="2265159"/>
              <a:chExt cx="2325527" cy="2327682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844AE540-1BEA-419B-9DF8-B5C6D7F3B789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6510577" y="2265159"/>
                <a:ext cx="2325527" cy="2327682"/>
              </a:xfrm>
              <a:prstGeom prst="ellipse">
                <a:avLst/>
              </a:prstGeom>
              <a:solidFill>
                <a:srgbClr val="FFFFFF"/>
              </a:solidFill>
              <a:ln w="190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sz="1600" ker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C01E9D8A-B087-4679-88AA-48EE3A6EFA2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851142" y="2606040"/>
                <a:ext cx="1644396" cy="1645920"/>
                <a:chOff x="5273799" y="2606040"/>
                <a:chExt cx="1644396" cy="1645920"/>
              </a:xfrm>
            </p:grpSpPr>
            <p:sp>
              <p:nvSpPr>
                <p:cNvPr id="126" name="AutoShape 8">
                  <a:extLst>
                    <a:ext uri="{FF2B5EF4-FFF2-40B4-BE49-F238E27FC236}">
                      <a16:creationId xmlns:a16="http://schemas.microsoft.com/office/drawing/2014/main" id="{1E948FDF-9E72-4987-9822-9F11F6975B4F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799" y="2606040"/>
                  <a:ext cx="1644396" cy="16459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27" name="Group 126">
                  <a:extLst>
                    <a:ext uri="{FF2B5EF4-FFF2-40B4-BE49-F238E27FC236}">
                      <a16:creationId xmlns:a16="http://schemas.microsoft.com/office/drawing/2014/main" id="{587231D3-7F75-459C-8063-110DFFB45DBD}"/>
                    </a:ext>
                  </a:extLst>
                </p:cNvPr>
                <p:cNvGrpSpPr/>
                <p:nvPr/>
              </p:nvGrpSpPr>
              <p:grpSpPr>
                <a:xfrm>
                  <a:off x="5497065" y="2719578"/>
                  <a:ext cx="1197864" cy="1361694"/>
                  <a:chOff x="5497065" y="2719578"/>
                  <a:chExt cx="1197864" cy="1361694"/>
                </a:xfrm>
              </p:grpSpPr>
              <p:sp>
                <p:nvSpPr>
                  <p:cNvPr id="128" name="Freeform 10">
                    <a:extLst>
                      <a:ext uri="{FF2B5EF4-FFF2-40B4-BE49-F238E27FC236}">
                        <a16:creationId xmlns:a16="http://schemas.microsoft.com/office/drawing/2014/main" id="{D8146F63-C764-46D9-A02A-365145956D4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497065" y="3014091"/>
                    <a:ext cx="1197864" cy="1067181"/>
                  </a:xfrm>
                  <a:custGeom>
                    <a:avLst/>
                    <a:gdLst>
                      <a:gd name="T0" fmla="*/ 1656 w 1678"/>
                      <a:gd name="T1" fmla="*/ 1332 h 1494"/>
                      <a:gd name="T2" fmla="*/ 1568 w 1678"/>
                      <a:gd name="T3" fmla="*/ 1332 h 1494"/>
                      <a:gd name="T4" fmla="*/ 1568 w 1678"/>
                      <a:gd name="T5" fmla="*/ 1288 h 1494"/>
                      <a:gd name="T6" fmla="*/ 1546 w 1678"/>
                      <a:gd name="T7" fmla="*/ 1266 h 1494"/>
                      <a:gd name="T8" fmla="*/ 132 w 1678"/>
                      <a:gd name="T9" fmla="*/ 1266 h 1494"/>
                      <a:gd name="T10" fmla="*/ 110 w 1678"/>
                      <a:gd name="T11" fmla="*/ 1288 h 1494"/>
                      <a:gd name="T12" fmla="*/ 110 w 1678"/>
                      <a:gd name="T13" fmla="*/ 1332 h 1494"/>
                      <a:gd name="T14" fmla="*/ 22 w 1678"/>
                      <a:gd name="T15" fmla="*/ 1332 h 1494"/>
                      <a:gd name="T16" fmla="*/ 0 w 1678"/>
                      <a:gd name="T17" fmla="*/ 1354 h 1494"/>
                      <a:gd name="T18" fmla="*/ 0 w 1678"/>
                      <a:gd name="T19" fmla="*/ 1472 h 1494"/>
                      <a:gd name="T20" fmla="*/ 22 w 1678"/>
                      <a:gd name="T21" fmla="*/ 1494 h 1494"/>
                      <a:gd name="T22" fmla="*/ 1656 w 1678"/>
                      <a:gd name="T23" fmla="*/ 1494 h 1494"/>
                      <a:gd name="T24" fmla="*/ 1678 w 1678"/>
                      <a:gd name="T25" fmla="*/ 1472 h 1494"/>
                      <a:gd name="T26" fmla="*/ 1678 w 1678"/>
                      <a:gd name="T27" fmla="*/ 1354 h 1494"/>
                      <a:gd name="T28" fmla="*/ 1656 w 1678"/>
                      <a:gd name="T29" fmla="*/ 1332 h 1494"/>
                      <a:gd name="T30" fmla="*/ 1645 w 1678"/>
                      <a:gd name="T31" fmla="*/ 375 h 1494"/>
                      <a:gd name="T32" fmla="*/ 1314 w 1678"/>
                      <a:gd name="T33" fmla="*/ 375 h 1494"/>
                      <a:gd name="T34" fmla="*/ 1147 w 1678"/>
                      <a:gd name="T35" fmla="*/ 109 h 1494"/>
                      <a:gd name="T36" fmla="*/ 839 w 1678"/>
                      <a:gd name="T37" fmla="*/ 0 h 1494"/>
                      <a:gd name="T38" fmla="*/ 532 w 1678"/>
                      <a:gd name="T39" fmla="*/ 108 h 1494"/>
                      <a:gd name="T40" fmla="*/ 364 w 1678"/>
                      <a:gd name="T41" fmla="*/ 375 h 1494"/>
                      <a:gd name="T42" fmla="*/ 33 w 1678"/>
                      <a:gd name="T43" fmla="*/ 375 h 1494"/>
                      <a:gd name="T44" fmla="*/ 11 w 1678"/>
                      <a:gd name="T45" fmla="*/ 397 h 1494"/>
                      <a:gd name="T46" fmla="*/ 11 w 1678"/>
                      <a:gd name="T47" fmla="*/ 528 h 1494"/>
                      <a:gd name="T48" fmla="*/ 33 w 1678"/>
                      <a:gd name="T49" fmla="*/ 550 h 1494"/>
                      <a:gd name="T50" fmla="*/ 1645 w 1678"/>
                      <a:gd name="T51" fmla="*/ 550 h 1494"/>
                      <a:gd name="T52" fmla="*/ 1667 w 1678"/>
                      <a:gd name="T53" fmla="*/ 528 h 1494"/>
                      <a:gd name="T54" fmla="*/ 1667 w 1678"/>
                      <a:gd name="T55" fmla="*/ 397 h 1494"/>
                      <a:gd name="T56" fmla="*/ 1645 w 1678"/>
                      <a:gd name="T57" fmla="*/ 375 h 1494"/>
                      <a:gd name="T58" fmla="*/ 839 w 1678"/>
                      <a:gd name="T59" fmla="*/ 44 h 1494"/>
                      <a:gd name="T60" fmla="*/ 1269 w 1678"/>
                      <a:gd name="T61" fmla="*/ 375 h 1494"/>
                      <a:gd name="T62" fmla="*/ 409 w 1678"/>
                      <a:gd name="T63" fmla="*/ 375 h 1494"/>
                      <a:gd name="T64" fmla="*/ 839 w 1678"/>
                      <a:gd name="T65" fmla="*/ 44 h 1494"/>
                      <a:gd name="T66" fmla="*/ 1623 w 1678"/>
                      <a:gd name="T67" fmla="*/ 506 h 1494"/>
                      <a:gd name="T68" fmla="*/ 55 w 1678"/>
                      <a:gd name="T69" fmla="*/ 506 h 1494"/>
                      <a:gd name="T70" fmla="*/ 55 w 1678"/>
                      <a:gd name="T71" fmla="*/ 419 h 1494"/>
                      <a:gd name="T72" fmla="*/ 1623 w 1678"/>
                      <a:gd name="T73" fmla="*/ 419 h 1494"/>
                      <a:gd name="T74" fmla="*/ 1623 w 1678"/>
                      <a:gd name="T75" fmla="*/ 506 h 14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678" h="1494">
                        <a:moveTo>
                          <a:pt x="1656" y="1332"/>
                        </a:moveTo>
                        <a:cubicBezTo>
                          <a:pt x="1568" y="1332"/>
                          <a:pt x="1568" y="1332"/>
                          <a:pt x="1568" y="1332"/>
                        </a:cubicBezTo>
                        <a:cubicBezTo>
                          <a:pt x="1568" y="1288"/>
                          <a:pt x="1568" y="1288"/>
                          <a:pt x="1568" y="1288"/>
                        </a:cubicBezTo>
                        <a:cubicBezTo>
                          <a:pt x="1568" y="1276"/>
                          <a:pt x="1558" y="1266"/>
                          <a:pt x="1546" y="1266"/>
                        </a:cubicBezTo>
                        <a:cubicBezTo>
                          <a:pt x="132" y="1266"/>
                          <a:pt x="132" y="1266"/>
                          <a:pt x="132" y="1266"/>
                        </a:cubicBezTo>
                        <a:cubicBezTo>
                          <a:pt x="120" y="1266"/>
                          <a:pt x="110" y="1276"/>
                          <a:pt x="110" y="1288"/>
                        </a:cubicBezTo>
                        <a:cubicBezTo>
                          <a:pt x="110" y="1332"/>
                          <a:pt x="110" y="1332"/>
                          <a:pt x="110" y="1332"/>
                        </a:cubicBezTo>
                        <a:cubicBezTo>
                          <a:pt x="22" y="1332"/>
                          <a:pt x="22" y="1332"/>
                          <a:pt x="22" y="1332"/>
                        </a:cubicBezTo>
                        <a:cubicBezTo>
                          <a:pt x="10" y="1332"/>
                          <a:pt x="0" y="1342"/>
                          <a:pt x="0" y="1354"/>
                        </a:cubicBezTo>
                        <a:cubicBezTo>
                          <a:pt x="0" y="1472"/>
                          <a:pt x="0" y="1472"/>
                          <a:pt x="0" y="1472"/>
                        </a:cubicBezTo>
                        <a:cubicBezTo>
                          <a:pt x="0" y="1484"/>
                          <a:pt x="10" y="1494"/>
                          <a:pt x="22" y="1494"/>
                        </a:cubicBezTo>
                        <a:cubicBezTo>
                          <a:pt x="1656" y="1494"/>
                          <a:pt x="1656" y="1494"/>
                          <a:pt x="1656" y="1494"/>
                        </a:cubicBezTo>
                        <a:cubicBezTo>
                          <a:pt x="1668" y="1494"/>
                          <a:pt x="1678" y="1484"/>
                          <a:pt x="1678" y="1472"/>
                        </a:cubicBezTo>
                        <a:cubicBezTo>
                          <a:pt x="1678" y="1354"/>
                          <a:pt x="1678" y="1354"/>
                          <a:pt x="1678" y="1354"/>
                        </a:cubicBezTo>
                        <a:cubicBezTo>
                          <a:pt x="1678" y="1342"/>
                          <a:pt x="1668" y="1332"/>
                          <a:pt x="1656" y="1332"/>
                        </a:cubicBezTo>
                        <a:close/>
                        <a:moveTo>
                          <a:pt x="1645" y="375"/>
                        </a:moveTo>
                        <a:cubicBezTo>
                          <a:pt x="1314" y="375"/>
                          <a:pt x="1314" y="375"/>
                          <a:pt x="1314" y="375"/>
                        </a:cubicBezTo>
                        <a:cubicBezTo>
                          <a:pt x="1289" y="271"/>
                          <a:pt x="1230" y="177"/>
                          <a:pt x="1147" y="109"/>
                        </a:cubicBezTo>
                        <a:cubicBezTo>
                          <a:pt x="1060" y="38"/>
                          <a:pt x="951" y="0"/>
                          <a:pt x="839" y="0"/>
                        </a:cubicBezTo>
                        <a:cubicBezTo>
                          <a:pt x="728" y="0"/>
                          <a:pt x="619" y="38"/>
                          <a:pt x="532" y="108"/>
                        </a:cubicBezTo>
                        <a:cubicBezTo>
                          <a:pt x="448" y="176"/>
                          <a:pt x="389" y="271"/>
                          <a:pt x="364" y="375"/>
                        </a:cubicBezTo>
                        <a:cubicBezTo>
                          <a:pt x="33" y="375"/>
                          <a:pt x="33" y="375"/>
                          <a:pt x="33" y="375"/>
                        </a:cubicBezTo>
                        <a:cubicBezTo>
                          <a:pt x="21" y="375"/>
                          <a:pt x="11" y="385"/>
                          <a:pt x="11" y="397"/>
                        </a:cubicBezTo>
                        <a:cubicBezTo>
                          <a:pt x="11" y="528"/>
                          <a:pt x="11" y="528"/>
                          <a:pt x="11" y="528"/>
                        </a:cubicBezTo>
                        <a:cubicBezTo>
                          <a:pt x="11" y="540"/>
                          <a:pt x="21" y="550"/>
                          <a:pt x="33" y="550"/>
                        </a:cubicBezTo>
                        <a:cubicBezTo>
                          <a:pt x="1645" y="550"/>
                          <a:pt x="1645" y="550"/>
                          <a:pt x="1645" y="550"/>
                        </a:cubicBezTo>
                        <a:cubicBezTo>
                          <a:pt x="1657" y="550"/>
                          <a:pt x="1667" y="540"/>
                          <a:pt x="1667" y="528"/>
                        </a:cubicBezTo>
                        <a:cubicBezTo>
                          <a:pt x="1667" y="397"/>
                          <a:pt x="1667" y="397"/>
                          <a:pt x="1667" y="397"/>
                        </a:cubicBezTo>
                        <a:cubicBezTo>
                          <a:pt x="1667" y="385"/>
                          <a:pt x="1657" y="375"/>
                          <a:pt x="1645" y="375"/>
                        </a:cubicBezTo>
                        <a:close/>
                        <a:moveTo>
                          <a:pt x="839" y="44"/>
                        </a:moveTo>
                        <a:cubicBezTo>
                          <a:pt x="1040" y="44"/>
                          <a:pt x="1218" y="182"/>
                          <a:pt x="1269" y="375"/>
                        </a:cubicBezTo>
                        <a:cubicBezTo>
                          <a:pt x="409" y="375"/>
                          <a:pt x="409" y="375"/>
                          <a:pt x="409" y="375"/>
                        </a:cubicBezTo>
                        <a:cubicBezTo>
                          <a:pt x="460" y="179"/>
                          <a:pt x="635" y="44"/>
                          <a:pt x="839" y="44"/>
                        </a:cubicBezTo>
                        <a:close/>
                        <a:moveTo>
                          <a:pt x="1623" y="506"/>
                        </a:moveTo>
                        <a:cubicBezTo>
                          <a:pt x="55" y="506"/>
                          <a:pt x="55" y="506"/>
                          <a:pt x="55" y="506"/>
                        </a:cubicBezTo>
                        <a:cubicBezTo>
                          <a:pt x="55" y="419"/>
                          <a:pt x="55" y="419"/>
                          <a:pt x="55" y="419"/>
                        </a:cubicBezTo>
                        <a:cubicBezTo>
                          <a:pt x="1623" y="419"/>
                          <a:pt x="1623" y="419"/>
                          <a:pt x="1623" y="419"/>
                        </a:cubicBezTo>
                        <a:lnTo>
                          <a:pt x="1623" y="506"/>
                        </a:lnTo>
                        <a:close/>
                      </a:path>
                    </a:pathLst>
                  </a:custGeom>
                  <a:solidFill>
                    <a:srgbClr val="001042">
                      <a:lumMod val="100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9" name="Freeform 11">
                    <a:extLst>
                      <a:ext uri="{FF2B5EF4-FFF2-40B4-BE49-F238E27FC236}">
                        <a16:creationId xmlns:a16="http://schemas.microsoft.com/office/drawing/2014/main" id="{C4B85630-F551-43BE-AFF8-6A3D2082AE2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594982" y="2719578"/>
                    <a:ext cx="1002030" cy="1155954"/>
                  </a:xfrm>
                  <a:custGeom>
                    <a:avLst/>
                    <a:gdLst>
                      <a:gd name="T0" fmla="*/ 12 w 1404"/>
                      <a:gd name="T1" fmla="*/ 1032 h 1618"/>
                      <a:gd name="T2" fmla="*/ 105 w 1404"/>
                      <a:gd name="T3" fmla="*/ 1022 h 1618"/>
                      <a:gd name="T4" fmla="*/ 127 w 1404"/>
                      <a:gd name="T5" fmla="*/ 1608 h 1618"/>
                      <a:gd name="T6" fmla="*/ 10 w 1404"/>
                      <a:gd name="T7" fmla="*/ 1618 h 1618"/>
                      <a:gd name="T8" fmla="*/ 1031 w 1404"/>
                      <a:gd name="T9" fmla="*/ 1618 h 1618"/>
                      <a:gd name="T10" fmla="*/ 1149 w 1404"/>
                      <a:gd name="T11" fmla="*/ 1608 h 1618"/>
                      <a:gd name="T12" fmla="*/ 1127 w 1404"/>
                      <a:gd name="T13" fmla="*/ 1022 h 1618"/>
                      <a:gd name="T14" fmla="*/ 1033 w 1404"/>
                      <a:gd name="T15" fmla="*/ 1032 h 1618"/>
                      <a:gd name="T16" fmla="*/ 1031 w 1404"/>
                      <a:gd name="T17" fmla="*/ 1618 h 1618"/>
                      <a:gd name="T18" fmla="*/ 1394 w 1404"/>
                      <a:gd name="T19" fmla="*/ 1618 h 1618"/>
                      <a:gd name="T20" fmla="*/ 1392 w 1404"/>
                      <a:gd name="T21" fmla="*/ 1032 h 1618"/>
                      <a:gd name="T22" fmla="*/ 1299 w 1404"/>
                      <a:gd name="T23" fmla="*/ 1022 h 1618"/>
                      <a:gd name="T24" fmla="*/ 1277 w 1404"/>
                      <a:gd name="T25" fmla="*/ 1608 h 1618"/>
                      <a:gd name="T26" fmla="*/ 776 w 1404"/>
                      <a:gd name="T27" fmla="*/ 1618 h 1618"/>
                      <a:gd name="T28" fmla="*/ 894 w 1404"/>
                      <a:gd name="T29" fmla="*/ 1608 h 1618"/>
                      <a:gd name="T30" fmla="*/ 871 w 1404"/>
                      <a:gd name="T31" fmla="*/ 1022 h 1618"/>
                      <a:gd name="T32" fmla="*/ 778 w 1404"/>
                      <a:gd name="T33" fmla="*/ 1032 h 1618"/>
                      <a:gd name="T34" fmla="*/ 776 w 1404"/>
                      <a:gd name="T35" fmla="*/ 1618 h 1618"/>
                      <a:gd name="T36" fmla="*/ 628 w 1404"/>
                      <a:gd name="T37" fmla="*/ 1618 h 1618"/>
                      <a:gd name="T38" fmla="*/ 626 w 1404"/>
                      <a:gd name="T39" fmla="*/ 1032 h 1618"/>
                      <a:gd name="T40" fmla="*/ 533 w 1404"/>
                      <a:gd name="T41" fmla="*/ 1022 h 1618"/>
                      <a:gd name="T42" fmla="*/ 510 w 1404"/>
                      <a:gd name="T43" fmla="*/ 1608 h 1618"/>
                      <a:gd name="T44" fmla="*/ 265 w 1404"/>
                      <a:gd name="T45" fmla="*/ 1618 h 1618"/>
                      <a:gd name="T46" fmla="*/ 383 w 1404"/>
                      <a:gd name="T47" fmla="*/ 1608 h 1618"/>
                      <a:gd name="T48" fmla="*/ 361 w 1404"/>
                      <a:gd name="T49" fmla="*/ 1022 h 1618"/>
                      <a:gd name="T50" fmla="*/ 267 w 1404"/>
                      <a:gd name="T51" fmla="*/ 1032 h 1618"/>
                      <a:gd name="T52" fmla="*/ 265 w 1404"/>
                      <a:gd name="T53" fmla="*/ 1618 h 1618"/>
                      <a:gd name="T54" fmla="*/ 702 w 1404"/>
                      <a:gd name="T55" fmla="*/ 368 h 1618"/>
                      <a:gd name="T56" fmla="*/ 727 w 1404"/>
                      <a:gd name="T57" fmla="*/ 200 h 1618"/>
                      <a:gd name="T58" fmla="*/ 1036 w 1404"/>
                      <a:gd name="T59" fmla="*/ 193 h 1618"/>
                      <a:gd name="T60" fmla="*/ 959 w 1404"/>
                      <a:gd name="T61" fmla="*/ 101 h 1618"/>
                      <a:gd name="T62" fmla="*/ 1040 w 1404"/>
                      <a:gd name="T63" fmla="*/ 11 h 1618"/>
                      <a:gd name="T64" fmla="*/ 720 w 1404"/>
                      <a:gd name="T65" fmla="*/ 0 h 1618"/>
                      <a:gd name="T66" fmla="*/ 681 w 1404"/>
                      <a:gd name="T67" fmla="*/ 0 h 1618"/>
                      <a:gd name="T68" fmla="*/ 675 w 1404"/>
                      <a:gd name="T69" fmla="*/ 193 h 1618"/>
                      <a:gd name="T70" fmla="*/ 675 w 1404"/>
                      <a:gd name="T71" fmla="*/ 368 h 16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404" h="1618">
                        <a:moveTo>
                          <a:pt x="0" y="1608"/>
                        </a:moveTo>
                        <a:cubicBezTo>
                          <a:pt x="12" y="1032"/>
                          <a:pt x="12" y="1032"/>
                          <a:pt x="12" y="1032"/>
                        </a:cubicBezTo>
                        <a:cubicBezTo>
                          <a:pt x="12" y="1027"/>
                          <a:pt x="16" y="1022"/>
                          <a:pt x="22" y="1022"/>
                        </a:cubicBezTo>
                        <a:cubicBezTo>
                          <a:pt x="105" y="1022"/>
                          <a:pt x="105" y="1022"/>
                          <a:pt x="105" y="1022"/>
                        </a:cubicBezTo>
                        <a:cubicBezTo>
                          <a:pt x="111" y="1022"/>
                          <a:pt x="115" y="1027"/>
                          <a:pt x="115" y="1032"/>
                        </a:cubicBezTo>
                        <a:cubicBezTo>
                          <a:pt x="127" y="1608"/>
                          <a:pt x="127" y="1608"/>
                          <a:pt x="127" y="1608"/>
                        </a:cubicBezTo>
                        <a:cubicBezTo>
                          <a:pt x="127" y="1613"/>
                          <a:pt x="123" y="1618"/>
                          <a:pt x="117" y="1618"/>
                        </a:cubicBezTo>
                        <a:cubicBezTo>
                          <a:pt x="10" y="1618"/>
                          <a:pt x="10" y="1618"/>
                          <a:pt x="10" y="1618"/>
                        </a:cubicBezTo>
                        <a:cubicBezTo>
                          <a:pt x="4" y="1618"/>
                          <a:pt x="0" y="1613"/>
                          <a:pt x="0" y="1608"/>
                        </a:cubicBezTo>
                        <a:close/>
                        <a:moveTo>
                          <a:pt x="1031" y="1618"/>
                        </a:moveTo>
                        <a:cubicBezTo>
                          <a:pt x="1139" y="1618"/>
                          <a:pt x="1139" y="1618"/>
                          <a:pt x="1139" y="1618"/>
                        </a:cubicBezTo>
                        <a:cubicBezTo>
                          <a:pt x="1144" y="1618"/>
                          <a:pt x="1149" y="1613"/>
                          <a:pt x="1149" y="1608"/>
                        </a:cubicBezTo>
                        <a:cubicBezTo>
                          <a:pt x="1137" y="1032"/>
                          <a:pt x="1137" y="1032"/>
                          <a:pt x="1137" y="1032"/>
                        </a:cubicBezTo>
                        <a:cubicBezTo>
                          <a:pt x="1137" y="1027"/>
                          <a:pt x="1132" y="1022"/>
                          <a:pt x="1127" y="1022"/>
                        </a:cubicBezTo>
                        <a:cubicBezTo>
                          <a:pt x="1043" y="1022"/>
                          <a:pt x="1043" y="1022"/>
                          <a:pt x="1043" y="1022"/>
                        </a:cubicBezTo>
                        <a:cubicBezTo>
                          <a:pt x="1038" y="1022"/>
                          <a:pt x="1033" y="1027"/>
                          <a:pt x="1033" y="1032"/>
                        </a:cubicBezTo>
                        <a:cubicBezTo>
                          <a:pt x="1021" y="1608"/>
                          <a:pt x="1021" y="1608"/>
                          <a:pt x="1021" y="1608"/>
                        </a:cubicBezTo>
                        <a:cubicBezTo>
                          <a:pt x="1021" y="1613"/>
                          <a:pt x="1026" y="1618"/>
                          <a:pt x="1031" y="1618"/>
                        </a:cubicBezTo>
                        <a:close/>
                        <a:moveTo>
                          <a:pt x="1287" y="1618"/>
                        </a:moveTo>
                        <a:cubicBezTo>
                          <a:pt x="1394" y="1618"/>
                          <a:pt x="1394" y="1618"/>
                          <a:pt x="1394" y="1618"/>
                        </a:cubicBezTo>
                        <a:cubicBezTo>
                          <a:pt x="1400" y="1618"/>
                          <a:pt x="1404" y="1613"/>
                          <a:pt x="1404" y="1608"/>
                        </a:cubicBezTo>
                        <a:cubicBezTo>
                          <a:pt x="1392" y="1032"/>
                          <a:pt x="1392" y="1032"/>
                          <a:pt x="1392" y="1032"/>
                        </a:cubicBezTo>
                        <a:cubicBezTo>
                          <a:pt x="1392" y="1027"/>
                          <a:pt x="1388" y="1022"/>
                          <a:pt x="1382" y="1022"/>
                        </a:cubicBezTo>
                        <a:cubicBezTo>
                          <a:pt x="1299" y="1022"/>
                          <a:pt x="1299" y="1022"/>
                          <a:pt x="1299" y="1022"/>
                        </a:cubicBezTo>
                        <a:cubicBezTo>
                          <a:pt x="1293" y="1022"/>
                          <a:pt x="1289" y="1027"/>
                          <a:pt x="1289" y="1032"/>
                        </a:cubicBezTo>
                        <a:cubicBezTo>
                          <a:pt x="1277" y="1608"/>
                          <a:pt x="1277" y="1608"/>
                          <a:pt x="1277" y="1608"/>
                        </a:cubicBezTo>
                        <a:cubicBezTo>
                          <a:pt x="1277" y="1613"/>
                          <a:pt x="1281" y="1618"/>
                          <a:pt x="1287" y="1618"/>
                        </a:cubicBezTo>
                        <a:close/>
                        <a:moveTo>
                          <a:pt x="776" y="1618"/>
                        </a:moveTo>
                        <a:cubicBezTo>
                          <a:pt x="883" y="1618"/>
                          <a:pt x="883" y="1618"/>
                          <a:pt x="883" y="1618"/>
                        </a:cubicBezTo>
                        <a:cubicBezTo>
                          <a:pt x="889" y="1618"/>
                          <a:pt x="894" y="1613"/>
                          <a:pt x="894" y="1608"/>
                        </a:cubicBezTo>
                        <a:cubicBezTo>
                          <a:pt x="881" y="1032"/>
                          <a:pt x="881" y="1032"/>
                          <a:pt x="881" y="1032"/>
                        </a:cubicBezTo>
                        <a:cubicBezTo>
                          <a:pt x="881" y="1027"/>
                          <a:pt x="877" y="1022"/>
                          <a:pt x="871" y="1022"/>
                        </a:cubicBezTo>
                        <a:cubicBezTo>
                          <a:pt x="788" y="1022"/>
                          <a:pt x="788" y="1022"/>
                          <a:pt x="788" y="1022"/>
                        </a:cubicBezTo>
                        <a:cubicBezTo>
                          <a:pt x="782" y="1022"/>
                          <a:pt x="778" y="1027"/>
                          <a:pt x="778" y="1032"/>
                        </a:cubicBezTo>
                        <a:cubicBezTo>
                          <a:pt x="766" y="1608"/>
                          <a:pt x="766" y="1608"/>
                          <a:pt x="766" y="1608"/>
                        </a:cubicBezTo>
                        <a:cubicBezTo>
                          <a:pt x="766" y="1613"/>
                          <a:pt x="770" y="1618"/>
                          <a:pt x="776" y="1618"/>
                        </a:cubicBezTo>
                        <a:close/>
                        <a:moveTo>
                          <a:pt x="521" y="1618"/>
                        </a:moveTo>
                        <a:cubicBezTo>
                          <a:pt x="628" y="1618"/>
                          <a:pt x="628" y="1618"/>
                          <a:pt x="628" y="1618"/>
                        </a:cubicBezTo>
                        <a:cubicBezTo>
                          <a:pt x="634" y="1618"/>
                          <a:pt x="638" y="1613"/>
                          <a:pt x="638" y="1608"/>
                        </a:cubicBezTo>
                        <a:cubicBezTo>
                          <a:pt x="626" y="1032"/>
                          <a:pt x="626" y="1032"/>
                          <a:pt x="626" y="1032"/>
                        </a:cubicBezTo>
                        <a:cubicBezTo>
                          <a:pt x="626" y="1027"/>
                          <a:pt x="622" y="1022"/>
                          <a:pt x="616" y="1022"/>
                        </a:cubicBezTo>
                        <a:cubicBezTo>
                          <a:pt x="533" y="1022"/>
                          <a:pt x="533" y="1022"/>
                          <a:pt x="533" y="1022"/>
                        </a:cubicBezTo>
                        <a:cubicBezTo>
                          <a:pt x="527" y="1022"/>
                          <a:pt x="523" y="1027"/>
                          <a:pt x="523" y="1032"/>
                        </a:cubicBezTo>
                        <a:cubicBezTo>
                          <a:pt x="510" y="1608"/>
                          <a:pt x="510" y="1608"/>
                          <a:pt x="510" y="1608"/>
                        </a:cubicBezTo>
                        <a:cubicBezTo>
                          <a:pt x="510" y="1613"/>
                          <a:pt x="515" y="1618"/>
                          <a:pt x="521" y="1618"/>
                        </a:cubicBezTo>
                        <a:close/>
                        <a:moveTo>
                          <a:pt x="265" y="1618"/>
                        </a:moveTo>
                        <a:cubicBezTo>
                          <a:pt x="373" y="1618"/>
                          <a:pt x="373" y="1618"/>
                          <a:pt x="373" y="1618"/>
                        </a:cubicBezTo>
                        <a:cubicBezTo>
                          <a:pt x="378" y="1618"/>
                          <a:pt x="383" y="1613"/>
                          <a:pt x="383" y="1608"/>
                        </a:cubicBezTo>
                        <a:cubicBezTo>
                          <a:pt x="371" y="1032"/>
                          <a:pt x="371" y="1032"/>
                          <a:pt x="371" y="1032"/>
                        </a:cubicBezTo>
                        <a:cubicBezTo>
                          <a:pt x="371" y="1027"/>
                          <a:pt x="366" y="1022"/>
                          <a:pt x="361" y="1022"/>
                        </a:cubicBezTo>
                        <a:cubicBezTo>
                          <a:pt x="277" y="1022"/>
                          <a:pt x="277" y="1022"/>
                          <a:pt x="277" y="1022"/>
                        </a:cubicBezTo>
                        <a:cubicBezTo>
                          <a:pt x="272" y="1022"/>
                          <a:pt x="267" y="1027"/>
                          <a:pt x="267" y="1032"/>
                        </a:cubicBezTo>
                        <a:cubicBezTo>
                          <a:pt x="255" y="1608"/>
                          <a:pt x="255" y="1608"/>
                          <a:pt x="255" y="1608"/>
                        </a:cubicBezTo>
                        <a:cubicBezTo>
                          <a:pt x="255" y="1613"/>
                          <a:pt x="260" y="1618"/>
                          <a:pt x="265" y="1618"/>
                        </a:cubicBezTo>
                        <a:close/>
                        <a:moveTo>
                          <a:pt x="675" y="368"/>
                        </a:moveTo>
                        <a:cubicBezTo>
                          <a:pt x="684" y="368"/>
                          <a:pt x="693" y="368"/>
                          <a:pt x="702" y="368"/>
                        </a:cubicBezTo>
                        <a:cubicBezTo>
                          <a:pt x="710" y="368"/>
                          <a:pt x="718" y="368"/>
                          <a:pt x="727" y="368"/>
                        </a:cubicBezTo>
                        <a:cubicBezTo>
                          <a:pt x="727" y="200"/>
                          <a:pt x="727" y="200"/>
                          <a:pt x="727" y="200"/>
                        </a:cubicBezTo>
                        <a:cubicBezTo>
                          <a:pt x="727" y="196"/>
                          <a:pt x="730" y="193"/>
                          <a:pt x="733" y="193"/>
                        </a:cubicBezTo>
                        <a:cubicBezTo>
                          <a:pt x="1036" y="193"/>
                          <a:pt x="1036" y="193"/>
                          <a:pt x="1036" y="193"/>
                        </a:cubicBezTo>
                        <a:cubicBezTo>
                          <a:pt x="1042" y="193"/>
                          <a:pt x="1044" y="186"/>
                          <a:pt x="1040" y="182"/>
                        </a:cubicBezTo>
                        <a:cubicBezTo>
                          <a:pt x="959" y="101"/>
                          <a:pt x="959" y="101"/>
                          <a:pt x="959" y="101"/>
                        </a:cubicBezTo>
                        <a:cubicBezTo>
                          <a:pt x="957" y="99"/>
                          <a:pt x="957" y="95"/>
                          <a:pt x="959" y="92"/>
                        </a:cubicBezTo>
                        <a:cubicBezTo>
                          <a:pt x="1040" y="11"/>
                          <a:pt x="1040" y="11"/>
                          <a:pt x="1040" y="11"/>
                        </a:cubicBezTo>
                        <a:cubicBezTo>
                          <a:pt x="1044" y="7"/>
                          <a:pt x="1042" y="0"/>
                          <a:pt x="1036" y="0"/>
                        </a:cubicBezTo>
                        <a:cubicBezTo>
                          <a:pt x="720" y="0"/>
                          <a:pt x="720" y="0"/>
                          <a:pt x="720" y="0"/>
                        </a:cubicBezTo>
                        <a:cubicBezTo>
                          <a:pt x="681" y="0"/>
                          <a:pt x="681" y="0"/>
                          <a:pt x="681" y="0"/>
                        </a:cubicBezTo>
                        <a:cubicBezTo>
                          <a:pt x="681" y="0"/>
                          <a:pt x="681" y="0"/>
                          <a:pt x="681" y="0"/>
                        </a:cubicBezTo>
                        <a:cubicBezTo>
                          <a:pt x="678" y="0"/>
                          <a:pt x="675" y="3"/>
                          <a:pt x="675" y="7"/>
                        </a:cubicBezTo>
                        <a:cubicBezTo>
                          <a:pt x="675" y="193"/>
                          <a:pt x="675" y="193"/>
                          <a:pt x="675" y="193"/>
                        </a:cubicBezTo>
                        <a:cubicBezTo>
                          <a:pt x="675" y="193"/>
                          <a:pt x="675" y="193"/>
                          <a:pt x="675" y="193"/>
                        </a:cubicBezTo>
                        <a:lnTo>
                          <a:pt x="675" y="368"/>
                        </a:lnTo>
                        <a:close/>
                      </a:path>
                    </a:pathLst>
                  </a:custGeom>
                  <a:solidFill>
                    <a:srgbClr val="00269E">
                      <a:lumMod val="100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A0084BC0-36BD-4261-A687-F5C78ACCB821}"/>
                </a:ext>
              </a:extLst>
            </p:cNvPr>
            <p:cNvSpPr txBox="1"/>
            <p:nvPr/>
          </p:nvSpPr>
          <p:spPr>
            <a:xfrm>
              <a:off x="684760" y="4463202"/>
              <a:ext cx="1226590" cy="2677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200" kern="0">
                  <a:solidFill>
                    <a:schemeClr val="bg1"/>
                  </a:solidFill>
                </a:rPr>
                <a:t>WSC core staff</a:t>
              </a:r>
            </a:p>
          </p:txBody>
        </p:sp>
      </p:grpSp>
      <p:sp>
        <p:nvSpPr>
          <p:cNvPr id="141" name="Rectangle: Top Corners Rounded 140">
            <a:extLst>
              <a:ext uri="{FF2B5EF4-FFF2-40B4-BE49-F238E27FC236}">
                <a16:creationId xmlns:a16="http://schemas.microsoft.com/office/drawing/2014/main" id="{CC971940-2709-4645-8340-F0849C38D04F}"/>
              </a:ext>
            </a:extLst>
          </p:cNvPr>
          <p:cNvSpPr/>
          <p:nvPr/>
        </p:nvSpPr>
        <p:spPr>
          <a:xfrm rot="5400000">
            <a:off x="1008334" y="4348499"/>
            <a:ext cx="568107" cy="1672491"/>
          </a:xfrm>
          <a:prstGeom prst="round2Same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A610596D-7821-41F6-9B9E-8C19D5259485}"/>
              </a:ext>
            </a:extLst>
          </p:cNvPr>
          <p:cNvSpPr txBox="1"/>
          <p:nvPr/>
        </p:nvSpPr>
        <p:spPr>
          <a:xfrm>
            <a:off x="902043" y="4869232"/>
            <a:ext cx="1340351" cy="6186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200" kern="0">
                <a:solidFill>
                  <a:schemeClr val="bg1"/>
                </a:solidFill>
              </a:rPr>
              <a:t>Other agencies (e.g., HHS, MOBD, </a:t>
            </a:r>
            <a:r>
              <a:rPr lang="en-US" sz="1200" kern="0" err="1">
                <a:solidFill>
                  <a:schemeClr val="bg1"/>
                </a:solidFill>
              </a:rPr>
              <a:t>MLSC</a:t>
            </a:r>
            <a:r>
              <a:rPr lang="en-US" sz="1200" kern="0">
                <a:solidFill>
                  <a:schemeClr val="bg1"/>
                </a:solidFill>
              </a:rPr>
              <a:t>)</a:t>
            </a: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242E636-D654-48FE-999C-BE64B8582D94}"/>
              </a:ext>
            </a:extLst>
          </p:cNvPr>
          <p:cNvCxnSpPr>
            <a:cxnSpLocks/>
          </p:cNvCxnSpPr>
          <p:nvPr/>
        </p:nvCxnSpPr>
        <p:spPr>
          <a:xfrm>
            <a:off x="7207047" y="4883898"/>
            <a:ext cx="432845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4277153-3383-42DD-B64F-ABF7A72F1127}"/>
              </a:ext>
            </a:extLst>
          </p:cNvPr>
          <p:cNvGrpSpPr/>
          <p:nvPr/>
        </p:nvGrpSpPr>
        <p:grpSpPr>
          <a:xfrm>
            <a:off x="541579" y="4957385"/>
            <a:ext cx="398566" cy="398936"/>
            <a:chOff x="6510577" y="2265159"/>
            <a:chExt cx="2325527" cy="2327682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F8A6028A-30C4-4AA7-BA32-6C7A49546C01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510577" y="2265159"/>
              <a:ext cx="2325527" cy="2327682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tx1"/>
                  </a:gs>
                  <a:gs pos="100000">
                    <a:schemeClr val="accent5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600" kern="0">
                <a:solidFill>
                  <a:schemeClr val="tx1"/>
                </a:solidFill>
              </a:endParaRPr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2F9CE07C-3F4A-4C4C-B216-4844162CE1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51142" y="2606040"/>
              <a:ext cx="1644396" cy="1645920"/>
              <a:chOff x="5273799" y="2606040"/>
              <a:chExt cx="1644396" cy="1645920"/>
            </a:xfrm>
          </p:grpSpPr>
          <p:sp>
            <p:nvSpPr>
              <p:cNvPr id="136" name="AutoShape 8">
                <a:extLst>
                  <a:ext uri="{FF2B5EF4-FFF2-40B4-BE49-F238E27FC236}">
                    <a16:creationId xmlns:a16="http://schemas.microsoft.com/office/drawing/2014/main" id="{F91F9BD4-659D-407E-9F84-0070ECA2023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531415ED-B61B-44D5-9990-E16B43966FD8}"/>
                  </a:ext>
                </a:extLst>
              </p:cNvPr>
              <p:cNvGrpSpPr/>
              <p:nvPr/>
            </p:nvGrpSpPr>
            <p:grpSpPr>
              <a:xfrm>
                <a:off x="5497065" y="2719578"/>
                <a:ext cx="1197864" cy="1361694"/>
                <a:chOff x="5497065" y="2719578"/>
                <a:chExt cx="1197864" cy="1361694"/>
              </a:xfrm>
            </p:grpSpPr>
            <p:sp>
              <p:nvSpPr>
                <p:cNvPr id="138" name="Freeform 10">
                  <a:extLst>
                    <a:ext uri="{FF2B5EF4-FFF2-40B4-BE49-F238E27FC236}">
                      <a16:creationId xmlns:a16="http://schemas.microsoft.com/office/drawing/2014/main" id="{714DA92F-9527-40B8-B374-C70DF97476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7065" y="3014091"/>
                  <a:ext cx="1197864" cy="1067181"/>
                </a:xfrm>
                <a:custGeom>
                  <a:avLst/>
                  <a:gdLst>
                    <a:gd name="T0" fmla="*/ 1656 w 1678"/>
                    <a:gd name="T1" fmla="*/ 1332 h 1494"/>
                    <a:gd name="T2" fmla="*/ 1568 w 1678"/>
                    <a:gd name="T3" fmla="*/ 1332 h 1494"/>
                    <a:gd name="T4" fmla="*/ 1568 w 1678"/>
                    <a:gd name="T5" fmla="*/ 1288 h 1494"/>
                    <a:gd name="T6" fmla="*/ 1546 w 1678"/>
                    <a:gd name="T7" fmla="*/ 1266 h 1494"/>
                    <a:gd name="T8" fmla="*/ 132 w 1678"/>
                    <a:gd name="T9" fmla="*/ 1266 h 1494"/>
                    <a:gd name="T10" fmla="*/ 110 w 1678"/>
                    <a:gd name="T11" fmla="*/ 1288 h 1494"/>
                    <a:gd name="T12" fmla="*/ 110 w 1678"/>
                    <a:gd name="T13" fmla="*/ 1332 h 1494"/>
                    <a:gd name="T14" fmla="*/ 22 w 1678"/>
                    <a:gd name="T15" fmla="*/ 1332 h 1494"/>
                    <a:gd name="T16" fmla="*/ 0 w 1678"/>
                    <a:gd name="T17" fmla="*/ 1354 h 1494"/>
                    <a:gd name="T18" fmla="*/ 0 w 1678"/>
                    <a:gd name="T19" fmla="*/ 1472 h 1494"/>
                    <a:gd name="T20" fmla="*/ 22 w 1678"/>
                    <a:gd name="T21" fmla="*/ 1494 h 1494"/>
                    <a:gd name="T22" fmla="*/ 1656 w 1678"/>
                    <a:gd name="T23" fmla="*/ 1494 h 1494"/>
                    <a:gd name="T24" fmla="*/ 1678 w 1678"/>
                    <a:gd name="T25" fmla="*/ 1472 h 1494"/>
                    <a:gd name="T26" fmla="*/ 1678 w 1678"/>
                    <a:gd name="T27" fmla="*/ 1354 h 1494"/>
                    <a:gd name="T28" fmla="*/ 1656 w 1678"/>
                    <a:gd name="T29" fmla="*/ 1332 h 1494"/>
                    <a:gd name="T30" fmla="*/ 1645 w 1678"/>
                    <a:gd name="T31" fmla="*/ 375 h 1494"/>
                    <a:gd name="T32" fmla="*/ 1314 w 1678"/>
                    <a:gd name="T33" fmla="*/ 375 h 1494"/>
                    <a:gd name="T34" fmla="*/ 1147 w 1678"/>
                    <a:gd name="T35" fmla="*/ 109 h 1494"/>
                    <a:gd name="T36" fmla="*/ 839 w 1678"/>
                    <a:gd name="T37" fmla="*/ 0 h 1494"/>
                    <a:gd name="T38" fmla="*/ 532 w 1678"/>
                    <a:gd name="T39" fmla="*/ 108 h 1494"/>
                    <a:gd name="T40" fmla="*/ 364 w 1678"/>
                    <a:gd name="T41" fmla="*/ 375 h 1494"/>
                    <a:gd name="T42" fmla="*/ 33 w 1678"/>
                    <a:gd name="T43" fmla="*/ 375 h 1494"/>
                    <a:gd name="T44" fmla="*/ 11 w 1678"/>
                    <a:gd name="T45" fmla="*/ 397 h 1494"/>
                    <a:gd name="T46" fmla="*/ 11 w 1678"/>
                    <a:gd name="T47" fmla="*/ 528 h 1494"/>
                    <a:gd name="T48" fmla="*/ 33 w 1678"/>
                    <a:gd name="T49" fmla="*/ 550 h 1494"/>
                    <a:gd name="T50" fmla="*/ 1645 w 1678"/>
                    <a:gd name="T51" fmla="*/ 550 h 1494"/>
                    <a:gd name="T52" fmla="*/ 1667 w 1678"/>
                    <a:gd name="T53" fmla="*/ 528 h 1494"/>
                    <a:gd name="T54" fmla="*/ 1667 w 1678"/>
                    <a:gd name="T55" fmla="*/ 397 h 1494"/>
                    <a:gd name="T56" fmla="*/ 1645 w 1678"/>
                    <a:gd name="T57" fmla="*/ 375 h 1494"/>
                    <a:gd name="T58" fmla="*/ 839 w 1678"/>
                    <a:gd name="T59" fmla="*/ 44 h 1494"/>
                    <a:gd name="T60" fmla="*/ 1269 w 1678"/>
                    <a:gd name="T61" fmla="*/ 375 h 1494"/>
                    <a:gd name="T62" fmla="*/ 409 w 1678"/>
                    <a:gd name="T63" fmla="*/ 375 h 1494"/>
                    <a:gd name="T64" fmla="*/ 839 w 1678"/>
                    <a:gd name="T65" fmla="*/ 44 h 1494"/>
                    <a:gd name="T66" fmla="*/ 1623 w 1678"/>
                    <a:gd name="T67" fmla="*/ 506 h 1494"/>
                    <a:gd name="T68" fmla="*/ 55 w 1678"/>
                    <a:gd name="T69" fmla="*/ 506 h 1494"/>
                    <a:gd name="T70" fmla="*/ 55 w 1678"/>
                    <a:gd name="T71" fmla="*/ 419 h 1494"/>
                    <a:gd name="T72" fmla="*/ 1623 w 1678"/>
                    <a:gd name="T73" fmla="*/ 419 h 1494"/>
                    <a:gd name="T74" fmla="*/ 1623 w 1678"/>
                    <a:gd name="T75" fmla="*/ 506 h 1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678" h="1494">
                      <a:moveTo>
                        <a:pt x="1656" y="1332"/>
                      </a:moveTo>
                      <a:cubicBezTo>
                        <a:pt x="1568" y="1332"/>
                        <a:pt x="1568" y="1332"/>
                        <a:pt x="1568" y="1332"/>
                      </a:cubicBezTo>
                      <a:cubicBezTo>
                        <a:pt x="1568" y="1288"/>
                        <a:pt x="1568" y="1288"/>
                        <a:pt x="1568" y="1288"/>
                      </a:cubicBezTo>
                      <a:cubicBezTo>
                        <a:pt x="1568" y="1276"/>
                        <a:pt x="1558" y="1266"/>
                        <a:pt x="1546" y="1266"/>
                      </a:cubicBezTo>
                      <a:cubicBezTo>
                        <a:pt x="132" y="1266"/>
                        <a:pt x="132" y="1266"/>
                        <a:pt x="132" y="1266"/>
                      </a:cubicBezTo>
                      <a:cubicBezTo>
                        <a:pt x="120" y="1266"/>
                        <a:pt x="110" y="1276"/>
                        <a:pt x="110" y="1288"/>
                      </a:cubicBezTo>
                      <a:cubicBezTo>
                        <a:pt x="110" y="1332"/>
                        <a:pt x="110" y="1332"/>
                        <a:pt x="110" y="1332"/>
                      </a:cubicBezTo>
                      <a:cubicBezTo>
                        <a:pt x="22" y="1332"/>
                        <a:pt x="22" y="1332"/>
                        <a:pt x="22" y="1332"/>
                      </a:cubicBezTo>
                      <a:cubicBezTo>
                        <a:pt x="10" y="1332"/>
                        <a:pt x="0" y="1342"/>
                        <a:pt x="0" y="1354"/>
                      </a:cubicBezTo>
                      <a:cubicBezTo>
                        <a:pt x="0" y="1472"/>
                        <a:pt x="0" y="1472"/>
                        <a:pt x="0" y="1472"/>
                      </a:cubicBezTo>
                      <a:cubicBezTo>
                        <a:pt x="0" y="1484"/>
                        <a:pt x="10" y="1494"/>
                        <a:pt x="22" y="1494"/>
                      </a:cubicBezTo>
                      <a:cubicBezTo>
                        <a:pt x="1656" y="1494"/>
                        <a:pt x="1656" y="1494"/>
                        <a:pt x="1656" y="1494"/>
                      </a:cubicBezTo>
                      <a:cubicBezTo>
                        <a:pt x="1668" y="1494"/>
                        <a:pt x="1678" y="1484"/>
                        <a:pt x="1678" y="1472"/>
                      </a:cubicBezTo>
                      <a:cubicBezTo>
                        <a:pt x="1678" y="1354"/>
                        <a:pt x="1678" y="1354"/>
                        <a:pt x="1678" y="1354"/>
                      </a:cubicBezTo>
                      <a:cubicBezTo>
                        <a:pt x="1678" y="1342"/>
                        <a:pt x="1668" y="1332"/>
                        <a:pt x="1656" y="1332"/>
                      </a:cubicBezTo>
                      <a:close/>
                      <a:moveTo>
                        <a:pt x="1645" y="375"/>
                      </a:moveTo>
                      <a:cubicBezTo>
                        <a:pt x="1314" y="375"/>
                        <a:pt x="1314" y="375"/>
                        <a:pt x="1314" y="375"/>
                      </a:cubicBezTo>
                      <a:cubicBezTo>
                        <a:pt x="1289" y="271"/>
                        <a:pt x="1230" y="177"/>
                        <a:pt x="1147" y="109"/>
                      </a:cubicBezTo>
                      <a:cubicBezTo>
                        <a:pt x="1060" y="38"/>
                        <a:pt x="951" y="0"/>
                        <a:pt x="839" y="0"/>
                      </a:cubicBezTo>
                      <a:cubicBezTo>
                        <a:pt x="728" y="0"/>
                        <a:pt x="619" y="38"/>
                        <a:pt x="532" y="108"/>
                      </a:cubicBezTo>
                      <a:cubicBezTo>
                        <a:pt x="448" y="176"/>
                        <a:pt x="389" y="271"/>
                        <a:pt x="364" y="375"/>
                      </a:cubicBezTo>
                      <a:cubicBezTo>
                        <a:pt x="33" y="375"/>
                        <a:pt x="33" y="375"/>
                        <a:pt x="33" y="375"/>
                      </a:cubicBezTo>
                      <a:cubicBezTo>
                        <a:pt x="21" y="375"/>
                        <a:pt x="11" y="385"/>
                        <a:pt x="11" y="397"/>
                      </a:cubicBezTo>
                      <a:cubicBezTo>
                        <a:pt x="11" y="528"/>
                        <a:pt x="11" y="528"/>
                        <a:pt x="11" y="528"/>
                      </a:cubicBezTo>
                      <a:cubicBezTo>
                        <a:pt x="11" y="540"/>
                        <a:pt x="21" y="550"/>
                        <a:pt x="33" y="550"/>
                      </a:cubicBezTo>
                      <a:cubicBezTo>
                        <a:pt x="1645" y="550"/>
                        <a:pt x="1645" y="550"/>
                        <a:pt x="1645" y="550"/>
                      </a:cubicBezTo>
                      <a:cubicBezTo>
                        <a:pt x="1657" y="550"/>
                        <a:pt x="1667" y="540"/>
                        <a:pt x="1667" y="528"/>
                      </a:cubicBezTo>
                      <a:cubicBezTo>
                        <a:pt x="1667" y="397"/>
                        <a:pt x="1667" y="397"/>
                        <a:pt x="1667" y="397"/>
                      </a:cubicBezTo>
                      <a:cubicBezTo>
                        <a:pt x="1667" y="385"/>
                        <a:pt x="1657" y="375"/>
                        <a:pt x="1645" y="375"/>
                      </a:cubicBezTo>
                      <a:close/>
                      <a:moveTo>
                        <a:pt x="839" y="44"/>
                      </a:moveTo>
                      <a:cubicBezTo>
                        <a:pt x="1040" y="44"/>
                        <a:pt x="1218" y="182"/>
                        <a:pt x="1269" y="375"/>
                      </a:cubicBezTo>
                      <a:cubicBezTo>
                        <a:pt x="409" y="375"/>
                        <a:pt x="409" y="375"/>
                        <a:pt x="409" y="375"/>
                      </a:cubicBezTo>
                      <a:cubicBezTo>
                        <a:pt x="460" y="179"/>
                        <a:pt x="635" y="44"/>
                        <a:pt x="839" y="44"/>
                      </a:cubicBezTo>
                      <a:close/>
                      <a:moveTo>
                        <a:pt x="1623" y="506"/>
                      </a:moveTo>
                      <a:cubicBezTo>
                        <a:pt x="55" y="506"/>
                        <a:pt x="55" y="506"/>
                        <a:pt x="55" y="506"/>
                      </a:cubicBezTo>
                      <a:cubicBezTo>
                        <a:pt x="55" y="419"/>
                        <a:pt x="55" y="419"/>
                        <a:pt x="55" y="419"/>
                      </a:cubicBezTo>
                      <a:cubicBezTo>
                        <a:pt x="1623" y="419"/>
                        <a:pt x="1623" y="419"/>
                        <a:pt x="1623" y="419"/>
                      </a:cubicBezTo>
                      <a:lnTo>
                        <a:pt x="1623" y="506"/>
                      </a:lnTo>
                      <a:close/>
                    </a:path>
                  </a:pathLst>
                </a:custGeom>
                <a:solidFill>
                  <a:srgbClr val="00104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11">
                  <a:extLst>
                    <a:ext uri="{FF2B5EF4-FFF2-40B4-BE49-F238E27FC236}">
                      <a16:creationId xmlns:a16="http://schemas.microsoft.com/office/drawing/2014/main" id="{739B77C0-2DEB-4A76-ADEC-47FAC350AC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94982" y="2719578"/>
                  <a:ext cx="1002030" cy="1155954"/>
                </a:xfrm>
                <a:custGeom>
                  <a:avLst/>
                  <a:gdLst>
                    <a:gd name="T0" fmla="*/ 12 w 1404"/>
                    <a:gd name="T1" fmla="*/ 1032 h 1618"/>
                    <a:gd name="T2" fmla="*/ 105 w 1404"/>
                    <a:gd name="T3" fmla="*/ 1022 h 1618"/>
                    <a:gd name="T4" fmla="*/ 127 w 1404"/>
                    <a:gd name="T5" fmla="*/ 1608 h 1618"/>
                    <a:gd name="T6" fmla="*/ 10 w 1404"/>
                    <a:gd name="T7" fmla="*/ 1618 h 1618"/>
                    <a:gd name="T8" fmla="*/ 1031 w 1404"/>
                    <a:gd name="T9" fmla="*/ 1618 h 1618"/>
                    <a:gd name="T10" fmla="*/ 1149 w 1404"/>
                    <a:gd name="T11" fmla="*/ 1608 h 1618"/>
                    <a:gd name="T12" fmla="*/ 1127 w 1404"/>
                    <a:gd name="T13" fmla="*/ 1022 h 1618"/>
                    <a:gd name="T14" fmla="*/ 1033 w 1404"/>
                    <a:gd name="T15" fmla="*/ 1032 h 1618"/>
                    <a:gd name="T16" fmla="*/ 1031 w 1404"/>
                    <a:gd name="T17" fmla="*/ 1618 h 1618"/>
                    <a:gd name="T18" fmla="*/ 1394 w 1404"/>
                    <a:gd name="T19" fmla="*/ 1618 h 1618"/>
                    <a:gd name="T20" fmla="*/ 1392 w 1404"/>
                    <a:gd name="T21" fmla="*/ 1032 h 1618"/>
                    <a:gd name="T22" fmla="*/ 1299 w 1404"/>
                    <a:gd name="T23" fmla="*/ 1022 h 1618"/>
                    <a:gd name="T24" fmla="*/ 1277 w 1404"/>
                    <a:gd name="T25" fmla="*/ 1608 h 1618"/>
                    <a:gd name="T26" fmla="*/ 776 w 1404"/>
                    <a:gd name="T27" fmla="*/ 1618 h 1618"/>
                    <a:gd name="T28" fmla="*/ 894 w 1404"/>
                    <a:gd name="T29" fmla="*/ 1608 h 1618"/>
                    <a:gd name="T30" fmla="*/ 871 w 1404"/>
                    <a:gd name="T31" fmla="*/ 1022 h 1618"/>
                    <a:gd name="T32" fmla="*/ 778 w 1404"/>
                    <a:gd name="T33" fmla="*/ 1032 h 1618"/>
                    <a:gd name="T34" fmla="*/ 776 w 1404"/>
                    <a:gd name="T35" fmla="*/ 1618 h 1618"/>
                    <a:gd name="T36" fmla="*/ 628 w 1404"/>
                    <a:gd name="T37" fmla="*/ 1618 h 1618"/>
                    <a:gd name="T38" fmla="*/ 626 w 1404"/>
                    <a:gd name="T39" fmla="*/ 1032 h 1618"/>
                    <a:gd name="T40" fmla="*/ 533 w 1404"/>
                    <a:gd name="T41" fmla="*/ 1022 h 1618"/>
                    <a:gd name="T42" fmla="*/ 510 w 1404"/>
                    <a:gd name="T43" fmla="*/ 1608 h 1618"/>
                    <a:gd name="T44" fmla="*/ 265 w 1404"/>
                    <a:gd name="T45" fmla="*/ 1618 h 1618"/>
                    <a:gd name="T46" fmla="*/ 383 w 1404"/>
                    <a:gd name="T47" fmla="*/ 1608 h 1618"/>
                    <a:gd name="T48" fmla="*/ 361 w 1404"/>
                    <a:gd name="T49" fmla="*/ 1022 h 1618"/>
                    <a:gd name="T50" fmla="*/ 267 w 1404"/>
                    <a:gd name="T51" fmla="*/ 1032 h 1618"/>
                    <a:gd name="T52" fmla="*/ 265 w 1404"/>
                    <a:gd name="T53" fmla="*/ 1618 h 1618"/>
                    <a:gd name="T54" fmla="*/ 702 w 1404"/>
                    <a:gd name="T55" fmla="*/ 368 h 1618"/>
                    <a:gd name="T56" fmla="*/ 727 w 1404"/>
                    <a:gd name="T57" fmla="*/ 200 h 1618"/>
                    <a:gd name="T58" fmla="*/ 1036 w 1404"/>
                    <a:gd name="T59" fmla="*/ 193 h 1618"/>
                    <a:gd name="T60" fmla="*/ 959 w 1404"/>
                    <a:gd name="T61" fmla="*/ 101 h 1618"/>
                    <a:gd name="T62" fmla="*/ 1040 w 1404"/>
                    <a:gd name="T63" fmla="*/ 11 h 1618"/>
                    <a:gd name="T64" fmla="*/ 720 w 1404"/>
                    <a:gd name="T65" fmla="*/ 0 h 1618"/>
                    <a:gd name="T66" fmla="*/ 681 w 1404"/>
                    <a:gd name="T67" fmla="*/ 0 h 1618"/>
                    <a:gd name="T68" fmla="*/ 675 w 1404"/>
                    <a:gd name="T69" fmla="*/ 193 h 1618"/>
                    <a:gd name="T70" fmla="*/ 675 w 1404"/>
                    <a:gd name="T71" fmla="*/ 368 h 1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04" h="1618">
                      <a:moveTo>
                        <a:pt x="0" y="1608"/>
                      </a:moveTo>
                      <a:cubicBezTo>
                        <a:pt x="12" y="1032"/>
                        <a:pt x="12" y="1032"/>
                        <a:pt x="12" y="1032"/>
                      </a:cubicBezTo>
                      <a:cubicBezTo>
                        <a:pt x="12" y="1027"/>
                        <a:pt x="16" y="1022"/>
                        <a:pt x="22" y="1022"/>
                      </a:cubicBezTo>
                      <a:cubicBezTo>
                        <a:pt x="105" y="1022"/>
                        <a:pt x="105" y="1022"/>
                        <a:pt x="105" y="1022"/>
                      </a:cubicBezTo>
                      <a:cubicBezTo>
                        <a:pt x="111" y="1022"/>
                        <a:pt x="115" y="1027"/>
                        <a:pt x="115" y="1032"/>
                      </a:cubicBezTo>
                      <a:cubicBezTo>
                        <a:pt x="127" y="1608"/>
                        <a:pt x="127" y="1608"/>
                        <a:pt x="127" y="1608"/>
                      </a:cubicBezTo>
                      <a:cubicBezTo>
                        <a:pt x="127" y="1613"/>
                        <a:pt x="123" y="1618"/>
                        <a:pt x="117" y="1618"/>
                      </a:cubicBezTo>
                      <a:cubicBezTo>
                        <a:pt x="10" y="1618"/>
                        <a:pt x="10" y="1618"/>
                        <a:pt x="10" y="1618"/>
                      </a:cubicBezTo>
                      <a:cubicBezTo>
                        <a:pt x="4" y="1618"/>
                        <a:pt x="0" y="1613"/>
                        <a:pt x="0" y="1608"/>
                      </a:cubicBezTo>
                      <a:close/>
                      <a:moveTo>
                        <a:pt x="1031" y="1618"/>
                      </a:moveTo>
                      <a:cubicBezTo>
                        <a:pt x="1139" y="1618"/>
                        <a:pt x="1139" y="1618"/>
                        <a:pt x="1139" y="1618"/>
                      </a:cubicBezTo>
                      <a:cubicBezTo>
                        <a:pt x="1144" y="1618"/>
                        <a:pt x="1149" y="1613"/>
                        <a:pt x="1149" y="1608"/>
                      </a:cubicBezTo>
                      <a:cubicBezTo>
                        <a:pt x="1137" y="1032"/>
                        <a:pt x="1137" y="1032"/>
                        <a:pt x="1137" y="1032"/>
                      </a:cubicBezTo>
                      <a:cubicBezTo>
                        <a:pt x="1137" y="1027"/>
                        <a:pt x="1132" y="1022"/>
                        <a:pt x="1127" y="1022"/>
                      </a:cubicBezTo>
                      <a:cubicBezTo>
                        <a:pt x="1043" y="1022"/>
                        <a:pt x="1043" y="1022"/>
                        <a:pt x="1043" y="1022"/>
                      </a:cubicBezTo>
                      <a:cubicBezTo>
                        <a:pt x="1038" y="1022"/>
                        <a:pt x="1033" y="1027"/>
                        <a:pt x="1033" y="1032"/>
                      </a:cubicBezTo>
                      <a:cubicBezTo>
                        <a:pt x="1021" y="1608"/>
                        <a:pt x="1021" y="1608"/>
                        <a:pt x="1021" y="1608"/>
                      </a:cubicBezTo>
                      <a:cubicBezTo>
                        <a:pt x="1021" y="1613"/>
                        <a:pt x="1026" y="1618"/>
                        <a:pt x="1031" y="1618"/>
                      </a:cubicBezTo>
                      <a:close/>
                      <a:moveTo>
                        <a:pt x="1287" y="1618"/>
                      </a:moveTo>
                      <a:cubicBezTo>
                        <a:pt x="1394" y="1618"/>
                        <a:pt x="1394" y="1618"/>
                        <a:pt x="1394" y="1618"/>
                      </a:cubicBezTo>
                      <a:cubicBezTo>
                        <a:pt x="1400" y="1618"/>
                        <a:pt x="1404" y="1613"/>
                        <a:pt x="1404" y="1608"/>
                      </a:cubicBezTo>
                      <a:cubicBezTo>
                        <a:pt x="1392" y="1032"/>
                        <a:pt x="1392" y="1032"/>
                        <a:pt x="1392" y="1032"/>
                      </a:cubicBezTo>
                      <a:cubicBezTo>
                        <a:pt x="1392" y="1027"/>
                        <a:pt x="1388" y="1022"/>
                        <a:pt x="1382" y="1022"/>
                      </a:cubicBezTo>
                      <a:cubicBezTo>
                        <a:pt x="1299" y="1022"/>
                        <a:pt x="1299" y="1022"/>
                        <a:pt x="1299" y="1022"/>
                      </a:cubicBezTo>
                      <a:cubicBezTo>
                        <a:pt x="1293" y="1022"/>
                        <a:pt x="1289" y="1027"/>
                        <a:pt x="1289" y="1032"/>
                      </a:cubicBezTo>
                      <a:cubicBezTo>
                        <a:pt x="1277" y="1608"/>
                        <a:pt x="1277" y="1608"/>
                        <a:pt x="1277" y="1608"/>
                      </a:cubicBezTo>
                      <a:cubicBezTo>
                        <a:pt x="1277" y="1613"/>
                        <a:pt x="1281" y="1618"/>
                        <a:pt x="1287" y="1618"/>
                      </a:cubicBezTo>
                      <a:close/>
                      <a:moveTo>
                        <a:pt x="776" y="1618"/>
                      </a:moveTo>
                      <a:cubicBezTo>
                        <a:pt x="883" y="1618"/>
                        <a:pt x="883" y="1618"/>
                        <a:pt x="883" y="1618"/>
                      </a:cubicBezTo>
                      <a:cubicBezTo>
                        <a:pt x="889" y="1618"/>
                        <a:pt x="894" y="1613"/>
                        <a:pt x="894" y="1608"/>
                      </a:cubicBezTo>
                      <a:cubicBezTo>
                        <a:pt x="881" y="1032"/>
                        <a:pt x="881" y="1032"/>
                        <a:pt x="881" y="1032"/>
                      </a:cubicBezTo>
                      <a:cubicBezTo>
                        <a:pt x="881" y="1027"/>
                        <a:pt x="877" y="1022"/>
                        <a:pt x="871" y="1022"/>
                      </a:cubicBezTo>
                      <a:cubicBezTo>
                        <a:pt x="788" y="1022"/>
                        <a:pt x="788" y="1022"/>
                        <a:pt x="788" y="1022"/>
                      </a:cubicBezTo>
                      <a:cubicBezTo>
                        <a:pt x="782" y="1022"/>
                        <a:pt x="778" y="1027"/>
                        <a:pt x="778" y="1032"/>
                      </a:cubicBezTo>
                      <a:cubicBezTo>
                        <a:pt x="766" y="1608"/>
                        <a:pt x="766" y="1608"/>
                        <a:pt x="766" y="1608"/>
                      </a:cubicBezTo>
                      <a:cubicBezTo>
                        <a:pt x="766" y="1613"/>
                        <a:pt x="770" y="1618"/>
                        <a:pt x="776" y="1618"/>
                      </a:cubicBezTo>
                      <a:close/>
                      <a:moveTo>
                        <a:pt x="521" y="1618"/>
                      </a:moveTo>
                      <a:cubicBezTo>
                        <a:pt x="628" y="1618"/>
                        <a:pt x="628" y="1618"/>
                        <a:pt x="628" y="1618"/>
                      </a:cubicBezTo>
                      <a:cubicBezTo>
                        <a:pt x="634" y="1618"/>
                        <a:pt x="638" y="1613"/>
                        <a:pt x="638" y="1608"/>
                      </a:cubicBezTo>
                      <a:cubicBezTo>
                        <a:pt x="626" y="1032"/>
                        <a:pt x="626" y="1032"/>
                        <a:pt x="626" y="1032"/>
                      </a:cubicBezTo>
                      <a:cubicBezTo>
                        <a:pt x="626" y="1027"/>
                        <a:pt x="622" y="1022"/>
                        <a:pt x="616" y="1022"/>
                      </a:cubicBezTo>
                      <a:cubicBezTo>
                        <a:pt x="533" y="1022"/>
                        <a:pt x="533" y="1022"/>
                        <a:pt x="533" y="1022"/>
                      </a:cubicBezTo>
                      <a:cubicBezTo>
                        <a:pt x="527" y="1022"/>
                        <a:pt x="523" y="1027"/>
                        <a:pt x="523" y="1032"/>
                      </a:cubicBezTo>
                      <a:cubicBezTo>
                        <a:pt x="510" y="1608"/>
                        <a:pt x="510" y="1608"/>
                        <a:pt x="510" y="1608"/>
                      </a:cubicBezTo>
                      <a:cubicBezTo>
                        <a:pt x="510" y="1613"/>
                        <a:pt x="515" y="1618"/>
                        <a:pt x="521" y="1618"/>
                      </a:cubicBezTo>
                      <a:close/>
                      <a:moveTo>
                        <a:pt x="265" y="1618"/>
                      </a:moveTo>
                      <a:cubicBezTo>
                        <a:pt x="373" y="1618"/>
                        <a:pt x="373" y="1618"/>
                        <a:pt x="373" y="1618"/>
                      </a:cubicBezTo>
                      <a:cubicBezTo>
                        <a:pt x="378" y="1618"/>
                        <a:pt x="383" y="1613"/>
                        <a:pt x="383" y="1608"/>
                      </a:cubicBezTo>
                      <a:cubicBezTo>
                        <a:pt x="371" y="1032"/>
                        <a:pt x="371" y="1032"/>
                        <a:pt x="371" y="1032"/>
                      </a:cubicBezTo>
                      <a:cubicBezTo>
                        <a:pt x="371" y="1027"/>
                        <a:pt x="366" y="1022"/>
                        <a:pt x="361" y="1022"/>
                      </a:cubicBezTo>
                      <a:cubicBezTo>
                        <a:pt x="277" y="1022"/>
                        <a:pt x="277" y="1022"/>
                        <a:pt x="277" y="1022"/>
                      </a:cubicBezTo>
                      <a:cubicBezTo>
                        <a:pt x="272" y="1022"/>
                        <a:pt x="267" y="1027"/>
                        <a:pt x="267" y="1032"/>
                      </a:cubicBezTo>
                      <a:cubicBezTo>
                        <a:pt x="255" y="1608"/>
                        <a:pt x="255" y="1608"/>
                        <a:pt x="255" y="1608"/>
                      </a:cubicBezTo>
                      <a:cubicBezTo>
                        <a:pt x="255" y="1613"/>
                        <a:pt x="260" y="1618"/>
                        <a:pt x="265" y="1618"/>
                      </a:cubicBezTo>
                      <a:close/>
                      <a:moveTo>
                        <a:pt x="675" y="368"/>
                      </a:moveTo>
                      <a:cubicBezTo>
                        <a:pt x="684" y="368"/>
                        <a:pt x="693" y="368"/>
                        <a:pt x="702" y="368"/>
                      </a:cubicBezTo>
                      <a:cubicBezTo>
                        <a:pt x="710" y="368"/>
                        <a:pt x="718" y="368"/>
                        <a:pt x="727" y="368"/>
                      </a:cubicBezTo>
                      <a:cubicBezTo>
                        <a:pt x="727" y="200"/>
                        <a:pt x="727" y="200"/>
                        <a:pt x="727" y="200"/>
                      </a:cubicBezTo>
                      <a:cubicBezTo>
                        <a:pt x="727" y="196"/>
                        <a:pt x="730" y="193"/>
                        <a:pt x="733" y="193"/>
                      </a:cubicBezTo>
                      <a:cubicBezTo>
                        <a:pt x="1036" y="193"/>
                        <a:pt x="1036" y="193"/>
                        <a:pt x="1036" y="193"/>
                      </a:cubicBezTo>
                      <a:cubicBezTo>
                        <a:pt x="1042" y="193"/>
                        <a:pt x="1044" y="186"/>
                        <a:pt x="1040" y="182"/>
                      </a:cubicBezTo>
                      <a:cubicBezTo>
                        <a:pt x="959" y="101"/>
                        <a:pt x="959" y="101"/>
                        <a:pt x="959" y="101"/>
                      </a:cubicBezTo>
                      <a:cubicBezTo>
                        <a:pt x="957" y="99"/>
                        <a:pt x="957" y="95"/>
                        <a:pt x="959" y="92"/>
                      </a:cubicBezTo>
                      <a:cubicBezTo>
                        <a:pt x="1040" y="11"/>
                        <a:pt x="1040" y="11"/>
                        <a:pt x="1040" y="11"/>
                      </a:cubicBezTo>
                      <a:cubicBezTo>
                        <a:pt x="1044" y="7"/>
                        <a:pt x="1042" y="0"/>
                        <a:pt x="1036" y="0"/>
                      </a:cubicBezTo>
                      <a:cubicBezTo>
                        <a:pt x="720" y="0"/>
                        <a:pt x="720" y="0"/>
                        <a:pt x="720" y="0"/>
                      </a:cubicBezTo>
                      <a:cubicBezTo>
                        <a:pt x="681" y="0"/>
                        <a:pt x="681" y="0"/>
                        <a:pt x="681" y="0"/>
                      </a:cubicBezTo>
                      <a:cubicBezTo>
                        <a:pt x="681" y="0"/>
                        <a:pt x="681" y="0"/>
                        <a:pt x="681" y="0"/>
                      </a:cubicBezTo>
                      <a:cubicBezTo>
                        <a:pt x="678" y="0"/>
                        <a:pt x="675" y="3"/>
                        <a:pt x="675" y="7"/>
                      </a:cubicBezTo>
                      <a:cubicBezTo>
                        <a:pt x="675" y="193"/>
                        <a:pt x="675" y="193"/>
                        <a:pt x="675" y="193"/>
                      </a:cubicBezTo>
                      <a:cubicBezTo>
                        <a:pt x="675" y="193"/>
                        <a:pt x="675" y="193"/>
                        <a:pt x="675" y="193"/>
                      </a:cubicBezTo>
                      <a:lnTo>
                        <a:pt x="675" y="368"/>
                      </a:lnTo>
                      <a:close/>
                    </a:path>
                  </a:pathLst>
                </a:custGeom>
                <a:solidFill>
                  <a:srgbClr val="00269E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8958905E-7B7C-47CA-B509-2D0B4172B6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ARPA workforce strategy, and how Market Makers support it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D318A8D5-40BD-4F97-9B82-851CA5A186BC}"/>
              </a:ext>
            </a:extLst>
          </p:cNvPr>
          <p:cNvSpPr/>
          <p:nvPr/>
        </p:nvSpPr>
        <p:spPr>
          <a:xfrm>
            <a:off x="8294669" y="4394831"/>
            <a:ext cx="3611731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t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Healthcare/Manufacturing Hubs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48CFA1EB-E2F4-45FE-A2B7-580D25334A22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0" name="Oval 20">
            <a:extLst>
              <a:ext uri="{FF2B5EF4-FFF2-40B4-BE49-F238E27FC236}">
                <a16:creationId xmlns:a16="http://schemas.microsoft.com/office/drawing/2014/main" id="{79BF4EC6-2978-4B49-A799-742FD7D0438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320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reater Boston: CTI eligible C74 pathways by school (I/III)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935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Assabet Valley Vocational High School</a:t>
                      </a:r>
                      <a:endParaRPr lang="en-US" sz="11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dvanced Manufacturing Technolog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utomotive Collision Repair and Refinish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Automotive Technolog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Biotechnolog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Carpentr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Culinary Art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Electricit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Metal Fabrication and Joining Technologi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Plumbin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1600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lue Hills Regional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9296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Cambridge Rindge and Latin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76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Everett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1432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Joseph P Keefe Technical High Schoo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3822810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adison Park High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ilding/Property Maintenanc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E817BF4-9FCB-4FF5-AC5C-D780C9CB3821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7E1921-1209-438A-B09F-2AFF75C4B859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9AC0E8AA-B15E-41D8-8FDA-B35019D8FB0A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" name="Oval 20">
            <a:extLst>
              <a:ext uri="{FF2B5EF4-FFF2-40B4-BE49-F238E27FC236}">
                <a16:creationId xmlns:a16="http://schemas.microsoft.com/office/drawing/2014/main" id="{D2806CF4-FDB5-4B2B-9D86-3404386945D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3A40FDA-C141-49B5-8A68-5EDD55D1B3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406082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reater Boston: CTI eligible C74 pathways by school (II/III)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edford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Craft Laborer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270677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76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Newton North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1935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inuteman Regional High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274766344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3" y="3822810"/>
          <a:ext cx="3566160" cy="4267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Norfolk County Agricultur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Northeast Metro Regional Vocation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541481938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90" y="3822810"/>
          <a:ext cx="3566160" cy="1264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omerville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5DA932A2-9F0E-40E2-88AB-04B6D6AFC404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134667-8716-46D5-9189-8E07F1D2AF14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75E0362-D6FE-43C3-AE23-AEDD8547173F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5072C80F-FDA0-4A5F-8FD6-78CC9B5E922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672336E-494D-4D80-B73D-29AB115230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55858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Greater Boston: CTI eligible C74 pathways by school (III/III)</a:t>
            </a: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600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Tri-County Regional Vocational Technica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1432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Waltham Sr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F07F1B0-6F9B-428D-98A7-36BA44AAFFDE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823AF5-F594-4883-ADB3-DDF1B5CECD6B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A77C0C47-A997-4757-88E8-E2F63661D6D6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3D53E95B-A6CF-4FA3-98C1-58D03CE11B6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05AA14A-6B55-4150-886B-C68AF94CDF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28551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Northeast: CTI eligible C74 pathways by school (I/II)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Essex</a:t>
                      </a:r>
                      <a:r>
                        <a:rPr lang="en-US" sz="1100" b="1" u="none" strike="noStrike" spc="-20" baseline="0">
                          <a:solidFill>
                            <a:schemeClr val="bg1"/>
                          </a:solidFill>
                          <a:effectLst/>
                        </a:rPr>
                        <a:t> North Shore Agricultural and Technical Schoo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Craft Laborer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29121968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22707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Gr Lawrence Regional Vocational Technica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119298876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91067661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1935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Gr Lowell Regional Vocational Technica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76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Gloucester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Lynn Vocational Technical Institute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3822810"/>
          <a:ext cx="3566160" cy="4267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Methuen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859F177A-261B-4DE0-96D9-696C01A51E84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A449518-C4C6-4EAF-BE09-82AA3028A0CD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A358D4E7-E05A-40BE-AD02-04521AD04E7A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AA58CD5E-5BF4-4B93-A0FD-B0300AB524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1F7D428-7D48-4597-8192-88688A4A73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884742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Northeast: CTI eligible C74 pathways by school (II/II)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Nashoba Valley Technical High Schoo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50302621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594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Peabody Veterans Memori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1935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hawsheen</a:t>
                      </a:r>
                      <a:r>
                        <a:rPr lang="en-US" sz="1100" b="1" u="none" strike="noStrike" spc="-20" baseline="0">
                          <a:solidFill>
                            <a:schemeClr val="bg1"/>
                          </a:solidFill>
                          <a:effectLst/>
                        </a:rPr>
                        <a:t> Valley Vocational Technical High Schoo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9296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alem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ilding/Property Maintenanc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1935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Whittier Regional Vocationa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378A6A3C-3ACA-4D49-84E6-3A5D8AACD79E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C97BA4-634B-49F1-B69C-6F0958706485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6D7C6E23-58A6-40CD-BEE0-8C94FF9A1477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2B513A85-EA6D-4443-AC41-5792F557D4A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1E75511-752D-486E-B59F-113D46558D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797779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ioneer Valley: CTI eligible C74 pathways by school (I/II)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432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Chicopee Comprehensive High Schoo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1264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Holyoke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esel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472463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Franklin County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4267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Gateway Region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1935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Pathfinder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3822810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Roger L. Putnam Vocational Technical Academy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40061260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heet Metalwork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117972877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4A30FF8-E504-43C1-AF18-B1A0B01793E1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151300-75AB-4C48-84E9-61A77D7EA42F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BD821BFA-941B-4AD5-AED4-07A31446294E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9" name="Oval 20">
            <a:extLst>
              <a:ext uri="{FF2B5EF4-FFF2-40B4-BE49-F238E27FC236}">
                <a16:creationId xmlns:a16="http://schemas.microsoft.com/office/drawing/2014/main" id="{62F46488-D1B7-4375-B06A-EE914A62EC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2974935-3648-4A4D-B17C-C39104BD3C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167267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ioneer Valley: CTI eligible C74 pathways by school (II/II)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600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mith Vocational and Agricultur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594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outh Hadley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16002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Westfield Technical Academy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BB92A26-2B0B-4CDA-9EA7-EADBD0B91E62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5559DA8-7BE1-4FD1-BEA8-F1D30D7538EF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AACF92F1-A8B0-401D-BE79-E27B3468A38F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1B6FD618-D87D-4B70-A0B3-3E5CC89B3F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334BA2D-5BF4-45D3-8F16-3D7D3D936C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78277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outheast: CTI eligible C74 pathways by school (I/III)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1264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Attleboro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594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 M C Durfee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on Craft Laborer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4267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ristol County Agricultur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>
                          <a:solidFill>
                            <a:srgbClr val="000000"/>
                          </a:solidFill>
                          <a:effectLst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</a:tbl>
          </a:graphicData>
        </a:graphic>
      </p:graphicFrame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5943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rockton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154322725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Bristol-Plymouth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54208703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54687536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o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4524884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14246446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520314656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botics and Automation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552169718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3822810"/>
          <a:ext cx="3566160" cy="762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Dighton-Rehoboth Regional High Schoo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</a:tbl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FC966505-AC9A-4CA6-98CC-C47B0C7C8397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F55DEFF-5067-4C43-91B8-43C8E19794AC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ED1895FA-6372-432E-879C-6043193E93FD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8" name="Oval 20">
            <a:extLst>
              <a:ext uri="{FF2B5EF4-FFF2-40B4-BE49-F238E27FC236}">
                <a16:creationId xmlns:a16="http://schemas.microsoft.com/office/drawing/2014/main" id="{99E6701B-BAAA-420F-9B7F-23F8037327F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B1D1BBD-0655-4C6D-955A-031E60D894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3501145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outheast: CTI eligible C74 pathways by school (II/III)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10972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Plymouth South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Diman Regional Vocational Technical High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uilding/Property Maintenanc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0292646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21031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Gr New Bedford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esel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78423140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ine Servic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47988714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1432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Old Colony Regional Vocational Technica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3822810"/>
          <a:ext cx="3566160" cy="1264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Quincy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3822810"/>
          <a:ext cx="3566160" cy="10972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ilver Lake Region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1B1876D2-801F-4C10-969F-41BAD758E3D4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0076ABE-6592-45EE-8C01-99FED2BB4F7E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056DE45E-57B6-401A-B25B-E66D94BA3B8A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5" name="Oval 20">
            <a:extLst>
              <a:ext uri="{FF2B5EF4-FFF2-40B4-BE49-F238E27FC236}">
                <a16:creationId xmlns:a16="http://schemas.microsoft.com/office/drawing/2014/main" id="{F26F7083-2542-45E9-B564-5B0FBE9CA5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56D01C50-B139-4FFB-8D92-1AF5413C50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187522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outheast: CTI eligible C74 pathways by school (III/III)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7997189" y="1469463"/>
          <a:ext cx="3566160" cy="4267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Taunton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1469463"/>
          <a:ext cx="3570923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70923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outh Shore Vocational Technical High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onic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260060893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rticulture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054736709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222432" y="1469463"/>
          <a:ext cx="3566160" cy="1767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Southeastern Regional Vocational Technical</a:t>
                      </a:r>
                    </a:p>
                  </a:txBody>
                  <a:tcPr marL="45720" marR="45720" anchor="b"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Manufacturing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9884096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Collision Repair and Refinish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984787015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ctricit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10221282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spc="-30" baseline="0">
                          <a:solidFill>
                            <a:srgbClr val="000000"/>
                          </a:solidFill>
                          <a:effectLst/>
                        </a:rPr>
                        <a:t>Heating—Ventilation—Air Conditioning—Refrigeration</a:t>
                      </a:r>
                      <a:endParaRPr lang="en-US" sz="1100" b="0" i="0" u="none" strike="noStrike" spc="-30" baseline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646405813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umbing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882142455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2F606D2-3CC6-45A6-B5A5-228FDFDFF3A9}"/>
              </a:ext>
            </a:extLst>
          </p:cNvPr>
          <p:cNvGraphicFramePr>
            <a:graphicFrameLocks noGrp="1"/>
          </p:cNvGraphicFramePr>
          <p:nvPr/>
        </p:nvGraphicFramePr>
        <p:xfrm>
          <a:off x="447675" y="3822810"/>
          <a:ext cx="3566160" cy="9296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566160">
                  <a:extLst>
                    <a:ext uri="{9D8B030D-6E8A-4147-A177-3AD203B41FA5}">
                      <a16:colId xmlns:a16="http://schemas.microsoft.com/office/drawing/2014/main" val="25021501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>
                          <a:solidFill>
                            <a:schemeClr val="bg1"/>
                          </a:solidFill>
                          <a:effectLst/>
                        </a:rPr>
                        <a:t>Weymouth High School</a:t>
                      </a:r>
                    </a:p>
                  </a:txBody>
                  <a:tcPr marL="45720" marR="45720" anchor="b">
                    <a:solidFill>
                      <a:srgbClr val="0026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6556411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otive Technolog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169228704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pentry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3729570130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linary Art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65670298"/>
                  </a:ext>
                </a:extLst>
              </a:tr>
              <a:tr h="91440">
                <a:tc>
                  <a:txBody>
                    <a:bodyPr/>
                    <a:lstStyle/>
                    <a:p>
                      <a:pPr marL="297000" lvl="1" indent="-198000" algn="l" defTabSz="914400" rtl="0" eaLnBrk="1" fontAlgn="b" latinLnBrk="0" hangingPunct="1">
                        <a:buClr>
                          <a:srgbClr val="00269E"/>
                        </a:buClr>
                        <a:buFont typeface="Trebuchet MS" panose="020B0603020202020204" pitchFamily="34" charset="0"/>
                        <a:buChar char="•"/>
                      </a:pPr>
                      <a:r>
                        <a:rPr lang="en-US" sz="110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tal Fabrication and Joining Technologies</a:t>
                      </a:r>
                    </a:p>
                  </a:txBody>
                  <a:tcPr marR="0" marT="0" marB="0" anchor="b"/>
                </a:tc>
                <a:extLst>
                  <a:ext uri="{0D108BD9-81ED-4DB2-BD59-A6C34878D82A}">
                    <a16:rowId xmlns:a16="http://schemas.microsoft.com/office/drawing/2014/main" val="4060515964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73E50B3-B917-454B-9331-2A80D3873240}"/>
              </a:ext>
            </a:extLst>
          </p:cNvPr>
          <p:cNvSpPr/>
          <p:nvPr/>
        </p:nvSpPr>
        <p:spPr>
          <a:xfrm>
            <a:off x="7052309" y="6082744"/>
            <a:ext cx="1981200" cy="206510"/>
          </a:xfrm>
          <a:prstGeom prst="rect">
            <a:avLst/>
          </a:prstGeom>
          <a:solidFill>
            <a:srgbClr val="99CCFF"/>
          </a:solidFill>
          <a:ln w="9525" cap="rnd" cmpd="sng" algn="ctr">
            <a:solidFill>
              <a:srgbClr val="99CC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Already implementing CTI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D196C9F-C9B3-4958-9268-241BAC3E0F8F}"/>
              </a:ext>
            </a:extLst>
          </p:cNvPr>
          <p:cNvSpPr/>
          <p:nvPr/>
        </p:nvSpPr>
        <p:spPr>
          <a:xfrm>
            <a:off x="9135109" y="6082744"/>
            <a:ext cx="2428240" cy="206510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i="1">
                <a:solidFill>
                  <a:srgbClr val="FFFFFF"/>
                </a:solidFill>
              </a:rPr>
              <a:t>Eligible for 3/16 planning seminar</a:t>
            </a: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7FC4BE6D-E78A-495F-B76E-03EA236DF6B4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Oval 20">
            <a:extLst>
              <a:ext uri="{FF2B5EF4-FFF2-40B4-BE49-F238E27FC236}">
                <a16:creationId xmlns:a16="http://schemas.microsoft.com/office/drawing/2014/main" id="{AABE0906-5E2D-4168-884F-501C842726B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D11C2AF-2178-4F77-BD03-CA31A6405D3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Market Maker collaboration with training providers</a:t>
            </a:r>
          </a:p>
        </p:txBody>
      </p:sp>
    </p:spTree>
    <p:extLst>
      <p:ext uri="{BB962C8B-B14F-4D97-AF65-F5344CB8AC3E}">
        <p14:creationId xmlns:p14="http://schemas.microsoft.com/office/powerpoint/2010/main" val="95930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7D1851-6E62-4F97-BC24-C075466140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07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7D1851-6E62-4F97-BC24-C07546614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62685" y="573397"/>
            <a:ext cx="10194231" cy="553998"/>
          </a:xfrm>
        </p:spPr>
        <p:txBody>
          <a:bodyPr vert="horz"/>
          <a:lstStyle/>
          <a:p>
            <a:r>
              <a:rPr lang="en-US" sz="2000"/>
              <a:t>To support the WSC &amp; regional strategies, Market Makers engage employers, match them with training providers, and help them build pipelines of skilled employee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E0B87BF-71B8-4B17-A56A-A3A20A9E3EFC}"/>
              </a:ext>
            </a:extLst>
          </p:cNvPr>
          <p:cNvSpPr txBox="1"/>
          <p:nvPr/>
        </p:nvSpPr>
        <p:spPr>
          <a:xfrm rot="5400000">
            <a:off x="9206474" y="-418617"/>
            <a:ext cx="467022" cy="4466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endParaRPr lang="en-US" sz="1800" kern="0">
              <a:solidFill>
                <a:schemeClr val="bg1"/>
              </a:solidFill>
            </a:endParaRPr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DE28DB0D-88F5-463E-B875-595925157522}"/>
              </a:ext>
            </a:extLst>
          </p:cNvPr>
          <p:cNvSpPr>
            <a:spLocks/>
          </p:cNvSpPr>
          <p:nvPr/>
        </p:nvSpPr>
        <p:spPr bwMode="auto">
          <a:xfrm>
            <a:off x="7207047" y="4942097"/>
            <a:ext cx="1750572" cy="1131314"/>
          </a:xfrm>
          <a:custGeom>
            <a:avLst/>
            <a:gdLst>
              <a:gd name="connsiteX0" fmla="*/ 0 w 758274"/>
              <a:gd name="connsiteY0" fmla="*/ 0 h 1131314"/>
              <a:gd name="connsiteX1" fmla="*/ 518542 w 758274"/>
              <a:gd name="connsiteY1" fmla="*/ 0 h 1131314"/>
              <a:gd name="connsiteX2" fmla="*/ 758274 w 758274"/>
              <a:gd name="connsiteY2" fmla="*/ 1131314 h 1131314"/>
              <a:gd name="connsiteX3" fmla="*/ 0 w 758274"/>
              <a:gd name="connsiteY3" fmla="*/ 1131314 h 1131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274" h="1131314">
                <a:moveTo>
                  <a:pt x="0" y="0"/>
                </a:moveTo>
                <a:lnTo>
                  <a:pt x="518542" y="0"/>
                </a:lnTo>
                <a:lnTo>
                  <a:pt x="758274" y="1131314"/>
                </a:lnTo>
                <a:lnTo>
                  <a:pt x="0" y="1131314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bg1"/>
              </a:buClr>
            </a:pPr>
            <a:endParaRPr lang="en-US" sz="2400" kern="0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0AA63FA3-7A66-4BFC-B6FD-FBD89B13CBC0}"/>
              </a:ext>
            </a:extLst>
          </p:cNvPr>
          <p:cNvSpPr/>
          <p:nvPr/>
        </p:nvSpPr>
        <p:spPr>
          <a:xfrm>
            <a:off x="7207047" y="2160319"/>
            <a:ext cx="1176463" cy="2676444"/>
          </a:xfrm>
          <a:custGeom>
            <a:avLst/>
            <a:gdLst>
              <a:gd name="connsiteX0" fmla="*/ 3080 w 519851"/>
              <a:gd name="connsiteY0" fmla="*/ 0 h 2676444"/>
              <a:gd name="connsiteX1" fmla="*/ 519851 w 519851"/>
              <a:gd name="connsiteY1" fmla="*/ 2676444 h 2676444"/>
              <a:gd name="connsiteX2" fmla="*/ 0 w 519851"/>
              <a:gd name="connsiteY2" fmla="*/ 2676444 h 2676444"/>
              <a:gd name="connsiteX3" fmla="*/ 0 w 519851"/>
              <a:gd name="connsiteY3" fmla="*/ 15952 h 267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9851" h="2676444">
                <a:moveTo>
                  <a:pt x="3080" y="0"/>
                </a:moveTo>
                <a:lnTo>
                  <a:pt x="519851" y="2676444"/>
                </a:lnTo>
                <a:lnTo>
                  <a:pt x="0" y="2676444"/>
                </a:lnTo>
                <a:lnTo>
                  <a:pt x="0" y="15952"/>
                </a:lnTo>
                <a:close/>
              </a:path>
            </a:pathLst>
          </a:cu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58CF4CC-A26D-478C-84FA-DE5E494981D5}"/>
              </a:ext>
            </a:extLst>
          </p:cNvPr>
          <p:cNvSpPr txBox="1"/>
          <p:nvPr/>
        </p:nvSpPr>
        <p:spPr>
          <a:xfrm>
            <a:off x="7170035" y="4374901"/>
            <a:ext cx="1276695" cy="47243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300" kern="0">
                <a:solidFill>
                  <a:schemeClr val="bg1"/>
                </a:solidFill>
              </a:rPr>
              <a:t>WSC funding opportunitie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68FDFC6-CDAD-498D-938E-7D5B7A023460}"/>
              </a:ext>
            </a:extLst>
          </p:cNvPr>
          <p:cNvSpPr txBox="1"/>
          <p:nvPr/>
        </p:nvSpPr>
        <p:spPr>
          <a:xfrm>
            <a:off x="7170035" y="5429202"/>
            <a:ext cx="1412323" cy="66248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300" kern="0">
                <a:solidFill>
                  <a:schemeClr val="bg1"/>
                </a:solidFill>
              </a:rPr>
              <a:t>Future: Develop linkages to other partner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4FB50E8C-97B9-47C1-B38B-199391D9E62D}"/>
              </a:ext>
            </a:extLst>
          </p:cNvPr>
          <p:cNvSpPr/>
          <p:nvPr/>
        </p:nvSpPr>
        <p:spPr>
          <a:xfrm>
            <a:off x="8466029" y="4933541"/>
            <a:ext cx="3069473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HHS ($100M behavioral health)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5C5CD02-04B0-4A01-8D71-219B30FDA6D0}"/>
              </a:ext>
            </a:extLst>
          </p:cNvPr>
          <p:cNvSpPr/>
          <p:nvPr/>
        </p:nvSpPr>
        <p:spPr>
          <a:xfrm>
            <a:off x="8622712" y="5321701"/>
            <a:ext cx="2807429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Clean Energy (TBD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74F1545-8966-49B1-8260-55A3B4DC943B}"/>
              </a:ext>
            </a:extLst>
          </p:cNvPr>
          <p:cNvSpPr/>
          <p:nvPr/>
        </p:nvSpPr>
        <p:spPr>
          <a:xfrm>
            <a:off x="8799219" y="5709861"/>
            <a:ext cx="2313281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Life Sciences (TBD)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8A1F9B7-46A8-4E66-96C9-34D1BCA5A125}"/>
              </a:ext>
            </a:extLst>
          </p:cNvPr>
          <p:cNvSpPr txBox="1"/>
          <p:nvPr/>
        </p:nvSpPr>
        <p:spPr>
          <a:xfrm>
            <a:off x="8137605" y="1677218"/>
            <a:ext cx="2588156" cy="3323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Grant support</a:t>
            </a:r>
          </a:p>
        </p:txBody>
      </p:sp>
      <p:sp>
        <p:nvSpPr>
          <p:cNvPr id="78" name="Rectangle: Top Corners Rounded 77">
            <a:extLst>
              <a:ext uri="{FF2B5EF4-FFF2-40B4-BE49-F238E27FC236}">
                <a16:creationId xmlns:a16="http://schemas.microsoft.com/office/drawing/2014/main" id="{BC22B264-9C63-47A5-B348-45A542D39312}"/>
              </a:ext>
            </a:extLst>
          </p:cNvPr>
          <p:cNvSpPr/>
          <p:nvPr/>
        </p:nvSpPr>
        <p:spPr>
          <a:xfrm rot="10800000">
            <a:off x="7207047" y="2035686"/>
            <a:ext cx="4466000" cy="4125402"/>
          </a:xfrm>
          <a:prstGeom prst="round2SameRect">
            <a:avLst>
              <a:gd name="adj1" fmla="val 3142"/>
              <a:gd name="adj2" fmla="val 0"/>
            </a:avLst>
          </a:prstGeom>
          <a:noFill/>
          <a:ln w="12700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6" name="Rectangle: Top Corners Rounded 85">
            <a:extLst>
              <a:ext uri="{FF2B5EF4-FFF2-40B4-BE49-F238E27FC236}">
                <a16:creationId xmlns:a16="http://schemas.microsoft.com/office/drawing/2014/main" id="{061985D6-B925-48C3-BB15-D27B72742B1A}"/>
              </a:ext>
            </a:extLst>
          </p:cNvPr>
          <p:cNvSpPr/>
          <p:nvPr/>
        </p:nvSpPr>
        <p:spPr>
          <a:xfrm rot="5400000">
            <a:off x="1125433" y="379380"/>
            <a:ext cx="4656927" cy="6907794"/>
          </a:xfrm>
          <a:prstGeom prst="round2SameRect">
            <a:avLst>
              <a:gd name="adj1" fmla="val 6657"/>
              <a:gd name="adj2" fmla="val 0"/>
            </a:avLst>
          </a:prstGeom>
          <a:solidFill>
            <a:schemeClr val="accent5">
              <a:lumMod val="20000"/>
              <a:lumOff val="80000"/>
              <a:alpha val="36000"/>
            </a:schemeClr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213EE153-2270-4C38-9003-954E64AA98BB}"/>
              </a:ext>
            </a:extLst>
          </p:cNvPr>
          <p:cNvSpPr/>
          <p:nvPr/>
        </p:nvSpPr>
        <p:spPr>
          <a:xfrm>
            <a:off x="2621843" y="2992940"/>
            <a:ext cx="1226590" cy="122659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Seven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Regional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Teams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2896033-E2B2-4ADB-B2D1-4A4003ED76DA}"/>
              </a:ext>
            </a:extLst>
          </p:cNvPr>
          <p:cNvSpPr/>
          <p:nvPr/>
        </p:nvSpPr>
        <p:spPr>
          <a:xfrm>
            <a:off x="4891500" y="1879801"/>
            <a:ext cx="1226590" cy="122659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Market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Makers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2AA5AF60-B7D7-4F6A-8A25-48E184A0E2D3}"/>
              </a:ext>
            </a:extLst>
          </p:cNvPr>
          <p:cNvSpPr/>
          <p:nvPr/>
        </p:nvSpPr>
        <p:spPr>
          <a:xfrm>
            <a:off x="4891500" y="4327150"/>
            <a:ext cx="1226590" cy="122659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Upskilling </a:t>
            </a:r>
          </a:p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Navigators</a:t>
            </a:r>
          </a:p>
        </p:txBody>
      </p:sp>
      <p:cxnSp>
        <p:nvCxnSpPr>
          <p:cNvPr id="90" name="Connector: Elbow 97">
            <a:extLst>
              <a:ext uri="{FF2B5EF4-FFF2-40B4-BE49-F238E27FC236}">
                <a16:creationId xmlns:a16="http://schemas.microsoft.com/office/drawing/2014/main" id="{1846A445-B76F-4AD0-9E4C-B54DC8D96406}"/>
              </a:ext>
            </a:extLst>
          </p:cNvPr>
          <p:cNvCxnSpPr>
            <a:cxnSpLocks/>
          </p:cNvCxnSpPr>
          <p:nvPr/>
        </p:nvCxnSpPr>
        <p:spPr>
          <a:xfrm>
            <a:off x="445438" y="4124475"/>
            <a:ext cx="0" cy="1704825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AAFF251A-F3EE-40FA-A89A-8A54DE3CA313}"/>
              </a:ext>
            </a:extLst>
          </p:cNvPr>
          <p:cNvSpPr/>
          <p:nvPr/>
        </p:nvSpPr>
        <p:spPr>
          <a:xfrm>
            <a:off x="365039" y="3087995"/>
            <a:ext cx="1763591" cy="103648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</a:pPr>
            <a:r>
              <a:rPr lang="en-US" sz="1400" kern="0">
                <a:solidFill>
                  <a:schemeClr val="bg1"/>
                </a:solidFill>
              </a:rPr>
              <a:t>State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308E985B-0DB5-4E53-ACAE-727C5A9D7D7B}"/>
              </a:ext>
            </a:extLst>
          </p:cNvPr>
          <p:cNvSpPr txBox="1"/>
          <p:nvPr/>
        </p:nvSpPr>
        <p:spPr>
          <a:xfrm>
            <a:off x="5117491" y="1779870"/>
            <a:ext cx="774607" cy="23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prstTxWarp prst="textArchUp">
              <a:avLst>
                <a:gd name="adj" fmla="val 10659085"/>
              </a:avLst>
            </a:prstTxWarp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kern="0">
                <a:solidFill>
                  <a:srgbClr val="00269E"/>
                </a:solidFill>
              </a:rPr>
              <a:t>Demand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8398CBEF-13B5-4D1E-ACFE-1DF70A23A9D4}"/>
              </a:ext>
            </a:extLst>
          </p:cNvPr>
          <p:cNvSpPr txBox="1"/>
          <p:nvPr/>
        </p:nvSpPr>
        <p:spPr>
          <a:xfrm>
            <a:off x="5117491" y="4190941"/>
            <a:ext cx="774607" cy="23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prstTxWarp prst="textArchUp">
              <a:avLst>
                <a:gd name="adj" fmla="val 10659085"/>
              </a:avLst>
            </a:prstTxWarp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kern="0">
                <a:solidFill>
                  <a:srgbClr val="00269E"/>
                </a:solidFill>
              </a:rPr>
              <a:t>Supply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89C9070-0EDA-4831-9E55-EA917E146569}"/>
              </a:ext>
            </a:extLst>
          </p:cNvPr>
          <p:cNvSpPr txBox="1"/>
          <p:nvPr/>
        </p:nvSpPr>
        <p:spPr>
          <a:xfrm>
            <a:off x="2734821" y="2874850"/>
            <a:ext cx="1000634" cy="2394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prstTxWarp prst="textArchUp">
              <a:avLst>
                <a:gd name="adj" fmla="val 8409826"/>
              </a:avLst>
            </a:prstTxWarp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600" kern="0">
                <a:solidFill>
                  <a:srgbClr val="00269E"/>
                </a:solidFill>
              </a:rPr>
              <a:t>Strategy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739B22E7-82E1-4CEB-82FD-123DA179760A}"/>
              </a:ext>
            </a:extLst>
          </p:cNvPr>
          <p:cNvSpPr txBox="1"/>
          <p:nvPr/>
        </p:nvSpPr>
        <p:spPr>
          <a:xfrm>
            <a:off x="4696306" y="3104743"/>
            <a:ext cx="1616978" cy="6186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200" kern="0">
                <a:solidFill>
                  <a:schemeClr val="tx1"/>
                </a:solidFill>
              </a:rPr>
              <a:t>Engage employers and match them to </a:t>
            </a:r>
            <a:br>
              <a:rPr lang="en-US" sz="1200" kern="0">
                <a:solidFill>
                  <a:schemeClr val="tx1"/>
                </a:solidFill>
              </a:rPr>
            </a:br>
            <a:r>
              <a:rPr lang="en-US" sz="1200" kern="0">
                <a:solidFill>
                  <a:schemeClr val="tx1"/>
                </a:solidFill>
              </a:rPr>
              <a:t>training providers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7D55CCB-C790-4EC1-A664-97FEE54A9B83}"/>
              </a:ext>
            </a:extLst>
          </p:cNvPr>
          <p:cNvSpPr txBox="1"/>
          <p:nvPr/>
        </p:nvSpPr>
        <p:spPr>
          <a:xfrm>
            <a:off x="4730576" y="5570226"/>
            <a:ext cx="1548438" cy="4431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200" kern="0">
                <a:solidFill>
                  <a:schemeClr val="tx1"/>
                </a:solidFill>
              </a:rPr>
              <a:t>Recruit, screen, and enroll participants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DD0AAC1-A41D-408E-A7DD-6F36E5CF3042}"/>
              </a:ext>
            </a:extLst>
          </p:cNvPr>
          <p:cNvSpPr txBox="1"/>
          <p:nvPr/>
        </p:nvSpPr>
        <p:spPr>
          <a:xfrm>
            <a:off x="2384740" y="4248319"/>
            <a:ext cx="1700796" cy="7940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1200" kern="0">
                <a:solidFill>
                  <a:schemeClr val="tx1"/>
                </a:solidFill>
              </a:rPr>
              <a:t>Define investment plan, identify gaps, run healthcare and manufacturing hubs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A1BCA3ED-959D-4810-8BD1-722AC8DF2E91}"/>
              </a:ext>
            </a:extLst>
          </p:cNvPr>
          <p:cNvCxnSpPr>
            <a:cxnSpLocks/>
            <a:stCxn id="91" idx="3"/>
            <a:endCxn id="87" idx="2"/>
          </p:cNvCxnSpPr>
          <p:nvPr/>
        </p:nvCxnSpPr>
        <p:spPr>
          <a:xfrm>
            <a:off x="2128630" y="3606235"/>
            <a:ext cx="493213" cy="0"/>
          </a:xfrm>
          <a:prstGeom prst="straightConnector1">
            <a:avLst/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45">
            <a:extLst>
              <a:ext uri="{FF2B5EF4-FFF2-40B4-BE49-F238E27FC236}">
                <a16:creationId xmlns:a16="http://schemas.microsoft.com/office/drawing/2014/main" id="{4ADD4C16-8907-4452-94B6-8DD239F8DCB7}"/>
              </a:ext>
            </a:extLst>
          </p:cNvPr>
          <p:cNvCxnSpPr>
            <a:cxnSpLocks/>
            <a:stCxn id="87" idx="6"/>
            <a:endCxn id="88" idx="2"/>
          </p:cNvCxnSpPr>
          <p:nvPr/>
        </p:nvCxnSpPr>
        <p:spPr>
          <a:xfrm flipV="1">
            <a:off x="3848433" y="2493096"/>
            <a:ext cx="1043067" cy="1113139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45">
            <a:extLst>
              <a:ext uri="{FF2B5EF4-FFF2-40B4-BE49-F238E27FC236}">
                <a16:creationId xmlns:a16="http://schemas.microsoft.com/office/drawing/2014/main" id="{FB5839A1-71DD-4BCD-8ED2-F3B5C21B41F3}"/>
              </a:ext>
            </a:extLst>
          </p:cNvPr>
          <p:cNvCxnSpPr>
            <a:cxnSpLocks/>
            <a:stCxn id="87" idx="6"/>
            <a:endCxn id="89" idx="2"/>
          </p:cNvCxnSpPr>
          <p:nvPr/>
        </p:nvCxnSpPr>
        <p:spPr>
          <a:xfrm>
            <a:off x="3848433" y="3606235"/>
            <a:ext cx="1043067" cy="1334210"/>
          </a:xfrm>
          <a:prstGeom prst="bentConnector3">
            <a:avLst>
              <a:gd name="adj1" fmla="val 50000"/>
            </a:avLst>
          </a:prstGeom>
          <a:ln w="12700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51083CA3-2460-42EC-A59F-204339D406D8}"/>
              </a:ext>
            </a:extLst>
          </p:cNvPr>
          <p:cNvGrpSpPr>
            <a:grpSpLocks noChangeAspect="1"/>
          </p:cNvGrpSpPr>
          <p:nvPr/>
        </p:nvGrpSpPr>
        <p:grpSpPr>
          <a:xfrm>
            <a:off x="6744684" y="3679821"/>
            <a:ext cx="306910" cy="306910"/>
            <a:chOff x="982662" y="1847850"/>
            <a:chExt cx="269875" cy="269875"/>
          </a:xfrm>
        </p:grpSpPr>
        <p:sp>
          <p:nvSpPr>
            <p:cNvPr id="118" name="Oval 50">
              <a:extLst>
                <a:ext uri="{FF2B5EF4-FFF2-40B4-BE49-F238E27FC236}">
                  <a16:creationId xmlns:a16="http://schemas.microsoft.com/office/drawing/2014/main" id="{204D709F-8BB0-43DB-B12A-6AF51D4909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9" name="Freeform 51">
              <a:extLst>
                <a:ext uri="{FF2B5EF4-FFF2-40B4-BE49-F238E27FC236}">
                  <a16:creationId xmlns:a16="http://schemas.microsoft.com/office/drawing/2014/main" id="{0B47D9FA-F519-415A-BB38-4DEB38F50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79326E6D-07A3-44A8-AAA5-4251D1719801}"/>
              </a:ext>
            </a:extLst>
          </p:cNvPr>
          <p:cNvGrpSpPr/>
          <p:nvPr/>
        </p:nvGrpSpPr>
        <p:grpSpPr>
          <a:xfrm>
            <a:off x="456142" y="4397617"/>
            <a:ext cx="1672492" cy="398936"/>
            <a:chOff x="238858" y="4397617"/>
            <a:chExt cx="1672492" cy="398936"/>
          </a:xfrm>
        </p:grpSpPr>
        <p:sp>
          <p:nvSpPr>
            <p:cNvPr id="121" name="Rectangle: Top Corners Rounded 120">
              <a:extLst>
                <a:ext uri="{FF2B5EF4-FFF2-40B4-BE49-F238E27FC236}">
                  <a16:creationId xmlns:a16="http://schemas.microsoft.com/office/drawing/2014/main" id="{53E1AF09-E3F2-43A0-BAAC-1850FF435A6D}"/>
                </a:ext>
              </a:extLst>
            </p:cNvPr>
            <p:cNvSpPr/>
            <p:nvPr/>
          </p:nvSpPr>
          <p:spPr>
            <a:xfrm rot="5400000">
              <a:off x="963312" y="3760840"/>
              <a:ext cx="223584" cy="1672491"/>
            </a:xfrm>
            <a:prstGeom prst="round2SameRect">
              <a:avLst/>
            </a:prstGeom>
            <a:solidFill>
              <a:srgbClr val="00269E"/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E27BCA43-92ED-44D8-B6F9-4D112D65C9B3}"/>
                </a:ext>
              </a:extLst>
            </p:cNvPr>
            <p:cNvGrpSpPr/>
            <p:nvPr/>
          </p:nvGrpSpPr>
          <p:grpSpPr>
            <a:xfrm>
              <a:off x="324295" y="4397617"/>
              <a:ext cx="398566" cy="398936"/>
              <a:chOff x="6510577" y="2265159"/>
              <a:chExt cx="2325527" cy="2327682"/>
            </a:xfrm>
          </p:grpSpPr>
          <p:sp>
            <p:nvSpPr>
              <p:cNvPr id="124" name="Oval 123">
                <a:extLst>
                  <a:ext uri="{FF2B5EF4-FFF2-40B4-BE49-F238E27FC236}">
                    <a16:creationId xmlns:a16="http://schemas.microsoft.com/office/drawing/2014/main" id="{844AE540-1BEA-419B-9DF8-B5C6D7F3B789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>
              <a:xfrm>
                <a:off x="6510577" y="2265159"/>
                <a:ext cx="2325527" cy="2327682"/>
              </a:xfrm>
              <a:prstGeom prst="ellipse">
                <a:avLst/>
              </a:prstGeom>
              <a:solidFill>
                <a:srgbClr val="FFFFFF"/>
              </a:solidFill>
              <a:ln w="190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sz="1600" ker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C01E9D8A-B087-4679-88AA-48EE3A6EFA2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851142" y="2606040"/>
                <a:ext cx="1644396" cy="1645920"/>
                <a:chOff x="5273799" y="2606040"/>
                <a:chExt cx="1644396" cy="1645920"/>
              </a:xfrm>
            </p:grpSpPr>
            <p:sp>
              <p:nvSpPr>
                <p:cNvPr id="126" name="AutoShape 8">
                  <a:extLst>
                    <a:ext uri="{FF2B5EF4-FFF2-40B4-BE49-F238E27FC236}">
                      <a16:creationId xmlns:a16="http://schemas.microsoft.com/office/drawing/2014/main" id="{1E948FDF-9E72-4987-9822-9F11F6975B4F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799" y="2606040"/>
                  <a:ext cx="1644396" cy="16459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grpSp>
              <p:nvGrpSpPr>
                <p:cNvPr id="127" name="Group 126">
                  <a:extLst>
                    <a:ext uri="{FF2B5EF4-FFF2-40B4-BE49-F238E27FC236}">
                      <a16:creationId xmlns:a16="http://schemas.microsoft.com/office/drawing/2014/main" id="{587231D3-7F75-459C-8063-110DFFB45DBD}"/>
                    </a:ext>
                  </a:extLst>
                </p:cNvPr>
                <p:cNvGrpSpPr/>
                <p:nvPr/>
              </p:nvGrpSpPr>
              <p:grpSpPr>
                <a:xfrm>
                  <a:off x="5497065" y="2719578"/>
                  <a:ext cx="1197864" cy="1361694"/>
                  <a:chOff x="5497065" y="2719578"/>
                  <a:chExt cx="1197864" cy="1361694"/>
                </a:xfrm>
              </p:grpSpPr>
              <p:sp>
                <p:nvSpPr>
                  <p:cNvPr id="128" name="Freeform 10">
                    <a:extLst>
                      <a:ext uri="{FF2B5EF4-FFF2-40B4-BE49-F238E27FC236}">
                        <a16:creationId xmlns:a16="http://schemas.microsoft.com/office/drawing/2014/main" id="{D8146F63-C764-46D9-A02A-365145956D47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497065" y="3014091"/>
                    <a:ext cx="1197864" cy="1067181"/>
                  </a:xfrm>
                  <a:custGeom>
                    <a:avLst/>
                    <a:gdLst>
                      <a:gd name="T0" fmla="*/ 1656 w 1678"/>
                      <a:gd name="T1" fmla="*/ 1332 h 1494"/>
                      <a:gd name="T2" fmla="*/ 1568 w 1678"/>
                      <a:gd name="T3" fmla="*/ 1332 h 1494"/>
                      <a:gd name="T4" fmla="*/ 1568 w 1678"/>
                      <a:gd name="T5" fmla="*/ 1288 h 1494"/>
                      <a:gd name="T6" fmla="*/ 1546 w 1678"/>
                      <a:gd name="T7" fmla="*/ 1266 h 1494"/>
                      <a:gd name="T8" fmla="*/ 132 w 1678"/>
                      <a:gd name="T9" fmla="*/ 1266 h 1494"/>
                      <a:gd name="T10" fmla="*/ 110 w 1678"/>
                      <a:gd name="T11" fmla="*/ 1288 h 1494"/>
                      <a:gd name="T12" fmla="*/ 110 w 1678"/>
                      <a:gd name="T13" fmla="*/ 1332 h 1494"/>
                      <a:gd name="T14" fmla="*/ 22 w 1678"/>
                      <a:gd name="T15" fmla="*/ 1332 h 1494"/>
                      <a:gd name="T16" fmla="*/ 0 w 1678"/>
                      <a:gd name="T17" fmla="*/ 1354 h 1494"/>
                      <a:gd name="T18" fmla="*/ 0 w 1678"/>
                      <a:gd name="T19" fmla="*/ 1472 h 1494"/>
                      <a:gd name="T20" fmla="*/ 22 w 1678"/>
                      <a:gd name="T21" fmla="*/ 1494 h 1494"/>
                      <a:gd name="T22" fmla="*/ 1656 w 1678"/>
                      <a:gd name="T23" fmla="*/ 1494 h 1494"/>
                      <a:gd name="T24" fmla="*/ 1678 w 1678"/>
                      <a:gd name="T25" fmla="*/ 1472 h 1494"/>
                      <a:gd name="T26" fmla="*/ 1678 w 1678"/>
                      <a:gd name="T27" fmla="*/ 1354 h 1494"/>
                      <a:gd name="T28" fmla="*/ 1656 w 1678"/>
                      <a:gd name="T29" fmla="*/ 1332 h 1494"/>
                      <a:gd name="T30" fmla="*/ 1645 w 1678"/>
                      <a:gd name="T31" fmla="*/ 375 h 1494"/>
                      <a:gd name="T32" fmla="*/ 1314 w 1678"/>
                      <a:gd name="T33" fmla="*/ 375 h 1494"/>
                      <a:gd name="T34" fmla="*/ 1147 w 1678"/>
                      <a:gd name="T35" fmla="*/ 109 h 1494"/>
                      <a:gd name="T36" fmla="*/ 839 w 1678"/>
                      <a:gd name="T37" fmla="*/ 0 h 1494"/>
                      <a:gd name="T38" fmla="*/ 532 w 1678"/>
                      <a:gd name="T39" fmla="*/ 108 h 1494"/>
                      <a:gd name="T40" fmla="*/ 364 w 1678"/>
                      <a:gd name="T41" fmla="*/ 375 h 1494"/>
                      <a:gd name="T42" fmla="*/ 33 w 1678"/>
                      <a:gd name="T43" fmla="*/ 375 h 1494"/>
                      <a:gd name="T44" fmla="*/ 11 w 1678"/>
                      <a:gd name="T45" fmla="*/ 397 h 1494"/>
                      <a:gd name="T46" fmla="*/ 11 w 1678"/>
                      <a:gd name="T47" fmla="*/ 528 h 1494"/>
                      <a:gd name="T48" fmla="*/ 33 w 1678"/>
                      <a:gd name="T49" fmla="*/ 550 h 1494"/>
                      <a:gd name="T50" fmla="*/ 1645 w 1678"/>
                      <a:gd name="T51" fmla="*/ 550 h 1494"/>
                      <a:gd name="T52" fmla="*/ 1667 w 1678"/>
                      <a:gd name="T53" fmla="*/ 528 h 1494"/>
                      <a:gd name="T54" fmla="*/ 1667 w 1678"/>
                      <a:gd name="T55" fmla="*/ 397 h 1494"/>
                      <a:gd name="T56" fmla="*/ 1645 w 1678"/>
                      <a:gd name="T57" fmla="*/ 375 h 1494"/>
                      <a:gd name="T58" fmla="*/ 839 w 1678"/>
                      <a:gd name="T59" fmla="*/ 44 h 1494"/>
                      <a:gd name="T60" fmla="*/ 1269 w 1678"/>
                      <a:gd name="T61" fmla="*/ 375 h 1494"/>
                      <a:gd name="T62" fmla="*/ 409 w 1678"/>
                      <a:gd name="T63" fmla="*/ 375 h 1494"/>
                      <a:gd name="T64" fmla="*/ 839 w 1678"/>
                      <a:gd name="T65" fmla="*/ 44 h 1494"/>
                      <a:gd name="T66" fmla="*/ 1623 w 1678"/>
                      <a:gd name="T67" fmla="*/ 506 h 1494"/>
                      <a:gd name="T68" fmla="*/ 55 w 1678"/>
                      <a:gd name="T69" fmla="*/ 506 h 1494"/>
                      <a:gd name="T70" fmla="*/ 55 w 1678"/>
                      <a:gd name="T71" fmla="*/ 419 h 1494"/>
                      <a:gd name="T72" fmla="*/ 1623 w 1678"/>
                      <a:gd name="T73" fmla="*/ 419 h 1494"/>
                      <a:gd name="T74" fmla="*/ 1623 w 1678"/>
                      <a:gd name="T75" fmla="*/ 506 h 14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</a:cxnLst>
                    <a:rect l="0" t="0" r="r" b="b"/>
                    <a:pathLst>
                      <a:path w="1678" h="1494">
                        <a:moveTo>
                          <a:pt x="1656" y="1332"/>
                        </a:moveTo>
                        <a:cubicBezTo>
                          <a:pt x="1568" y="1332"/>
                          <a:pt x="1568" y="1332"/>
                          <a:pt x="1568" y="1332"/>
                        </a:cubicBezTo>
                        <a:cubicBezTo>
                          <a:pt x="1568" y="1288"/>
                          <a:pt x="1568" y="1288"/>
                          <a:pt x="1568" y="1288"/>
                        </a:cubicBezTo>
                        <a:cubicBezTo>
                          <a:pt x="1568" y="1276"/>
                          <a:pt x="1558" y="1266"/>
                          <a:pt x="1546" y="1266"/>
                        </a:cubicBezTo>
                        <a:cubicBezTo>
                          <a:pt x="132" y="1266"/>
                          <a:pt x="132" y="1266"/>
                          <a:pt x="132" y="1266"/>
                        </a:cubicBezTo>
                        <a:cubicBezTo>
                          <a:pt x="120" y="1266"/>
                          <a:pt x="110" y="1276"/>
                          <a:pt x="110" y="1288"/>
                        </a:cubicBezTo>
                        <a:cubicBezTo>
                          <a:pt x="110" y="1332"/>
                          <a:pt x="110" y="1332"/>
                          <a:pt x="110" y="1332"/>
                        </a:cubicBezTo>
                        <a:cubicBezTo>
                          <a:pt x="22" y="1332"/>
                          <a:pt x="22" y="1332"/>
                          <a:pt x="22" y="1332"/>
                        </a:cubicBezTo>
                        <a:cubicBezTo>
                          <a:pt x="10" y="1332"/>
                          <a:pt x="0" y="1342"/>
                          <a:pt x="0" y="1354"/>
                        </a:cubicBezTo>
                        <a:cubicBezTo>
                          <a:pt x="0" y="1472"/>
                          <a:pt x="0" y="1472"/>
                          <a:pt x="0" y="1472"/>
                        </a:cubicBezTo>
                        <a:cubicBezTo>
                          <a:pt x="0" y="1484"/>
                          <a:pt x="10" y="1494"/>
                          <a:pt x="22" y="1494"/>
                        </a:cubicBezTo>
                        <a:cubicBezTo>
                          <a:pt x="1656" y="1494"/>
                          <a:pt x="1656" y="1494"/>
                          <a:pt x="1656" y="1494"/>
                        </a:cubicBezTo>
                        <a:cubicBezTo>
                          <a:pt x="1668" y="1494"/>
                          <a:pt x="1678" y="1484"/>
                          <a:pt x="1678" y="1472"/>
                        </a:cubicBezTo>
                        <a:cubicBezTo>
                          <a:pt x="1678" y="1354"/>
                          <a:pt x="1678" y="1354"/>
                          <a:pt x="1678" y="1354"/>
                        </a:cubicBezTo>
                        <a:cubicBezTo>
                          <a:pt x="1678" y="1342"/>
                          <a:pt x="1668" y="1332"/>
                          <a:pt x="1656" y="1332"/>
                        </a:cubicBezTo>
                        <a:close/>
                        <a:moveTo>
                          <a:pt x="1645" y="375"/>
                        </a:moveTo>
                        <a:cubicBezTo>
                          <a:pt x="1314" y="375"/>
                          <a:pt x="1314" y="375"/>
                          <a:pt x="1314" y="375"/>
                        </a:cubicBezTo>
                        <a:cubicBezTo>
                          <a:pt x="1289" y="271"/>
                          <a:pt x="1230" y="177"/>
                          <a:pt x="1147" y="109"/>
                        </a:cubicBezTo>
                        <a:cubicBezTo>
                          <a:pt x="1060" y="38"/>
                          <a:pt x="951" y="0"/>
                          <a:pt x="839" y="0"/>
                        </a:cubicBezTo>
                        <a:cubicBezTo>
                          <a:pt x="728" y="0"/>
                          <a:pt x="619" y="38"/>
                          <a:pt x="532" y="108"/>
                        </a:cubicBezTo>
                        <a:cubicBezTo>
                          <a:pt x="448" y="176"/>
                          <a:pt x="389" y="271"/>
                          <a:pt x="364" y="375"/>
                        </a:cubicBezTo>
                        <a:cubicBezTo>
                          <a:pt x="33" y="375"/>
                          <a:pt x="33" y="375"/>
                          <a:pt x="33" y="375"/>
                        </a:cubicBezTo>
                        <a:cubicBezTo>
                          <a:pt x="21" y="375"/>
                          <a:pt x="11" y="385"/>
                          <a:pt x="11" y="397"/>
                        </a:cubicBezTo>
                        <a:cubicBezTo>
                          <a:pt x="11" y="528"/>
                          <a:pt x="11" y="528"/>
                          <a:pt x="11" y="528"/>
                        </a:cubicBezTo>
                        <a:cubicBezTo>
                          <a:pt x="11" y="540"/>
                          <a:pt x="21" y="550"/>
                          <a:pt x="33" y="550"/>
                        </a:cubicBezTo>
                        <a:cubicBezTo>
                          <a:pt x="1645" y="550"/>
                          <a:pt x="1645" y="550"/>
                          <a:pt x="1645" y="550"/>
                        </a:cubicBezTo>
                        <a:cubicBezTo>
                          <a:pt x="1657" y="550"/>
                          <a:pt x="1667" y="540"/>
                          <a:pt x="1667" y="528"/>
                        </a:cubicBezTo>
                        <a:cubicBezTo>
                          <a:pt x="1667" y="397"/>
                          <a:pt x="1667" y="397"/>
                          <a:pt x="1667" y="397"/>
                        </a:cubicBezTo>
                        <a:cubicBezTo>
                          <a:pt x="1667" y="385"/>
                          <a:pt x="1657" y="375"/>
                          <a:pt x="1645" y="375"/>
                        </a:cubicBezTo>
                        <a:close/>
                        <a:moveTo>
                          <a:pt x="839" y="44"/>
                        </a:moveTo>
                        <a:cubicBezTo>
                          <a:pt x="1040" y="44"/>
                          <a:pt x="1218" y="182"/>
                          <a:pt x="1269" y="375"/>
                        </a:cubicBezTo>
                        <a:cubicBezTo>
                          <a:pt x="409" y="375"/>
                          <a:pt x="409" y="375"/>
                          <a:pt x="409" y="375"/>
                        </a:cubicBezTo>
                        <a:cubicBezTo>
                          <a:pt x="460" y="179"/>
                          <a:pt x="635" y="44"/>
                          <a:pt x="839" y="44"/>
                        </a:cubicBezTo>
                        <a:close/>
                        <a:moveTo>
                          <a:pt x="1623" y="506"/>
                        </a:moveTo>
                        <a:cubicBezTo>
                          <a:pt x="55" y="506"/>
                          <a:pt x="55" y="506"/>
                          <a:pt x="55" y="506"/>
                        </a:cubicBezTo>
                        <a:cubicBezTo>
                          <a:pt x="55" y="419"/>
                          <a:pt x="55" y="419"/>
                          <a:pt x="55" y="419"/>
                        </a:cubicBezTo>
                        <a:cubicBezTo>
                          <a:pt x="1623" y="419"/>
                          <a:pt x="1623" y="419"/>
                          <a:pt x="1623" y="419"/>
                        </a:cubicBezTo>
                        <a:lnTo>
                          <a:pt x="1623" y="506"/>
                        </a:lnTo>
                        <a:close/>
                      </a:path>
                    </a:pathLst>
                  </a:custGeom>
                  <a:solidFill>
                    <a:srgbClr val="001042">
                      <a:lumMod val="100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9" name="Freeform 11">
                    <a:extLst>
                      <a:ext uri="{FF2B5EF4-FFF2-40B4-BE49-F238E27FC236}">
                        <a16:creationId xmlns:a16="http://schemas.microsoft.com/office/drawing/2014/main" id="{C4B85630-F551-43BE-AFF8-6A3D2082AE2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594982" y="2719578"/>
                    <a:ext cx="1002030" cy="1155954"/>
                  </a:xfrm>
                  <a:custGeom>
                    <a:avLst/>
                    <a:gdLst>
                      <a:gd name="T0" fmla="*/ 12 w 1404"/>
                      <a:gd name="T1" fmla="*/ 1032 h 1618"/>
                      <a:gd name="T2" fmla="*/ 105 w 1404"/>
                      <a:gd name="T3" fmla="*/ 1022 h 1618"/>
                      <a:gd name="T4" fmla="*/ 127 w 1404"/>
                      <a:gd name="T5" fmla="*/ 1608 h 1618"/>
                      <a:gd name="T6" fmla="*/ 10 w 1404"/>
                      <a:gd name="T7" fmla="*/ 1618 h 1618"/>
                      <a:gd name="T8" fmla="*/ 1031 w 1404"/>
                      <a:gd name="T9" fmla="*/ 1618 h 1618"/>
                      <a:gd name="T10" fmla="*/ 1149 w 1404"/>
                      <a:gd name="T11" fmla="*/ 1608 h 1618"/>
                      <a:gd name="T12" fmla="*/ 1127 w 1404"/>
                      <a:gd name="T13" fmla="*/ 1022 h 1618"/>
                      <a:gd name="T14" fmla="*/ 1033 w 1404"/>
                      <a:gd name="T15" fmla="*/ 1032 h 1618"/>
                      <a:gd name="T16" fmla="*/ 1031 w 1404"/>
                      <a:gd name="T17" fmla="*/ 1618 h 1618"/>
                      <a:gd name="T18" fmla="*/ 1394 w 1404"/>
                      <a:gd name="T19" fmla="*/ 1618 h 1618"/>
                      <a:gd name="T20" fmla="*/ 1392 w 1404"/>
                      <a:gd name="T21" fmla="*/ 1032 h 1618"/>
                      <a:gd name="T22" fmla="*/ 1299 w 1404"/>
                      <a:gd name="T23" fmla="*/ 1022 h 1618"/>
                      <a:gd name="T24" fmla="*/ 1277 w 1404"/>
                      <a:gd name="T25" fmla="*/ 1608 h 1618"/>
                      <a:gd name="T26" fmla="*/ 776 w 1404"/>
                      <a:gd name="T27" fmla="*/ 1618 h 1618"/>
                      <a:gd name="T28" fmla="*/ 894 w 1404"/>
                      <a:gd name="T29" fmla="*/ 1608 h 1618"/>
                      <a:gd name="T30" fmla="*/ 871 w 1404"/>
                      <a:gd name="T31" fmla="*/ 1022 h 1618"/>
                      <a:gd name="T32" fmla="*/ 778 w 1404"/>
                      <a:gd name="T33" fmla="*/ 1032 h 1618"/>
                      <a:gd name="T34" fmla="*/ 776 w 1404"/>
                      <a:gd name="T35" fmla="*/ 1618 h 1618"/>
                      <a:gd name="T36" fmla="*/ 628 w 1404"/>
                      <a:gd name="T37" fmla="*/ 1618 h 1618"/>
                      <a:gd name="T38" fmla="*/ 626 w 1404"/>
                      <a:gd name="T39" fmla="*/ 1032 h 1618"/>
                      <a:gd name="T40" fmla="*/ 533 w 1404"/>
                      <a:gd name="T41" fmla="*/ 1022 h 1618"/>
                      <a:gd name="T42" fmla="*/ 510 w 1404"/>
                      <a:gd name="T43" fmla="*/ 1608 h 1618"/>
                      <a:gd name="T44" fmla="*/ 265 w 1404"/>
                      <a:gd name="T45" fmla="*/ 1618 h 1618"/>
                      <a:gd name="T46" fmla="*/ 383 w 1404"/>
                      <a:gd name="T47" fmla="*/ 1608 h 1618"/>
                      <a:gd name="T48" fmla="*/ 361 w 1404"/>
                      <a:gd name="T49" fmla="*/ 1022 h 1618"/>
                      <a:gd name="T50" fmla="*/ 267 w 1404"/>
                      <a:gd name="T51" fmla="*/ 1032 h 1618"/>
                      <a:gd name="T52" fmla="*/ 265 w 1404"/>
                      <a:gd name="T53" fmla="*/ 1618 h 1618"/>
                      <a:gd name="T54" fmla="*/ 702 w 1404"/>
                      <a:gd name="T55" fmla="*/ 368 h 1618"/>
                      <a:gd name="T56" fmla="*/ 727 w 1404"/>
                      <a:gd name="T57" fmla="*/ 200 h 1618"/>
                      <a:gd name="T58" fmla="*/ 1036 w 1404"/>
                      <a:gd name="T59" fmla="*/ 193 h 1618"/>
                      <a:gd name="T60" fmla="*/ 959 w 1404"/>
                      <a:gd name="T61" fmla="*/ 101 h 1618"/>
                      <a:gd name="T62" fmla="*/ 1040 w 1404"/>
                      <a:gd name="T63" fmla="*/ 11 h 1618"/>
                      <a:gd name="T64" fmla="*/ 720 w 1404"/>
                      <a:gd name="T65" fmla="*/ 0 h 1618"/>
                      <a:gd name="T66" fmla="*/ 681 w 1404"/>
                      <a:gd name="T67" fmla="*/ 0 h 1618"/>
                      <a:gd name="T68" fmla="*/ 675 w 1404"/>
                      <a:gd name="T69" fmla="*/ 193 h 1618"/>
                      <a:gd name="T70" fmla="*/ 675 w 1404"/>
                      <a:gd name="T71" fmla="*/ 368 h 16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1404" h="1618">
                        <a:moveTo>
                          <a:pt x="0" y="1608"/>
                        </a:moveTo>
                        <a:cubicBezTo>
                          <a:pt x="12" y="1032"/>
                          <a:pt x="12" y="1032"/>
                          <a:pt x="12" y="1032"/>
                        </a:cubicBezTo>
                        <a:cubicBezTo>
                          <a:pt x="12" y="1027"/>
                          <a:pt x="16" y="1022"/>
                          <a:pt x="22" y="1022"/>
                        </a:cubicBezTo>
                        <a:cubicBezTo>
                          <a:pt x="105" y="1022"/>
                          <a:pt x="105" y="1022"/>
                          <a:pt x="105" y="1022"/>
                        </a:cubicBezTo>
                        <a:cubicBezTo>
                          <a:pt x="111" y="1022"/>
                          <a:pt x="115" y="1027"/>
                          <a:pt x="115" y="1032"/>
                        </a:cubicBezTo>
                        <a:cubicBezTo>
                          <a:pt x="127" y="1608"/>
                          <a:pt x="127" y="1608"/>
                          <a:pt x="127" y="1608"/>
                        </a:cubicBezTo>
                        <a:cubicBezTo>
                          <a:pt x="127" y="1613"/>
                          <a:pt x="123" y="1618"/>
                          <a:pt x="117" y="1618"/>
                        </a:cubicBezTo>
                        <a:cubicBezTo>
                          <a:pt x="10" y="1618"/>
                          <a:pt x="10" y="1618"/>
                          <a:pt x="10" y="1618"/>
                        </a:cubicBezTo>
                        <a:cubicBezTo>
                          <a:pt x="4" y="1618"/>
                          <a:pt x="0" y="1613"/>
                          <a:pt x="0" y="1608"/>
                        </a:cubicBezTo>
                        <a:close/>
                        <a:moveTo>
                          <a:pt x="1031" y="1618"/>
                        </a:moveTo>
                        <a:cubicBezTo>
                          <a:pt x="1139" y="1618"/>
                          <a:pt x="1139" y="1618"/>
                          <a:pt x="1139" y="1618"/>
                        </a:cubicBezTo>
                        <a:cubicBezTo>
                          <a:pt x="1144" y="1618"/>
                          <a:pt x="1149" y="1613"/>
                          <a:pt x="1149" y="1608"/>
                        </a:cubicBezTo>
                        <a:cubicBezTo>
                          <a:pt x="1137" y="1032"/>
                          <a:pt x="1137" y="1032"/>
                          <a:pt x="1137" y="1032"/>
                        </a:cubicBezTo>
                        <a:cubicBezTo>
                          <a:pt x="1137" y="1027"/>
                          <a:pt x="1132" y="1022"/>
                          <a:pt x="1127" y="1022"/>
                        </a:cubicBezTo>
                        <a:cubicBezTo>
                          <a:pt x="1043" y="1022"/>
                          <a:pt x="1043" y="1022"/>
                          <a:pt x="1043" y="1022"/>
                        </a:cubicBezTo>
                        <a:cubicBezTo>
                          <a:pt x="1038" y="1022"/>
                          <a:pt x="1033" y="1027"/>
                          <a:pt x="1033" y="1032"/>
                        </a:cubicBezTo>
                        <a:cubicBezTo>
                          <a:pt x="1021" y="1608"/>
                          <a:pt x="1021" y="1608"/>
                          <a:pt x="1021" y="1608"/>
                        </a:cubicBezTo>
                        <a:cubicBezTo>
                          <a:pt x="1021" y="1613"/>
                          <a:pt x="1026" y="1618"/>
                          <a:pt x="1031" y="1618"/>
                        </a:cubicBezTo>
                        <a:close/>
                        <a:moveTo>
                          <a:pt x="1287" y="1618"/>
                        </a:moveTo>
                        <a:cubicBezTo>
                          <a:pt x="1394" y="1618"/>
                          <a:pt x="1394" y="1618"/>
                          <a:pt x="1394" y="1618"/>
                        </a:cubicBezTo>
                        <a:cubicBezTo>
                          <a:pt x="1400" y="1618"/>
                          <a:pt x="1404" y="1613"/>
                          <a:pt x="1404" y="1608"/>
                        </a:cubicBezTo>
                        <a:cubicBezTo>
                          <a:pt x="1392" y="1032"/>
                          <a:pt x="1392" y="1032"/>
                          <a:pt x="1392" y="1032"/>
                        </a:cubicBezTo>
                        <a:cubicBezTo>
                          <a:pt x="1392" y="1027"/>
                          <a:pt x="1388" y="1022"/>
                          <a:pt x="1382" y="1022"/>
                        </a:cubicBezTo>
                        <a:cubicBezTo>
                          <a:pt x="1299" y="1022"/>
                          <a:pt x="1299" y="1022"/>
                          <a:pt x="1299" y="1022"/>
                        </a:cubicBezTo>
                        <a:cubicBezTo>
                          <a:pt x="1293" y="1022"/>
                          <a:pt x="1289" y="1027"/>
                          <a:pt x="1289" y="1032"/>
                        </a:cubicBezTo>
                        <a:cubicBezTo>
                          <a:pt x="1277" y="1608"/>
                          <a:pt x="1277" y="1608"/>
                          <a:pt x="1277" y="1608"/>
                        </a:cubicBezTo>
                        <a:cubicBezTo>
                          <a:pt x="1277" y="1613"/>
                          <a:pt x="1281" y="1618"/>
                          <a:pt x="1287" y="1618"/>
                        </a:cubicBezTo>
                        <a:close/>
                        <a:moveTo>
                          <a:pt x="776" y="1618"/>
                        </a:moveTo>
                        <a:cubicBezTo>
                          <a:pt x="883" y="1618"/>
                          <a:pt x="883" y="1618"/>
                          <a:pt x="883" y="1618"/>
                        </a:cubicBezTo>
                        <a:cubicBezTo>
                          <a:pt x="889" y="1618"/>
                          <a:pt x="894" y="1613"/>
                          <a:pt x="894" y="1608"/>
                        </a:cubicBezTo>
                        <a:cubicBezTo>
                          <a:pt x="881" y="1032"/>
                          <a:pt x="881" y="1032"/>
                          <a:pt x="881" y="1032"/>
                        </a:cubicBezTo>
                        <a:cubicBezTo>
                          <a:pt x="881" y="1027"/>
                          <a:pt x="877" y="1022"/>
                          <a:pt x="871" y="1022"/>
                        </a:cubicBezTo>
                        <a:cubicBezTo>
                          <a:pt x="788" y="1022"/>
                          <a:pt x="788" y="1022"/>
                          <a:pt x="788" y="1022"/>
                        </a:cubicBezTo>
                        <a:cubicBezTo>
                          <a:pt x="782" y="1022"/>
                          <a:pt x="778" y="1027"/>
                          <a:pt x="778" y="1032"/>
                        </a:cubicBezTo>
                        <a:cubicBezTo>
                          <a:pt x="766" y="1608"/>
                          <a:pt x="766" y="1608"/>
                          <a:pt x="766" y="1608"/>
                        </a:cubicBezTo>
                        <a:cubicBezTo>
                          <a:pt x="766" y="1613"/>
                          <a:pt x="770" y="1618"/>
                          <a:pt x="776" y="1618"/>
                        </a:cubicBezTo>
                        <a:close/>
                        <a:moveTo>
                          <a:pt x="521" y="1618"/>
                        </a:moveTo>
                        <a:cubicBezTo>
                          <a:pt x="628" y="1618"/>
                          <a:pt x="628" y="1618"/>
                          <a:pt x="628" y="1618"/>
                        </a:cubicBezTo>
                        <a:cubicBezTo>
                          <a:pt x="634" y="1618"/>
                          <a:pt x="638" y="1613"/>
                          <a:pt x="638" y="1608"/>
                        </a:cubicBezTo>
                        <a:cubicBezTo>
                          <a:pt x="626" y="1032"/>
                          <a:pt x="626" y="1032"/>
                          <a:pt x="626" y="1032"/>
                        </a:cubicBezTo>
                        <a:cubicBezTo>
                          <a:pt x="626" y="1027"/>
                          <a:pt x="622" y="1022"/>
                          <a:pt x="616" y="1022"/>
                        </a:cubicBezTo>
                        <a:cubicBezTo>
                          <a:pt x="533" y="1022"/>
                          <a:pt x="533" y="1022"/>
                          <a:pt x="533" y="1022"/>
                        </a:cubicBezTo>
                        <a:cubicBezTo>
                          <a:pt x="527" y="1022"/>
                          <a:pt x="523" y="1027"/>
                          <a:pt x="523" y="1032"/>
                        </a:cubicBezTo>
                        <a:cubicBezTo>
                          <a:pt x="510" y="1608"/>
                          <a:pt x="510" y="1608"/>
                          <a:pt x="510" y="1608"/>
                        </a:cubicBezTo>
                        <a:cubicBezTo>
                          <a:pt x="510" y="1613"/>
                          <a:pt x="515" y="1618"/>
                          <a:pt x="521" y="1618"/>
                        </a:cubicBezTo>
                        <a:close/>
                        <a:moveTo>
                          <a:pt x="265" y="1618"/>
                        </a:moveTo>
                        <a:cubicBezTo>
                          <a:pt x="373" y="1618"/>
                          <a:pt x="373" y="1618"/>
                          <a:pt x="373" y="1618"/>
                        </a:cubicBezTo>
                        <a:cubicBezTo>
                          <a:pt x="378" y="1618"/>
                          <a:pt x="383" y="1613"/>
                          <a:pt x="383" y="1608"/>
                        </a:cubicBezTo>
                        <a:cubicBezTo>
                          <a:pt x="371" y="1032"/>
                          <a:pt x="371" y="1032"/>
                          <a:pt x="371" y="1032"/>
                        </a:cubicBezTo>
                        <a:cubicBezTo>
                          <a:pt x="371" y="1027"/>
                          <a:pt x="366" y="1022"/>
                          <a:pt x="361" y="1022"/>
                        </a:cubicBezTo>
                        <a:cubicBezTo>
                          <a:pt x="277" y="1022"/>
                          <a:pt x="277" y="1022"/>
                          <a:pt x="277" y="1022"/>
                        </a:cubicBezTo>
                        <a:cubicBezTo>
                          <a:pt x="272" y="1022"/>
                          <a:pt x="267" y="1027"/>
                          <a:pt x="267" y="1032"/>
                        </a:cubicBezTo>
                        <a:cubicBezTo>
                          <a:pt x="255" y="1608"/>
                          <a:pt x="255" y="1608"/>
                          <a:pt x="255" y="1608"/>
                        </a:cubicBezTo>
                        <a:cubicBezTo>
                          <a:pt x="255" y="1613"/>
                          <a:pt x="260" y="1618"/>
                          <a:pt x="265" y="1618"/>
                        </a:cubicBezTo>
                        <a:close/>
                        <a:moveTo>
                          <a:pt x="675" y="368"/>
                        </a:moveTo>
                        <a:cubicBezTo>
                          <a:pt x="684" y="368"/>
                          <a:pt x="693" y="368"/>
                          <a:pt x="702" y="368"/>
                        </a:cubicBezTo>
                        <a:cubicBezTo>
                          <a:pt x="710" y="368"/>
                          <a:pt x="718" y="368"/>
                          <a:pt x="727" y="368"/>
                        </a:cubicBezTo>
                        <a:cubicBezTo>
                          <a:pt x="727" y="200"/>
                          <a:pt x="727" y="200"/>
                          <a:pt x="727" y="200"/>
                        </a:cubicBezTo>
                        <a:cubicBezTo>
                          <a:pt x="727" y="196"/>
                          <a:pt x="730" y="193"/>
                          <a:pt x="733" y="193"/>
                        </a:cubicBezTo>
                        <a:cubicBezTo>
                          <a:pt x="1036" y="193"/>
                          <a:pt x="1036" y="193"/>
                          <a:pt x="1036" y="193"/>
                        </a:cubicBezTo>
                        <a:cubicBezTo>
                          <a:pt x="1042" y="193"/>
                          <a:pt x="1044" y="186"/>
                          <a:pt x="1040" y="182"/>
                        </a:cubicBezTo>
                        <a:cubicBezTo>
                          <a:pt x="959" y="101"/>
                          <a:pt x="959" y="101"/>
                          <a:pt x="959" y="101"/>
                        </a:cubicBezTo>
                        <a:cubicBezTo>
                          <a:pt x="957" y="99"/>
                          <a:pt x="957" y="95"/>
                          <a:pt x="959" y="92"/>
                        </a:cubicBezTo>
                        <a:cubicBezTo>
                          <a:pt x="1040" y="11"/>
                          <a:pt x="1040" y="11"/>
                          <a:pt x="1040" y="11"/>
                        </a:cubicBezTo>
                        <a:cubicBezTo>
                          <a:pt x="1044" y="7"/>
                          <a:pt x="1042" y="0"/>
                          <a:pt x="1036" y="0"/>
                        </a:cubicBezTo>
                        <a:cubicBezTo>
                          <a:pt x="720" y="0"/>
                          <a:pt x="720" y="0"/>
                          <a:pt x="720" y="0"/>
                        </a:cubicBezTo>
                        <a:cubicBezTo>
                          <a:pt x="681" y="0"/>
                          <a:pt x="681" y="0"/>
                          <a:pt x="681" y="0"/>
                        </a:cubicBezTo>
                        <a:cubicBezTo>
                          <a:pt x="681" y="0"/>
                          <a:pt x="681" y="0"/>
                          <a:pt x="681" y="0"/>
                        </a:cubicBezTo>
                        <a:cubicBezTo>
                          <a:pt x="678" y="0"/>
                          <a:pt x="675" y="3"/>
                          <a:pt x="675" y="7"/>
                        </a:cubicBezTo>
                        <a:cubicBezTo>
                          <a:pt x="675" y="193"/>
                          <a:pt x="675" y="193"/>
                          <a:pt x="675" y="193"/>
                        </a:cubicBezTo>
                        <a:cubicBezTo>
                          <a:pt x="675" y="193"/>
                          <a:pt x="675" y="193"/>
                          <a:pt x="675" y="193"/>
                        </a:cubicBezTo>
                        <a:lnTo>
                          <a:pt x="675" y="368"/>
                        </a:lnTo>
                        <a:close/>
                      </a:path>
                    </a:pathLst>
                  </a:custGeom>
                  <a:solidFill>
                    <a:srgbClr val="00269E">
                      <a:lumMod val="100000"/>
                    </a:srgbClr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A0084BC0-36BD-4261-A687-F5C78ACCB821}"/>
                </a:ext>
              </a:extLst>
            </p:cNvPr>
            <p:cNvSpPr txBox="1"/>
            <p:nvPr/>
          </p:nvSpPr>
          <p:spPr>
            <a:xfrm>
              <a:off x="684760" y="4463202"/>
              <a:ext cx="1226590" cy="267766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>
                <a:lnSpc>
                  <a:spcPct val="95000"/>
                </a:lnSpc>
              </a:pPr>
              <a:r>
                <a:rPr lang="en-US" sz="1200" kern="0">
                  <a:solidFill>
                    <a:schemeClr val="bg1"/>
                  </a:solidFill>
                </a:rPr>
                <a:t>WSC core staff</a:t>
              </a:r>
            </a:p>
          </p:txBody>
        </p:sp>
      </p:grpSp>
      <p:sp>
        <p:nvSpPr>
          <p:cNvPr id="141" name="Rectangle: Top Corners Rounded 140">
            <a:extLst>
              <a:ext uri="{FF2B5EF4-FFF2-40B4-BE49-F238E27FC236}">
                <a16:creationId xmlns:a16="http://schemas.microsoft.com/office/drawing/2014/main" id="{CC971940-2709-4645-8340-F0849C38D04F}"/>
              </a:ext>
            </a:extLst>
          </p:cNvPr>
          <p:cNvSpPr/>
          <p:nvPr/>
        </p:nvSpPr>
        <p:spPr>
          <a:xfrm rot="5400000">
            <a:off x="1008334" y="4348499"/>
            <a:ext cx="568107" cy="1672491"/>
          </a:xfrm>
          <a:prstGeom prst="round2Same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A610596D-7821-41F6-9B9E-8C19D5259485}"/>
              </a:ext>
            </a:extLst>
          </p:cNvPr>
          <p:cNvSpPr txBox="1"/>
          <p:nvPr/>
        </p:nvSpPr>
        <p:spPr>
          <a:xfrm>
            <a:off x="902043" y="4869232"/>
            <a:ext cx="1340351" cy="6186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sz="1200" kern="0">
                <a:solidFill>
                  <a:schemeClr val="bg1"/>
                </a:solidFill>
              </a:rPr>
              <a:t>Other agencies (e.g., HHS, MOBD, </a:t>
            </a:r>
            <a:r>
              <a:rPr lang="en-US" sz="1200" kern="0" err="1">
                <a:solidFill>
                  <a:schemeClr val="bg1"/>
                </a:solidFill>
              </a:rPr>
              <a:t>MLSC</a:t>
            </a:r>
            <a:r>
              <a:rPr lang="en-US" sz="1200" kern="0">
                <a:solidFill>
                  <a:schemeClr val="bg1"/>
                </a:solidFill>
              </a:rPr>
              <a:t>)</a:t>
            </a:r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F242E636-D654-48FE-999C-BE64B8582D94}"/>
              </a:ext>
            </a:extLst>
          </p:cNvPr>
          <p:cNvCxnSpPr>
            <a:cxnSpLocks/>
          </p:cNvCxnSpPr>
          <p:nvPr/>
        </p:nvCxnSpPr>
        <p:spPr>
          <a:xfrm>
            <a:off x="7207047" y="4883898"/>
            <a:ext cx="432845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04277153-3383-42DD-B64F-ABF7A72F1127}"/>
              </a:ext>
            </a:extLst>
          </p:cNvPr>
          <p:cNvGrpSpPr/>
          <p:nvPr/>
        </p:nvGrpSpPr>
        <p:grpSpPr>
          <a:xfrm>
            <a:off x="541579" y="4957385"/>
            <a:ext cx="398566" cy="398936"/>
            <a:chOff x="6510577" y="2265159"/>
            <a:chExt cx="2325527" cy="2327682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F8A6028A-30C4-4AA7-BA32-6C7A49546C01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510577" y="2265159"/>
              <a:ext cx="2325527" cy="2327682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tx1"/>
                  </a:gs>
                  <a:gs pos="100000">
                    <a:schemeClr val="accent5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1600" kern="0">
                <a:solidFill>
                  <a:schemeClr val="tx1"/>
                </a:solidFill>
              </a:endParaRPr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2F9CE07C-3F4A-4C4C-B216-4844162CE1B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51142" y="2606040"/>
              <a:ext cx="1644396" cy="1645920"/>
              <a:chOff x="5273799" y="2606040"/>
              <a:chExt cx="1644396" cy="1645920"/>
            </a:xfrm>
          </p:grpSpPr>
          <p:sp>
            <p:nvSpPr>
              <p:cNvPr id="136" name="AutoShape 8">
                <a:extLst>
                  <a:ext uri="{FF2B5EF4-FFF2-40B4-BE49-F238E27FC236}">
                    <a16:creationId xmlns:a16="http://schemas.microsoft.com/office/drawing/2014/main" id="{F91F9BD4-659D-407E-9F84-0070ECA2023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531415ED-B61B-44D5-9990-E16B43966FD8}"/>
                  </a:ext>
                </a:extLst>
              </p:cNvPr>
              <p:cNvGrpSpPr/>
              <p:nvPr/>
            </p:nvGrpSpPr>
            <p:grpSpPr>
              <a:xfrm>
                <a:off x="5497065" y="2719578"/>
                <a:ext cx="1197864" cy="1361694"/>
                <a:chOff x="5497065" y="2719578"/>
                <a:chExt cx="1197864" cy="1361694"/>
              </a:xfrm>
            </p:grpSpPr>
            <p:sp>
              <p:nvSpPr>
                <p:cNvPr id="138" name="Freeform 10">
                  <a:extLst>
                    <a:ext uri="{FF2B5EF4-FFF2-40B4-BE49-F238E27FC236}">
                      <a16:creationId xmlns:a16="http://schemas.microsoft.com/office/drawing/2014/main" id="{714DA92F-9527-40B8-B374-C70DF974762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97065" y="3014091"/>
                  <a:ext cx="1197864" cy="1067181"/>
                </a:xfrm>
                <a:custGeom>
                  <a:avLst/>
                  <a:gdLst>
                    <a:gd name="T0" fmla="*/ 1656 w 1678"/>
                    <a:gd name="T1" fmla="*/ 1332 h 1494"/>
                    <a:gd name="T2" fmla="*/ 1568 w 1678"/>
                    <a:gd name="T3" fmla="*/ 1332 h 1494"/>
                    <a:gd name="T4" fmla="*/ 1568 w 1678"/>
                    <a:gd name="T5" fmla="*/ 1288 h 1494"/>
                    <a:gd name="T6" fmla="*/ 1546 w 1678"/>
                    <a:gd name="T7" fmla="*/ 1266 h 1494"/>
                    <a:gd name="T8" fmla="*/ 132 w 1678"/>
                    <a:gd name="T9" fmla="*/ 1266 h 1494"/>
                    <a:gd name="T10" fmla="*/ 110 w 1678"/>
                    <a:gd name="T11" fmla="*/ 1288 h 1494"/>
                    <a:gd name="T12" fmla="*/ 110 w 1678"/>
                    <a:gd name="T13" fmla="*/ 1332 h 1494"/>
                    <a:gd name="T14" fmla="*/ 22 w 1678"/>
                    <a:gd name="T15" fmla="*/ 1332 h 1494"/>
                    <a:gd name="T16" fmla="*/ 0 w 1678"/>
                    <a:gd name="T17" fmla="*/ 1354 h 1494"/>
                    <a:gd name="T18" fmla="*/ 0 w 1678"/>
                    <a:gd name="T19" fmla="*/ 1472 h 1494"/>
                    <a:gd name="T20" fmla="*/ 22 w 1678"/>
                    <a:gd name="T21" fmla="*/ 1494 h 1494"/>
                    <a:gd name="T22" fmla="*/ 1656 w 1678"/>
                    <a:gd name="T23" fmla="*/ 1494 h 1494"/>
                    <a:gd name="T24" fmla="*/ 1678 w 1678"/>
                    <a:gd name="T25" fmla="*/ 1472 h 1494"/>
                    <a:gd name="T26" fmla="*/ 1678 w 1678"/>
                    <a:gd name="T27" fmla="*/ 1354 h 1494"/>
                    <a:gd name="T28" fmla="*/ 1656 w 1678"/>
                    <a:gd name="T29" fmla="*/ 1332 h 1494"/>
                    <a:gd name="T30" fmla="*/ 1645 w 1678"/>
                    <a:gd name="T31" fmla="*/ 375 h 1494"/>
                    <a:gd name="T32" fmla="*/ 1314 w 1678"/>
                    <a:gd name="T33" fmla="*/ 375 h 1494"/>
                    <a:gd name="T34" fmla="*/ 1147 w 1678"/>
                    <a:gd name="T35" fmla="*/ 109 h 1494"/>
                    <a:gd name="T36" fmla="*/ 839 w 1678"/>
                    <a:gd name="T37" fmla="*/ 0 h 1494"/>
                    <a:gd name="T38" fmla="*/ 532 w 1678"/>
                    <a:gd name="T39" fmla="*/ 108 h 1494"/>
                    <a:gd name="T40" fmla="*/ 364 w 1678"/>
                    <a:gd name="T41" fmla="*/ 375 h 1494"/>
                    <a:gd name="T42" fmla="*/ 33 w 1678"/>
                    <a:gd name="T43" fmla="*/ 375 h 1494"/>
                    <a:gd name="T44" fmla="*/ 11 w 1678"/>
                    <a:gd name="T45" fmla="*/ 397 h 1494"/>
                    <a:gd name="T46" fmla="*/ 11 w 1678"/>
                    <a:gd name="T47" fmla="*/ 528 h 1494"/>
                    <a:gd name="T48" fmla="*/ 33 w 1678"/>
                    <a:gd name="T49" fmla="*/ 550 h 1494"/>
                    <a:gd name="T50" fmla="*/ 1645 w 1678"/>
                    <a:gd name="T51" fmla="*/ 550 h 1494"/>
                    <a:gd name="T52" fmla="*/ 1667 w 1678"/>
                    <a:gd name="T53" fmla="*/ 528 h 1494"/>
                    <a:gd name="T54" fmla="*/ 1667 w 1678"/>
                    <a:gd name="T55" fmla="*/ 397 h 1494"/>
                    <a:gd name="T56" fmla="*/ 1645 w 1678"/>
                    <a:gd name="T57" fmla="*/ 375 h 1494"/>
                    <a:gd name="T58" fmla="*/ 839 w 1678"/>
                    <a:gd name="T59" fmla="*/ 44 h 1494"/>
                    <a:gd name="T60" fmla="*/ 1269 w 1678"/>
                    <a:gd name="T61" fmla="*/ 375 h 1494"/>
                    <a:gd name="T62" fmla="*/ 409 w 1678"/>
                    <a:gd name="T63" fmla="*/ 375 h 1494"/>
                    <a:gd name="T64" fmla="*/ 839 w 1678"/>
                    <a:gd name="T65" fmla="*/ 44 h 1494"/>
                    <a:gd name="T66" fmla="*/ 1623 w 1678"/>
                    <a:gd name="T67" fmla="*/ 506 h 1494"/>
                    <a:gd name="T68" fmla="*/ 55 w 1678"/>
                    <a:gd name="T69" fmla="*/ 506 h 1494"/>
                    <a:gd name="T70" fmla="*/ 55 w 1678"/>
                    <a:gd name="T71" fmla="*/ 419 h 1494"/>
                    <a:gd name="T72" fmla="*/ 1623 w 1678"/>
                    <a:gd name="T73" fmla="*/ 419 h 1494"/>
                    <a:gd name="T74" fmla="*/ 1623 w 1678"/>
                    <a:gd name="T75" fmla="*/ 506 h 14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678" h="1494">
                      <a:moveTo>
                        <a:pt x="1656" y="1332"/>
                      </a:moveTo>
                      <a:cubicBezTo>
                        <a:pt x="1568" y="1332"/>
                        <a:pt x="1568" y="1332"/>
                        <a:pt x="1568" y="1332"/>
                      </a:cubicBezTo>
                      <a:cubicBezTo>
                        <a:pt x="1568" y="1288"/>
                        <a:pt x="1568" y="1288"/>
                        <a:pt x="1568" y="1288"/>
                      </a:cubicBezTo>
                      <a:cubicBezTo>
                        <a:pt x="1568" y="1276"/>
                        <a:pt x="1558" y="1266"/>
                        <a:pt x="1546" y="1266"/>
                      </a:cubicBezTo>
                      <a:cubicBezTo>
                        <a:pt x="132" y="1266"/>
                        <a:pt x="132" y="1266"/>
                        <a:pt x="132" y="1266"/>
                      </a:cubicBezTo>
                      <a:cubicBezTo>
                        <a:pt x="120" y="1266"/>
                        <a:pt x="110" y="1276"/>
                        <a:pt x="110" y="1288"/>
                      </a:cubicBezTo>
                      <a:cubicBezTo>
                        <a:pt x="110" y="1332"/>
                        <a:pt x="110" y="1332"/>
                        <a:pt x="110" y="1332"/>
                      </a:cubicBezTo>
                      <a:cubicBezTo>
                        <a:pt x="22" y="1332"/>
                        <a:pt x="22" y="1332"/>
                        <a:pt x="22" y="1332"/>
                      </a:cubicBezTo>
                      <a:cubicBezTo>
                        <a:pt x="10" y="1332"/>
                        <a:pt x="0" y="1342"/>
                        <a:pt x="0" y="1354"/>
                      </a:cubicBezTo>
                      <a:cubicBezTo>
                        <a:pt x="0" y="1472"/>
                        <a:pt x="0" y="1472"/>
                        <a:pt x="0" y="1472"/>
                      </a:cubicBezTo>
                      <a:cubicBezTo>
                        <a:pt x="0" y="1484"/>
                        <a:pt x="10" y="1494"/>
                        <a:pt x="22" y="1494"/>
                      </a:cubicBezTo>
                      <a:cubicBezTo>
                        <a:pt x="1656" y="1494"/>
                        <a:pt x="1656" y="1494"/>
                        <a:pt x="1656" y="1494"/>
                      </a:cubicBezTo>
                      <a:cubicBezTo>
                        <a:pt x="1668" y="1494"/>
                        <a:pt x="1678" y="1484"/>
                        <a:pt x="1678" y="1472"/>
                      </a:cubicBezTo>
                      <a:cubicBezTo>
                        <a:pt x="1678" y="1354"/>
                        <a:pt x="1678" y="1354"/>
                        <a:pt x="1678" y="1354"/>
                      </a:cubicBezTo>
                      <a:cubicBezTo>
                        <a:pt x="1678" y="1342"/>
                        <a:pt x="1668" y="1332"/>
                        <a:pt x="1656" y="1332"/>
                      </a:cubicBezTo>
                      <a:close/>
                      <a:moveTo>
                        <a:pt x="1645" y="375"/>
                      </a:moveTo>
                      <a:cubicBezTo>
                        <a:pt x="1314" y="375"/>
                        <a:pt x="1314" y="375"/>
                        <a:pt x="1314" y="375"/>
                      </a:cubicBezTo>
                      <a:cubicBezTo>
                        <a:pt x="1289" y="271"/>
                        <a:pt x="1230" y="177"/>
                        <a:pt x="1147" y="109"/>
                      </a:cubicBezTo>
                      <a:cubicBezTo>
                        <a:pt x="1060" y="38"/>
                        <a:pt x="951" y="0"/>
                        <a:pt x="839" y="0"/>
                      </a:cubicBezTo>
                      <a:cubicBezTo>
                        <a:pt x="728" y="0"/>
                        <a:pt x="619" y="38"/>
                        <a:pt x="532" y="108"/>
                      </a:cubicBezTo>
                      <a:cubicBezTo>
                        <a:pt x="448" y="176"/>
                        <a:pt x="389" y="271"/>
                        <a:pt x="364" y="375"/>
                      </a:cubicBezTo>
                      <a:cubicBezTo>
                        <a:pt x="33" y="375"/>
                        <a:pt x="33" y="375"/>
                        <a:pt x="33" y="375"/>
                      </a:cubicBezTo>
                      <a:cubicBezTo>
                        <a:pt x="21" y="375"/>
                        <a:pt x="11" y="385"/>
                        <a:pt x="11" y="397"/>
                      </a:cubicBezTo>
                      <a:cubicBezTo>
                        <a:pt x="11" y="528"/>
                        <a:pt x="11" y="528"/>
                        <a:pt x="11" y="528"/>
                      </a:cubicBezTo>
                      <a:cubicBezTo>
                        <a:pt x="11" y="540"/>
                        <a:pt x="21" y="550"/>
                        <a:pt x="33" y="550"/>
                      </a:cubicBezTo>
                      <a:cubicBezTo>
                        <a:pt x="1645" y="550"/>
                        <a:pt x="1645" y="550"/>
                        <a:pt x="1645" y="550"/>
                      </a:cubicBezTo>
                      <a:cubicBezTo>
                        <a:pt x="1657" y="550"/>
                        <a:pt x="1667" y="540"/>
                        <a:pt x="1667" y="528"/>
                      </a:cubicBezTo>
                      <a:cubicBezTo>
                        <a:pt x="1667" y="397"/>
                        <a:pt x="1667" y="397"/>
                        <a:pt x="1667" y="397"/>
                      </a:cubicBezTo>
                      <a:cubicBezTo>
                        <a:pt x="1667" y="385"/>
                        <a:pt x="1657" y="375"/>
                        <a:pt x="1645" y="375"/>
                      </a:cubicBezTo>
                      <a:close/>
                      <a:moveTo>
                        <a:pt x="839" y="44"/>
                      </a:moveTo>
                      <a:cubicBezTo>
                        <a:pt x="1040" y="44"/>
                        <a:pt x="1218" y="182"/>
                        <a:pt x="1269" y="375"/>
                      </a:cubicBezTo>
                      <a:cubicBezTo>
                        <a:pt x="409" y="375"/>
                        <a:pt x="409" y="375"/>
                        <a:pt x="409" y="375"/>
                      </a:cubicBezTo>
                      <a:cubicBezTo>
                        <a:pt x="460" y="179"/>
                        <a:pt x="635" y="44"/>
                        <a:pt x="839" y="44"/>
                      </a:cubicBezTo>
                      <a:close/>
                      <a:moveTo>
                        <a:pt x="1623" y="506"/>
                      </a:moveTo>
                      <a:cubicBezTo>
                        <a:pt x="55" y="506"/>
                        <a:pt x="55" y="506"/>
                        <a:pt x="55" y="506"/>
                      </a:cubicBezTo>
                      <a:cubicBezTo>
                        <a:pt x="55" y="419"/>
                        <a:pt x="55" y="419"/>
                        <a:pt x="55" y="419"/>
                      </a:cubicBezTo>
                      <a:cubicBezTo>
                        <a:pt x="1623" y="419"/>
                        <a:pt x="1623" y="419"/>
                        <a:pt x="1623" y="419"/>
                      </a:cubicBezTo>
                      <a:lnTo>
                        <a:pt x="1623" y="506"/>
                      </a:lnTo>
                      <a:close/>
                    </a:path>
                  </a:pathLst>
                </a:custGeom>
                <a:solidFill>
                  <a:srgbClr val="001042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11">
                  <a:extLst>
                    <a:ext uri="{FF2B5EF4-FFF2-40B4-BE49-F238E27FC236}">
                      <a16:creationId xmlns:a16="http://schemas.microsoft.com/office/drawing/2014/main" id="{739B77C0-2DEB-4A76-ADEC-47FAC350AC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94982" y="2719578"/>
                  <a:ext cx="1002030" cy="1155954"/>
                </a:xfrm>
                <a:custGeom>
                  <a:avLst/>
                  <a:gdLst>
                    <a:gd name="T0" fmla="*/ 12 w 1404"/>
                    <a:gd name="T1" fmla="*/ 1032 h 1618"/>
                    <a:gd name="T2" fmla="*/ 105 w 1404"/>
                    <a:gd name="T3" fmla="*/ 1022 h 1618"/>
                    <a:gd name="T4" fmla="*/ 127 w 1404"/>
                    <a:gd name="T5" fmla="*/ 1608 h 1618"/>
                    <a:gd name="T6" fmla="*/ 10 w 1404"/>
                    <a:gd name="T7" fmla="*/ 1618 h 1618"/>
                    <a:gd name="T8" fmla="*/ 1031 w 1404"/>
                    <a:gd name="T9" fmla="*/ 1618 h 1618"/>
                    <a:gd name="T10" fmla="*/ 1149 w 1404"/>
                    <a:gd name="T11" fmla="*/ 1608 h 1618"/>
                    <a:gd name="T12" fmla="*/ 1127 w 1404"/>
                    <a:gd name="T13" fmla="*/ 1022 h 1618"/>
                    <a:gd name="T14" fmla="*/ 1033 w 1404"/>
                    <a:gd name="T15" fmla="*/ 1032 h 1618"/>
                    <a:gd name="T16" fmla="*/ 1031 w 1404"/>
                    <a:gd name="T17" fmla="*/ 1618 h 1618"/>
                    <a:gd name="T18" fmla="*/ 1394 w 1404"/>
                    <a:gd name="T19" fmla="*/ 1618 h 1618"/>
                    <a:gd name="T20" fmla="*/ 1392 w 1404"/>
                    <a:gd name="T21" fmla="*/ 1032 h 1618"/>
                    <a:gd name="T22" fmla="*/ 1299 w 1404"/>
                    <a:gd name="T23" fmla="*/ 1022 h 1618"/>
                    <a:gd name="T24" fmla="*/ 1277 w 1404"/>
                    <a:gd name="T25" fmla="*/ 1608 h 1618"/>
                    <a:gd name="T26" fmla="*/ 776 w 1404"/>
                    <a:gd name="T27" fmla="*/ 1618 h 1618"/>
                    <a:gd name="T28" fmla="*/ 894 w 1404"/>
                    <a:gd name="T29" fmla="*/ 1608 h 1618"/>
                    <a:gd name="T30" fmla="*/ 871 w 1404"/>
                    <a:gd name="T31" fmla="*/ 1022 h 1618"/>
                    <a:gd name="T32" fmla="*/ 778 w 1404"/>
                    <a:gd name="T33" fmla="*/ 1032 h 1618"/>
                    <a:gd name="T34" fmla="*/ 776 w 1404"/>
                    <a:gd name="T35" fmla="*/ 1618 h 1618"/>
                    <a:gd name="T36" fmla="*/ 628 w 1404"/>
                    <a:gd name="T37" fmla="*/ 1618 h 1618"/>
                    <a:gd name="T38" fmla="*/ 626 w 1404"/>
                    <a:gd name="T39" fmla="*/ 1032 h 1618"/>
                    <a:gd name="T40" fmla="*/ 533 w 1404"/>
                    <a:gd name="T41" fmla="*/ 1022 h 1618"/>
                    <a:gd name="T42" fmla="*/ 510 w 1404"/>
                    <a:gd name="T43" fmla="*/ 1608 h 1618"/>
                    <a:gd name="T44" fmla="*/ 265 w 1404"/>
                    <a:gd name="T45" fmla="*/ 1618 h 1618"/>
                    <a:gd name="T46" fmla="*/ 383 w 1404"/>
                    <a:gd name="T47" fmla="*/ 1608 h 1618"/>
                    <a:gd name="T48" fmla="*/ 361 w 1404"/>
                    <a:gd name="T49" fmla="*/ 1022 h 1618"/>
                    <a:gd name="T50" fmla="*/ 267 w 1404"/>
                    <a:gd name="T51" fmla="*/ 1032 h 1618"/>
                    <a:gd name="T52" fmla="*/ 265 w 1404"/>
                    <a:gd name="T53" fmla="*/ 1618 h 1618"/>
                    <a:gd name="T54" fmla="*/ 702 w 1404"/>
                    <a:gd name="T55" fmla="*/ 368 h 1618"/>
                    <a:gd name="T56" fmla="*/ 727 w 1404"/>
                    <a:gd name="T57" fmla="*/ 200 h 1618"/>
                    <a:gd name="T58" fmla="*/ 1036 w 1404"/>
                    <a:gd name="T59" fmla="*/ 193 h 1618"/>
                    <a:gd name="T60" fmla="*/ 959 w 1404"/>
                    <a:gd name="T61" fmla="*/ 101 h 1618"/>
                    <a:gd name="T62" fmla="*/ 1040 w 1404"/>
                    <a:gd name="T63" fmla="*/ 11 h 1618"/>
                    <a:gd name="T64" fmla="*/ 720 w 1404"/>
                    <a:gd name="T65" fmla="*/ 0 h 1618"/>
                    <a:gd name="T66" fmla="*/ 681 w 1404"/>
                    <a:gd name="T67" fmla="*/ 0 h 1618"/>
                    <a:gd name="T68" fmla="*/ 675 w 1404"/>
                    <a:gd name="T69" fmla="*/ 193 h 1618"/>
                    <a:gd name="T70" fmla="*/ 675 w 1404"/>
                    <a:gd name="T71" fmla="*/ 368 h 1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1404" h="1618">
                      <a:moveTo>
                        <a:pt x="0" y="1608"/>
                      </a:moveTo>
                      <a:cubicBezTo>
                        <a:pt x="12" y="1032"/>
                        <a:pt x="12" y="1032"/>
                        <a:pt x="12" y="1032"/>
                      </a:cubicBezTo>
                      <a:cubicBezTo>
                        <a:pt x="12" y="1027"/>
                        <a:pt x="16" y="1022"/>
                        <a:pt x="22" y="1022"/>
                      </a:cubicBezTo>
                      <a:cubicBezTo>
                        <a:pt x="105" y="1022"/>
                        <a:pt x="105" y="1022"/>
                        <a:pt x="105" y="1022"/>
                      </a:cubicBezTo>
                      <a:cubicBezTo>
                        <a:pt x="111" y="1022"/>
                        <a:pt x="115" y="1027"/>
                        <a:pt x="115" y="1032"/>
                      </a:cubicBezTo>
                      <a:cubicBezTo>
                        <a:pt x="127" y="1608"/>
                        <a:pt x="127" y="1608"/>
                        <a:pt x="127" y="1608"/>
                      </a:cubicBezTo>
                      <a:cubicBezTo>
                        <a:pt x="127" y="1613"/>
                        <a:pt x="123" y="1618"/>
                        <a:pt x="117" y="1618"/>
                      </a:cubicBezTo>
                      <a:cubicBezTo>
                        <a:pt x="10" y="1618"/>
                        <a:pt x="10" y="1618"/>
                        <a:pt x="10" y="1618"/>
                      </a:cubicBezTo>
                      <a:cubicBezTo>
                        <a:pt x="4" y="1618"/>
                        <a:pt x="0" y="1613"/>
                        <a:pt x="0" y="1608"/>
                      </a:cubicBezTo>
                      <a:close/>
                      <a:moveTo>
                        <a:pt x="1031" y="1618"/>
                      </a:moveTo>
                      <a:cubicBezTo>
                        <a:pt x="1139" y="1618"/>
                        <a:pt x="1139" y="1618"/>
                        <a:pt x="1139" y="1618"/>
                      </a:cubicBezTo>
                      <a:cubicBezTo>
                        <a:pt x="1144" y="1618"/>
                        <a:pt x="1149" y="1613"/>
                        <a:pt x="1149" y="1608"/>
                      </a:cubicBezTo>
                      <a:cubicBezTo>
                        <a:pt x="1137" y="1032"/>
                        <a:pt x="1137" y="1032"/>
                        <a:pt x="1137" y="1032"/>
                      </a:cubicBezTo>
                      <a:cubicBezTo>
                        <a:pt x="1137" y="1027"/>
                        <a:pt x="1132" y="1022"/>
                        <a:pt x="1127" y="1022"/>
                      </a:cubicBezTo>
                      <a:cubicBezTo>
                        <a:pt x="1043" y="1022"/>
                        <a:pt x="1043" y="1022"/>
                        <a:pt x="1043" y="1022"/>
                      </a:cubicBezTo>
                      <a:cubicBezTo>
                        <a:pt x="1038" y="1022"/>
                        <a:pt x="1033" y="1027"/>
                        <a:pt x="1033" y="1032"/>
                      </a:cubicBezTo>
                      <a:cubicBezTo>
                        <a:pt x="1021" y="1608"/>
                        <a:pt x="1021" y="1608"/>
                        <a:pt x="1021" y="1608"/>
                      </a:cubicBezTo>
                      <a:cubicBezTo>
                        <a:pt x="1021" y="1613"/>
                        <a:pt x="1026" y="1618"/>
                        <a:pt x="1031" y="1618"/>
                      </a:cubicBezTo>
                      <a:close/>
                      <a:moveTo>
                        <a:pt x="1287" y="1618"/>
                      </a:moveTo>
                      <a:cubicBezTo>
                        <a:pt x="1394" y="1618"/>
                        <a:pt x="1394" y="1618"/>
                        <a:pt x="1394" y="1618"/>
                      </a:cubicBezTo>
                      <a:cubicBezTo>
                        <a:pt x="1400" y="1618"/>
                        <a:pt x="1404" y="1613"/>
                        <a:pt x="1404" y="1608"/>
                      </a:cubicBezTo>
                      <a:cubicBezTo>
                        <a:pt x="1392" y="1032"/>
                        <a:pt x="1392" y="1032"/>
                        <a:pt x="1392" y="1032"/>
                      </a:cubicBezTo>
                      <a:cubicBezTo>
                        <a:pt x="1392" y="1027"/>
                        <a:pt x="1388" y="1022"/>
                        <a:pt x="1382" y="1022"/>
                      </a:cubicBezTo>
                      <a:cubicBezTo>
                        <a:pt x="1299" y="1022"/>
                        <a:pt x="1299" y="1022"/>
                        <a:pt x="1299" y="1022"/>
                      </a:cubicBezTo>
                      <a:cubicBezTo>
                        <a:pt x="1293" y="1022"/>
                        <a:pt x="1289" y="1027"/>
                        <a:pt x="1289" y="1032"/>
                      </a:cubicBezTo>
                      <a:cubicBezTo>
                        <a:pt x="1277" y="1608"/>
                        <a:pt x="1277" y="1608"/>
                        <a:pt x="1277" y="1608"/>
                      </a:cubicBezTo>
                      <a:cubicBezTo>
                        <a:pt x="1277" y="1613"/>
                        <a:pt x="1281" y="1618"/>
                        <a:pt x="1287" y="1618"/>
                      </a:cubicBezTo>
                      <a:close/>
                      <a:moveTo>
                        <a:pt x="776" y="1618"/>
                      </a:moveTo>
                      <a:cubicBezTo>
                        <a:pt x="883" y="1618"/>
                        <a:pt x="883" y="1618"/>
                        <a:pt x="883" y="1618"/>
                      </a:cubicBezTo>
                      <a:cubicBezTo>
                        <a:pt x="889" y="1618"/>
                        <a:pt x="894" y="1613"/>
                        <a:pt x="894" y="1608"/>
                      </a:cubicBezTo>
                      <a:cubicBezTo>
                        <a:pt x="881" y="1032"/>
                        <a:pt x="881" y="1032"/>
                        <a:pt x="881" y="1032"/>
                      </a:cubicBezTo>
                      <a:cubicBezTo>
                        <a:pt x="881" y="1027"/>
                        <a:pt x="877" y="1022"/>
                        <a:pt x="871" y="1022"/>
                      </a:cubicBezTo>
                      <a:cubicBezTo>
                        <a:pt x="788" y="1022"/>
                        <a:pt x="788" y="1022"/>
                        <a:pt x="788" y="1022"/>
                      </a:cubicBezTo>
                      <a:cubicBezTo>
                        <a:pt x="782" y="1022"/>
                        <a:pt x="778" y="1027"/>
                        <a:pt x="778" y="1032"/>
                      </a:cubicBezTo>
                      <a:cubicBezTo>
                        <a:pt x="766" y="1608"/>
                        <a:pt x="766" y="1608"/>
                        <a:pt x="766" y="1608"/>
                      </a:cubicBezTo>
                      <a:cubicBezTo>
                        <a:pt x="766" y="1613"/>
                        <a:pt x="770" y="1618"/>
                        <a:pt x="776" y="1618"/>
                      </a:cubicBezTo>
                      <a:close/>
                      <a:moveTo>
                        <a:pt x="521" y="1618"/>
                      </a:moveTo>
                      <a:cubicBezTo>
                        <a:pt x="628" y="1618"/>
                        <a:pt x="628" y="1618"/>
                        <a:pt x="628" y="1618"/>
                      </a:cubicBezTo>
                      <a:cubicBezTo>
                        <a:pt x="634" y="1618"/>
                        <a:pt x="638" y="1613"/>
                        <a:pt x="638" y="1608"/>
                      </a:cubicBezTo>
                      <a:cubicBezTo>
                        <a:pt x="626" y="1032"/>
                        <a:pt x="626" y="1032"/>
                        <a:pt x="626" y="1032"/>
                      </a:cubicBezTo>
                      <a:cubicBezTo>
                        <a:pt x="626" y="1027"/>
                        <a:pt x="622" y="1022"/>
                        <a:pt x="616" y="1022"/>
                      </a:cubicBezTo>
                      <a:cubicBezTo>
                        <a:pt x="533" y="1022"/>
                        <a:pt x="533" y="1022"/>
                        <a:pt x="533" y="1022"/>
                      </a:cubicBezTo>
                      <a:cubicBezTo>
                        <a:pt x="527" y="1022"/>
                        <a:pt x="523" y="1027"/>
                        <a:pt x="523" y="1032"/>
                      </a:cubicBezTo>
                      <a:cubicBezTo>
                        <a:pt x="510" y="1608"/>
                        <a:pt x="510" y="1608"/>
                        <a:pt x="510" y="1608"/>
                      </a:cubicBezTo>
                      <a:cubicBezTo>
                        <a:pt x="510" y="1613"/>
                        <a:pt x="515" y="1618"/>
                        <a:pt x="521" y="1618"/>
                      </a:cubicBezTo>
                      <a:close/>
                      <a:moveTo>
                        <a:pt x="265" y="1618"/>
                      </a:moveTo>
                      <a:cubicBezTo>
                        <a:pt x="373" y="1618"/>
                        <a:pt x="373" y="1618"/>
                        <a:pt x="373" y="1618"/>
                      </a:cubicBezTo>
                      <a:cubicBezTo>
                        <a:pt x="378" y="1618"/>
                        <a:pt x="383" y="1613"/>
                        <a:pt x="383" y="1608"/>
                      </a:cubicBezTo>
                      <a:cubicBezTo>
                        <a:pt x="371" y="1032"/>
                        <a:pt x="371" y="1032"/>
                        <a:pt x="371" y="1032"/>
                      </a:cubicBezTo>
                      <a:cubicBezTo>
                        <a:pt x="371" y="1027"/>
                        <a:pt x="366" y="1022"/>
                        <a:pt x="361" y="1022"/>
                      </a:cubicBezTo>
                      <a:cubicBezTo>
                        <a:pt x="277" y="1022"/>
                        <a:pt x="277" y="1022"/>
                        <a:pt x="277" y="1022"/>
                      </a:cubicBezTo>
                      <a:cubicBezTo>
                        <a:pt x="272" y="1022"/>
                        <a:pt x="267" y="1027"/>
                        <a:pt x="267" y="1032"/>
                      </a:cubicBezTo>
                      <a:cubicBezTo>
                        <a:pt x="255" y="1608"/>
                        <a:pt x="255" y="1608"/>
                        <a:pt x="255" y="1608"/>
                      </a:cubicBezTo>
                      <a:cubicBezTo>
                        <a:pt x="255" y="1613"/>
                        <a:pt x="260" y="1618"/>
                        <a:pt x="265" y="1618"/>
                      </a:cubicBezTo>
                      <a:close/>
                      <a:moveTo>
                        <a:pt x="675" y="368"/>
                      </a:moveTo>
                      <a:cubicBezTo>
                        <a:pt x="684" y="368"/>
                        <a:pt x="693" y="368"/>
                        <a:pt x="702" y="368"/>
                      </a:cubicBezTo>
                      <a:cubicBezTo>
                        <a:pt x="710" y="368"/>
                        <a:pt x="718" y="368"/>
                        <a:pt x="727" y="368"/>
                      </a:cubicBezTo>
                      <a:cubicBezTo>
                        <a:pt x="727" y="200"/>
                        <a:pt x="727" y="200"/>
                        <a:pt x="727" y="200"/>
                      </a:cubicBezTo>
                      <a:cubicBezTo>
                        <a:pt x="727" y="196"/>
                        <a:pt x="730" y="193"/>
                        <a:pt x="733" y="193"/>
                      </a:cubicBezTo>
                      <a:cubicBezTo>
                        <a:pt x="1036" y="193"/>
                        <a:pt x="1036" y="193"/>
                        <a:pt x="1036" y="193"/>
                      </a:cubicBezTo>
                      <a:cubicBezTo>
                        <a:pt x="1042" y="193"/>
                        <a:pt x="1044" y="186"/>
                        <a:pt x="1040" y="182"/>
                      </a:cubicBezTo>
                      <a:cubicBezTo>
                        <a:pt x="959" y="101"/>
                        <a:pt x="959" y="101"/>
                        <a:pt x="959" y="101"/>
                      </a:cubicBezTo>
                      <a:cubicBezTo>
                        <a:pt x="957" y="99"/>
                        <a:pt x="957" y="95"/>
                        <a:pt x="959" y="92"/>
                      </a:cubicBezTo>
                      <a:cubicBezTo>
                        <a:pt x="1040" y="11"/>
                        <a:pt x="1040" y="11"/>
                        <a:pt x="1040" y="11"/>
                      </a:cubicBezTo>
                      <a:cubicBezTo>
                        <a:pt x="1044" y="7"/>
                        <a:pt x="1042" y="0"/>
                        <a:pt x="1036" y="0"/>
                      </a:cubicBezTo>
                      <a:cubicBezTo>
                        <a:pt x="720" y="0"/>
                        <a:pt x="720" y="0"/>
                        <a:pt x="720" y="0"/>
                      </a:cubicBezTo>
                      <a:cubicBezTo>
                        <a:pt x="681" y="0"/>
                        <a:pt x="681" y="0"/>
                        <a:pt x="681" y="0"/>
                      </a:cubicBezTo>
                      <a:cubicBezTo>
                        <a:pt x="681" y="0"/>
                        <a:pt x="681" y="0"/>
                        <a:pt x="681" y="0"/>
                      </a:cubicBezTo>
                      <a:cubicBezTo>
                        <a:pt x="678" y="0"/>
                        <a:pt x="675" y="3"/>
                        <a:pt x="675" y="7"/>
                      </a:cubicBezTo>
                      <a:cubicBezTo>
                        <a:pt x="675" y="193"/>
                        <a:pt x="675" y="193"/>
                        <a:pt x="675" y="193"/>
                      </a:cubicBezTo>
                      <a:cubicBezTo>
                        <a:pt x="675" y="193"/>
                        <a:pt x="675" y="193"/>
                        <a:pt x="675" y="193"/>
                      </a:cubicBezTo>
                      <a:lnTo>
                        <a:pt x="675" y="368"/>
                      </a:lnTo>
                      <a:close/>
                    </a:path>
                  </a:pathLst>
                </a:custGeom>
                <a:solidFill>
                  <a:srgbClr val="00269E">
                    <a:lumMod val="10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047514F-8047-4B78-85C1-863010568C13}"/>
              </a:ext>
            </a:extLst>
          </p:cNvPr>
          <p:cNvSpPr/>
          <p:nvPr/>
        </p:nvSpPr>
        <p:spPr>
          <a:xfrm>
            <a:off x="0" y="1525252"/>
            <a:ext cx="4401179" cy="4652387"/>
          </a:xfrm>
          <a:prstGeom prst="rect">
            <a:avLst/>
          </a:prstGeom>
          <a:solidFill>
            <a:schemeClr val="bg1">
              <a:alpha val="7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C87276CC-30C7-4D3E-87AE-1736B72E7741}"/>
              </a:ext>
            </a:extLst>
          </p:cNvPr>
          <p:cNvSpPr/>
          <p:nvPr/>
        </p:nvSpPr>
        <p:spPr>
          <a:xfrm>
            <a:off x="4373881" y="4002954"/>
            <a:ext cx="2260600" cy="2174685"/>
          </a:xfrm>
          <a:prstGeom prst="rect">
            <a:avLst/>
          </a:prstGeom>
          <a:solidFill>
            <a:schemeClr val="bg1">
              <a:alpha val="7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1C8F5E80-54CB-4C2B-9FD8-7DDBA65566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ARPA workforce strategy, and how Market Makers support it</a:t>
            </a:r>
          </a:p>
        </p:txBody>
      </p:sp>
      <p:sp>
        <p:nvSpPr>
          <p:cNvPr id="65" name="Isosceles Triangle 64">
            <a:extLst>
              <a:ext uri="{FF2B5EF4-FFF2-40B4-BE49-F238E27FC236}">
                <a16:creationId xmlns:a16="http://schemas.microsoft.com/office/drawing/2014/main" id="{3EE721B0-8A71-499C-A3F4-6C4D4303D190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9" name="Oval 20">
            <a:extLst>
              <a:ext uri="{FF2B5EF4-FFF2-40B4-BE49-F238E27FC236}">
                <a16:creationId xmlns:a16="http://schemas.microsoft.com/office/drawing/2014/main" id="{DF2E24DB-64E1-43FC-8774-9CFAA63B859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B002096E-E081-4CB3-BF91-644B995D3557}"/>
              </a:ext>
            </a:extLst>
          </p:cNvPr>
          <p:cNvSpPr/>
          <p:nvPr/>
        </p:nvSpPr>
        <p:spPr>
          <a:xfrm>
            <a:off x="4363940" y="1497204"/>
            <a:ext cx="2260600" cy="2532185"/>
          </a:xfrm>
          <a:prstGeom prst="rect">
            <a:avLst/>
          </a:prstGeom>
          <a:noFill/>
          <a:ln w="9525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7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72A0D6D-F592-401C-A294-04C4849C94FE}"/>
              </a:ext>
            </a:extLst>
          </p:cNvPr>
          <p:cNvSpPr/>
          <p:nvPr/>
        </p:nvSpPr>
        <p:spPr>
          <a:xfrm>
            <a:off x="7375367" y="2191797"/>
            <a:ext cx="4380086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orkforce Competitiveness Trust Fund (WCTF)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AFDB314-E3CD-4E37-A95B-8B865826C652}"/>
              </a:ext>
            </a:extLst>
          </p:cNvPr>
          <p:cNvSpPr/>
          <p:nvPr/>
        </p:nvSpPr>
        <p:spPr>
          <a:xfrm>
            <a:off x="7531266" y="2625437"/>
            <a:ext cx="3874188" cy="27432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Career Technical Initiative (CTI)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98E8B6A-1682-4DA9-A61B-F790B8E2C9AC}"/>
              </a:ext>
            </a:extLst>
          </p:cNvPr>
          <p:cNvSpPr/>
          <p:nvPr/>
        </p:nvSpPr>
        <p:spPr>
          <a:xfrm>
            <a:off x="7696866" y="2968311"/>
            <a:ext cx="3961363" cy="830997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Replenishing Employer 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iNvestment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 in Education and Workforce Training (RENEW)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8D8C6E43-4055-47EA-9183-2F98EEAF14B2}"/>
              </a:ext>
            </a:extLst>
          </p:cNvPr>
          <p:cNvSpPr/>
          <p:nvPr/>
        </p:nvSpPr>
        <p:spPr>
          <a:xfrm>
            <a:off x="8046332" y="3798327"/>
            <a:ext cx="3596034" cy="615553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ctr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orkforce Training Fund Programs (</a:t>
            </a:r>
            <a:r>
              <a:rPr lang="en-US" sz="1400" dirty="0" err="1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WTFP</a:t>
            </a: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)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4D54374-182A-4CAD-8457-2804AD37380C}"/>
              </a:ext>
            </a:extLst>
          </p:cNvPr>
          <p:cNvSpPr/>
          <p:nvPr/>
        </p:nvSpPr>
        <p:spPr>
          <a:xfrm>
            <a:off x="8294669" y="4394831"/>
            <a:ext cx="3611731" cy="400110"/>
          </a:xfrm>
          <a:prstGeom prst="rect">
            <a:avLst/>
          </a:prstGeom>
          <a:grpFill/>
          <a:ln w="381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8100" cap="flat" cmpd="sng" algn="ctr">
                <a:gradFill flip="none" rotWithShape="1">
                  <a:gsLst>
                    <a:gs pos="0">
                      <a:schemeClr val="tx1"/>
                    </a:gs>
                    <a:gs pos="100000">
                      <a:schemeClr val="accent5"/>
                    </a:gs>
                  </a:gsLst>
                  <a:lin ang="2700000" scaled="1"/>
                  <a:tileRect/>
                </a:gra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91440" rIns="91440" bIns="91440" rtlCol="0" anchor="t">
            <a:spAutoFit/>
          </a:bodyPr>
          <a:lstStyle/>
          <a:p>
            <a:pPr marL="378000" lvl="1" indent="-252000">
              <a:buClr>
                <a:srgbClr val="00269E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1400" dirty="0">
                <a:solidFill>
                  <a:srgbClr val="000000">
                    <a:lumMod val="100000"/>
                  </a:srgbClr>
                </a:solidFill>
                <a:latin typeface="Arial" panose="020B0604020202020204" pitchFamily="34" charset="0"/>
              </a:rPr>
              <a:t>Healthcare/Manufacturing Hub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26725E3D-0BA8-42BD-B7B3-4E49295FCC54}"/>
              </a:ext>
            </a:extLst>
          </p:cNvPr>
          <p:cNvSpPr/>
          <p:nvPr/>
        </p:nvSpPr>
        <p:spPr>
          <a:xfrm>
            <a:off x="6620720" y="1515313"/>
            <a:ext cx="5120463" cy="4652387"/>
          </a:xfrm>
          <a:prstGeom prst="rect">
            <a:avLst/>
          </a:prstGeom>
          <a:solidFill>
            <a:schemeClr val="bg1">
              <a:alpha val="7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145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4B0C60-90C3-4B11-9088-5944CB0D0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124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4B0C60-90C3-4B11-9088-5944CB0D0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24364D6-0FA9-4E28-86EE-C0AAF7297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mployer engagement guidebook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C9E7037-E5C2-44F0-91AE-E12883944199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20">
            <a:extLst>
              <a:ext uri="{FF2B5EF4-FFF2-40B4-BE49-F238E27FC236}">
                <a16:creationId xmlns:a16="http://schemas.microsoft.com/office/drawing/2014/main" id="{A6653CA6-CE84-4FBF-B0A1-B330773FA68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53589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04E636A-9107-41D6-9F0B-5EFEB40C4C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228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04E636A-9107-41D6-9F0B-5EFEB40C4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E93C4F-E715-4E60-B7F7-09D6E7476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532027"/>
            <a:ext cx="10021542" cy="609398"/>
          </a:xfrm>
        </p:spPr>
        <p:txBody>
          <a:bodyPr vert="horz"/>
          <a:lstStyle/>
          <a:p>
            <a:r>
              <a:rPr lang="en-US" sz="2200"/>
              <a:t>Employer engagement guidebook is a standalone document providing Market Makers resources to successfully navigate employer engagements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9432FBBF-417C-4363-932C-CEB4F755F9B1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6FAB7CD8-E2DD-4899-8ACC-9CD0A59A88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68923C-7E25-4C59-AB3F-1144C0EADE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304800"/>
            <a:ext cx="10006533" cy="228600"/>
          </a:xfrm>
        </p:spPr>
        <p:txBody>
          <a:bodyPr/>
          <a:lstStyle/>
          <a:p>
            <a:r>
              <a:rPr lang="en-US"/>
              <a:t>Employer engagement guidebook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B35838F-29CD-4E2D-86FE-23CDF174F8E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684" y="1626029"/>
            <a:ext cx="7018710" cy="4000500"/>
          </a:xfrm>
          <a:prstGeom prst="rect">
            <a:avLst/>
          </a:prstGeom>
          <a:effectLst>
            <a:outerShdw blurRad="76200" dist="50800" dir="3000000" algn="ctr" rotWithShape="0">
              <a:srgbClr val="000000">
                <a:alpha val="77000"/>
              </a:srgbClr>
            </a:outerShdw>
          </a:effec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42BF0B74-ED30-401B-BC44-E03662D6DCC6}"/>
              </a:ext>
            </a:extLst>
          </p:cNvPr>
          <p:cNvSpPr txBox="1"/>
          <p:nvPr/>
        </p:nvSpPr>
        <p:spPr>
          <a:xfrm>
            <a:off x="7790409" y="1590186"/>
            <a:ext cx="4187129" cy="42780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>
                <a:solidFill>
                  <a:srgbClr val="00269E"/>
                </a:solidFill>
              </a:rPr>
              <a:t>Employer engagement guidebook </a:t>
            </a:r>
            <a:r>
              <a:rPr lang="en-US" sz="1600">
                <a:solidFill>
                  <a:srgbClr val="000000"/>
                </a:solidFill>
              </a:rPr>
              <a:t>was created to help Commonwealth employees and partners </a:t>
            </a:r>
            <a:r>
              <a:rPr lang="en-US" sz="1600" b="1">
                <a:solidFill>
                  <a:srgbClr val="001042"/>
                </a:solidFill>
              </a:rPr>
              <a:t>navigate the roll out of new </a:t>
            </a:r>
            <a:r>
              <a:rPr lang="en-US" sz="1600" b="1" err="1">
                <a:solidFill>
                  <a:srgbClr val="001042"/>
                </a:solidFill>
              </a:rPr>
              <a:t>ARPA</a:t>
            </a:r>
            <a:r>
              <a:rPr lang="en-US" sz="1600" b="1">
                <a:solidFill>
                  <a:srgbClr val="001042"/>
                </a:solidFill>
              </a:rPr>
              <a:t> funded programs</a:t>
            </a:r>
            <a:r>
              <a:rPr lang="en-US" sz="1600">
                <a:solidFill>
                  <a:srgbClr val="000000"/>
                </a:solidFill>
              </a:rPr>
              <a:t>, particularly for </a:t>
            </a:r>
            <a:r>
              <a:rPr lang="en-US" sz="1600" b="1">
                <a:solidFill>
                  <a:srgbClr val="001042"/>
                </a:solidFill>
              </a:rPr>
              <a:t>Market Makers </a:t>
            </a:r>
            <a:r>
              <a:rPr lang="en-US" sz="1600">
                <a:solidFill>
                  <a:srgbClr val="000000"/>
                </a:solidFill>
              </a:rPr>
              <a:t>when </a:t>
            </a:r>
            <a:r>
              <a:rPr lang="en-US" sz="1600" b="1">
                <a:solidFill>
                  <a:srgbClr val="001042"/>
                </a:solidFill>
              </a:rPr>
              <a:t>engaging and supporting employers</a:t>
            </a:r>
            <a:r>
              <a:rPr lang="en-US" sz="1600">
                <a:solidFill>
                  <a:srgbClr val="000000"/>
                </a:solidFill>
              </a:rPr>
              <a:t>.</a:t>
            </a:r>
          </a:p>
          <a:p>
            <a:pPr algn="ctr"/>
            <a:endParaRPr lang="en-US" sz="1600">
              <a:solidFill>
                <a:srgbClr val="000000"/>
              </a:solidFill>
            </a:endParaRPr>
          </a:p>
          <a:p>
            <a:pPr algn="ctr"/>
            <a:r>
              <a:rPr lang="en-US" sz="1600" b="1">
                <a:solidFill>
                  <a:srgbClr val="00269E"/>
                </a:solidFill>
              </a:rPr>
              <a:t>Guidebook resources include:</a:t>
            </a:r>
          </a:p>
          <a:p>
            <a:pPr algn="ctr"/>
            <a:endParaRPr lang="en-US" sz="1600">
              <a:solidFill>
                <a:srgbClr val="000000"/>
              </a:solidFill>
            </a:endParaRP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 b="1">
                <a:solidFill>
                  <a:srgbClr val="001042"/>
                </a:solidFill>
              </a:rPr>
              <a:t>Steps and roles </a:t>
            </a:r>
            <a:r>
              <a:rPr lang="en-US" sz="1600">
                <a:solidFill>
                  <a:srgbClr val="000000"/>
                </a:solidFill>
              </a:rPr>
              <a:t>to engage employers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 b="1">
                <a:solidFill>
                  <a:srgbClr val="001042"/>
                </a:solidFill>
              </a:rPr>
              <a:t>Example employer engagements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 b="1">
                <a:solidFill>
                  <a:srgbClr val="001042"/>
                </a:solidFill>
              </a:rPr>
              <a:t>Employer-ready materials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 b="1">
                <a:solidFill>
                  <a:srgbClr val="001042"/>
                </a:solidFill>
              </a:rPr>
              <a:t>Support options </a:t>
            </a:r>
            <a:r>
              <a:rPr lang="en-US" sz="1600">
                <a:solidFill>
                  <a:srgbClr val="000000"/>
                </a:solidFill>
              </a:rPr>
              <a:t>for immediate hiring, future pipeline, and upskilling incumbents</a:t>
            </a:r>
          </a:p>
          <a:p>
            <a:pPr algn="ctr"/>
            <a:endParaRPr lang="en-US" sz="1600">
              <a:solidFill>
                <a:srgbClr val="000000"/>
              </a:solidFill>
            </a:endParaRPr>
          </a:p>
          <a:p>
            <a:pPr algn="ctr"/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5A4A32C-4CCE-4223-AA47-292B7432D2CA}"/>
              </a:ext>
            </a:extLst>
          </p:cNvPr>
          <p:cNvSpPr txBox="1"/>
          <p:nvPr/>
        </p:nvSpPr>
        <p:spPr>
          <a:xfrm>
            <a:off x="1319212" y="5954772"/>
            <a:ext cx="9372600" cy="359228"/>
          </a:xfrm>
          <a:prstGeom prst="rect">
            <a:avLst/>
          </a:prstGeom>
          <a:solidFill>
            <a:schemeClr val="bg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001042"/>
                </a:solidFill>
              </a:rPr>
              <a:t>Employer engagement guidebook should be used in conjunction with this guide</a:t>
            </a:r>
          </a:p>
        </p:txBody>
      </p:sp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0CF771CB-B9C1-466B-A5D3-D22C60577B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312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86" imgH="286" progId="TCLayout.ActiveDocument.1">
                  <p:embed/>
                </p:oleObj>
              </mc:Choice>
              <mc:Fallback>
                <p:oleObj name="think-cell Slide" r:id="rId8" imgW="286" imgH="286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0CF771CB-B9C1-466B-A5D3-D22C60577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6" name="Group 45">
            <a:extLst>
              <a:ext uri="{FF2B5EF4-FFF2-40B4-BE49-F238E27FC236}">
                <a16:creationId xmlns:a16="http://schemas.microsoft.com/office/drawing/2014/main" id="{045625B2-A195-4CE2-9757-E92A2CEE78FD}"/>
              </a:ext>
            </a:extLst>
          </p:cNvPr>
          <p:cNvGrpSpPr/>
          <p:nvPr/>
        </p:nvGrpSpPr>
        <p:grpSpPr>
          <a:xfrm>
            <a:off x="7637323" y="1626029"/>
            <a:ext cx="306171" cy="4079081"/>
            <a:chOff x="5942914" y="2081213"/>
            <a:chExt cx="306171" cy="4079081"/>
          </a:xfrm>
        </p:grpSpPr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7620A0F2-A290-4781-9B9F-BA49F3FDCD9F}"/>
                </a:ext>
              </a:extLst>
            </p:cNvPr>
            <p:cNvCxnSpPr/>
            <p:nvPr/>
          </p:nvCxnSpPr>
          <p:spPr>
            <a:xfrm>
              <a:off x="6096000" y="2081213"/>
              <a:ext cx="0" cy="4079081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06DA5B05-AE66-4146-824F-3746D635BC16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49" name="Freeform 94">
                <a:extLst>
                  <a:ext uri="{FF2B5EF4-FFF2-40B4-BE49-F238E27FC236}">
                    <a16:creationId xmlns:a16="http://schemas.microsoft.com/office/drawing/2014/main" id="{D9B09209-CCE2-4432-9AE3-C1FA74B542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solidFill>
                  <a:srgbClr val="00269E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  <p:sp>
            <p:nvSpPr>
              <p:cNvPr id="50" name="Freeform 95">
                <a:extLst>
                  <a:ext uri="{FF2B5EF4-FFF2-40B4-BE49-F238E27FC236}">
                    <a16:creationId xmlns:a16="http://schemas.microsoft.com/office/drawing/2014/main" id="{0A2D0E18-DBF9-47B9-9874-0DC7D7F014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2104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8A3A940-8F7F-4ACA-96FF-E026D46AAB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128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8A3A940-8F7F-4ACA-96FF-E026D46AA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6B67702-5E2C-4268-B0B8-F03A5A1D4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rgbClr val="FF0000"/>
                </a:solidFill>
              </a:rPr>
              <a:t>Preview: </a:t>
            </a:r>
            <a:r>
              <a:rPr lang="en-US"/>
              <a:t>Materials available in each guidebook sec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BCA29C-E6C0-488B-B11B-DF42A690832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6" name="Table 17">
            <a:extLst>
              <a:ext uri="{FF2B5EF4-FFF2-40B4-BE49-F238E27FC236}">
                <a16:creationId xmlns:a16="http://schemas.microsoft.com/office/drawing/2014/main" id="{E1F90182-008A-4AA9-99E6-BFC04AEF91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124732"/>
              </p:ext>
            </p:extLst>
          </p:nvPr>
        </p:nvGraphicFramePr>
        <p:xfrm>
          <a:off x="474411" y="1587225"/>
          <a:ext cx="4824508" cy="4597128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4824508">
                  <a:extLst>
                    <a:ext uri="{9D8B030D-6E8A-4147-A177-3AD203B41FA5}">
                      <a16:colId xmlns:a16="http://schemas.microsoft.com/office/drawing/2014/main" val="133716192"/>
                    </a:ext>
                  </a:extLst>
                </a:gridCol>
              </a:tblGrid>
              <a:tr h="383094">
                <a:tc>
                  <a:txBody>
                    <a:bodyPr/>
                    <a:lstStyle/>
                    <a:p>
                      <a:pPr marL="522000" lvl="2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are the steps and roles to engage employers?</a:t>
                      </a:r>
                    </a:p>
                  </a:txBody>
                  <a:tcPr marL="0" marR="72000" marT="73152" marB="73152" anchor="ctr">
                    <a:lnL>
                      <a:noFill/>
                    </a:lnL>
                    <a:lnR>
                      <a:noFill/>
                    </a:lnR>
                    <a:lnT w="9525">
                      <a:noFill/>
                      <a:prstDash val="soli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30987373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522000" lvl="2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are the actions by step / role when engaging employers?</a:t>
                      </a:r>
                    </a:p>
                  </a:txBody>
                  <a:tcPr marL="0" marR="72000" marT="73152" marB="73152" anchor="ctr">
                    <a:lnT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664957311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52200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69E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example employer engagements exist?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1018867284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522000" lvl="2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materials are available when engaging employers?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550062129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979200" lvl="3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Initial engagement materials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1619565910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979200" lvl="3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orkforce need intake form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2726974957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979200" lvl="3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orkforce need support plan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4275779177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979200" lvl="3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Internal employer tracker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2117958278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979200" lvl="3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Action Plan Tracker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2473980015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522000" lvl="2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support options exist for immediate hiring?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1784728296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522000" lvl="2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support options exist for future pipeline?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112110217"/>
                  </a:ext>
                </a:extLst>
              </a:tr>
              <a:tr h="383094">
                <a:tc>
                  <a:txBody>
                    <a:bodyPr/>
                    <a:lstStyle/>
                    <a:p>
                      <a:pPr marL="522000" lvl="2" indent="0">
                        <a:buClr>
                          <a:srgbClr val="00269E"/>
                        </a:buClr>
                        <a:buFont typeface="+mj-lt"/>
                        <a:buNone/>
                      </a:pPr>
                      <a:r>
                        <a:rPr lang="en-US" sz="1200">
                          <a:solidFill>
                            <a:srgbClr val="000000"/>
                          </a:solidFill>
                        </a:rPr>
                        <a:t>What support options exist for upskilling incumbents?</a:t>
                      </a:r>
                    </a:p>
                  </a:txBody>
                  <a:tcPr marL="0" marR="72000" marT="73152" marB="73152" anchor="ctr"/>
                </a:tc>
                <a:extLst>
                  <a:ext uri="{0D108BD9-81ED-4DB2-BD59-A6C34878D82A}">
                    <a16:rowId xmlns:a16="http://schemas.microsoft.com/office/drawing/2014/main" val="116140331"/>
                  </a:ext>
                </a:extLst>
              </a:tr>
            </a:tbl>
          </a:graphicData>
        </a:graphic>
      </p:graphicFrame>
      <p:sp>
        <p:nvSpPr>
          <p:cNvPr id="37" name="Oval 20">
            <a:extLst>
              <a:ext uri="{FF2B5EF4-FFF2-40B4-BE49-F238E27FC236}">
                <a16:creationId xmlns:a16="http://schemas.microsoft.com/office/drawing/2014/main" id="{1A22FE5E-D831-428E-B441-F1959C16B8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83791" y="4320926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D</a:t>
            </a:r>
          </a:p>
        </p:txBody>
      </p:sp>
      <p:sp>
        <p:nvSpPr>
          <p:cNvPr id="38" name="Oval 20">
            <a:extLst>
              <a:ext uri="{FF2B5EF4-FFF2-40B4-BE49-F238E27FC236}">
                <a16:creationId xmlns:a16="http://schemas.microsoft.com/office/drawing/2014/main" id="{FDFAA8AF-0041-49E5-8E72-92CE058F8D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83791" y="3937832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39" name="Oval 20">
            <a:extLst>
              <a:ext uri="{FF2B5EF4-FFF2-40B4-BE49-F238E27FC236}">
                <a16:creationId xmlns:a16="http://schemas.microsoft.com/office/drawing/2014/main" id="{982C5C47-6191-47A3-9F34-55AC6F04A9C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83791" y="3554738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B</a:t>
            </a:r>
          </a:p>
        </p:txBody>
      </p:sp>
      <p:sp>
        <p:nvSpPr>
          <p:cNvPr id="40" name="Oval 20">
            <a:extLst>
              <a:ext uri="{FF2B5EF4-FFF2-40B4-BE49-F238E27FC236}">
                <a16:creationId xmlns:a16="http://schemas.microsoft.com/office/drawing/2014/main" id="{114DFF45-D32D-41BF-96B3-D2565DFBA87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2022362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1" name="Oval 20">
            <a:extLst>
              <a:ext uri="{FF2B5EF4-FFF2-40B4-BE49-F238E27FC236}">
                <a16:creationId xmlns:a16="http://schemas.microsoft.com/office/drawing/2014/main" id="{419037CD-44C0-43F5-B091-05C2D81DA5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1639268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42" name="Oval 20">
            <a:extLst>
              <a:ext uri="{FF2B5EF4-FFF2-40B4-BE49-F238E27FC236}">
                <a16:creationId xmlns:a16="http://schemas.microsoft.com/office/drawing/2014/main" id="{12BE681C-E791-421C-A4EB-FC885DD4CBC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83791" y="4704020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3" name="Oval 20">
            <a:extLst>
              <a:ext uri="{FF2B5EF4-FFF2-40B4-BE49-F238E27FC236}">
                <a16:creationId xmlns:a16="http://schemas.microsoft.com/office/drawing/2014/main" id="{81C269C3-38DC-4A2F-93B0-3C5E38D9D0B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5087114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44" name="Oval 20">
            <a:extLst>
              <a:ext uri="{FF2B5EF4-FFF2-40B4-BE49-F238E27FC236}">
                <a16:creationId xmlns:a16="http://schemas.microsoft.com/office/drawing/2014/main" id="{CD3BC035-D386-4066-846F-48B86AB6BAD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5470208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45" name="Oval 20">
            <a:extLst>
              <a:ext uri="{FF2B5EF4-FFF2-40B4-BE49-F238E27FC236}">
                <a16:creationId xmlns:a16="http://schemas.microsoft.com/office/drawing/2014/main" id="{1E7955E8-A078-423E-A373-B810B3F42D0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5853302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7</a:t>
            </a:r>
          </a:p>
        </p:txBody>
      </p:sp>
      <p:sp>
        <p:nvSpPr>
          <p:cNvPr id="46" name="Oval 20">
            <a:extLst>
              <a:ext uri="{FF2B5EF4-FFF2-40B4-BE49-F238E27FC236}">
                <a16:creationId xmlns:a16="http://schemas.microsoft.com/office/drawing/2014/main" id="{14F72C40-2C9F-4025-ADA6-FD4A7BEAF8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2405456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47" name="Oval 20">
            <a:extLst>
              <a:ext uri="{FF2B5EF4-FFF2-40B4-BE49-F238E27FC236}">
                <a16:creationId xmlns:a16="http://schemas.microsoft.com/office/drawing/2014/main" id="{B82C6090-3924-452F-BEEE-87A06BE418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83791" y="3171644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8" name="Oval 20">
            <a:extLst>
              <a:ext uri="{FF2B5EF4-FFF2-40B4-BE49-F238E27FC236}">
                <a16:creationId xmlns:a16="http://schemas.microsoft.com/office/drawing/2014/main" id="{3BC56D3B-345F-458E-B700-3A888C787A9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361" y="2788550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5184913-3941-4309-897F-377E6677DB7E}"/>
              </a:ext>
            </a:extLst>
          </p:cNvPr>
          <p:cNvGrpSpPr/>
          <p:nvPr/>
        </p:nvGrpSpPr>
        <p:grpSpPr>
          <a:xfrm>
            <a:off x="5242797" y="1587225"/>
            <a:ext cx="306171" cy="4486989"/>
            <a:chOff x="5942914" y="1877259"/>
            <a:chExt cx="306171" cy="4486989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2F220F51-C1CC-43F1-9DDB-548171B48B45}"/>
                </a:ext>
              </a:extLst>
            </p:cNvPr>
            <p:cNvCxnSpPr/>
            <p:nvPr/>
          </p:nvCxnSpPr>
          <p:spPr>
            <a:xfrm>
              <a:off x="6096000" y="1877259"/>
              <a:ext cx="0" cy="4486989"/>
            </a:xfrm>
            <a:prstGeom prst="line">
              <a:avLst/>
            </a:prstGeom>
            <a:ln w="9525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8DD5EB83-3A06-4AAA-A47E-AA284A7B6217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53" name="Freeform 94">
                <a:extLst>
                  <a:ext uri="{FF2B5EF4-FFF2-40B4-BE49-F238E27FC236}">
                    <a16:creationId xmlns:a16="http://schemas.microsoft.com/office/drawing/2014/main" id="{D17F04E2-8D02-44DD-86C6-1195AEA5C5A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solidFill>
                  <a:srgbClr val="00269E"/>
                </a:solidFill>
              </a:ln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  <p:sp>
            <p:nvSpPr>
              <p:cNvPr id="54" name="Freeform 95">
                <a:extLst>
                  <a:ext uri="{FF2B5EF4-FFF2-40B4-BE49-F238E27FC236}">
                    <a16:creationId xmlns:a16="http://schemas.microsoft.com/office/drawing/2014/main" id="{5CC6ED3B-FA3E-414A-AF9D-F6F6D474B6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66075C07-EEAC-49B1-BFC8-DBBB78497E85}"/>
              </a:ext>
            </a:extLst>
          </p:cNvPr>
          <p:cNvSpPr txBox="1"/>
          <p:nvPr/>
        </p:nvSpPr>
        <p:spPr>
          <a:xfrm>
            <a:off x="462684" y="1143001"/>
            <a:ext cx="5139981" cy="3709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>
                <a:solidFill>
                  <a:srgbClr val="00269E"/>
                </a:solidFill>
              </a:rPr>
              <a:t>Guidebook section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41DFF5A-68A6-4276-85AB-25796E13A6FE}"/>
              </a:ext>
            </a:extLst>
          </p:cNvPr>
          <p:cNvSpPr txBox="1"/>
          <p:nvPr/>
        </p:nvSpPr>
        <p:spPr>
          <a:xfrm>
            <a:off x="5536685" y="1143001"/>
            <a:ext cx="5139981" cy="3709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>
                <a:solidFill>
                  <a:srgbClr val="00269E"/>
                </a:solidFill>
              </a:rPr>
              <a:t>Materials by sec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EDF338-0253-435D-A9F4-A5B0362915B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652" y="1684935"/>
            <a:ext cx="1765947" cy="993345"/>
          </a:xfrm>
          <a:prstGeom prst="rect">
            <a:avLst/>
          </a:prstGeom>
          <a:solidFill>
            <a:srgbClr val="6E6F73"/>
          </a:solidFill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63" name="Oval 20">
            <a:extLst>
              <a:ext uri="{FF2B5EF4-FFF2-40B4-BE49-F238E27FC236}">
                <a16:creationId xmlns:a16="http://schemas.microsoft.com/office/drawing/2014/main" id="{303F5888-792C-4E43-8E83-F35CC9C506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66924" y="1537558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E0C5887D-393C-4148-B189-1A7E5693D1B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321" y="1684935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502634BD-1918-49CC-B536-CD23841AB58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5990" y="1684935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67" name="Oval 20">
            <a:extLst>
              <a:ext uri="{FF2B5EF4-FFF2-40B4-BE49-F238E27FC236}">
                <a16:creationId xmlns:a16="http://schemas.microsoft.com/office/drawing/2014/main" id="{D6DA0796-E49B-4EF1-B4B7-31417D9EDCE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56934" y="1537558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68" name="Oval 20">
            <a:extLst>
              <a:ext uri="{FF2B5EF4-FFF2-40B4-BE49-F238E27FC236}">
                <a16:creationId xmlns:a16="http://schemas.microsoft.com/office/drawing/2014/main" id="{60BE45BF-80EA-4064-AA5A-107E81B3579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23322" y="1537558"/>
            <a:ext cx="279009" cy="279009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E446060A-8046-434C-8CDE-6D03C0AC589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652" y="4107966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83" name="Oval 20">
            <a:extLst>
              <a:ext uri="{FF2B5EF4-FFF2-40B4-BE49-F238E27FC236}">
                <a16:creationId xmlns:a16="http://schemas.microsoft.com/office/drawing/2014/main" id="{9FFF8713-E74C-4150-AD27-68F4D22CA5F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66924" y="3975220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C</a:t>
            </a:r>
          </a:p>
        </p:txBody>
      </p:sp>
      <p:pic>
        <p:nvPicPr>
          <p:cNvPr id="85" name="Picture 84">
            <a:extLst>
              <a:ext uri="{FF2B5EF4-FFF2-40B4-BE49-F238E27FC236}">
                <a16:creationId xmlns:a16="http://schemas.microsoft.com/office/drawing/2014/main" id="{4AAF9EC2-D81C-4D2E-B59D-045F54D4ED2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321" y="4107966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86" name="Oval 20">
            <a:extLst>
              <a:ext uri="{FF2B5EF4-FFF2-40B4-BE49-F238E27FC236}">
                <a16:creationId xmlns:a16="http://schemas.microsoft.com/office/drawing/2014/main" id="{66A7D433-58C8-41C1-AA69-2B23B1D4CD9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56934" y="3975220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D</a:t>
            </a: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id="{A85C3620-E8BB-42B6-905F-EA40234D87B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5990" y="4101173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88" name="Oval 20">
            <a:extLst>
              <a:ext uri="{FF2B5EF4-FFF2-40B4-BE49-F238E27FC236}">
                <a16:creationId xmlns:a16="http://schemas.microsoft.com/office/drawing/2014/main" id="{0229A522-F3DF-4B4B-9AE9-9DEE975DE8F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23322" y="3975220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E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6ABB568E-E604-40F9-BC71-9B35C607E50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652" y="5333672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90" name="Oval 20">
            <a:extLst>
              <a:ext uri="{FF2B5EF4-FFF2-40B4-BE49-F238E27FC236}">
                <a16:creationId xmlns:a16="http://schemas.microsoft.com/office/drawing/2014/main" id="{0AD22F5F-E333-437B-B4F9-E215D5D446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66924" y="5200926"/>
            <a:ext cx="279009" cy="279009"/>
          </a:xfrm>
          <a:prstGeom prst="ellipse">
            <a:avLst/>
          </a:prstGeom>
          <a:solidFill>
            <a:srgbClr val="00269E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5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80515E6A-AF29-4BE8-8E34-B7736455B30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321" y="5333672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92" name="Oval 20">
            <a:extLst>
              <a:ext uri="{FF2B5EF4-FFF2-40B4-BE49-F238E27FC236}">
                <a16:creationId xmlns:a16="http://schemas.microsoft.com/office/drawing/2014/main" id="{8A141635-C4A0-44E3-BBD2-7D81DD7E603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56934" y="5200926"/>
            <a:ext cx="279009" cy="279009"/>
          </a:xfrm>
          <a:prstGeom prst="ellipse">
            <a:avLst/>
          </a:prstGeom>
          <a:solidFill>
            <a:srgbClr val="00269E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6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746BBC2F-F0C5-4DCA-9676-E1ADB7BCD07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5990" y="5326879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94" name="Oval 20">
            <a:extLst>
              <a:ext uri="{FF2B5EF4-FFF2-40B4-BE49-F238E27FC236}">
                <a16:creationId xmlns:a16="http://schemas.microsoft.com/office/drawing/2014/main" id="{2A584130-CFF9-4A84-B20E-DCBD14F2D8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23322" y="5200926"/>
            <a:ext cx="279009" cy="279009"/>
          </a:xfrm>
          <a:prstGeom prst="ellipse">
            <a:avLst/>
          </a:prstGeom>
          <a:solidFill>
            <a:srgbClr val="00269E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7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70A05EDB-EFA8-4829-B4E9-C2342D29356D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652" y="2872888"/>
            <a:ext cx="1765947" cy="993345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C250BD4-69B5-4EC6-820D-110D7D83BE8A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320" y="2882259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76" name="Oval 20">
            <a:extLst>
              <a:ext uri="{FF2B5EF4-FFF2-40B4-BE49-F238E27FC236}">
                <a16:creationId xmlns:a16="http://schemas.microsoft.com/office/drawing/2014/main" id="{49AE95D4-F2FD-4EEF-949B-A9E6B2C2EE9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766924" y="2777896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A</a:t>
            </a:r>
          </a:p>
        </p:txBody>
      </p:sp>
      <p:pic>
        <p:nvPicPr>
          <p:cNvPr id="80" name="Picture 79">
            <a:extLst>
              <a:ext uri="{FF2B5EF4-FFF2-40B4-BE49-F238E27FC236}">
                <a16:creationId xmlns:a16="http://schemas.microsoft.com/office/drawing/2014/main" id="{9F8FD028-F152-4056-A3BF-D0E6DA524B0D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5990" y="2872888"/>
            <a:ext cx="1765947" cy="993345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82" name="Oval 20">
            <a:extLst>
              <a:ext uri="{FF2B5EF4-FFF2-40B4-BE49-F238E27FC236}">
                <a16:creationId xmlns:a16="http://schemas.microsoft.com/office/drawing/2014/main" id="{6AB471DB-8F99-46E8-B76B-F784C40F0B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823322" y="2780920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B</a:t>
            </a:r>
          </a:p>
        </p:txBody>
      </p:sp>
      <p:sp>
        <p:nvSpPr>
          <p:cNvPr id="95" name="Oval 20">
            <a:extLst>
              <a:ext uri="{FF2B5EF4-FFF2-40B4-BE49-F238E27FC236}">
                <a16:creationId xmlns:a16="http://schemas.microsoft.com/office/drawing/2014/main" id="{D5D6EFA6-1C51-49E0-B0AF-A272859406B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756815" y="2777896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3742B06-EB25-4A8D-9E03-13ACAC57C498}"/>
              </a:ext>
            </a:extLst>
          </p:cNvPr>
          <p:cNvSpPr txBox="1"/>
          <p:nvPr/>
        </p:nvSpPr>
        <p:spPr>
          <a:xfrm>
            <a:off x="1319212" y="6359777"/>
            <a:ext cx="9372600" cy="359228"/>
          </a:xfrm>
          <a:prstGeom prst="rect">
            <a:avLst/>
          </a:prstGeom>
          <a:solidFill>
            <a:schemeClr val="bg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FF0000"/>
                </a:solidFill>
              </a:rPr>
              <a:t>Please refer to the Employer Engagement Guidebook for these resources</a:t>
            </a:r>
          </a:p>
        </p:txBody>
      </p:sp>
    </p:spTree>
    <p:extLst>
      <p:ext uri="{BB962C8B-B14F-4D97-AF65-F5344CB8AC3E}">
        <p14:creationId xmlns:p14="http://schemas.microsoft.com/office/powerpoint/2010/main" val="66108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166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33" name="Object 3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rgbClr val="FF0000"/>
                </a:solidFill>
              </a:rPr>
              <a:t>Preview: </a:t>
            </a:r>
            <a:r>
              <a:rPr lang="en-US"/>
              <a:t>Summary of employer engagement material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172D28-03D8-41C2-863C-B2597FB7BA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30001" y="1482571"/>
          <a:ext cx="10931883" cy="427961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2538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38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94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748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>
                            <a:lumMod val="100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  <a:sym typeface="Trebuchet MS" panose="020B0603020202020204" pitchFamily="34" charset="0"/>
                      </a:endParaRPr>
                    </a:p>
                  </a:txBody>
                  <a:tcPr marL="36000" marR="36000" marT="36000" marB="36000" anchor="ctr"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200" b="1" i="0" u="none" strike="noStrike" kern="120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Name</a:t>
                      </a:r>
                    </a:p>
                  </a:txBody>
                  <a:tcPr marL="54000" marR="54000" marT="54000" marB="54000" anchor="b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scription</a:t>
                      </a:r>
                    </a:p>
                  </a:txBody>
                  <a:tcPr marL="54000" marR="54000" marT="54000" marB="54000" anchor="b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66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36000" marT="36000" marB="36000" anchor="ctr"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rgbClr val="00269E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Trebuchet MS" panose="020B0603020202020204" pitchFamily="34" charset="0"/>
                        </a:rPr>
                        <a:t>Initial engagement materia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mpiled materials to share during initial employer meeting that covers what the Commonwealth resources and how to move forward with suppor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79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rgbClr val="00269E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Trebuchet MS" panose="020B0603020202020204" pitchFamily="34" charset="0"/>
                        </a:rPr>
                        <a:t>Workforce need intake form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Template with excel sheet that can be shared with an employer to provide deeper details on open job roles to help create the workforce support pla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66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36000" marT="36000" marB="36000" anchor="ctr"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rgbClr val="00269E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Trebuchet MS" panose="020B0603020202020204" pitchFamily="34" charset="0"/>
                        </a:rPr>
                        <a:t>Workforce need support pla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Template to map open job roles to specific state support options by hiring channel (e.g., immediate hiring, future pipeline, and upskilling incumbents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66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36000" marT="36000" marB="36000" anchor="ctr"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rgbClr val="00269E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  <a:sym typeface="Trebuchet MS" panose="020B0603020202020204" pitchFamily="34" charset="0"/>
                        </a:rPr>
                        <a:t>Internal employer tracker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Template to track employer engagements over tim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366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defRPr/>
                      </a:pP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rgbClr val="00269E"/>
                          </a:solidFill>
                          <a:latin typeface="Arial" panose="020B0604020202020204" pitchFamily="34" charset="0"/>
                          <a:sym typeface="Trebuchet MS" panose="020B0603020202020204" pitchFamily="34" charset="0"/>
                        </a:rPr>
                        <a:t>Action plan tracker</a:t>
                      </a:r>
                      <a:endParaRPr lang="en-US" sz="1200" b="0" i="0" u="none" strike="noStrike" kern="1200">
                        <a:solidFill>
                          <a:srgbClr val="00269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Template to track aligned on action items across hiring channel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23" name="Picture 22">
            <a:extLst>
              <a:ext uri="{FF2B5EF4-FFF2-40B4-BE49-F238E27FC236}">
                <a16:creationId xmlns:a16="http://schemas.microsoft.com/office/drawing/2014/main" id="{FFF77B70-709C-479E-9F49-8D8C1779C42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81" y="3548762"/>
            <a:ext cx="1052608" cy="592092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6FDA31A-605A-47E1-B2A1-90EEBA6C235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81" y="4322979"/>
            <a:ext cx="1052608" cy="592092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273796C-CFFD-4A04-A08F-C995CAD848A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81" y="5079383"/>
            <a:ext cx="1052608" cy="592092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3AE94BD-B421-4EEA-9258-2F818C6C78C8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81" y="2137510"/>
            <a:ext cx="1052608" cy="592092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77196E2-9460-44A7-8217-93B9CF520909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81" y="2836908"/>
            <a:ext cx="1052608" cy="592092"/>
          </a:xfrm>
          <a:prstGeom prst="rect">
            <a:avLst/>
          </a:prstGeom>
          <a:ln w="9525" cap="flat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28" name="Oval 20">
            <a:extLst>
              <a:ext uri="{FF2B5EF4-FFF2-40B4-BE49-F238E27FC236}">
                <a16:creationId xmlns:a16="http://schemas.microsoft.com/office/drawing/2014/main" id="{F4D73022-91EF-4AC9-BB0F-6EB2A881554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0703" y="3745274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C</a:t>
            </a:r>
          </a:p>
        </p:txBody>
      </p:sp>
      <p:sp>
        <p:nvSpPr>
          <p:cNvPr id="29" name="Oval 20">
            <a:extLst>
              <a:ext uri="{FF2B5EF4-FFF2-40B4-BE49-F238E27FC236}">
                <a16:creationId xmlns:a16="http://schemas.microsoft.com/office/drawing/2014/main" id="{CA2494B2-D399-4EBA-ACFA-84699361D90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0703" y="4476902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D</a:t>
            </a:r>
          </a:p>
        </p:txBody>
      </p:sp>
      <p:sp>
        <p:nvSpPr>
          <p:cNvPr id="30" name="Oval 20">
            <a:extLst>
              <a:ext uri="{FF2B5EF4-FFF2-40B4-BE49-F238E27FC236}">
                <a16:creationId xmlns:a16="http://schemas.microsoft.com/office/drawing/2014/main" id="{E1C5B7D1-8A0D-4BF9-8B2D-B53CA2637AC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0703" y="5208532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E</a:t>
            </a:r>
          </a:p>
        </p:txBody>
      </p:sp>
      <p:sp>
        <p:nvSpPr>
          <p:cNvPr id="31" name="Oval 20">
            <a:extLst>
              <a:ext uri="{FF2B5EF4-FFF2-40B4-BE49-F238E27FC236}">
                <a16:creationId xmlns:a16="http://schemas.microsoft.com/office/drawing/2014/main" id="{1C9459C6-CA4C-472C-8D9A-9AE3D73E850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0703" y="2282018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A</a:t>
            </a:r>
          </a:p>
        </p:txBody>
      </p:sp>
      <p:sp>
        <p:nvSpPr>
          <p:cNvPr id="32" name="Oval 20">
            <a:extLst>
              <a:ext uri="{FF2B5EF4-FFF2-40B4-BE49-F238E27FC236}">
                <a16:creationId xmlns:a16="http://schemas.microsoft.com/office/drawing/2014/main" id="{623F9D95-60F2-4DED-9FF8-35CA934F9FB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80703" y="3013646"/>
            <a:ext cx="279009" cy="27900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4B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81BA1E9-2CBB-4C5C-878B-0A105433FB52}"/>
              </a:ext>
            </a:extLst>
          </p:cNvPr>
          <p:cNvSpPr txBox="1"/>
          <p:nvPr/>
        </p:nvSpPr>
        <p:spPr>
          <a:xfrm>
            <a:off x="1319212" y="6006385"/>
            <a:ext cx="9372600" cy="359228"/>
          </a:xfrm>
          <a:prstGeom prst="rect">
            <a:avLst/>
          </a:prstGeom>
          <a:solidFill>
            <a:schemeClr val="bg2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rgbClr val="FF0000"/>
                </a:solidFill>
              </a:rPr>
              <a:t>Please refer to the Employer Engagement Guidebook for these resour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4234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5551903-C0F0-4767-A747-55ABDD87A6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284743" y="2668041"/>
            <a:ext cx="9634846" cy="320368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274320" rIns="274320" bIns="13716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6000"/>
              </a:lnSpc>
            </a:pPr>
            <a:r>
              <a:rPr lang="en-US" sz="5400">
                <a:solidFill>
                  <a:srgbClr val="FFFFFF"/>
                </a:solidFill>
              </a:rPr>
              <a:t>Market Maker target outcom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50A0C29-1667-44C5-A331-7EB73686E9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284743" y="1428131"/>
            <a:ext cx="947672" cy="947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64">
              <a:solidFill>
                <a:srgbClr val="FFFFFF"/>
              </a:solidFill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7F75A415-064F-4602-B717-8D5200B43804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722AAA1B-DBB1-456D-9B2D-810C60D666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132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90587D-FB68-4868-9122-1D6D332F64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90587D-FB68-4868-9122-1D6D332F64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DF2EF2-D752-49F4-8E5B-2501B4F8A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66533"/>
            <a:ext cx="10117513" cy="609398"/>
          </a:xfrm>
        </p:spPr>
        <p:txBody>
          <a:bodyPr vert="horz"/>
          <a:lstStyle/>
          <a:p>
            <a:r>
              <a:rPr lang="en-US" sz="2200"/>
              <a:t>Monthly target outcomes are 2-4 new training/business partnerships formed and 4-7 businesses connected to existing training provid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D182DC-35DE-4C37-9463-F9441A9A00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684" y="239486"/>
            <a:ext cx="10006533" cy="228600"/>
          </a:xfrm>
        </p:spPr>
        <p:txBody>
          <a:bodyPr/>
          <a:lstStyle/>
          <a:p>
            <a:r>
              <a:rPr lang="en-US"/>
              <a:t>Market Maker target outcomes</a:t>
            </a:r>
          </a:p>
          <a:p>
            <a:endParaRPr lang="en-US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27369059-5CDB-46B5-841A-56FA2C55E04B}"/>
              </a:ext>
            </a:extLst>
          </p:cNvPr>
          <p:cNvSpPr/>
          <p:nvPr/>
        </p:nvSpPr>
        <p:spPr>
          <a:xfrm>
            <a:off x="462684" y="1364365"/>
            <a:ext cx="10795671" cy="681383"/>
          </a:xfrm>
          <a:prstGeom prst="rect">
            <a:avLst/>
          </a:prstGeom>
          <a:solidFill>
            <a:srgbClr val="F2F2F2"/>
          </a:solidFill>
          <a:ln w="19050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6800" lvl="1" indent="-1512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Target outcomes are meant to be guideposts, not criteria that the Market Maker will be evaluated against </a:t>
            </a:r>
          </a:p>
          <a:p>
            <a:pPr marL="226800" lvl="1" indent="-1512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400">
                <a:solidFill>
                  <a:srgbClr val="000000"/>
                </a:solidFill>
              </a:rPr>
              <a:t>Target outcomes averaged across Commonwealth and do not take into consideration regional variation in employer demand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CAC7299-11F2-44BB-898D-CAE45B5A6C6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684" y="2172749"/>
            <a:ext cx="5162355" cy="4118718"/>
          </a:xfrm>
          <a:prstGeom prst="rect">
            <a:avLst/>
          </a:prstGeom>
        </p:spPr>
      </p:pic>
      <p:sp>
        <p:nvSpPr>
          <p:cNvPr id="34" name="Overlay">
            <a:extLst>
              <a:ext uri="{FF2B5EF4-FFF2-40B4-BE49-F238E27FC236}">
                <a16:creationId xmlns:a16="http://schemas.microsoft.com/office/drawing/2014/main" id="{D1B6686D-6784-407D-B5D9-7C430872FF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62684" y="2172749"/>
            <a:ext cx="5162355" cy="4118718"/>
          </a:xfrm>
          <a:prstGeom prst="rect">
            <a:avLst/>
          </a:prstGeom>
          <a:solidFill>
            <a:srgbClr val="000000">
              <a:alpha val="45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EA7D8B6-2F8C-44D0-867B-5D13F85D495C}"/>
              </a:ext>
            </a:extLst>
          </p:cNvPr>
          <p:cNvSpPr/>
          <p:nvPr/>
        </p:nvSpPr>
        <p:spPr>
          <a:xfrm>
            <a:off x="6096000" y="2172749"/>
            <a:ext cx="5162355" cy="4118718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bg2">
                <a:lumMod val="50000"/>
                <a:alpha val="6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9D30A376-8054-44A8-8EE7-50FE45571A0B}"/>
              </a:ext>
            </a:extLst>
          </p:cNvPr>
          <p:cNvGrpSpPr/>
          <p:nvPr/>
        </p:nvGrpSpPr>
        <p:grpSpPr>
          <a:xfrm>
            <a:off x="10470967" y="2172749"/>
            <a:ext cx="772633" cy="864463"/>
            <a:chOff x="6739417" y="1777773"/>
            <a:chExt cx="772633" cy="864463"/>
          </a:xfrm>
        </p:grpSpPr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18C3661F-EF2C-4DC8-8A41-6698F1A749FF}"/>
                </a:ext>
              </a:extLst>
            </p:cNvPr>
            <p:cNvSpPr/>
            <p:nvPr/>
          </p:nvSpPr>
          <p:spPr>
            <a:xfrm>
              <a:off x="6739417" y="1777773"/>
              <a:ext cx="614863" cy="864463"/>
            </a:xfrm>
            <a:prstGeom prst="parallelogram">
              <a:avLst>
                <a:gd name="adj" fmla="val 46688"/>
              </a:avLst>
            </a:prstGeom>
            <a:gradFill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D44FE170-AC10-4E70-839F-FA681DF34C25}"/>
                </a:ext>
              </a:extLst>
            </p:cNvPr>
            <p:cNvSpPr/>
            <p:nvPr/>
          </p:nvSpPr>
          <p:spPr>
            <a:xfrm>
              <a:off x="7133788" y="1777773"/>
              <a:ext cx="378262" cy="864463"/>
            </a:xfrm>
            <a:prstGeom prst="parallelogram">
              <a:avLst>
                <a:gd name="adj" fmla="val 76905"/>
              </a:avLst>
            </a:prstGeom>
            <a:gradFill>
              <a:gsLst>
                <a:gs pos="0">
                  <a:schemeClr val="tx2"/>
                </a:gs>
                <a:gs pos="100000">
                  <a:schemeClr val="accent2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prstClr val="white"/>
                </a:solidFill>
              </a:endParaRP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3C4580E1-8472-4E44-B95A-D83C3DE725FB}"/>
              </a:ext>
            </a:extLst>
          </p:cNvPr>
          <p:cNvSpPr/>
          <p:nvPr/>
        </p:nvSpPr>
        <p:spPr>
          <a:xfrm>
            <a:off x="10571341" y="6173097"/>
            <a:ext cx="687014" cy="11837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78F50C9-EB23-432C-B381-AAE01E18E989}"/>
              </a:ext>
            </a:extLst>
          </p:cNvPr>
          <p:cNvSpPr/>
          <p:nvPr/>
        </p:nvSpPr>
        <p:spPr>
          <a:xfrm>
            <a:off x="7010044" y="3589842"/>
            <a:ext cx="3732858" cy="175432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69E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64800" lvl="1"/>
            <a:r>
              <a:rPr lang="en-US" b="1" dirty="0">
                <a:solidFill>
                  <a:schemeClr val="accent1"/>
                </a:solidFill>
              </a:rPr>
              <a:t>2-4 new business/training partnerships</a:t>
            </a:r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formed / applying for funding</a:t>
            </a:r>
          </a:p>
          <a:p>
            <a:pPr marL="64800" lvl="1"/>
            <a:endParaRPr lang="en-US" dirty="0">
              <a:solidFill>
                <a:schemeClr val="tx1"/>
              </a:solidFill>
            </a:endParaRPr>
          </a:p>
          <a:p>
            <a:pPr marL="64800" lvl="1"/>
            <a:r>
              <a:rPr lang="en-US" b="1" dirty="0">
                <a:solidFill>
                  <a:schemeClr val="accent1"/>
                </a:solidFill>
              </a:rPr>
              <a:t>4-7 businesses connected to existing training partnership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1826A4E-14A7-44BC-9E90-23E843AB87B5}"/>
              </a:ext>
            </a:extLst>
          </p:cNvPr>
          <p:cNvCxnSpPr/>
          <p:nvPr/>
        </p:nvCxnSpPr>
        <p:spPr>
          <a:xfrm flipH="1">
            <a:off x="6611452" y="3517420"/>
            <a:ext cx="4131450" cy="0"/>
          </a:xfrm>
          <a:prstGeom prst="line">
            <a:avLst/>
          </a:prstGeom>
          <a:ln w="19050" cap="rnd">
            <a:solidFill>
              <a:schemeClr val="accent5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935DF500-EB50-412C-8015-DF016EAFAB0B}"/>
              </a:ext>
            </a:extLst>
          </p:cNvPr>
          <p:cNvSpPr/>
          <p:nvPr/>
        </p:nvSpPr>
        <p:spPr>
          <a:xfrm>
            <a:off x="7059032" y="3186104"/>
            <a:ext cx="3236290" cy="276737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4800" lvl="1" algn="ctr">
              <a:buClr>
                <a:schemeClr val="bg1"/>
              </a:buClr>
            </a:pPr>
            <a:r>
              <a:rPr lang="en-US" sz="2000" b="1">
                <a:solidFill>
                  <a:srgbClr val="FFC000"/>
                </a:solidFill>
              </a:rPr>
              <a:t>Market Maker outcomes</a:t>
            </a:r>
          </a:p>
        </p:txBody>
      </p:sp>
      <p:sp>
        <p:nvSpPr>
          <p:cNvPr id="43" name="Half Frame 42">
            <a:extLst>
              <a:ext uri="{FF2B5EF4-FFF2-40B4-BE49-F238E27FC236}">
                <a16:creationId xmlns:a16="http://schemas.microsoft.com/office/drawing/2014/main" id="{8D831CED-527F-4C92-B6A5-40DA77D3FE39}"/>
              </a:ext>
            </a:extLst>
          </p:cNvPr>
          <p:cNvSpPr/>
          <p:nvPr/>
        </p:nvSpPr>
        <p:spPr>
          <a:xfrm>
            <a:off x="462684" y="1364365"/>
            <a:ext cx="300467" cy="376451"/>
          </a:xfrm>
          <a:prstGeom prst="halfFrame">
            <a:avLst>
              <a:gd name="adj1" fmla="val 18842"/>
              <a:gd name="adj2" fmla="val 20653"/>
            </a:avLst>
          </a:prstGeom>
          <a:gradFill flip="none" rotWithShape="1">
            <a:gsLst>
              <a:gs pos="40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Half Frame 43">
            <a:extLst>
              <a:ext uri="{FF2B5EF4-FFF2-40B4-BE49-F238E27FC236}">
                <a16:creationId xmlns:a16="http://schemas.microsoft.com/office/drawing/2014/main" id="{600B3C90-F8C7-401B-8BAF-F9BF41C9F901}"/>
              </a:ext>
            </a:extLst>
          </p:cNvPr>
          <p:cNvSpPr/>
          <p:nvPr/>
        </p:nvSpPr>
        <p:spPr>
          <a:xfrm rot="10800000">
            <a:off x="10957888" y="1669297"/>
            <a:ext cx="300467" cy="376451"/>
          </a:xfrm>
          <a:prstGeom prst="halfFrame">
            <a:avLst>
              <a:gd name="adj1" fmla="val 18842"/>
              <a:gd name="adj2" fmla="val 20653"/>
            </a:avLst>
          </a:prstGeom>
          <a:gradFill flip="none" rotWithShape="1">
            <a:gsLst>
              <a:gs pos="4000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3" name="Oval 20">
            <a:extLst>
              <a:ext uri="{FF2B5EF4-FFF2-40B4-BE49-F238E27FC236}">
                <a16:creationId xmlns:a16="http://schemas.microsoft.com/office/drawing/2014/main" id="{5365E96B-6178-48D1-B538-22614DC6629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36137" y="4805086"/>
            <a:ext cx="368292" cy="3682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4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5" name="Oval 20">
            <a:extLst>
              <a:ext uri="{FF2B5EF4-FFF2-40B4-BE49-F238E27FC236}">
                <a16:creationId xmlns:a16="http://schemas.microsoft.com/office/drawing/2014/main" id="{2FAFE5F3-DC13-48AA-981E-8DB69B3603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636138" y="3802856"/>
            <a:ext cx="368292" cy="3682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4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36505634-F5FB-4251-821B-39E86229BBB6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FD84941-9D7C-485C-9C85-E60EB002D7F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11143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C9028D-1EC3-4073-8E57-FF826E0A2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C9028D-1EC3-4073-8E57-FF826E0A2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5F67CE1-4703-4FD5-B670-6FE6CF4E3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56750"/>
            <a:ext cx="10117513" cy="609398"/>
          </a:xfrm>
        </p:spPr>
        <p:txBody>
          <a:bodyPr vert="horz"/>
          <a:lstStyle/>
          <a:p>
            <a:r>
              <a:rPr lang="en-US" sz="2200">
                <a:solidFill>
                  <a:srgbClr val="FF9900"/>
                </a:solidFill>
              </a:rPr>
              <a:t>New partnerships:</a:t>
            </a:r>
            <a:r>
              <a:rPr lang="en-US" sz="2200">
                <a:solidFill>
                  <a:srgbClr val="FFC000"/>
                </a:solidFill>
              </a:rPr>
              <a:t> </a:t>
            </a:r>
            <a:r>
              <a:rPr lang="en-US" sz="2200"/>
              <a:t>Each Market Maker to target forming 2-4 new business/training partnerships a month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0F401E-C387-44C7-BE4F-CE6443F15F3E}"/>
              </a:ext>
            </a:extLst>
          </p:cNvPr>
          <p:cNvSpPr/>
          <p:nvPr/>
        </p:nvSpPr>
        <p:spPr>
          <a:xfrm rot="5400000">
            <a:off x="953588" y="4445647"/>
            <a:ext cx="45720" cy="1027525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DD26966-E136-4BA1-8018-50B955DFA465}"/>
              </a:ext>
            </a:extLst>
          </p:cNvPr>
          <p:cNvSpPr/>
          <p:nvPr/>
        </p:nvSpPr>
        <p:spPr>
          <a:xfrm rot="5400000">
            <a:off x="878254" y="4572459"/>
            <a:ext cx="288590" cy="12162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>
                <a:solidFill>
                  <a:schemeClr val="tx1"/>
                </a:solidFill>
              </a:rPr>
              <a:t>Assumptions: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A98FF1F4-B19A-439E-874D-EF4754CC0912}"/>
              </a:ext>
            </a:extLst>
          </p:cNvPr>
          <p:cNvSpPr/>
          <p:nvPr/>
        </p:nvSpPr>
        <p:spPr>
          <a:xfrm rot="5400000">
            <a:off x="953588" y="2572055"/>
            <a:ext cx="45720" cy="1027525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ECDC944-731B-4A74-9408-6CCEAC0EB194}"/>
              </a:ext>
            </a:extLst>
          </p:cNvPr>
          <p:cNvSpPr/>
          <p:nvPr/>
        </p:nvSpPr>
        <p:spPr>
          <a:xfrm rot="5400000">
            <a:off x="662162" y="2267312"/>
            <a:ext cx="628572" cy="10275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>
                <a:solidFill>
                  <a:srgbClr val="00269E"/>
                </a:solidFill>
              </a:rPr>
              <a:t>Steps to estimate: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54531EB-5C79-491E-B292-EB7B7D4C066F}"/>
              </a:ext>
            </a:extLst>
          </p:cNvPr>
          <p:cNvSpPr txBox="1"/>
          <p:nvPr/>
        </p:nvSpPr>
        <p:spPr>
          <a:xfrm>
            <a:off x="462685" y="1298202"/>
            <a:ext cx="10006533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2-4 new business/training partnerships per month estimated using grant sizing approach</a:t>
            </a:r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0D994B75-22B9-4302-8907-980B3AE06A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151" y="304800"/>
            <a:ext cx="10007600" cy="228600"/>
          </a:xfrm>
        </p:spPr>
        <p:txBody>
          <a:bodyPr/>
          <a:lstStyle/>
          <a:p>
            <a:r>
              <a:rPr lang="en-US"/>
              <a:t>Market Maker target outcomes</a:t>
            </a:r>
          </a:p>
          <a:p>
            <a:endParaRPr lang="en-US"/>
          </a:p>
        </p:txBody>
      </p:sp>
      <p:sp>
        <p:nvSpPr>
          <p:cNvPr id="135" name="Footnote example">
            <a:extLst>
              <a:ext uri="{FF2B5EF4-FFF2-40B4-BE49-F238E27FC236}">
                <a16:creationId xmlns:a16="http://schemas.microsoft.com/office/drawing/2014/main" id="{5E21A762-AD36-45E0-A4FA-537CFBA6DBD3}"/>
              </a:ext>
            </a:extLst>
          </p:cNvPr>
          <p:cNvSpPr txBox="1"/>
          <p:nvPr/>
        </p:nvSpPr>
        <p:spPr>
          <a:xfrm>
            <a:off x="462685" y="6280379"/>
            <a:ext cx="903091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sym typeface="+mn-lt"/>
              </a:rPr>
              <a:t>Source: BCG analysi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50D879F-02A7-4F3B-86F3-34FAFA286616}"/>
              </a:ext>
            </a:extLst>
          </p:cNvPr>
          <p:cNvSpPr/>
          <p:nvPr/>
        </p:nvSpPr>
        <p:spPr>
          <a:xfrm rot="5400000">
            <a:off x="271502" y="3519538"/>
            <a:ext cx="1409892" cy="1027525"/>
          </a:xfrm>
          <a:prstGeom prst="rect">
            <a:avLst/>
          </a:prstGeom>
          <a:solidFill>
            <a:srgbClr val="FFFFFF"/>
          </a:solidFill>
          <a:ln w="28575" cap="rnd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2-4 employers monthly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EF37802-A808-440B-9E4E-9F1C8E44E478}"/>
              </a:ext>
            </a:extLst>
          </p:cNvPr>
          <p:cNvSpPr txBox="1"/>
          <p:nvPr/>
        </p:nvSpPr>
        <p:spPr>
          <a:xfrm>
            <a:off x="1810203" y="4956364"/>
            <a:ext cx="1858190" cy="107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Timeline of ARPA 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funding is 3 years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2F1CE12-B49F-44A4-A6FE-46FF158C12EE}"/>
              </a:ext>
            </a:extLst>
          </p:cNvPr>
          <p:cNvSpPr txBox="1"/>
          <p:nvPr/>
        </p:nvSpPr>
        <p:spPr>
          <a:xfrm>
            <a:off x="5766898" y="4956364"/>
            <a:ext cx="1858190" cy="107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verage required number of employers across 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3 grants is 2-3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7A5D6FF2-B300-4CC1-AF1D-E7A793C8FC7B}"/>
              </a:ext>
            </a:extLst>
          </p:cNvPr>
          <p:cNvSpPr txBox="1"/>
          <p:nvPr/>
        </p:nvSpPr>
        <p:spPr>
          <a:xfrm>
            <a:off x="7745245" y="4956364"/>
            <a:ext cx="1858190" cy="107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verage award value for CTI, WCTF, and RENEW is ~$250K and total funding is fully deployed 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91B85DD-AD07-4C01-8CEC-F8A2C0FC0A38}"/>
              </a:ext>
            </a:extLst>
          </p:cNvPr>
          <p:cNvSpPr/>
          <p:nvPr/>
        </p:nvSpPr>
        <p:spPr>
          <a:xfrm flipH="1">
            <a:off x="5938126" y="4135023"/>
            <a:ext cx="1515734" cy="603598"/>
          </a:xfrm>
          <a:prstGeom prst="roundRect">
            <a:avLst>
              <a:gd name="adj" fmla="val 20378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7 Market Makers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9BA481AC-1E4C-4844-8EA3-AD2F06377F59}"/>
              </a:ext>
            </a:extLst>
          </p:cNvPr>
          <p:cNvSpPr/>
          <p:nvPr/>
        </p:nvSpPr>
        <p:spPr>
          <a:xfrm flipH="1">
            <a:off x="3959779" y="4135023"/>
            <a:ext cx="1515734" cy="603598"/>
          </a:xfrm>
          <a:prstGeom prst="roundRect">
            <a:avLst>
              <a:gd name="adj" fmla="val 20378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3 years of funding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8BD30F1C-37E6-4264-AEBA-644E0CED61B6}"/>
              </a:ext>
            </a:extLst>
          </p:cNvPr>
          <p:cNvSpPr/>
          <p:nvPr/>
        </p:nvSpPr>
        <p:spPr>
          <a:xfrm flipH="1">
            <a:off x="7916473" y="4135023"/>
            <a:ext cx="1515734" cy="603598"/>
          </a:xfrm>
          <a:prstGeom prst="roundRect">
            <a:avLst>
              <a:gd name="adj" fmla="val 20377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2-3 employers per grant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6D2F08E1-BF65-43D1-8FF0-94AF23D841C1}"/>
              </a:ext>
            </a:extLst>
          </p:cNvPr>
          <p:cNvSpPr/>
          <p:nvPr/>
        </p:nvSpPr>
        <p:spPr>
          <a:xfrm flipH="1">
            <a:off x="9894822" y="4135023"/>
            <a:ext cx="1515734" cy="603598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$250K average grant size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38EC2342-79BA-4E5E-9C74-326CDB5CAD24}"/>
              </a:ext>
            </a:extLst>
          </p:cNvPr>
          <p:cNvSpPr/>
          <p:nvPr/>
        </p:nvSpPr>
        <p:spPr>
          <a:xfrm flipH="1">
            <a:off x="1981431" y="3283008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28-43 employers annually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9DD24436-4834-4B12-874C-536145C22B76}"/>
              </a:ext>
            </a:extLst>
          </p:cNvPr>
          <p:cNvSpPr/>
          <p:nvPr/>
        </p:nvSpPr>
        <p:spPr>
          <a:xfrm flipH="1">
            <a:off x="1981431" y="4135023"/>
            <a:ext cx="1515734" cy="603598"/>
          </a:xfrm>
          <a:prstGeom prst="roundRect">
            <a:avLst>
              <a:gd name="adj" fmla="val 20378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12 months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B51B16B3-68A8-4B1D-8FBB-3495D957119A}"/>
              </a:ext>
            </a:extLst>
          </p:cNvPr>
          <p:cNvSpPr/>
          <p:nvPr/>
        </p:nvSpPr>
        <p:spPr>
          <a:xfrm flipH="1">
            <a:off x="5938126" y="3283008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600-900</a:t>
            </a:r>
          </a:p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employers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202B733D-24EC-49C4-8940-BDCFBE01C507}"/>
              </a:ext>
            </a:extLst>
          </p:cNvPr>
          <p:cNvSpPr/>
          <p:nvPr/>
        </p:nvSpPr>
        <p:spPr>
          <a:xfrm flipH="1">
            <a:off x="3959779" y="3283008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 spc="-30">
                <a:solidFill>
                  <a:schemeClr val="tx2"/>
                </a:solidFill>
                <a:cs typeface="Arial" pitchFamily="34" charset="0"/>
              </a:rPr>
              <a:t>~85-130 employers across funding years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882D66F6-09BF-4C5A-96AA-DE43E987F493}"/>
              </a:ext>
            </a:extLst>
          </p:cNvPr>
          <p:cNvSpPr/>
          <p:nvPr/>
        </p:nvSpPr>
        <p:spPr>
          <a:xfrm flipH="1">
            <a:off x="7916473" y="3283008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300 grants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700FF797-2798-4D68-8A81-9715D0F6F6CA}"/>
              </a:ext>
            </a:extLst>
          </p:cNvPr>
          <p:cNvSpPr/>
          <p:nvPr/>
        </p:nvSpPr>
        <p:spPr>
          <a:xfrm flipH="1">
            <a:off x="9894822" y="3283008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$72.5M funding</a:t>
            </a: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6EC1B2A3-7316-4F9B-B192-7D5AB3350C56}"/>
              </a:ext>
            </a:extLst>
          </p:cNvPr>
          <p:cNvCxnSpPr>
            <a:cxnSpLocks/>
            <a:stCxn id="50" idx="1"/>
            <a:endCxn id="46" idx="3"/>
          </p:cNvCxnSpPr>
          <p:nvPr/>
        </p:nvCxnSpPr>
        <p:spPr>
          <a:xfrm>
            <a:off x="3497165" y="3584808"/>
            <a:ext cx="462614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4207DE5-7538-4E69-8E97-101DBD3355BD}"/>
              </a:ext>
            </a:extLst>
          </p:cNvPr>
          <p:cNvCxnSpPr>
            <a:cxnSpLocks/>
            <a:stCxn id="50" idx="1"/>
            <a:endCxn id="53" idx="3"/>
          </p:cNvCxnSpPr>
          <p:nvPr/>
        </p:nvCxnSpPr>
        <p:spPr>
          <a:xfrm>
            <a:off x="3497165" y="3584808"/>
            <a:ext cx="46261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14D8CACF-09F3-452C-A862-FE84B61CA6AE}"/>
              </a:ext>
            </a:extLst>
          </p:cNvPr>
          <p:cNvCxnSpPr>
            <a:cxnSpLocks/>
            <a:stCxn id="53" idx="1"/>
            <a:endCxn id="45" idx="3"/>
          </p:cNvCxnSpPr>
          <p:nvPr/>
        </p:nvCxnSpPr>
        <p:spPr>
          <a:xfrm>
            <a:off x="5475513" y="3584808"/>
            <a:ext cx="462613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or: Elbow 175">
            <a:extLst>
              <a:ext uri="{FF2B5EF4-FFF2-40B4-BE49-F238E27FC236}">
                <a16:creationId xmlns:a16="http://schemas.microsoft.com/office/drawing/2014/main" id="{D2F891EF-70E3-4912-8F6B-48061B60B3D0}"/>
              </a:ext>
            </a:extLst>
          </p:cNvPr>
          <p:cNvCxnSpPr>
            <a:cxnSpLocks/>
            <a:stCxn id="53" idx="1"/>
            <a:endCxn id="52" idx="3"/>
          </p:cNvCxnSpPr>
          <p:nvPr/>
        </p:nvCxnSpPr>
        <p:spPr>
          <a:xfrm>
            <a:off x="5475513" y="3584808"/>
            <a:ext cx="462613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6B914DE6-A898-40DD-9271-E5C2A91E8463}"/>
              </a:ext>
            </a:extLst>
          </p:cNvPr>
          <p:cNvCxnSpPr>
            <a:cxnSpLocks/>
            <a:stCxn id="52" idx="1"/>
            <a:endCxn id="47" idx="3"/>
          </p:cNvCxnSpPr>
          <p:nvPr/>
        </p:nvCxnSpPr>
        <p:spPr>
          <a:xfrm>
            <a:off x="7453860" y="3584808"/>
            <a:ext cx="462613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C17EC2B2-D472-46F1-BB66-D3D755F5C409}"/>
              </a:ext>
            </a:extLst>
          </p:cNvPr>
          <p:cNvCxnSpPr>
            <a:cxnSpLocks/>
            <a:stCxn id="54" idx="1"/>
            <a:endCxn id="48" idx="3"/>
          </p:cNvCxnSpPr>
          <p:nvPr/>
        </p:nvCxnSpPr>
        <p:spPr>
          <a:xfrm>
            <a:off x="9432207" y="3584808"/>
            <a:ext cx="462615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or: Elbow 181">
            <a:extLst>
              <a:ext uri="{FF2B5EF4-FFF2-40B4-BE49-F238E27FC236}">
                <a16:creationId xmlns:a16="http://schemas.microsoft.com/office/drawing/2014/main" id="{30529755-93C8-4B64-B6B3-A7C1E788F2E0}"/>
              </a:ext>
            </a:extLst>
          </p:cNvPr>
          <p:cNvCxnSpPr>
            <a:cxnSpLocks/>
            <a:stCxn id="52" idx="1"/>
            <a:endCxn id="54" idx="3"/>
          </p:cNvCxnSpPr>
          <p:nvPr/>
        </p:nvCxnSpPr>
        <p:spPr>
          <a:xfrm>
            <a:off x="7453860" y="3584808"/>
            <a:ext cx="462613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183">
            <a:extLst>
              <a:ext uri="{FF2B5EF4-FFF2-40B4-BE49-F238E27FC236}">
                <a16:creationId xmlns:a16="http://schemas.microsoft.com/office/drawing/2014/main" id="{893A9150-CAD9-45F4-9C00-D0DF5D9A3303}"/>
              </a:ext>
            </a:extLst>
          </p:cNvPr>
          <p:cNvCxnSpPr>
            <a:cxnSpLocks/>
            <a:stCxn id="54" idx="1"/>
            <a:endCxn id="55" idx="3"/>
          </p:cNvCxnSpPr>
          <p:nvPr/>
        </p:nvCxnSpPr>
        <p:spPr>
          <a:xfrm>
            <a:off x="9432207" y="3584808"/>
            <a:ext cx="462615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NavigationIcon">
            <a:extLst>
              <a:ext uri="{FF2B5EF4-FFF2-40B4-BE49-F238E27FC236}">
                <a16:creationId xmlns:a16="http://schemas.microsoft.com/office/drawing/2014/main" id="{8B714B74-B6C5-468C-A8AE-A0B4E3DD5E40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47995" y="559131"/>
            <a:ext cx="286310" cy="2863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id="{6C3A69C7-EC92-44DE-A12C-D3FD33DE8DDB}"/>
              </a:ext>
            </a:extLst>
          </p:cNvPr>
          <p:cNvSpPr/>
          <p:nvPr/>
        </p:nvSpPr>
        <p:spPr>
          <a:xfrm>
            <a:off x="2255597" y="1826703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21" name="bcgIcons_ThumbsUp">
            <a:extLst>
              <a:ext uri="{FF2B5EF4-FFF2-40B4-BE49-F238E27FC236}">
                <a16:creationId xmlns:a16="http://schemas.microsoft.com/office/drawing/2014/main" id="{03543FE5-90F9-49FA-B4B7-7D93FE2B99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65232" y="1826703"/>
            <a:ext cx="548132" cy="548640"/>
            <a:chOff x="1682" y="0"/>
            <a:chExt cx="4316" cy="4320"/>
          </a:xfrm>
        </p:grpSpPr>
        <p:sp>
          <p:nvSpPr>
            <p:cNvPr id="122" name="AutoShape 3">
              <a:extLst>
                <a:ext uri="{FF2B5EF4-FFF2-40B4-BE49-F238E27FC236}">
                  <a16:creationId xmlns:a16="http://schemas.microsoft.com/office/drawing/2014/main" id="{EE51FB76-7B1E-4F50-ADF0-DF5F892FB9B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5">
              <a:extLst>
                <a:ext uri="{FF2B5EF4-FFF2-40B4-BE49-F238E27FC236}">
                  <a16:creationId xmlns:a16="http://schemas.microsoft.com/office/drawing/2014/main" id="{61C26841-43D0-450B-B6C0-375D6E06A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" y="698"/>
              <a:ext cx="2034" cy="2919"/>
            </a:xfrm>
            <a:custGeom>
              <a:avLst/>
              <a:gdLst>
                <a:gd name="T0" fmla="*/ 1086 w 1086"/>
                <a:gd name="T1" fmla="*/ 681 h 1557"/>
                <a:gd name="T2" fmla="*/ 530 w 1086"/>
                <a:gd name="T3" fmla="*/ 537 h 1557"/>
                <a:gd name="T4" fmla="*/ 593 w 1086"/>
                <a:gd name="T5" fmla="*/ 253 h 1557"/>
                <a:gd name="T6" fmla="*/ 391 w 1086"/>
                <a:gd name="T7" fmla="*/ 4 h 1557"/>
                <a:gd name="T8" fmla="*/ 279 w 1086"/>
                <a:gd name="T9" fmla="*/ 114 h 1557"/>
                <a:gd name="T10" fmla="*/ 279 w 1086"/>
                <a:gd name="T11" fmla="*/ 221 h 1557"/>
                <a:gd name="T12" fmla="*/ 0 w 1086"/>
                <a:gd name="T13" fmla="*/ 523 h 1557"/>
                <a:gd name="T14" fmla="*/ 203 w 1086"/>
                <a:gd name="T15" fmla="*/ 459 h 1557"/>
                <a:gd name="T16" fmla="*/ 323 w 1086"/>
                <a:gd name="T17" fmla="*/ 114 h 1557"/>
                <a:gd name="T18" fmla="*/ 386 w 1086"/>
                <a:gd name="T19" fmla="*/ 48 h 1557"/>
                <a:gd name="T20" fmla="*/ 549 w 1086"/>
                <a:gd name="T21" fmla="*/ 257 h 1557"/>
                <a:gd name="T22" fmla="*/ 476 w 1086"/>
                <a:gd name="T23" fmla="*/ 570 h 1557"/>
                <a:gd name="T24" fmla="*/ 942 w 1086"/>
                <a:gd name="T25" fmla="*/ 581 h 1557"/>
                <a:gd name="T26" fmla="*/ 942 w 1086"/>
                <a:gd name="T27" fmla="*/ 781 h 1557"/>
                <a:gd name="T28" fmla="*/ 917 w 1086"/>
                <a:gd name="T29" fmla="*/ 780 h 1557"/>
                <a:gd name="T30" fmla="*/ 757 w 1086"/>
                <a:gd name="T31" fmla="*/ 802 h 1557"/>
                <a:gd name="T32" fmla="*/ 807 w 1086"/>
                <a:gd name="T33" fmla="*/ 824 h 1557"/>
                <a:gd name="T34" fmla="*/ 924 w 1086"/>
                <a:gd name="T35" fmla="*/ 825 h 1557"/>
                <a:gd name="T36" fmla="*/ 917 w 1086"/>
                <a:gd name="T37" fmla="*/ 1024 h 1557"/>
                <a:gd name="T38" fmla="*/ 874 w 1086"/>
                <a:gd name="T39" fmla="*/ 1025 h 1557"/>
                <a:gd name="T40" fmla="*/ 757 w 1086"/>
                <a:gd name="T41" fmla="*/ 1024 h 1557"/>
                <a:gd name="T42" fmla="*/ 757 w 1086"/>
                <a:gd name="T43" fmla="*/ 1068 h 1557"/>
                <a:gd name="T44" fmla="*/ 961 w 1086"/>
                <a:gd name="T45" fmla="*/ 1168 h 1557"/>
                <a:gd name="T46" fmla="*/ 793 w 1086"/>
                <a:gd name="T47" fmla="*/ 1269 h 1557"/>
                <a:gd name="T48" fmla="*/ 724 w 1086"/>
                <a:gd name="T49" fmla="*/ 1269 h 1557"/>
                <a:gd name="T50" fmla="*/ 724 w 1086"/>
                <a:gd name="T51" fmla="*/ 1313 h 1557"/>
                <a:gd name="T52" fmla="*/ 793 w 1086"/>
                <a:gd name="T53" fmla="*/ 1313 h 1557"/>
                <a:gd name="T54" fmla="*/ 793 w 1086"/>
                <a:gd name="T55" fmla="*/ 1513 h 1557"/>
                <a:gd name="T56" fmla="*/ 26 w 1086"/>
                <a:gd name="T57" fmla="*/ 1394 h 1557"/>
                <a:gd name="T58" fmla="*/ 344 w 1086"/>
                <a:gd name="T59" fmla="*/ 1557 h 1557"/>
                <a:gd name="T60" fmla="*/ 937 w 1086"/>
                <a:gd name="T61" fmla="*/ 1413 h 1557"/>
                <a:gd name="T62" fmla="*/ 1005 w 1086"/>
                <a:gd name="T63" fmla="*/ 1168 h 1557"/>
                <a:gd name="T64" fmla="*/ 1061 w 1086"/>
                <a:gd name="T65" fmla="*/ 924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6" h="1557">
                  <a:moveTo>
                    <a:pt x="1004" y="810"/>
                  </a:moveTo>
                  <a:cubicBezTo>
                    <a:pt x="1052" y="787"/>
                    <a:pt x="1086" y="738"/>
                    <a:pt x="1086" y="681"/>
                  </a:cubicBezTo>
                  <a:cubicBezTo>
                    <a:pt x="1086" y="601"/>
                    <a:pt x="1021" y="537"/>
                    <a:pt x="942" y="537"/>
                  </a:cubicBezTo>
                  <a:cubicBezTo>
                    <a:pt x="530" y="537"/>
                    <a:pt x="530" y="537"/>
                    <a:pt x="530" y="537"/>
                  </a:cubicBezTo>
                  <a:cubicBezTo>
                    <a:pt x="553" y="485"/>
                    <a:pt x="593" y="378"/>
                    <a:pt x="593" y="255"/>
                  </a:cubicBezTo>
                  <a:cubicBezTo>
                    <a:pt x="593" y="255"/>
                    <a:pt x="593" y="254"/>
                    <a:pt x="593" y="253"/>
                  </a:cubicBezTo>
                  <a:cubicBezTo>
                    <a:pt x="592" y="251"/>
                    <a:pt x="586" y="193"/>
                    <a:pt x="559" y="134"/>
                  </a:cubicBezTo>
                  <a:cubicBezTo>
                    <a:pt x="522" y="52"/>
                    <a:pt x="464" y="7"/>
                    <a:pt x="391" y="4"/>
                  </a:cubicBezTo>
                  <a:cubicBezTo>
                    <a:pt x="383" y="3"/>
                    <a:pt x="344" y="0"/>
                    <a:pt x="313" y="26"/>
                  </a:cubicBezTo>
                  <a:cubicBezTo>
                    <a:pt x="291" y="46"/>
                    <a:pt x="279" y="75"/>
                    <a:pt x="279" y="114"/>
                  </a:cubicBezTo>
                  <a:cubicBezTo>
                    <a:pt x="279" y="221"/>
                    <a:pt x="279" y="221"/>
                    <a:pt x="279" y="221"/>
                  </a:cubicBezTo>
                  <a:cubicBezTo>
                    <a:pt x="279" y="221"/>
                    <a:pt x="279" y="221"/>
                    <a:pt x="279" y="221"/>
                  </a:cubicBezTo>
                  <a:cubicBezTo>
                    <a:pt x="279" y="223"/>
                    <a:pt x="283" y="364"/>
                    <a:pt x="181" y="420"/>
                  </a:cubicBezTo>
                  <a:cubicBezTo>
                    <a:pt x="132" y="448"/>
                    <a:pt x="63" y="487"/>
                    <a:pt x="0" y="523"/>
                  </a:cubicBezTo>
                  <a:cubicBezTo>
                    <a:pt x="12" y="531"/>
                    <a:pt x="21" y="544"/>
                    <a:pt x="25" y="559"/>
                  </a:cubicBezTo>
                  <a:cubicBezTo>
                    <a:pt x="86" y="524"/>
                    <a:pt x="154" y="486"/>
                    <a:pt x="203" y="459"/>
                  </a:cubicBezTo>
                  <a:cubicBezTo>
                    <a:pt x="326" y="390"/>
                    <a:pt x="324" y="232"/>
                    <a:pt x="323" y="220"/>
                  </a:cubicBezTo>
                  <a:cubicBezTo>
                    <a:pt x="323" y="114"/>
                    <a:pt x="323" y="114"/>
                    <a:pt x="323" y="114"/>
                  </a:cubicBezTo>
                  <a:cubicBezTo>
                    <a:pt x="323" y="89"/>
                    <a:pt x="330" y="70"/>
                    <a:pt x="342" y="60"/>
                  </a:cubicBezTo>
                  <a:cubicBezTo>
                    <a:pt x="359" y="44"/>
                    <a:pt x="386" y="48"/>
                    <a:pt x="386" y="48"/>
                  </a:cubicBezTo>
                  <a:cubicBezTo>
                    <a:pt x="387" y="48"/>
                    <a:pt x="388" y="48"/>
                    <a:pt x="389" y="48"/>
                  </a:cubicBezTo>
                  <a:cubicBezTo>
                    <a:pt x="520" y="52"/>
                    <a:pt x="547" y="241"/>
                    <a:pt x="549" y="257"/>
                  </a:cubicBezTo>
                  <a:cubicBezTo>
                    <a:pt x="548" y="413"/>
                    <a:pt x="476" y="547"/>
                    <a:pt x="476" y="548"/>
                  </a:cubicBezTo>
                  <a:cubicBezTo>
                    <a:pt x="472" y="555"/>
                    <a:pt x="472" y="563"/>
                    <a:pt x="476" y="570"/>
                  </a:cubicBezTo>
                  <a:cubicBezTo>
                    <a:pt x="480" y="577"/>
                    <a:pt x="487" y="581"/>
                    <a:pt x="495" y="581"/>
                  </a:cubicBezTo>
                  <a:cubicBezTo>
                    <a:pt x="942" y="581"/>
                    <a:pt x="942" y="581"/>
                    <a:pt x="942" y="581"/>
                  </a:cubicBezTo>
                  <a:cubicBezTo>
                    <a:pt x="997" y="581"/>
                    <a:pt x="1042" y="626"/>
                    <a:pt x="1042" y="681"/>
                  </a:cubicBezTo>
                  <a:cubicBezTo>
                    <a:pt x="1042" y="736"/>
                    <a:pt x="997" y="781"/>
                    <a:pt x="942" y="781"/>
                  </a:cubicBezTo>
                  <a:cubicBezTo>
                    <a:pt x="926" y="781"/>
                    <a:pt x="926" y="781"/>
                    <a:pt x="926" y="781"/>
                  </a:cubicBezTo>
                  <a:cubicBezTo>
                    <a:pt x="923" y="781"/>
                    <a:pt x="920" y="780"/>
                    <a:pt x="917" y="780"/>
                  </a:cubicBezTo>
                  <a:cubicBezTo>
                    <a:pt x="779" y="780"/>
                    <a:pt x="779" y="780"/>
                    <a:pt x="779" y="780"/>
                  </a:cubicBezTo>
                  <a:cubicBezTo>
                    <a:pt x="767" y="780"/>
                    <a:pt x="757" y="790"/>
                    <a:pt x="757" y="802"/>
                  </a:cubicBezTo>
                  <a:cubicBezTo>
                    <a:pt x="757" y="815"/>
                    <a:pt x="767" y="824"/>
                    <a:pt x="779" y="824"/>
                  </a:cubicBezTo>
                  <a:cubicBezTo>
                    <a:pt x="807" y="824"/>
                    <a:pt x="807" y="824"/>
                    <a:pt x="807" y="824"/>
                  </a:cubicBezTo>
                  <a:cubicBezTo>
                    <a:pt x="809" y="825"/>
                    <a:pt x="810" y="825"/>
                    <a:pt x="811" y="825"/>
                  </a:cubicBezTo>
                  <a:cubicBezTo>
                    <a:pt x="924" y="825"/>
                    <a:pt x="924" y="825"/>
                    <a:pt x="924" y="825"/>
                  </a:cubicBezTo>
                  <a:cubicBezTo>
                    <a:pt x="976" y="829"/>
                    <a:pt x="1017" y="872"/>
                    <a:pt x="1017" y="924"/>
                  </a:cubicBezTo>
                  <a:cubicBezTo>
                    <a:pt x="1017" y="980"/>
                    <a:pt x="972" y="1024"/>
                    <a:pt x="917" y="1024"/>
                  </a:cubicBezTo>
                  <a:cubicBezTo>
                    <a:pt x="879" y="1024"/>
                    <a:pt x="879" y="1024"/>
                    <a:pt x="879" y="1024"/>
                  </a:cubicBezTo>
                  <a:cubicBezTo>
                    <a:pt x="877" y="1024"/>
                    <a:pt x="875" y="1025"/>
                    <a:pt x="874" y="1025"/>
                  </a:cubicBezTo>
                  <a:cubicBezTo>
                    <a:pt x="869" y="1025"/>
                    <a:pt x="865" y="1024"/>
                    <a:pt x="861" y="1024"/>
                  </a:cubicBezTo>
                  <a:cubicBezTo>
                    <a:pt x="757" y="1024"/>
                    <a:pt x="757" y="1024"/>
                    <a:pt x="757" y="1024"/>
                  </a:cubicBezTo>
                  <a:cubicBezTo>
                    <a:pt x="745" y="1024"/>
                    <a:pt x="735" y="1034"/>
                    <a:pt x="735" y="1046"/>
                  </a:cubicBezTo>
                  <a:cubicBezTo>
                    <a:pt x="735" y="1059"/>
                    <a:pt x="745" y="1068"/>
                    <a:pt x="757" y="1068"/>
                  </a:cubicBezTo>
                  <a:cubicBezTo>
                    <a:pt x="861" y="1068"/>
                    <a:pt x="861" y="1068"/>
                    <a:pt x="861" y="1068"/>
                  </a:cubicBezTo>
                  <a:cubicBezTo>
                    <a:pt x="916" y="1068"/>
                    <a:pt x="961" y="1113"/>
                    <a:pt x="961" y="1168"/>
                  </a:cubicBezTo>
                  <a:cubicBezTo>
                    <a:pt x="961" y="1224"/>
                    <a:pt x="916" y="1269"/>
                    <a:pt x="861" y="1269"/>
                  </a:cubicBezTo>
                  <a:cubicBezTo>
                    <a:pt x="793" y="1269"/>
                    <a:pt x="793" y="1269"/>
                    <a:pt x="793" y="1269"/>
                  </a:cubicBezTo>
                  <a:cubicBezTo>
                    <a:pt x="757" y="1269"/>
                    <a:pt x="757" y="1269"/>
                    <a:pt x="757" y="1269"/>
                  </a:cubicBezTo>
                  <a:cubicBezTo>
                    <a:pt x="724" y="1269"/>
                    <a:pt x="724" y="1269"/>
                    <a:pt x="724" y="1269"/>
                  </a:cubicBezTo>
                  <a:cubicBezTo>
                    <a:pt x="712" y="1269"/>
                    <a:pt x="702" y="1278"/>
                    <a:pt x="702" y="1291"/>
                  </a:cubicBezTo>
                  <a:cubicBezTo>
                    <a:pt x="702" y="1303"/>
                    <a:pt x="712" y="1313"/>
                    <a:pt x="724" y="1313"/>
                  </a:cubicBezTo>
                  <a:cubicBezTo>
                    <a:pt x="757" y="1313"/>
                    <a:pt x="757" y="1313"/>
                    <a:pt x="757" y="1313"/>
                  </a:cubicBezTo>
                  <a:cubicBezTo>
                    <a:pt x="793" y="1313"/>
                    <a:pt x="793" y="1313"/>
                    <a:pt x="793" y="1313"/>
                  </a:cubicBezTo>
                  <a:cubicBezTo>
                    <a:pt x="848" y="1313"/>
                    <a:pt x="893" y="1357"/>
                    <a:pt x="893" y="1413"/>
                  </a:cubicBezTo>
                  <a:cubicBezTo>
                    <a:pt x="893" y="1468"/>
                    <a:pt x="848" y="1513"/>
                    <a:pt x="793" y="1513"/>
                  </a:cubicBezTo>
                  <a:cubicBezTo>
                    <a:pt x="344" y="1513"/>
                    <a:pt x="344" y="1513"/>
                    <a:pt x="344" y="1513"/>
                  </a:cubicBezTo>
                  <a:cubicBezTo>
                    <a:pt x="301" y="1513"/>
                    <a:pt x="175" y="1513"/>
                    <a:pt x="26" y="1394"/>
                  </a:cubicBezTo>
                  <a:cubicBezTo>
                    <a:pt x="26" y="1449"/>
                    <a:pt x="26" y="1449"/>
                    <a:pt x="26" y="1449"/>
                  </a:cubicBezTo>
                  <a:cubicBezTo>
                    <a:pt x="126" y="1521"/>
                    <a:pt x="230" y="1557"/>
                    <a:pt x="344" y="1557"/>
                  </a:cubicBezTo>
                  <a:cubicBezTo>
                    <a:pt x="793" y="1557"/>
                    <a:pt x="793" y="1557"/>
                    <a:pt x="793" y="1557"/>
                  </a:cubicBezTo>
                  <a:cubicBezTo>
                    <a:pt x="872" y="1557"/>
                    <a:pt x="937" y="1492"/>
                    <a:pt x="937" y="1413"/>
                  </a:cubicBezTo>
                  <a:cubicBezTo>
                    <a:pt x="937" y="1372"/>
                    <a:pt x="920" y="1335"/>
                    <a:pt x="892" y="1309"/>
                  </a:cubicBezTo>
                  <a:cubicBezTo>
                    <a:pt x="957" y="1294"/>
                    <a:pt x="1005" y="1237"/>
                    <a:pt x="1005" y="1168"/>
                  </a:cubicBezTo>
                  <a:cubicBezTo>
                    <a:pt x="1005" y="1127"/>
                    <a:pt x="987" y="1089"/>
                    <a:pt x="958" y="1062"/>
                  </a:cubicBezTo>
                  <a:cubicBezTo>
                    <a:pt x="1017" y="1045"/>
                    <a:pt x="1061" y="989"/>
                    <a:pt x="1061" y="924"/>
                  </a:cubicBezTo>
                  <a:cubicBezTo>
                    <a:pt x="1061" y="878"/>
                    <a:pt x="1039" y="837"/>
                    <a:pt x="1004" y="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6">
              <a:extLst>
                <a:ext uri="{FF2B5EF4-FFF2-40B4-BE49-F238E27FC236}">
                  <a16:creationId xmlns:a16="http://schemas.microsoft.com/office/drawing/2014/main" id="{E9F29B5D-8790-4A82-B578-653047FB25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8" y="1740"/>
              <a:ext cx="846" cy="1723"/>
            </a:xfrm>
            <a:custGeom>
              <a:avLst/>
              <a:gdLst>
                <a:gd name="T0" fmla="*/ 193 w 452"/>
                <a:gd name="T1" fmla="*/ 773 h 919"/>
                <a:gd name="T2" fmla="*/ 146 w 452"/>
                <a:gd name="T3" fmla="*/ 820 h 919"/>
                <a:gd name="T4" fmla="*/ 99 w 452"/>
                <a:gd name="T5" fmla="*/ 773 h 919"/>
                <a:gd name="T6" fmla="*/ 146 w 452"/>
                <a:gd name="T7" fmla="*/ 726 h 919"/>
                <a:gd name="T8" fmla="*/ 193 w 452"/>
                <a:gd name="T9" fmla="*/ 773 h 919"/>
                <a:gd name="T10" fmla="*/ 452 w 452"/>
                <a:gd name="T11" fmla="*/ 22 h 919"/>
                <a:gd name="T12" fmla="*/ 452 w 452"/>
                <a:gd name="T13" fmla="*/ 897 h 919"/>
                <a:gd name="T14" fmla="*/ 430 w 452"/>
                <a:gd name="T15" fmla="*/ 919 h 919"/>
                <a:gd name="T16" fmla="*/ 22 w 452"/>
                <a:gd name="T17" fmla="*/ 919 h 919"/>
                <a:gd name="T18" fmla="*/ 0 w 452"/>
                <a:gd name="T19" fmla="*/ 897 h 919"/>
                <a:gd name="T20" fmla="*/ 0 w 452"/>
                <a:gd name="T21" fmla="*/ 22 h 919"/>
                <a:gd name="T22" fmla="*/ 22 w 452"/>
                <a:gd name="T23" fmla="*/ 0 h 919"/>
                <a:gd name="T24" fmla="*/ 430 w 452"/>
                <a:gd name="T25" fmla="*/ 0 h 919"/>
                <a:gd name="T26" fmla="*/ 452 w 452"/>
                <a:gd name="T27" fmla="*/ 22 h 919"/>
                <a:gd name="T28" fmla="*/ 237 w 452"/>
                <a:gd name="T29" fmla="*/ 773 h 919"/>
                <a:gd name="T30" fmla="*/ 146 w 452"/>
                <a:gd name="T31" fmla="*/ 682 h 919"/>
                <a:gd name="T32" fmla="*/ 55 w 452"/>
                <a:gd name="T33" fmla="*/ 773 h 919"/>
                <a:gd name="T34" fmla="*/ 146 w 452"/>
                <a:gd name="T35" fmla="*/ 864 h 919"/>
                <a:gd name="T36" fmla="*/ 237 w 452"/>
                <a:gd name="T37" fmla="*/ 77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2" h="919">
                  <a:moveTo>
                    <a:pt x="193" y="773"/>
                  </a:moveTo>
                  <a:cubicBezTo>
                    <a:pt x="193" y="799"/>
                    <a:pt x="172" y="820"/>
                    <a:pt x="146" y="820"/>
                  </a:cubicBezTo>
                  <a:cubicBezTo>
                    <a:pt x="120" y="820"/>
                    <a:pt x="99" y="799"/>
                    <a:pt x="99" y="773"/>
                  </a:cubicBezTo>
                  <a:cubicBezTo>
                    <a:pt x="99" y="747"/>
                    <a:pt x="120" y="726"/>
                    <a:pt x="146" y="726"/>
                  </a:cubicBezTo>
                  <a:cubicBezTo>
                    <a:pt x="172" y="726"/>
                    <a:pt x="193" y="747"/>
                    <a:pt x="193" y="773"/>
                  </a:cubicBezTo>
                  <a:close/>
                  <a:moveTo>
                    <a:pt x="452" y="22"/>
                  </a:moveTo>
                  <a:cubicBezTo>
                    <a:pt x="452" y="897"/>
                    <a:pt x="452" y="897"/>
                    <a:pt x="452" y="897"/>
                  </a:cubicBezTo>
                  <a:cubicBezTo>
                    <a:pt x="452" y="909"/>
                    <a:pt x="442" y="919"/>
                    <a:pt x="430" y="919"/>
                  </a:cubicBezTo>
                  <a:cubicBezTo>
                    <a:pt x="22" y="919"/>
                    <a:pt x="22" y="919"/>
                    <a:pt x="22" y="919"/>
                  </a:cubicBezTo>
                  <a:cubicBezTo>
                    <a:pt x="10" y="919"/>
                    <a:pt x="0" y="909"/>
                    <a:pt x="0" y="89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30" y="0"/>
                    <a:pt x="430" y="0"/>
                    <a:pt x="430" y="0"/>
                  </a:cubicBezTo>
                  <a:cubicBezTo>
                    <a:pt x="442" y="0"/>
                    <a:pt x="452" y="10"/>
                    <a:pt x="452" y="22"/>
                  </a:cubicBezTo>
                  <a:close/>
                  <a:moveTo>
                    <a:pt x="237" y="773"/>
                  </a:moveTo>
                  <a:cubicBezTo>
                    <a:pt x="237" y="722"/>
                    <a:pt x="196" y="682"/>
                    <a:pt x="146" y="682"/>
                  </a:cubicBezTo>
                  <a:cubicBezTo>
                    <a:pt x="96" y="682"/>
                    <a:pt x="55" y="722"/>
                    <a:pt x="55" y="773"/>
                  </a:cubicBezTo>
                  <a:cubicBezTo>
                    <a:pt x="55" y="823"/>
                    <a:pt x="96" y="864"/>
                    <a:pt x="146" y="864"/>
                  </a:cubicBezTo>
                  <a:cubicBezTo>
                    <a:pt x="196" y="864"/>
                    <a:pt x="237" y="823"/>
                    <a:pt x="237" y="77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7" name="Oval 136">
            <a:extLst>
              <a:ext uri="{FF2B5EF4-FFF2-40B4-BE49-F238E27FC236}">
                <a16:creationId xmlns:a16="http://schemas.microsoft.com/office/drawing/2014/main" id="{C24AEF7A-0728-429D-BD96-0773B0F00662}"/>
              </a:ext>
            </a:extLst>
          </p:cNvPr>
          <p:cNvSpPr/>
          <p:nvPr/>
        </p:nvSpPr>
        <p:spPr>
          <a:xfrm>
            <a:off x="4233944" y="1826703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9B1225E0-FC81-46DA-B780-71E610778CB8}"/>
              </a:ext>
            </a:extLst>
          </p:cNvPr>
          <p:cNvGrpSpPr>
            <a:grpSpLocks noChangeAspect="1"/>
          </p:cNvGrpSpPr>
          <p:nvPr/>
        </p:nvGrpSpPr>
        <p:grpSpPr>
          <a:xfrm>
            <a:off x="4443325" y="1826703"/>
            <a:ext cx="548640" cy="548640"/>
            <a:chOff x="5273675" y="2606675"/>
            <a:chExt cx="1644650" cy="1644650"/>
          </a:xfrm>
        </p:grpSpPr>
        <p:sp>
          <p:nvSpPr>
            <p:cNvPr id="139" name="AutoShape 3">
              <a:extLst>
                <a:ext uri="{FF2B5EF4-FFF2-40B4-BE49-F238E27FC236}">
                  <a16:creationId xmlns:a16="http://schemas.microsoft.com/office/drawing/2014/main" id="{508CFE00-1DA7-40F3-94E6-36473B26975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9A587EAE-3239-4A2B-B337-8D8176A42323}"/>
                </a:ext>
              </a:extLst>
            </p:cNvPr>
            <p:cNvGrpSpPr/>
            <p:nvPr/>
          </p:nvGrpSpPr>
          <p:grpSpPr>
            <a:xfrm>
              <a:off x="5562600" y="2773363"/>
              <a:ext cx="1109818" cy="1268411"/>
              <a:chOff x="5562600" y="2773363"/>
              <a:chExt cx="1109818" cy="1268411"/>
            </a:xfrm>
          </p:grpSpPr>
          <p:sp>
            <p:nvSpPr>
              <p:cNvPr id="141" name="Freeform 13">
                <a:extLst>
                  <a:ext uri="{FF2B5EF4-FFF2-40B4-BE49-F238E27FC236}">
                    <a16:creationId xmlns:a16="http://schemas.microsoft.com/office/drawing/2014/main" id="{503DE3BB-70A9-45EE-8965-CD1BAE344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3114674"/>
                <a:ext cx="1063625" cy="927100"/>
              </a:xfrm>
              <a:custGeom>
                <a:avLst/>
                <a:gdLst>
                  <a:gd name="connsiteX0" fmla="*/ 517189 w 1063625"/>
                  <a:gd name="connsiteY0" fmla="*/ 498475 h 927100"/>
                  <a:gd name="connsiteX1" fmla="*/ 548577 w 1063625"/>
                  <a:gd name="connsiteY1" fmla="*/ 498475 h 927100"/>
                  <a:gd name="connsiteX2" fmla="*/ 548577 w 1063625"/>
                  <a:gd name="connsiteY2" fmla="*/ 605453 h 927100"/>
                  <a:gd name="connsiteX3" fmla="*/ 983015 w 1063625"/>
                  <a:gd name="connsiteY3" fmla="*/ 605453 h 927100"/>
                  <a:gd name="connsiteX4" fmla="*/ 998709 w 1063625"/>
                  <a:gd name="connsiteY4" fmla="*/ 621143 h 927100"/>
                  <a:gd name="connsiteX5" fmla="*/ 998709 w 1063625"/>
                  <a:gd name="connsiteY5" fmla="*/ 753796 h 927100"/>
                  <a:gd name="connsiteX6" fmla="*/ 1023677 w 1063625"/>
                  <a:gd name="connsiteY6" fmla="*/ 753796 h 927100"/>
                  <a:gd name="connsiteX7" fmla="*/ 992289 w 1063625"/>
                  <a:gd name="connsiteY7" fmla="*/ 785176 h 927100"/>
                  <a:gd name="connsiteX8" fmla="*/ 920953 w 1063625"/>
                  <a:gd name="connsiteY8" fmla="*/ 785176 h 927100"/>
                  <a:gd name="connsiteX9" fmla="*/ 920953 w 1063625"/>
                  <a:gd name="connsiteY9" fmla="*/ 895720 h 927100"/>
                  <a:gd name="connsiteX10" fmla="*/ 1032237 w 1063625"/>
                  <a:gd name="connsiteY10" fmla="*/ 895720 h 927100"/>
                  <a:gd name="connsiteX11" fmla="*/ 1032237 w 1063625"/>
                  <a:gd name="connsiteY11" fmla="*/ 877890 h 927100"/>
                  <a:gd name="connsiteX12" fmla="*/ 1063625 w 1063625"/>
                  <a:gd name="connsiteY12" fmla="*/ 846510 h 927100"/>
                  <a:gd name="connsiteX13" fmla="*/ 1063625 w 1063625"/>
                  <a:gd name="connsiteY13" fmla="*/ 911410 h 927100"/>
                  <a:gd name="connsiteX14" fmla="*/ 1047931 w 1063625"/>
                  <a:gd name="connsiteY14" fmla="*/ 927100 h 927100"/>
                  <a:gd name="connsiteX15" fmla="*/ 905259 w 1063625"/>
                  <a:gd name="connsiteY15" fmla="*/ 927100 h 927100"/>
                  <a:gd name="connsiteX16" fmla="*/ 889565 w 1063625"/>
                  <a:gd name="connsiteY16" fmla="*/ 911410 h 927100"/>
                  <a:gd name="connsiteX17" fmla="*/ 889565 w 1063625"/>
                  <a:gd name="connsiteY17" fmla="*/ 769486 h 927100"/>
                  <a:gd name="connsiteX18" fmla="*/ 905259 w 1063625"/>
                  <a:gd name="connsiteY18" fmla="*/ 753796 h 927100"/>
                  <a:gd name="connsiteX19" fmla="*/ 967321 w 1063625"/>
                  <a:gd name="connsiteY19" fmla="*/ 753796 h 927100"/>
                  <a:gd name="connsiteX20" fmla="*/ 967321 w 1063625"/>
                  <a:gd name="connsiteY20" fmla="*/ 636833 h 927100"/>
                  <a:gd name="connsiteX21" fmla="*/ 548577 w 1063625"/>
                  <a:gd name="connsiteY21" fmla="*/ 636833 h 927100"/>
                  <a:gd name="connsiteX22" fmla="*/ 548577 w 1063625"/>
                  <a:gd name="connsiteY22" fmla="*/ 753796 h 927100"/>
                  <a:gd name="connsiteX23" fmla="*/ 579965 w 1063625"/>
                  <a:gd name="connsiteY23" fmla="*/ 753796 h 927100"/>
                  <a:gd name="connsiteX24" fmla="*/ 548577 w 1063625"/>
                  <a:gd name="connsiteY24" fmla="*/ 785176 h 927100"/>
                  <a:gd name="connsiteX25" fmla="*/ 547863 w 1063625"/>
                  <a:gd name="connsiteY25" fmla="*/ 785176 h 927100"/>
                  <a:gd name="connsiteX26" fmla="*/ 532883 w 1063625"/>
                  <a:gd name="connsiteY26" fmla="*/ 797300 h 927100"/>
                  <a:gd name="connsiteX27" fmla="*/ 517189 w 1063625"/>
                  <a:gd name="connsiteY27" fmla="*/ 785176 h 927100"/>
                  <a:gd name="connsiteX28" fmla="*/ 477240 w 1063625"/>
                  <a:gd name="connsiteY28" fmla="*/ 785176 h 927100"/>
                  <a:gd name="connsiteX29" fmla="*/ 477240 w 1063625"/>
                  <a:gd name="connsiteY29" fmla="*/ 895720 h 927100"/>
                  <a:gd name="connsiteX30" fmla="*/ 588525 w 1063625"/>
                  <a:gd name="connsiteY30" fmla="*/ 895720 h 927100"/>
                  <a:gd name="connsiteX31" fmla="*/ 588525 w 1063625"/>
                  <a:gd name="connsiteY31" fmla="*/ 877890 h 927100"/>
                  <a:gd name="connsiteX32" fmla="*/ 619913 w 1063625"/>
                  <a:gd name="connsiteY32" fmla="*/ 846510 h 927100"/>
                  <a:gd name="connsiteX33" fmla="*/ 619913 w 1063625"/>
                  <a:gd name="connsiteY33" fmla="*/ 911410 h 927100"/>
                  <a:gd name="connsiteX34" fmla="*/ 604219 w 1063625"/>
                  <a:gd name="connsiteY34" fmla="*/ 927100 h 927100"/>
                  <a:gd name="connsiteX35" fmla="*/ 461546 w 1063625"/>
                  <a:gd name="connsiteY35" fmla="*/ 927100 h 927100"/>
                  <a:gd name="connsiteX36" fmla="*/ 445852 w 1063625"/>
                  <a:gd name="connsiteY36" fmla="*/ 911410 h 927100"/>
                  <a:gd name="connsiteX37" fmla="*/ 445852 w 1063625"/>
                  <a:gd name="connsiteY37" fmla="*/ 769486 h 927100"/>
                  <a:gd name="connsiteX38" fmla="*/ 461546 w 1063625"/>
                  <a:gd name="connsiteY38" fmla="*/ 753796 h 927100"/>
                  <a:gd name="connsiteX39" fmla="*/ 517189 w 1063625"/>
                  <a:gd name="connsiteY39" fmla="*/ 753796 h 927100"/>
                  <a:gd name="connsiteX40" fmla="*/ 517189 w 1063625"/>
                  <a:gd name="connsiteY40" fmla="*/ 636833 h 927100"/>
                  <a:gd name="connsiteX41" fmla="*/ 101298 w 1063625"/>
                  <a:gd name="connsiteY41" fmla="*/ 636833 h 927100"/>
                  <a:gd name="connsiteX42" fmla="*/ 101298 w 1063625"/>
                  <a:gd name="connsiteY42" fmla="*/ 753796 h 927100"/>
                  <a:gd name="connsiteX43" fmla="*/ 134826 w 1063625"/>
                  <a:gd name="connsiteY43" fmla="*/ 753796 h 927100"/>
                  <a:gd name="connsiteX44" fmla="*/ 103438 w 1063625"/>
                  <a:gd name="connsiteY44" fmla="*/ 785176 h 927100"/>
                  <a:gd name="connsiteX45" fmla="*/ 31388 w 1063625"/>
                  <a:gd name="connsiteY45" fmla="*/ 785176 h 927100"/>
                  <a:gd name="connsiteX46" fmla="*/ 31388 w 1063625"/>
                  <a:gd name="connsiteY46" fmla="*/ 895720 h 927100"/>
                  <a:gd name="connsiteX47" fmla="*/ 143386 w 1063625"/>
                  <a:gd name="connsiteY47" fmla="*/ 895720 h 927100"/>
                  <a:gd name="connsiteX48" fmla="*/ 143386 w 1063625"/>
                  <a:gd name="connsiteY48" fmla="*/ 877890 h 927100"/>
                  <a:gd name="connsiteX49" fmla="*/ 174774 w 1063625"/>
                  <a:gd name="connsiteY49" fmla="*/ 846510 h 927100"/>
                  <a:gd name="connsiteX50" fmla="*/ 174774 w 1063625"/>
                  <a:gd name="connsiteY50" fmla="*/ 911410 h 927100"/>
                  <a:gd name="connsiteX51" fmla="*/ 159080 w 1063625"/>
                  <a:gd name="connsiteY51" fmla="*/ 927100 h 927100"/>
                  <a:gd name="connsiteX52" fmla="*/ 15694 w 1063625"/>
                  <a:gd name="connsiteY52" fmla="*/ 927100 h 927100"/>
                  <a:gd name="connsiteX53" fmla="*/ 0 w 1063625"/>
                  <a:gd name="connsiteY53" fmla="*/ 911410 h 927100"/>
                  <a:gd name="connsiteX54" fmla="*/ 0 w 1063625"/>
                  <a:gd name="connsiteY54" fmla="*/ 769486 h 927100"/>
                  <a:gd name="connsiteX55" fmla="*/ 15694 w 1063625"/>
                  <a:gd name="connsiteY55" fmla="*/ 753796 h 927100"/>
                  <a:gd name="connsiteX56" fmla="*/ 69910 w 1063625"/>
                  <a:gd name="connsiteY56" fmla="*/ 753796 h 927100"/>
                  <a:gd name="connsiteX57" fmla="*/ 69910 w 1063625"/>
                  <a:gd name="connsiteY57" fmla="*/ 621143 h 927100"/>
                  <a:gd name="connsiteX58" fmla="*/ 85604 w 1063625"/>
                  <a:gd name="connsiteY58" fmla="*/ 605453 h 927100"/>
                  <a:gd name="connsiteX59" fmla="*/ 517189 w 1063625"/>
                  <a:gd name="connsiteY59" fmla="*/ 605453 h 927100"/>
                  <a:gd name="connsiteX60" fmla="*/ 517189 w 1063625"/>
                  <a:gd name="connsiteY60" fmla="*/ 498475 h 927100"/>
                  <a:gd name="connsiteX61" fmla="*/ 397746 w 1063625"/>
                  <a:gd name="connsiteY61" fmla="*/ 276225 h 927100"/>
                  <a:gd name="connsiteX62" fmla="*/ 530544 w 1063625"/>
                  <a:gd name="connsiteY62" fmla="*/ 384270 h 927100"/>
                  <a:gd name="connsiteX63" fmla="*/ 536256 w 1063625"/>
                  <a:gd name="connsiteY63" fmla="*/ 384270 h 927100"/>
                  <a:gd name="connsiteX64" fmla="*/ 669054 w 1063625"/>
                  <a:gd name="connsiteY64" fmla="*/ 276225 h 927100"/>
                  <a:gd name="connsiteX65" fmla="*/ 848975 w 1063625"/>
                  <a:gd name="connsiteY65" fmla="*/ 306790 h 927100"/>
                  <a:gd name="connsiteX66" fmla="*/ 950358 w 1063625"/>
                  <a:gd name="connsiteY66" fmla="*/ 453219 h 927100"/>
                  <a:gd name="connsiteX67" fmla="*/ 940363 w 1063625"/>
                  <a:gd name="connsiteY67" fmla="*/ 466725 h 927100"/>
                  <a:gd name="connsiteX68" fmla="*/ 547680 w 1063625"/>
                  <a:gd name="connsiteY68" fmla="*/ 466725 h 927100"/>
                  <a:gd name="connsiteX69" fmla="*/ 516265 w 1063625"/>
                  <a:gd name="connsiteY69" fmla="*/ 466725 h 927100"/>
                  <a:gd name="connsiteX70" fmla="*/ 126438 w 1063625"/>
                  <a:gd name="connsiteY70" fmla="*/ 466725 h 927100"/>
                  <a:gd name="connsiteX71" fmla="*/ 116442 w 1063625"/>
                  <a:gd name="connsiteY71" fmla="*/ 453219 h 927100"/>
                  <a:gd name="connsiteX72" fmla="*/ 217826 w 1063625"/>
                  <a:gd name="connsiteY72" fmla="*/ 306790 h 927100"/>
                  <a:gd name="connsiteX73" fmla="*/ 397746 w 1063625"/>
                  <a:gd name="connsiteY73" fmla="*/ 276225 h 927100"/>
                  <a:gd name="connsiteX74" fmla="*/ 312738 w 1063625"/>
                  <a:gd name="connsiteY74" fmla="*/ 0 h 927100"/>
                  <a:gd name="connsiteX75" fmla="*/ 331292 w 1063625"/>
                  <a:gd name="connsiteY75" fmla="*/ 5716 h 927100"/>
                  <a:gd name="connsiteX76" fmla="*/ 337714 w 1063625"/>
                  <a:gd name="connsiteY76" fmla="*/ 5002 h 927100"/>
                  <a:gd name="connsiteX77" fmla="*/ 358409 w 1063625"/>
                  <a:gd name="connsiteY77" fmla="*/ 28583 h 927100"/>
                  <a:gd name="connsiteX78" fmla="*/ 363404 w 1063625"/>
                  <a:gd name="connsiteY78" fmla="*/ 34300 h 927100"/>
                  <a:gd name="connsiteX79" fmla="*/ 429769 w 1063625"/>
                  <a:gd name="connsiteY79" fmla="*/ 174357 h 927100"/>
                  <a:gd name="connsiteX80" fmla="*/ 533954 w 1063625"/>
                  <a:gd name="connsiteY80" fmla="*/ 226521 h 927100"/>
                  <a:gd name="connsiteX81" fmla="*/ 638140 w 1063625"/>
                  <a:gd name="connsiteY81" fmla="*/ 174357 h 927100"/>
                  <a:gd name="connsiteX82" fmla="*/ 704504 w 1063625"/>
                  <a:gd name="connsiteY82" fmla="*/ 34300 h 927100"/>
                  <a:gd name="connsiteX83" fmla="*/ 709499 w 1063625"/>
                  <a:gd name="connsiteY83" fmla="*/ 28583 h 927100"/>
                  <a:gd name="connsiteX84" fmla="*/ 715922 w 1063625"/>
                  <a:gd name="connsiteY84" fmla="*/ 24296 h 927100"/>
                  <a:gd name="connsiteX85" fmla="*/ 749461 w 1063625"/>
                  <a:gd name="connsiteY85" fmla="*/ 15006 h 927100"/>
                  <a:gd name="connsiteX86" fmla="*/ 750175 w 1063625"/>
                  <a:gd name="connsiteY86" fmla="*/ 14291 h 927100"/>
                  <a:gd name="connsiteX87" fmla="*/ 750888 w 1063625"/>
                  <a:gd name="connsiteY87" fmla="*/ 14291 h 927100"/>
                  <a:gd name="connsiteX88" fmla="*/ 723771 w 1063625"/>
                  <a:gd name="connsiteY88" fmla="*/ 46447 h 927100"/>
                  <a:gd name="connsiteX89" fmla="*/ 653125 w 1063625"/>
                  <a:gd name="connsiteY89" fmla="*/ 191507 h 927100"/>
                  <a:gd name="connsiteX90" fmla="*/ 644562 w 1063625"/>
                  <a:gd name="connsiteY90" fmla="*/ 197938 h 927100"/>
                  <a:gd name="connsiteX91" fmla="*/ 644562 w 1063625"/>
                  <a:gd name="connsiteY91" fmla="*/ 257248 h 927100"/>
                  <a:gd name="connsiteX92" fmla="*/ 643848 w 1063625"/>
                  <a:gd name="connsiteY92" fmla="*/ 257963 h 927100"/>
                  <a:gd name="connsiteX93" fmla="*/ 621727 w 1063625"/>
                  <a:gd name="connsiteY93" fmla="*/ 279400 h 927100"/>
                  <a:gd name="connsiteX94" fmla="*/ 621727 w 1063625"/>
                  <a:gd name="connsiteY94" fmla="*/ 214373 h 927100"/>
                  <a:gd name="connsiteX95" fmla="*/ 533954 w 1063625"/>
                  <a:gd name="connsiteY95" fmla="*/ 249388 h 927100"/>
                  <a:gd name="connsiteX96" fmla="*/ 446181 w 1063625"/>
                  <a:gd name="connsiteY96" fmla="*/ 214373 h 927100"/>
                  <a:gd name="connsiteX97" fmla="*/ 446181 w 1063625"/>
                  <a:gd name="connsiteY97" fmla="*/ 279400 h 927100"/>
                  <a:gd name="connsiteX98" fmla="*/ 424060 w 1063625"/>
                  <a:gd name="connsiteY98" fmla="*/ 257963 h 927100"/>
                  <a:gd name="connsiteX99" fmla="*/ 423346 w 1063625"/>
                  <a:gd name="connsiteY99" fmla="*/ 257248 h 927100"/>
                  <a:gd name="connsiteX100" fmla="*/ 423346 w 1063625"/>
                  <a:gd name="connsiteY100" fmla="*/ 197938 h 927100"/>
                  <a:gd name="connsiteX101" fmla="*/ 414783 w 1063625"/>
                  <a:gd name="connsiteY101" fmla="*/ 191507 h 927100"/>
                  <a:gd name="connsiteX102" fmla="*/ 344137 w 1063625"/>
                  <a:gd name="connsiteY102" fmla="*/ 46447 h 927100"/>
                  <a:gd name="connsiteX103" fmla="*/ 312738 w 1063625"/>
                  <a:gd name="connsiteY103" fmla="*/ 0 h 927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063625" h="927100">
                    <a:moveTo>
                      <a:pt x="517189" y="498475"/>
                    </a:moveTo>
                    <a:cubicBezTo>
                      <a:pt x="517189" y="498475"/>
                      <a:pt x="517189" y="498475"/>
                      <a:pt x="548577" y="498475"/>
                    </a:cubicBezTo>
                    <a:cubicBezTo>
                      <a:pt x="548577" y="498475"/>
                      <a:pt x="548577" y="498475"/>
                      <a:pt x="548577" y="605453"/>
                    </a:cubicBezTo>
                    <a:cubicBezTo>
                      <a:pt x="548577" y="605453"/>
                      <a:pt x="548577" y="605453"/>
                      <a:pt x="983015" y="605453"/>
                    </a:cubicBezTo>
                    <a:cubicBezTo>
                      <a:pt x="991576" y="605453"/>
                      <a:pt x="998709" y="612585"/>
                      <a:pt x="998709" y="621143"/>
                    </a:cubicBezTo>
                    <a:cubicBezTo>
                      <a:pt x="998709" y="621143"/>
                      <a:pt x="998709" y="621143"/>
                      <a:pt x="998709" y="753796"/>
                    </a:cubicBezTo>
                    <a:cubicBezTo>
                      <a:pt x="1006556" y="753796"/>
                      <a:pt x="1014403" y="753796"/>
                      <a:pt x="1023677" y="753796"/>
                    </a:cubicBezTo>
                    <a:cubicBezTo>
                      <a:pt x="1023677" y="753796"/>
                      <a:pt x="1023677" y="753796"/>
                      <a:pt x="992289" y="785176"/>
                    </a:cubicBezTo>
                    <a:cubicBezTo>
                      <a:pt x="992289" y="785176"/>
                      <a:pt x="992289" y="785176"/>
                      <a:pt x="920953" y="785176"/>
                    </a:cubicBezTo>
                    <a:cubicBezTo>
                      <a:pt x="920953" y="785176"/>
                      <a:pt x="920953" y="785176"/>
                      <a:pt x="920953" y="895720"/>
                    </a:cubicBezTo>
                    <a:cubicBezTo>
                      <a:pt x="920953" y="895720"/>
                      <a:pt x="920953" y="895720"/>
                      <a:pt x="1032237" y="895720"/>
                    </a:cubicBezTo>
                    <a:cubicBezTo>
                      <a:pt x="1032237" y="895720"/>
                      <a:pt x="1032237" y="895720"/>
                      <a:pt x="1032237" y="877890"/>
                    </a:cubicBezTo>
                    <a:cubicBezTo>
                      <a:pt x="1032237" y="877890"/>
                      <a:pt x="1032237" y="877890"/>
                      <a:pt x="1063625" y="846510"/>
                    </a:cubicBezTo>
                    <a:cubicBezTo>
                      <a:pt x="1063625" y="846510"/>
                      <a:pt x="1063625" y="846510"/>
                      <a:pt x="1063625" y="911410"/>
                    </a:cubicBezTo>
                    <a:cubicBezTo>
                      <a:pt x="1063625" y="920681"/>
                      <a:pt x="1056492" y="927100"/>
                      <a:pt x="1047931" y="927100"/>
                    </a:cubicBezTo>
                    <a:cubicBezTo>
                      <a:pt x="1047931" y="927100"/>
                      <a:pt x="1047931" y="927100"/>
                      <a:pt x="905259" y="927100"/>
                    </a:cubicBezTo>
                    <a:cubicBezTo>
                      <a:pt x="896698" y="927100"/>
                      <a:pt x="889565" y="920681"/>
                      <a:pt x="889565" y="911410"/>
                    </a:cubicBezTo>
                    <a:cubicBezTo>
                      <a:pt x="889565" y="911410"/>
                      <a:pt x="889565" y="911410"/>
                      <a:pt x="889565" y="769486"/>
                    </a:cubicBezTo>
                    <a:cubicBezTo>
                      <a:pt x="889565" y="760928"/>
                      <a:pt x="896698" y="753796"/>
                      <a:pt x="905259" y="753796"/>
                    </a:cubicBezTo>
                    <a:cubicBezTo>
                      <a:pt x="905259" y="753796"/>
                      <a:pt x="905259" y="753796"/>
                      <a:pt x="967321" y="753796"/>
                    </a:cubicBezTo>
                    <a:cubicBezTo>
                      <a:pt x="967321" y="753796"/>
                      <a:pt x="967321" y="753796"/>
                      <a:pt x="967321" y="636833"/>
                    </a:cubicBezTo>
                    <a:cubicBezTo>
                      <a:pt x="967321" y="636833"/>
                      <a:pt x="967321" y="636833"/>
                      <a:pt x="548577" y="636833"/>
                    </a:cubicBezTo>
                    <a:cubicBezTo>
                      <a:pt x="548577" y="636833"/>
                      <a:pt x="548577" y="636833"/>
                      <a:pt x="548577" y="753796"/>
                    </a:cubicBezTo>
                    <a:cubicBezTo>
                      <a:pt x="557850" y="753796"/>
                      <a:pt x="568551" y="753796"/>
                      <a:pt x="579965" y="753796"/>
                    </a:cubicBezTo>
                    <a:cubicBezTo>
                      <a:pt x="579965" y="753796"/>
                      <a:pt x="579965" y="753796"/>
                      <a:pt x="548577" y="785176"/>
                    </a:cubicBezTo>
                    <a:cubicBezTo>
                      <a:pt x="548577" y="785176"/>
                      <a:pt x="548577" y="785176"/>
                      <a:pt x="547863" y="785176"/>
                    </a:cubicBezTo>
                    <a:cubicBezTo>
                      <a:pt x="546437" y="792308"/>
                      <a:pt x="540016" y="797300"/>
                      <a:pt x="532883" y="797300"/>
                    </a:cubicBezTo>
                    <a:cubicBezTo>
                      <a:pt x="525036" y="797300"/>
                      <a:pt x="519329" y="792308"/>
                      <a:pt x="517189" y="785176"/>
                    </a:cubicBezTo>
                    <a:cubicBezTo>
                      <a:pt x="507202" y="785176"/>
                      <a:pt x="494361" y="785176"/>
                      <a:pt x="477240" y="785176"/>
                    </a:cubicBezTo>
                    <a:cubicBezTo>
                      <a:pt x="477240" y="785176"/>
                      <a:pt x="477240" y="785176"/>
                      <a:pt x="477240" y="895720"/>
                    </a:cubicBezTo>
                    <a:cubicBezTo>
                      <a:pt x="477240" y="895720"/>
                      <a:pt x="477240" y="895720"/>
                      <a:pt x="588525" y="895720"/>
                    </a:cubicBezTo>
                    <a:cubicBezTo>
                      <a:pt x="588525" y="895720"/>
                      <a:pt x="588525" y="895720"/>
                      <a:pt x="588525" y="877890"/>
                    </a:cubicBezTo>
                    <a:cubicBezTo>
                      <a:pt x="588525" y="877890"/>
                      <a:pt x="588525" y="877890"/>
                      <a:pt x="619913" y="846510"/>
                    </a:cubicBezTo>
                    <a:cubicBezTo>
                      <a:pt x="619913" y="846510"/>
                      <a:pt x="619913" y="846510"/>
                      <a:pt x="619913" y="911410"/>
                    </a:cubicBezTo>
                    <a:cubicBezTo>
                      <a:pt x="619913" y="920681"/>
                      <a:pt x="612779" y="927100"/>
                      <a:pt x="604219" y="927100"/>
                    </a:cubicBezTo>
                    <a:cubicBezTo>
                      <a:pt x="604219" y="927100"/>
                      <a:pt x="604219" y="927100"/>
                      <a:pt x="461546" y="927100"/>
                    </a:cubicBezTo>
                    <a:cubicBezTo>
                      <a:pt x="452986" y="927100"/>
                      <a:pt x="445852" y="920681"/>
                      <a:pt x="445852" y="911410"/>
                    </a:cubicBezTo>
                    <a:cubicBezTo>
                      <a:pt x="445852" y="911410"/>
                      <a:pt x="445852" y="911410"/>
                      <a:pt x="445852" y="769486"/>
                    </a:cubicBezTo>
                    <a:cubicBezTo>
                      <a:pt x="445852" y="760928"/>
                      <a:pt x="452986" y="753796"/>
                      <a:pt x="461546" y="753796"/>
                    </a:cubicBezTo>
                    <a:cubicBezTo>
                      <a:pt x="461546" y="753796"/>
                      <a:pt x="461546" y="753796"/>
                      <a:pt x="517189" y="753796"/>
                    </a:cubicBezTo>
                    <a:cubicBezTo>
                      <a:pt x="517189" y="753796"/>
                      <a:pt x="517189" y="753796"/>
                      <a:pt x="517189" y="636833"/>
                    </a:cubicBezTo>
                    <a:cubicBezTo>
                      <a:pt x="517189" y="636833"/>
                      <a:pt x="517189" y="636833"/>
                      <a:pt x="101298" y="636833"/>
                    </a:cubicBezTo>
                    <a:cubicBezTo>
                      <a:pt x="101298" y="636833"/>
                      <a:pt x="101298" y="636833"/>
                      <a:pt x="101298" y="753796"/>
                    </a:cubicBezTo>
                    <a:cubicBezTo>
                      <a:pt x="111285" y="753796"/>
                      <a:pt x="122699" y="753796"/>
                      <a:pt x="134826" y="753796"/>
                    </a:cubicBezTo>
                    <a:cubicBezTo>
                      <a:pt x="134826" y="753796"/>
                      <a:pt x="134826" y="753796"/>
                      <a:pt x="103438" y="785176"/>
                    </a:cubicBezTo>
                    <a:cubicBezTo>
                      <a:pt x="103438" y="785176"/>
                      <a:pt x="103438" y="785176"/>
                      <a:pt x="31388" y="785176"/>
                    </a:cubicBezTo>
                    <a:cubicBezTo>
                      <a:pt x="31388" y="785176"/>
                      <a:pt x="31388" y="785176"/>
                      <a:pt x="31388" y="895720"/>
                    </a:cubicBezTo>
                    <a:cubicBezTo>
                      <a:pt x="31388" y="895720"/>
                      <a:pt x="31388" y="895720"/>
                      <a:pt x="143386" y="895720"/>
                    </a:cubicBezTo>
                    <a:cubicBezTo>
                      <a:pt x="143386" y="895720"/>
                      <a:pt x="143386" y="895720"/>
                      <a:pt x="143386" y="877890"/>
                    </a:cubicBezTo>
                    <a:cubicBezTo>
                      <a:pt x="143386" y="877890"/>
                      <a:pt x="143386" y="877890"/>
                      <a:pt x="174774" y="846510"/>
                    </a:cubicBezTo>
                    <a:cubicBezTo>
                      <a:pt x="174774" y="846510"/>
                      <a:pt x="174774" y="846510"/>
                      <a:pt x="174774" y="911410"/>
                    </a:cubicBezTo>
                    <a:cubicBezTo>
                      <a:pt x="174774" y="920681"/>
                      <a:pt x="167641" y="927100"/>
                      <a:pt x="159080" y="927100"/>
                    </a:cubicBezTo>
                    <a:cubicBezTo>
                      <a:pt x="159080" y="927100"/>
                      <a:pt x="159080" y="927100"/>
                      <a:pt x="15694" y="927100"/>
                    </a:cubicBezTo>
                    <a:cubicBezTo>
                      <a:pt x="7134" y="927100"/>
                      <a:pt x="0" y="920681"/>
                      <a:pt x="0" y="911410"/>
                    </a:cubicBezTo>
                    <a:cubicBezTo>
                      <a:pt x="0" y="911410"/>
                      <a:pt x="0" y="911410"/>
                      <a:pt x="0" y="769486"/>
                    </a:cubicBezTo>
                    <a:cubicBezTo>
                      <a:pt x="0" y="760928"/>
                      <a:pt x="7134" y="753796"/>
                      <a:pt x="15694" y="753796"/>
                    </a:cubicBezTo>
                    <a:cubicBezTo>
                      <a:pt x="15694" y="753796"/>
                      <a:pt x="15694" y="753796"/>
                      <a:pt x="69910" y="753796"/>
                    </a:cubicBezTo>
                    <a:cubicBezTo>
                      <a:pt x="69910" y="753796"/>
                      <a:pt x="69910" y="753796"/>
                      <a:pt x="69910" y="621143"/>
                    </a:cubicBezTo>
                    <a:cubicBezTo>
                      <a:pt x="69910" y="612585"/>
                      <a:pt x="77044" y="605453"/>
                      <a:pt x="85604" y="605453"/>
                    </a:cubicBezTo>
                    <a:cubicBezTo>
                      <a:pt x="85604" y="605453"/>
                      <a:pt x="85604" y="605453"/>
                      <a:pt x="517189" y="605453"/>
                    </a:cubicBezTo>
                    <a:cubicBezTo>
                      <a:pt x="517189" y="605453"/>
                      <a:pt x="517189" y="605453"/>
                      <a:pt x="517189" y="498475"/>
                    </a:cubicBezTo>
                    <a:close/>
                    <a:moveTo>
                      <a:pt x="397746" y="276225"/>
                    </a:moveTo>
                    <a:cubicBezTo>
                      <a:pt x="397746" y="276225"/>
                      <a:pt x="487706" y="350150"/>
                      <a:pt x="530544" y="384270"/>
                    </a:cubicBezTo>
                    <a:cubicBezTo>
                      <a:pt x="531972" y="385691"/>
                      <a:pt x="534828" y="385691"/>
                      <a:pt x="536256" y="384270"/>
                    </a:cubicBezTo>
                    <a:cubicBezTo>
                      <a:pt x="594088" y="338066"/>
                      <a:pt x="669054" y="276225"/>
                      <a:pt x="669054" y="276225"/>
                    </a:cubicBezTo>
                    <a:cubicBezTo>
                      <a:pt x="669054" y="276225"/>
                      <a:pt x="786145" y="277647"/>
                      <a:pt x="848975" y="306790"/>
                    </a:cubicBezTo>
                    <a:cubicBezTo>
                      <a:pt x="900380" y="329536"/>
                      <a:pt x="937507" y="419100"/>
                      <a:pt x="950358" y="453219"/>
                    </a:cubicBezTo>
                    <a:cubicBezTo>
                      <a:pt x="952500" y="459617"/>
                      <a:pt x="947502" y="466725"/>
                      <a:pt x="940363" y="466725"/>
                    </a:cubicBezTo>
                    <a:cubicBezTo>
                      <a:pt x="940363" y="466725"/>
                      <a:pt x="940363" y="466725"/>
                      <a:pt x="547680" y="466725"/>
                    </a:cubicBezTo>
                    <a:cubicBezTo>
                      <a:pt x="547680" y="466725"/>
                      <a:pt x="547680" y="466725"/>
                      <a:pt x="516265" y="466725"/>
                    </a:cubicBezTo>
                    <a:cubicBezTo>
                      <a:pt x="516265" y="466725"/>
                      <a:pt x="516265" y="466725"/>
                      <a:pt x="126438" y="466725"/>
                    </a:cubicBezTo>
                    <a:cubicBezTo>
                      <a:pt x="119298" y="466725"/>
                      <a:pt x="114300" y="459617"/>
                      <a:pt x="116442" y="453219"/>
                    </a:cubicBezTo>
                    <a:cubicBezTo>
                      <a:pt x="129294" y="419100"/>
                      <a:pt x="166420" y="329536"/>
                      <a:pt x="217826" y="306790"/>
                    </a:cubicBezTo>
                    <a:cubicBezTo>
                      <a:pt x="280655" y="277647"/>
                      <a:pt x="397746" y="276225"/>
                      <a:pt x="397746" y="276225"/>
                    </a:cubicBezTo>
                    <a:close/>
                    <a:moveTo>
                      <a:pt x="312738" y="0"/>
                    </a:moveTo>
                    <a:cubicBezTo>
                      <a:pt x="319161" y="4287"/>
                      <a:pt x="326297" y="5716"/>
                      <a:pt x="331292" y="5716"/>
                    </a:cubicBezTo>
                    <a:cubicBezTo>
                      <a:pt x="332719" y="5716"/>
                      <a:pt x="335573" y="5716"/>
                      <a:pt x="337714" y="5002"/>
                    </a:cubicBezTo>
                    <a:cubicBezTo>
                      <a:pt x="341282" y="13577"/>
                      <a:pt x="346991" y="22866"/>
                      <a:pt x="358409" y="28583"/>
                    </a:cubicBezTo>
                    <a:cubicBezTo>
                      <a:pt x="360549" y="29298"/>
                      <a:pt x="362690" y="31441"/>
                      <a:pt x="363404" y="34300"/>
                    </a:cubicBezTo>
                    <a:cubicBezTo>
                      <a:pt x="381957" y="82176"/>
                      <a:pt x="416924" y="162209"/>
                      <a:pt x="429769" y="174357"/>
                    </a:cubicBezTo>
                    <a:cubicBezTo>
                      <a:pt x="449749" y="191507"/>
                      <a:pt x="504696" y="226521"/>
                      <a:pt x="533954" y="226521"/>
                    </a:cubicBezTo>
                    <a:cubicBezTo>
                      <a:pt x="563212" y="226521"/>
                      <a:pt x="618159" y="191507"/>
                      <a:pt x="638140" y="174357"/>
                    </a:cubicBezTo>
                    <a:cubicBezTo>
                      <a:pt x="650984" y="162209"/>
                      <a:pt x="685237" y="82176"/>
                      <a:pt x="704504" y="34300"/>
                    </a:cubicBezTo>
                    <a:cubicBezTo>
                      <a:pt x="705218" y="31441"/>
                      <a:pt x="707359" y="29298"/>
                      <a:pt x="709499" y="28583"/>
                    </a:cubicBezTo>
                    <a:cubicBezTo>
                      <a:pt x="712354" y="27154"/>
                      <a:pt x="714495" y="25725"/>
                      <a:pt x="715922" y="24296"/>
                    </a:cubicBezTo>
                    <a:cubicBezTo>
                      <a:pt x="728767" y="22866"/>
                      <a:pt x="740898" y="18579"/>
                      <a:pt x="749461" y="15006"/>
                    </a:cubicBezTo>
                    <a:cubicBezTo>
                      <a:pt x="749461" y="15006"/>
                      <a:pt x="749461" y="15006"/>
                      <a:pt x="750175" y="14291"/>
                    </a:cubicBezTo>
                    <a:cubicBezTo>
                      <a:pt x="750888" y="14291"/>
                      <a:pt x="750888" y="14291"/>
                      <a:pt x="750888" y="14291"/>
                    </a:cubicBezTo>
                    <a:cubicBezTo>
                      <a:pt x="746607" y="25010"/>
                      <a:pt x="738043" y="37873"/>
                      <a:pt x="723771" y="46447"/>
                    </a:cubicBezTo>
                    <a:cubicBezTo>
                      <a:pt x="713067" y="75031"/>
                      <a:pt x="673106" y="173642"/>
                      <a:pt x="653125" y="191507"/>
                    </a:cubicBezTo>
                    <a:cubicBezTo>
                      <a:pt x="650271" y="192936"/>
                      <a:pt x="648130" y="195794"/>
                      <a:pt x="644562" y="197938"/>
                    </a:cubicBezTo>
                    <a:cubicBezTo>
                      <a:pt x="644562" y="197938"/>
                      <a:pt x="644562" y="197938"/>
                      <a:pt x="644562" y="257248"/>
                    </a:cubicBezTo>
                    <a:cubicBezTo>
                      <a:pt x="644562" y="257248"/>
                      <a:pt x="644562" y="257248"/>
                      <a:pt x="643848" y="257963"/>
                    </a:cubicBezTo>
                    <a:cubicBezTo>
                      <a:pt x="643135" y="258677"/>
                      <a:pt x="635999" y="268681"/>
                      <a:pt x="621727" y="279400"/>
                    </a:cubicBezTo>
                    <a:cubicBezTo>
                      <a:pt x="621727" y="279400"/>
                      <a:pt x="621727" y="279400"/>
                      <a:pt x="621727" y="214373"/>
                    </a:cubicBezTo>
                    <a:cubicBezTo>
                      <a:pt x="594610" y="231523"/>
                      <a:pt x="559644" y="249388"/>
                      <a:pt x="533954" y="249388"/>
                    </a:cubicBezTo>
                    <a:cubicBezTo>
                      <a:pt x="508264" y="249388"/>
                      <a:pt x="473298" y="231523"/>
                      <a:pt x="446181" y="214373"/>
                    </a:cubicBezTo>
                    <a:cubicBezTo>
                      <a:pt x="446181" y="214373"/>
                      <a:pt x="446181" y="214373"/>
                      <a:pt x="446181" y="279400"/>
                    </a:cubicBezTo>
                    <a:cubicBezTo>
                      <a:pt x="431909" y="268681"/>
                      <a:pt x="424773" y="258677"/>
                      <a:pt x="424060" y="257963"/>
                    </a:cubicBezTo>
                    <a:cubicBezTo>
                      <a:pt x="424060" y="257963"/>
                      <a:pt x="424060" y="257963"/>
                      <a:pt x="423346" y="257248"/>
                    </a:cubicBezTo>
                    <a:cubicBezTo>
                      <a:pt x="423346" y="257248"/>
                      <a:pt x="423346" y="257248"/>
                      <a:pt x="423346" y="197938"/>
                    </a:cubicBezTo>
                    <a:cubicBezTo>
                      <a:pt x="419778" y="195794"/>
                      <a:pt x="416924" y="192936"/>
                      <a:pt x="414783" y="191507"/>
                    </a:cubicBezTo>
                    <a:cubicBezTo>
                      <a:pt x="394802" y="173642"/>
                      <a:pt x="354841" y="75031"/>
                      <a:pt x="344137" y="46447"/>
                    </a:cubicBezTo>
                    <a:cubicBezTo>
                      <a:pt x="323442" y="34300"/>
                      <a:pt x="315593" y="13577"/>
                      <a:pt x="312738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42" name="Freeform 14">
                <a:extLst>
                  <a:ext uri="{FF2B5EF4-FFF2-40B4-BE49-F238E27FC236}">
                    <a16:creationId xmlns:a16="http://schemas.microsoft.com/office/drawing/2014/main" id="{C8A7489B-B8B6-4AC2-AD67-C0B8902D7A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419" y="2773363"/>
                <a:ext cx="1055999" cy="1212850"/>
              </a:xfrm>
              <a:custGeom>
                <a:avLst/>
                <a:gdLst>
                  <a:gd name="connsiteX0" fmla="*/ 1040246 w 1055999"/>
                  <a:gd name="connsiteY0" fmla="*/ 1079500 h 1212850"/>
                  <a:gd name="connsiteX1" fmla="*/ 1051703 w 1055999"/>
                  <a:gd name="connsiteY1" fmla="*/ 1083779 h 1212850"/>
                  <a:gd name="connsiteX2" fmla="*/ 1051703 w 1055999"/>
                  <a:gd name="connsiteY2" fmla="*/ 1105885 h 1212850"/>
                  <a:gd name="connsiteX3" fmla="*/ 950022 w 1055999"/>
                  <a:gd name="connsiteY3" fmla="*/ 1207858 h 1212850"/>
                  <a:gd name="connsiteX4" fmla="*/ 938565 w 1055999"/>
                  <a:gd name="connsiteY4" fmla="*/ 1212850 h 1212850"/>
                  <a:gd name="connsiteX5" fmla="*/ 927824 w 1055999"/>
                  <a:gd name="connsiteY5" fmla="*/ 1207858 h 1212850"/>
                  <a:gd name="connsiteX6" fmla="*/ 895601 w 1055999"/>
                  <a:gd name="connsiteY6" fmla="*/ 1176482 h 1212850"/>
                  <a:gd name="connsiteX7" fmla="*/ 895601 w 1055999"/>
                  <a:gd name="connsiteY7" fmla="*/ 1153663 h 1212850"/>
                  <a:gd name="connsiteX8" fmla="*/ 906342 w 1055999"/>
                  <a:gd name="connsiteY8" fmla="*/ 1148671 h 1212850"/>
                  <a:gd name="connsiteX9" fmla="*/ 917799 w 1055999"/>
                  <a:gd name="connsiteY9" fmla="*/ 1153663 h 1212850"/>
                  <a:gd name="connsiteX10" fmla="*/ 938565 w 1055999"/>
                  <a:gd name="connsiteY10" fmla="*/ 1175056 h 1212850"/>
                  <a:gd name="connsiteX11" fmla="*/ 1029505 w 1055999"/>
                  <a:gd name="connsiteY11" fmla="*/ 1083779 h 1212850"/>
                  <a:gd name="connsiteX12" fmla="*/ 1040246 w 1055999"/>
                  <a:gd name="connsiteY12" fmla="*/ 1079500 h 1212850"/>
                  <a:gd name="connsiteX13" fmla="*/ 594174 w 1055999"/>
                  <a:gd name="connsiteY13" fmla="*/ 1079500 h 1212850"/>
                  <a:gd name="connsiteX14" fmla="*/ 604905 w 1055999"/>
                  <a:gd name="connsiteY14" fmla="*/ 1083779 h 1212850"/>
                  <a:gd name="connsiteX15" fmla="*/ 604905 w 1055999"/>
                  <a:gd name="connsiteY15" fmla="*/ 1105885 h 1212850"/>
                  <a:gd name="connsiteX16" fmla="*/ 565558 w 1055999"/>
                  <a:gd name="connsiteY16" fmla="*/ 1145819 h 1212850"/>
                  <a:gd name="connsiteX17" fmla="*/ 534796 w 1055999"/>
                  <a:gd name="connsiteY17" fmla="*/ 1177908 h 1212850"/>
                  <a:gd name="connsiteX18" fmla="*/ 504034 w 1055999"/>
                  <a:gd name="connsiteY18" fmla="*/ 1207858 h 1212850"/>
                  <a:gd name="connsiteX19" fmla="*/ 493303 w 1055999"/>
                  <a:gd name="connsiteY19" fmla="*/ 1212850 h 1212850"/>
                  <a:gd name="connsiteX20" fmla="*/ 481857 w 1055999"/>
                  <a:gd name="connsiteY20" fmla="*/ 1207858 h 1212850"/>
                  <a:gd name="connsiteX21" fmla="*/ 449664 w 1055999"/>
                  <a:gd name="connsiteY21" fmla="*/ 1176482 h 1212850"/>
                  <a:gd name="connsiteX22" fmla="*/ 449664 w 1055999"/>
                  <a:gd name="connsiteY22" fmla="*/ 1153663 h 1212850"/>
                  <a:gd name="connsiteX23" fmla="*/ 461110 w 1055999"/>
                  <a:gd name="connsiteY23" fmla="*/ 1148671 h 1212850"/>
                  <a:gd name="connsiteX24" fmla="*/ 471841 w 1055999"/>
                  <a:gd name="connsiteY24" fmla="*/ 1153663 h 1212850"/>
                  <a:gd name="connsiteX25" fmla="*/ 493303 w 1055999"/>
                  <a:gd name="connsiteY25" fmla="*/ 1175056 h 1212850"/>
                  <a:gd name="connsiteX26" fmla="*/ 562697 w 1055999"/>
                  <a:gd name="connsiteY26" fmla="*/ 1103746 h 1212850"/>
                  <a:gd name="connsiteX27" fmla="*/ 582728 w 1055999"/>
                  <a:gd name="connsiteY27" fmla="*/ 1083779 h 1212850"/>
                  <a:gd name="connsiteX28" fmla="*/ 594174 w 1055999"/>
                  <a:gd name="connsiteY28" fmla="*/ 1079500 h 1212850"/>
                  <a:gd name="connsiteX29" fmla="*/ 148803 w 1055999"/>
                  <a:gd name="connsiteY29" fmla="*/ 1079500 h 1212850"/>
                  <a:gd name="connsiteX30" fmla="*/ 158818 w 1055999"/>
                  <a:gd name="connsiteY30" fmla="*/ 1083779 h 1212850"/>
                  <a:gd name="connsiteX31" fmla="*/ 158818 w 1055999"/>
                  <a:gd name="connsiteY31" fmla="*/ 1105885 h 1212850"/>
                  <a:gd name="connsiteX32" fmla="*/ 120187 w 1055999"/>
                  <a:gd name="connsiteY32" fmla="*/ 1145819 h 1212850"/>
                  <a:gd name="connsiteX33" fmla="*/ 88709 w 1055999"/>
                  <a:gd name="connsiteY33" fmla="*/ 1177908 h 1212850"/>
                  <a:gd name="connsiteX34" fmla="*/ 57947 w 1055999"/>
                  <a:gd name="connsiteY34" fmla="*/ 1207858 h 1212850"/>
                  <a:gd name="connsiteX35" fmla="*/ 47931 w 1055999"/>
                  <a:gd name="connsiteY35" fmla="*/ 1212850 h 1212850"/>
                  <a:gd name="connsiteX36" fmla="*/ 36485 w 1055999"/>
                  <a:gd name="connsiteY36" fmla="*/ 1207858 h 1212850"/>
                  <a:gd name="connsiteX37" fmla="*/ 4292 w 1055999"/>
                  <a:gd name="connsiteY37" fmla="*/ 1176482 h 1212850"/>
                  <a:gd name="connsiteX38" fmla="*/ 4292 w 1055999"/>
                  <a:gd name="connsiteY38" fmla="*/ 1153663 h 1212850"/>
                  <a:gd name="connsiteX39" fmla="*/ 15738 w 1055999"/>
                  <a:gd name="connsiteY39" fmla="*/ 1148671 h 1212850"/>
                  <a:gd name="connsiteX40" fmla="*/ 26469 w 1055999"/>
                  <a:gd name="connsiteY40" fmla="*/ 1153663 h 1212850"/>
                  <a:gd name="connsiteX41" fmla="*/ 47931 w 1055999"/>
                  <a:gd name="connsiteY41" fmla="*/ 1175056 h 1212850"/>
                  <a:gd name="connsiteX42" fmla="*/ 117325 w 1055999"/>
                  <a:gd name="connsiteY42" fmla="*/ 1103746 h 1212850"/>
                  <a:gd name="connsiteX43" fmla="*/ 137356 w 1055999"/>
                  <a:gd name="connsiteY43" fmla="*/ 1083779 h 1212850"/>
                  <a:gd name="connsiteX44" fmla="*/ 148803 w 1055999"/>
                  <a:gd name="connsiteY44" fmla="*/ 1079500 h 1212850"/>
                  <a:gd name="connsiteX45" fmla="*/ 478798 w 1055999"/>
                  <a:gd name="connsiteY45" fmla="*/ 0 h 1212850"/>
                  <a:gd name="connsiteX46" fmla="*/ 696375 w 1055999"/>
                  <a:gd name="connsiteY46" fmla="*/ 220584 h 1212850"/>
                  <a:gd name="connsiteX47" fmla="*/ 695662 w 1055999"/>
                  <a:gd name="connsiteY47" fmla="*/ 262702 h 1212850"/>
                  <a:gd name="connsiteX48" fmla="*/ 711356 w 1055999"/>
                  <a:gd name="connsiteY48" fmla="*/ 310531 h 1212850"/>
                  <a:gd name="connsiteX49" fmla="*/ 691382 w 1055999"/>
                  <a:gd name="connsiteY49" fmla="*/ 322667 h 1212850"/>
                  <a:gd name="connsiteX50" fmla="*/ 683535 w 1055999"/>
                  <a:gd name="connsiteY50" fmla="*/ 326236 h 1212850"/>
                  <a:gd name="connsiteX51" fmla="*/ 682108 w 1055999"/>
                  <a:gd name="connsiteY51" fmla="*/ 326950 h 1212850"/>
                  <a:gd name="connsiteX52" fmla="*/ 656427 w 1055999"/>
                  <a:gd name="connsiteY52" fmla="*/ 333375 h 1212850"/>
                  <a:gd name="connsiteX53" fmla="*/ 644299 w 1055999"/>
                  <a:gd name="connsiteY53" fmla="*/ 330519 h 1212850"/>
                  <a:gd name="connsiteX54" fmla="*/ 404607 w 1055999"/>
                  <a:gd name="connsiteY54" fmla="*/ 174897 h 1212850"/>
                  <a:gd name="connsiteX55" fmla="*/ 396760 w 1055999"/>
                  <a:gd name="connsiteY55" fmla="*/ 174183 h 1212850"/>
                  <a:gd name="connsiteX56" fmla="*/ 358238 w 1055999"/>
                  <a:gd name="connsiteY56" fmla="*/ 185605 h 1212850"/>
                  <a:gd name="connsiteX57" fmla="*/ 284761 w 1055999"/>
                  <a:gd name="connsiteY57" fmla="*/ 309103 h 1212850"/>
                  <a:gd name="connsiteX58" fmla="*/ 277627 w 1055999"/>
                  <a:gd name="connsiteY58" fmla="*/ 314814 h 1212850"/>
                  <a:gd name="connsiteX59" fmla="*/ 272634 w 1055999"/>
                  <a:gd name="connsiteY59" fmla="*/ 311959 h 1212850"/>
                  <a:gd name="connsiteX60" fmla="*/ 270493 w 1055999"/>
                  <a:gd name="connsiteY60" fmla="*/ 309103 h 1212850"/>
                  <a:gd name="connsiteX61" fmla="*/ 260506 w 1055999"/>
                  <a:gd name="connsiteY61" fmla="*/ 220584 h 1212850"/>
                  <a:gd name="connsiteX62" fmla="*/ 478798 w 1055999"/>
                  <a:gd name="connsiteY62" fmla="*/ 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1055999" h="1212850">
                    <a:moveTo>
                      <a:pt x="1040246" y="1079500"/>
                    </a:moveTo>
                    <a:cubicBezTo>
                      <a:pt x="1044542" y="1079500"/>
                      <a:pt x="1048122" y="1080926"/>
                      <a:pt x="1051703" y="1083779"/>
                    </a:cubicBezTo>
                    <a:cubicBezTo>
                      <a:pt x="1057431" y="1090197"/>
                      <a:pt x="1057431" y="1100180"/>
                      <a:pt x="1051703" y="1105885"/>
                    </a:cubicBezTo>
                    <a:cubicBezTo>
                      <a:pt x="1051703" y="1105885"/>
                      <a:pt x="1051703" y="1105885"/>
                      <a:pt x="950022" y="1207858"/>
                    </a:cubicBezTo>
                    <a:cubicBezTo>
                      <a:pt x="947157" y="1211424"/>
                      <a:pt x="942861" y="1212850"/>
                      <a:pt x="938565" y="1212850"/>
                    </a:cubicBezTo>
                    <a:cubicBezTo>
                      <a:pt x="934268" y="1212850"/>
                      <a:pt x="930688" y="1211424"/>
                      <a:pt x="927824" y="1207858"/>
                    </a:cubicBezTo>
                    <a:cubicBezTo>
                      <a:pt x="927824" y="1207858"/>
                      <a:pt x="927824" y="1207858"/>
                      <a:pt x="895601" y="1176482"/>
                    </a:cubicBezTo>
                    <a:cubicBezTo>
                      <a:pt x="889156" y="1170064"/>
                      <a:pt x="889156" y="1160081"/>
                      <a:pt x="895601" y="1153663"/>
                    </a:cubicBezTo>
                    <a:cubicBezTo>
                      <a:pt x="898465" y="1150097"/>
                      <a:pt x="902761" y="1148671"/>
                      <a:pt x="906342" y="1148671"/>
                    </a:cubicBezTo>
                    <a:cubicBezTo>
                      <a:pt x="910638" y="1148671"/>
                      <a:pt x="914935" y="1150097"/>
                      <a:pt x="917799" y="1153663"/>
                    </a:cubicBezTo>
                    <a:cubicBezTo>
                      <a:pt x="917799" y="1153663"/>
                      <a:pt x="917799" y="1153663"/>
                      <a:pt x="938565" y="1175056"/>
                    </a:cubicBezTo>
                    <a:cubicBezTo>
                      <a:pt x="938565" y="1175056"/>
                      <a:pt x="938565" y="1175056"/>
                      <a:pt x="1029505" y="1083779"/>
                    </a:cubicBezTo>
                    <a:cubicBezTo>
                      <a:pt x="1032369" y="1080926"/>
                      <a:pt x="1036665" y="1079500"/>
                      <a:pt x="1040246" y="1079500"/>
                    </a:cubicBezTo>
                    <a:close/>
                    <a:moveTo>
                      <a:pt x="594174" y="1079500"/>
                    </a:moveTo>
                    <a:cubicBezTo>
                      <a:pt x="597751" y="1079500"/>
                      <a:pt x="602044" y="1080926"/>
                      <a:pt x="604905" y="1083779"/>
                    </a:cubicBezTo>
                    <a:cubicBezTo>
                      <a:pt x="611344" y="1090197"/>
                      <a:pt x="611344" y="1100180"/>
                      <a:pt x="604905" y="1105885"/>
                    </a:cubicBezTo>
                    <a:cubicBezTo>
                      <a:pt x="604905" y="1105885"/>
                      <a:pt x="604905" y="1105885"/>
                      <a:pt x="565558" y="1145819"/>
                    </a:cubicBezTo>
                    <a:cubicBezTo>
                      <a:pt x="565558" y="1145819"/>
                      <a:pt x="565558" y="1145819"/>
                      <a:pt x="534796" y="1177908"/>
                    </a:cubicBezTo>
                    <a:cubicBezTo>
                      <a:pt x="534796" y="1177908"/>
                      <a:pt x="534796" y="1177908"/>
                      <a:pt x="504034" y="1207858"/>
                    </a:cubicBezTo>
                    <a:cubicBezTo>
                      <a:pt x="501172" y="1211424"/>
                      <a:pt x="497595" y="1212850"/>
                      <a:pt x="493303" y="1212850"/>
                    </a:cubicBezTo>
                    <a:cubicBezTo>
                      <a:pt x="489010" y="1212850"/>
                      <a:pt x="484718" y="1211424"/>
                      <a:pt x="481857" y="1207858"/>
                    </a:cubicBezTo>
                    <a:cubicBezTo>
                      <a:pt x="481857" y="1207858"/>
                      <a:pt x="481857" y="1207858"/>
                      <a:pt x="449664" y="1176482"/>
                    </a:cubicBezTo>
                    <a:cubicBezTo>
                      <a:pt x="444656" y="1170064"/>
                      <a:pt x="444656" y="1160081"/>
                      <a:pt x="449664" y="1153663"/>
                    </a:cubicBezTo>
                    <a:cubicBezTo>
                      <a:pt x="453241" y="1150097"/>
                      <a:pt x="456818" y="1148671"/>
                      <a:pt x="461110" y="1148671"/>
                    </a:cubicBezTo>
                    <a:cubicBezTo>
                      <a:pt x="464687" y="1148671"/>
                      <a:pt x="468979" y="1150097"/>
                      <a:pt x="471841" y="1153663"/>
                    </a:cubicBezTo>
                    <a:cubicBezTo>
                      <a:pt x="471841" y="1153663"/>
                      <a:pt x="471841" y="1153663"/>
                      <a:pt x="493303" y="1175056"/>
                    </a:cubicBezTo>
                    <a:cubicBezTo>
                      <a:pt x="493303" y="1175056"/>
                      <a:pt x="493303" y="1175056"/>
                      <a:pt x="562697" y="1103746"/>
                    </a:cubicBezTo>
                    <a:cubicBezTo>
                      <a:pt x="562697" y="1103746"/>
                      <a:pt x="562697" y="1103746"/>
                      <a:pt x="582728" y="1083779"/>
                    </a:cubicBezTo>
                    <a:cubicBezTo>
                      <a:pt x="585589" y="1080926"/>
                      <a:pt x="589882" y="1079500"/>
                      <a:pt x="594174" y="1079500"/>
                    </a:cubicBezTo>
                    <a:close/>
                    <a:moveTo>
                      <a:pt x="148803" y="1079500"/>
                    </a:moveTo>
                    <a:cubicBezTo>
                      <a:pt x="152380" y="1079500"/>
                      <a:pt x="155957" y="1080926"/>
                      <a:pt x="158818" y="1083779"/>
                    </a:cubicBezTo>
                    <a:cubicBezTo>
                      <a:pt x="165257" y="1090197"/>
                      <a:pt x="165257" y="1100180"/>
                      <a:pt x="158818" y="1105885"/>
                    </a:cubicBezTo>
                    <a:cubicBezTo>
                      <a:pt x="120187" y="1145819"/>
                      <a:pt x="120187" y="1145819"/>
                      <a:pt x="120187" y="1145819"/>
                    </a:cubicBezTo>
                    <a:cubicBezTo>
                      <a:pt x="88709" y="1177908"/>
                      <a:pt x="88709" y="1177908"/>
                      <a:pt x="88709" y="1177908"/>
                    </a:cubicBezTo>
                    <a:cubicBezTo>
                      <a:pt x="57947" y="1207858"/>
                      <a:pt x="57947" y="1207858"/>
                      <a:pt x="57947" y="1207858"/>
                    </a:cubicBezTo>
                    <a:cubicBezTo>
                      <a:pt x="55085" y="1211424"/>
                      <a:pt x="51508" y="1212850"/>
                      <a:pt x="47931" y="1212850"/>
                    </a:cubicBezTo>
                    <a:cubicBezTo>
                      <a:pt x="43639" y="1212850"/>
                      <a:pt x="39347" y="1211424"/>
                      <a:pt x="36485" y="1207858"/>
                    </a:cubicBezTo>
                    <a:cubicBezTo>
                      <a:pt x="4292" y="1176482"/>
                      <a:pt x="4292" y="1176482"/>
                      <a:pt x="4292" y="1176482"/>
                    </a:cubicBezTo>
                    <a:cubicBezTo>
                      <a:pt x="-1431" y="1170064"/>
                      <a:pt x="-1431" y="1160081"/>
                      <a:pt x="4292" y="1153663"/>
                    </a:cubicBezTo>
                    <a:cubicBezTo>
                      <a:pt x="7869" y="1150097"/>
                      <a:pt x="11446" y="1148671"/>
                      <a:pt x="15738" y="1148671"/>
                    </a:cubicBezTo>
                    <a:cubicBezTo>
                      <a:pt x="19315" y="1148671"/>
                      <a:pt x="23608" y="1150097"/>
                      <a:pt x="26469" y="1153663"/>
                    </a:cubicBezTo>
                    <a:cubicBezTo>
                      <a:pt x="47931" y="1175056"/>
                      <a:pt x="47931" y="1175056"/>
                      <a:pt x="47931" y="1175056"/>
                    </a:cubicBezTo>
                    <a:cubicBezTo>
                      <a:pt x="117325" y="1103746"/>
                      <a:pt x="117325" y="1103746"/>
                      <a:pt x="117325" y="1103746"/>
                    </a:cubicBezTo>
                    <a:cubicBezTo>
                      <a:pt x="137356" y="1083779"/>
                      <a:pt x="137356" y="1083779"/>
                      <a:pt x="137356" y="1083779"/>
                    </a:cubicBezTo>
                    <a:cubicBezTo>
                      <a:pt x="140218" y="1080926"/>
                      <a:pt x="144510" y="1079500"/>
                      <a:pt x="148803" y="1079500"/>
                    </a:cubicBezTo>
                    <a:close/>
                    <a:moveTo>
                      <a:pt x="478798" y="0"/>
                    </a:moveTo>
                    <a:cubicBezTo>
                      <a:pt x="601497" y="0"/>
                      <a:pt x="696375" y="99227"/>
                      <a:pt x="696375" y="220584"/>
                    </a:cubicBezTo>
                    <a:cubicBezTo>
                      <a:pt x="696375" y="235575"/>
                      <a:pt x="696375" y="249139"/>
                      <a:pt x="695662" y="262702"/>
                    </a:cubicBezTo>
                    <a:cubicBezTo>
                      <a:pt x="694235" y="274838"/>
                      <a:pt x="698516" y="292685"/>
                      <a:pt x="711356" y="310531"/>
                    </a:cubicBezTo>
                    <a:cubicBezTo>
                      <a:pt x="711356" y="310531"/>
                      <a:pt x="702796" y="316242"/>
                      <a:pt x="691382" y="322667"/>
                    </a:cubicBezTo>
                    <a:cubicBezTo>
                      <a:pt x="689242" y="323381"/>
                      <a:pt x="686388" y="324808"/>
                      <a:pt x="683535" y="326236"/>
                    </a:cubicBezTo>
                    <a:cubicBezTo>
                      <a:pt x="682821" y="326236"/>
                      <a:pt x="682821" y="326236"/>
                      <a:pt x="682108" y="326950"/>
                    </a:cubicBezTo>
                    <a:cubicBezTo>
                      <a:pt x="673548" y="330519"/>
                      <a:pt x="664274" y="332661"/>
                      <a:pt x="656427" y="333375"/>
                    </a:cubicBezTo>
                    <a:cubicBezTo>
                      <a:pt x="652147" y="333375"/>
                      <a:pt x="647866" y="332661"/>
                      <a:pt x="644299" y="330519"/>
                    </a:cubicBezTo>
                    <a:cubicBezTo>
                      <a:pt x="620758" y="317670"/>
                      <a:pt x="528020" y="190602"/>
                      <a:pt x="404607" y="174897"/>
                    </a:cubicBezTo>
                    <a:cubicBezTo>
                      <a:pt x="401754" y="174183"/>
                      <a:pt x="398900" y="174183"/>
                      <a:pt x="396760" y="174183"/>
                    </a:cubicBezTo>
                    <a:cubicBezTo>
                      <a:pt x="383206" y="174183"/>
                      <a:pt x="369652" y="178466"/>
                      <a:pt x="358238" y="185605"/>
                    </a:cubicBezTo>
                    <a:cubicBezTo>
                      <a:pt x="309729" y="218443"/>
                      <a:pt x="298315" y="289115"/>
                      <a:pt x="284761" y="309103"/>
                    </a:cubicBezTo>
                    <a:cubicBezTo>
                      <a:pt x="282621" y="312673"/>
                      <a:pt x="279767" y="314814"/>
                      <a:pt x="277627" y="314814"/>
                    </a:cubicBezTo>
                    <a:cubicBezTo>
                      <a:pt x="276200" y="314814"/>
                      <a:pt x="274060" y="314101"/>
                      <a:pt x="272634" y="311959"/>
                    </a:cubicBezTo>
                    <a:cubicBezTo>
                      <a:pt x="271920" y="311245"/>
                      <a:pt x="271207" y="310531"/>
                      <a:pt x="270493" y="309103"/>
                    </a:cubicBezTo>
                    <a:cubicBezTo>
                      <a:pt x="264073" y="294112"/>
                      <a:pt x="260506" y="246283"/>
                      <a:pt x="260506" y="220584"/>
                    </a:cubicBezTo>
                    <a:cubicBezTo>
                      <a:pt x="260506" y="99227"/>
                      <a:pt x="355384" y="0"/>
                      <a:pt x="478798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43" name="Oval 142">
            <a:extLst>
              <a:ext uri="{FF2B5EF4-FFF2-40B4-BE49-F238E27FC236}">
                <a16:creationId xmlns:a16="http://schemas.microsoft.com/office/drawing/2014/main" id="{FE0F09D6-64C4-4BAB-BB69-D9455749679F}"/>
              </a:ext>
            </a:extLst>
          </p:cNvPr>
          <p:cNvSpPr/>
          <p:nvPr/>
        </p:nvSpPr>
        <p:spPr>
          <a:xfrm>
            <a:off x="6212292" y="1826703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B6B14E9E-986B-41AC-91C7-D6B0ABFE85A6}"/>
              </a:ext>
            </a:extLst>
          </p:cNvPr>
          <p:cNvGrpSpPr>
            <a:grpSpLocks noChangeAspect="1"/>
          </p:cNvGrpSpPr>
          <p:nvPr/>
        </p:nvGrpSpPr>
        <p:grpSpPr>
          <a:xfrm>
            <a:off x="6421937" y="1826703"/>
            <a:ext cx="548111" cy="548640"/>
            <a:chOff x="5273675" y="2605088"/>
            <a:chExt cx="1644650" cy="1646237"/>
          </a:xfrm>
        </p:grpSpPr>
        <p:sp>
          <p:nvSpPr>
            <p:cNvPr id="145" name="AutoShape 3">
              <a:extLst>
                <a:ext uri="{FF2B5EF4-FFF2-40B4-BE49-F238E27FC236}">
                  <a16:creationId xmlns:a16="http://schemas.microsoft.com/office/drawing/2014/main" id="{0D5ABD0B-4F50-4CE5-95EC-9DF4567512B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5088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72BD5805-E933-4740-829A-2242726960E0}"/>
                </a:ext>
              </a:extLst>
            </p:cNvPr>
            <p:cNvGrpSpPr/>
            <p:nvPr/>
          </p:nvGrpSpPr>
          <p:grpSpPr>
            <a:xfrm>
              <a:off x="5531036" y="2776581"/>
              <a:ext cx="1129929" cy="1303250"/>
              <a:chOff x="5528729" y="2776624"/>
              <a:chExt cx="1129929" cy="1303250"/>
            </a:xfrm>
          </p:grpSpPr>
          <p:sp>
            <p:nvSpPr>
              <p:cNvPr id="150" name="Freeform 5">
                <a:extLst>
                  <a:ext uri="{FF2B5EF4-FFF2-40B4-BE49-F238E27FC236}">
                    <a16:creationId xmlns:a16="http://schemas.microsoft.com/office/drawing/2014/main" id="{2209AE00-C884-450D-B0A6-2A8769A4C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8729" y="2776624"/>
                <a:ext cx="1129929" cy="1303250"/>
              </a:xfrm>
              <a:custGeom>
                <a:avLst/>
                <a:gdLst>
                  <a:gd name="connsiteX0" fmla="*/ 289198 w 1129929"/>
                  <a:gd name="connsiteY0" fmla="*/ 853988 h 1303250"/>
                  <a:gd name="connsiteX1" fmla="*/ 35540 w 1129929"/>
                  <a:gd name="connsiteY1" fmla="*/ 1184870 h 1303250"/>
                  <a:gd name="connsiteX2" fmla="*/ 71981 w 1129929"/>
                  <a:gd name="connsiteY2" fmla="*/ 1245615 h 1303250"/>
                  <a:gd name="connsiteX3" fmla="*/ 119140 w 1129929"/>
                  <a:gd name="connsiteY3" fmla="*/ 1267769 h 1303250"/>
                  <a:gd name="connsiteX4" fmla="*/ 140576 w 1129929"/>
                  <a:gd name="connsiteY4" fmla="*/ 1264911 h 1303250"/>
                  <a:gd name="connsiteX5" fmla="*/ 394234 w 1129929"/>
                  <a:gd name="connsiteY5" fmla="*/ 933314 h 1303250"/>
                  <a:gd name="connsiteX6" fmla="*/ 289198 w 1129929"/>
                  <a:gd name="connsiteY6" fmla="*/ 853988 h 1303250"/>
                  <a:gd name="connsiteX7" fmla="*/ 283534 w 1129929"/>
                  <a:gd name="connsiteY7" fmla="*/ 814143 h 1303250"/>
                  <a:gd name="connsiteX8" fmla="*/ 296390 w 1129929"/>
                  <a:gd name="connsiteY8" fmla="*/ 817004 h 1303250"/>
                  <a:gd name="connsiteX9" fmla="*/ 427812 w 1129929"/>
                  <a:gd name="connsiteY9" fmla="*/ 917828 h 1303250"/>
                  <a:gd name="connsiteX10" fmla="*/ 431383 w 1129929"/>
                  <a:gd name="connsiteY10" fmla="*/ 942141 h 1303250"/>
                  <a:gd name="connsiteX11" fmla="*/ 167825 w 1129929"/>
                  <a:gd name="connsiteY11" fmla="*/ 1285373 h 1303250"/>
                  <a:gd name="connsiteX12" fmla="*/ 128541 w 1129929"/>
                  <a:gd name="connsiteY12" fmla="*/ 1303250 h 1303250"/>
                  <a:gd name="connsiteX13" fmla="*/ 114256 w 1129929"/>
                  <a:gd name="connsiteY13" fmla="*/ 1301820 h 1303250"/>
                  <a:gd name="connsiteX14" fmla="*/ 52117 w 1129929"/>
                  <a:gd name="connsiteY14" fmla="*/ 1273217 h 1303250"/>
                  <a:gd name="connsiteX15" fmla="*/ 8547 w 1129929"/>
                  <a:gd name="connsiteY15" fmla="*/ 1165242 h 1303250"/>
                  <a:gd name="connsiteX16" fmla="*/ 272106 w 1129929"/>
                  <a:gd name="connsiteY16" fmla="*/ 819864 h 1303250"/>
                  <a:gd name="connsiteX17" fmla="*/ 283534 w 1129929"/>
                  <a:gd name="connsiteY17" fmla="*/ 814143 h 1303250"/>
                  <a:gd name="connsiteX18" fmla="*/ 715344 w 1129929"/>
                  <a:gd name="connsiteY18" fmla="*/ 573000 h 1303250"/>
                  <a:gd name="connsiteX19" fmla="*/ 729007 w 1129929"/>
                  <a:gd name="connsiteY19" fmla="*/ 600174 h 1303250"/>
                  <a:gd name="connsiteX20" fmla="*/ 757772 w 1129929"/>
                  <a:gd name="connsiteY20" fmla="*/ 603034 h 1303250"/>
                  <a:gd name="connsiteX21" fmla="*/ 737637 w 1129929"/>
                  <a:gd name="connsiteY21" fmla="*/ 623772 h 1303250"/>
                  <a:gd name="connsiteX22" fmla="*/ 741951 w 1129929"/>
                  <a:gd name="connsiteY22" fmla="*/ 652375 h 1303250"/>
                  <a:gd name="connsiteX23" fmla="*/ 715344 w 1129929"/>
                  <a:gd name="connsiteY23" fmla="*/ 637358 h 1303250"/>
                  <a:gd name="connsiteX24" fmla="*/ 689455 w 1129929"/>
                  <a:gd name="connsiteY24" fmla="*/ 652375 h 1303250"/>
                  <a:gd name="connsiteX25" fmla="*/ 693770 w 1129929"/>
                  <a:gd name="connsiteY25" fmla="*/ 623772 h 1303250"/>
                  <a:gd name="connsiteX26" fmla="*/ 673634 w 1129929"/>
                  <a:gd name="connsiteY26" fmla="*/ 603034 h 1303250"/>
                  <a:gd name="connsiteX27" fmla="*/ 703119 w 1129929"/>
                  <a:gd name="connsiteY27" fmla="*/ 600174 h 1303250"/>
                  <a:gd name="connsiteX28" fmla="*/ 715344 w 1129929"/>
                  <a:gd name="connsiteY28" fmla="*/ 573000 h 1303250"/>
                  <a:gd name="connsiteX29" fmla="*/ 616222 w 1129929"/>
                  <a:gd name="connsiteY29" fmla="*/ 573000 h 1303250"/>
                  <a:gd name="connsiteX30" fmla="*/ 629598 w 1129929"/>
                  <a:gd name="connsiteY30" fmla="*/ 600174 h 1303250"/>
                  <a:gd name="connsiteX31" fmla="*/ 657759 w 1129929"/>
                  <a:gd name="connsiteY31" fmla="*/ 603034 h 1303250"/>
                  <a:gd name="connsiteX32" fmla="*/ 636638 w 1129929"/>
                  <a:gd name="connsiteY32" fmla="*/ 623772 h 1303250"/>
                  <a:gd name="connsiteX33" fmla="*/ 641567 w 1129929"/>
                  <a:gd name="connsiteY33" fmla="*/ 652375 h 1303250"/>
                  <a:gd name="connsiteX34" fmla="*/ 616222 w 1129929"/>
                  <a:gd name="connsiteY34" fmla="*/ 637358 h 1303250"/>
                  <a:gd name="connsiteX35" fmla="*/ 591581 w 1129929"/>
                  <a:gd name="connsiteY35" fmla="*/ 652375 h 1303250"/>
                  <a:gd name="connsiteX36" fmla="*/ 595805 w 1129929"/>
                  <a:gd name="connsiteY36" fmla="*/ 623772 h 1303250"/>
                  <a:gd name="connsiteX37" fmla="*/ 576796 w 1129929"/>
                  <a:gd name="connsiteY37" fmla="*/ 603034 h 1303250"/>
                  <a:gd name="connsiteX38" fmla="*/ 604253 w 1129929"/>
                  <a:gd name="connsiteY38" fmla="*/ 600174 h 1303250"/>
                  <a:gd name="connsiteX39" fmla="*/ 616222 w 1129929"/>
                  <a:gd name="connsiteY39" fmla="*/ 573000 h 1303250"/>
                  <a:gd name="connsiteX40" fmla="*/ 521234 w 1129929"/>
                  <a:gd name="connsiteY40" fmla="*/ 573000 h 1303250"/>
                  <a:gd name="connsiteX41" fmla="*/ 534092 w 1129929"/>
                  <a:gd name="connsiteY41" fmla="*/ 600174 h 1303250"/>
                  <a:gd name="connsiteX42" fmla="*/ 564096 w 1129929"/>
                  <a:gd name="connsiteY42" fmla="*/ 603034 h 1303250"/>
                  <a:gd name="connsiteX43" fmla="*/ 542665 w 1129929"/>
                  <a:gd name="connsiteY43" fmla="*/ 623772 h 1303250"/>
                  <a:gd name="connsiteX44" fmla="*/ 547666 w 1129929"/>
                  <a:gd name="connsiteY44" fmla="*/ 652375 h 1303250"/>
                  <a:gd name="connsiteX45" fmla="*/ 521234 w 1129929"/>
                  <a:gd name="connsiteY45" fmla="*/ 637358 h 1303250"/>
                  <a:gd name="connsiteX46" fmla="*/ 494802 w 1129929"/>
                  <a:gd name="connsiteY46" fmla="*/ 652375 h 1303250"/>
                  <a:gd name="connsiteX47" fmla="*/ 499088 w 1129929"/>
                  <a:gd name="connsiteY47" fmla="*/ 623772 h 1303250"/>
                  <a:gd name="connsiteX48" fmla="*/ 478371 w 1129929"/>
                  <a:gd name="connsiteY48" fmla="*/ 603034 h 1303250"/>
                  <a:gd name="connsiteX49" fmla="*/ 507661 w 1129929"/>
                  <a:gd name="connsiteY49" fmla="*/ 600174 h 1303250"/>
                  <a:gd name="connsiteX50" fmla="*/ 521234 w 1129929"/>
                  <a:gd name="connsiteY50" fmla="*/ 573000 h 1303250"/>
                  <a:gd name="connsiteX51" fmla="*/ 598151 w 1129929"/>
                  <a:gd name="connsiteY51" fmla="*/ 292013 h 1303250"/>
                  <a:gd name="connsiteX52" fmla="*/ 601732 w 1129929"/>
                  <a:gd name="connsiteY52" fmla="*/ 297731 h 1303250"/>
                  <a:gd name="connsiteX53" fmla="*/ 611760 w 1129929"/>
                  <a:gd name="connsiteY53" fmla="*/ 302734 h 1303250"/>
                  <a:gd name="connsiteX54" fmla="*/ 622505 w 1129929"/>
                  <a:gd name="connsiteY54" fmla="*/ 319888 h 1303250"/>
                  <a:gd name="connsiteX55" fmla="*/ 626087 w 1129929"/>
                  <a:gd name="connsiteY55" fmla="*/ 323462 h 1303250"/>
                  <a:gd name="connsiteX56" fmla="*/ 661186 w 1129929"/>
                  <a:gd name="connsiteY56" fmla="*/ 397081 h 1303250"/>
                  <a:gd name="connsiteX57" fmla="*/ 714909 w 1129929"/>
                  <a:gd name="connsiteY57" fmla="*/ 423527 h 1303250"/>
                  <a:gd name="connsiteX58" fmla="*/ 770065 w 1129929"/>
                  <a:gd name="connsiteY58" fmla="*/ 397081 h 1303250"/>
                  <a:gd name="connsiteX59" fmla="*/ 804448 w 1129929"/>
                  <a:gd name="connsiteY59" fmla="*/ 323462 h 1303250"/>
                  <a:gd name="connsiteX60" fmla="*/ 807313 w 1129929"/>
                  <a:gd name="connsiteY60" fmla="*/ 320603 h 1303250"/>
                  <a:gd name="connsiteX61" fmla="*/ 815909 w 1129929"/>
                  <a:gd name="connsiteY61" fmla="*/ 312026 h 1303250"/>
                  <a:gd name="connsiteX62" fmla="*/ 832384 w 1129929"/>
                  <a:gd name="connsiteY62" fmla="*/ 307023 h 1303250"/>
                  <a:gd name="connsiteX63" fmla="*/ 815909 w 1129929"/>
                  <a:gd name="connsiteY63" fmla="*/ 330610 h 1303250"/>
                  <a:gd name="connsiteX64" fmla="*/ 777945 w 1129929"/>
                  <a:gd name="connsiteY64" fmla="*/ 406373 h 1303250"/>
                  <a:gd name="connsiteX65" fmla="*/ 776512 w 1129929"/>
                  <a:gd name="connsiteY65" fmla="*/ 408517 h 1303250"/>
                  <a:gd name="connsiteX66" fmla="*/ 776512 w 1129929"/>
                  <a:gd name="connsiteY66" fmla="*/ 427101 h 1303250"/>
                  <a:gd name="connsiteX67" fmla="*/ 763618 w 1129929"/>
                  <a:gd name="connsiteY67" fmla="*/ 438537 h 1303250"/>
                  <a:gd name="connsiteX68" fmla="*/ 763618 w 1129929"/>
                  <a:gd name="connsiteY68" fmla="*/ 418524 h 1303250"/>
                  <a:gd name="connsiteX69" fmla="*/ 714909 w 1129929"/>
                  <a:gd name="connsiteY69" fmla="*/ 437107 h 1303250"/>
                  <a:gd name="connsiteX70" fmla="*/ 671931 w 1129929"/>
                  <a:gd name="connsiteY70" fmla="*/ 420668 h 1303250"/>
                  <a:gd name="connsiteX71" fmla="*/ 671931 w 1129929"/>
                  <a:gd name="connsiteY71" fmla="*/ 442825 h 1303250"/>
                  <a:gd name="connsiteX72" fmla="*/ 658321 w 1129929"/>
                  <a:gd name="connsiteY72" fmla="*/ 431389 h 1303250"/>
                  <a:gd name="connsiteX73" fmla="*/ 658321 w 1129929"/>
                  <a:gd name="connsiteY73" fmla="*/ 412091 h 1303250"/>
                  <a:gd name="connsiteX74" fmla="*/ 651874 w 1129929"/>
                  <a:gd name="connsiteY74" fmla="*/ 406373 h 1303250"/>
                  <a:gd name="connsiteX75" fmla="*/ 615342 w 1129929"/>
                  <a:gd name="connsiteY75" fmla="*/ 331324 h 1303250"/>
                  <a:gd name="connsiteX76" fmla="*/ 597434 w 1129929"/>
                  <a:gd name="connsiteY76" fmla="*/ 294872 h 1303250"/>
                  <a:gd name="connsiteX77" fmla="*/ 598151 w 1129929"/>
                  <a:gd name="connsiteY77" fmla="*/ 292013 h 1303250"/>
                  <a:gd name="connsiteX78" fmla="*/ 710144 w 1129929"/>
                  <a:gd name="connsiteY78" fmla="*/ 50713 h 1303250"/>
                  <a:gd name="connsiteX79" fmla="*/ 705856 w 1129929"/>
                  <a:gd name="connsiteY79" fmla="*/ 51429 h 1303250"/>
                  <a:gd name="connsiteX80" fmla="*/ 702998 w 1129929"/>
                  <a:gd name="connsiteY80" fmla="*/ 51429 h 1303250"/>
                  <a:gd name="connsiteX81" fmla="*/ 695136 w 1129929"/>
                  <a:gd name="connsiteY81" fmla="*/ 51429 h 1303250"/>
                  <a:gd name="connsiteX82" fmla="*/ 694421 w 1129929"/>
                  <a:gd name="connsiteY82" fmla="*/ 51429 h 1303250"/>
                  <a:gd name="connsiteX83" fmla="*/ 351372 w 1129929"/>
                  <a:gd name="connsiteY83" fmla="*/ 417783 h 1303250"/>
                  <a:gd name="connsiteX84" fmla="*/ 635102 w 1129929"/>
                  <a:gd name="connsiteY84" fmla="*/ 775552 h 1303250"/>
                  <a:gd name="connsiteX85" fmla="*/ 717291 w 1129929"/>
                  <a:gd name="connsiteY85" fmla="*/ 784138 h 1303250"/>
                  <a:gd name="connsiteX86" fmla="*/ 801624 w 1129929"/>
                  <a:gd name="connsiteY86" fmla="*/ 774836 h 1303250"/>
                  <a:gd name="connsiteX87" fmla="*/ 1083210 w 1129929"/>
                  <a:gd name="connsiteY87" fmla="*/ 417783 h 1303250"/>
                  <a:gd name="connsiteX88" fmla="*/ 770893 w 1129929"/>
                  <a:gd name="connsiteY88" fmla="*/ 55006 h 1303250"/>
                  <a:gd name="connsiteX89" fmla="*/ 770178 w 1129929"/>
                  <a:gd name="connsiteY89" fmla="*/ 55006 h 1303250"/>
                  <a:gd name="connsiteX90" fmla="*/ 758743 w 1129929"/>
                  <a:gd name="connsiteY90" fmla="*/ 53575 h 1303250"/>
                  <a:gd name="connsiteX91" fmla="*/ 757314 w 1129929"/>
                  <a:gd name="connsiteY91" fmla="*/ 52860 h 1303250"/>
                  <a:gd name="connsiteX92" fmla="*/ 751596 w 1129929"/>
                  <a:gd name="connsiteY92" fmla="*/ 52860 h 1303250"/>
                  <a:gd name="connsiteX93" fmla="*/ 748023 w 1129929"/>
                  <a:gd name="connsiteY93" fmla="*/ 52144 h 1303250"/>
                  <a:gd name="connsiteX94" fmla="*/ 743735 w 1129929"/>
                  <a:gd name="connsiteY94" fmla="*/ 52144 h 1303250"/>
                  <a:gd name="connsiteX95" fmla="*/ 738017 w 1129929"/>
                  <a:gd name="connsiteY95" fmla="*/ 51429 h 1303250"/>
                  <a:gd name="connsiteX96" fmla="*/ 735873 w 1129929"/>
                  <a:gd name="connsiteY96" fmla="*/ 51429 h 1303250"/>
                  <a:gd name="connsiteX97" fmla="*/ 726582 w 1129929"/>
                  <a:gd name="connsiteY97" fmla="*/ 51429 h 1303250"/>
                  <a:gd name="connsiteX98" fmla="*/ 725153 w 1129929"/>
                  <a:gd name="connsiteY98" fmla="*/ 51429 h 1303250"/>
                  <a:gd name="connsiteX99" fmla="*/ 718006 w 1129929"/>
                  <a:gd name="connsiteY99" fmla="*/ 50713 h 1303250"/>
                  <a:gd name="connsiteX100" fmla="*/ 715147 w 1129929"/>
                  <a:gd name="connsiteY100" fmla="*/ 50713 h 1303250"/>
                  <a:gd name="connsiteX101" fmla="*/ 710144 w 1129929"/>
                  <a:gd name="connsiteY101" fmla="*/ 50713 h 1303250"/>
                  <a:gd name="connsiteX102" fmla="*/ 701396 w 1129929"/>
                  <a:gd name="connsiteY102" fmla="*/ 312 h 1303250"/>
                  <a:gd name="connsiteX103" fmla="*/ 968363 w 1129929"/>
                  <a:gd name="connsiteY103" fmla="*/ 83938 h 1303250"/>
                  <a:gd name="connsiteX104" fmla="*/ 1045455 w 1129929"/>
                  <a:gd name="connsiteY104" fmla="*/ 665036 h 1303250"/>
                  <a:gd name="connsiteX105" fmla="*/ 1032607 w 1129929"/>
                  <a:gd name="connsiteY105" fmla="*/ 681475 h 1303250"/>
                  <a:gd name="connsiteX106" fmla="*/ 1032607 w 1129929"/>
                  <a:gd name="connsiteY106" fmla="*/ 680760 h 1303250"/>
                  <a:gd name="connsiteX107" fmla="*/ 907689 w 1129929"/>
                  <a:gd name="connsiteY107" fmla="*/ 780112 h 1303250"/>
                  <a:gd name="connsiteX108" fmla="*/ 909116 w 1129929"/>
                  <a:gd name="connsiteY108" fmla="*/ 780112 h 1303250"/>
                  <a:gd name="connsiteX109" fmla="*/ 527224 w 1129929"/>
                  <a:gd name="connsiteY109" fmla="*/ 780826 h 1303250"/>
                  <a:gd name="connsiteX110" fmla="*/ 525083 w 1129929"/>
                  <a:gd name="connsiteY110" fmla="*/ 780826 h 1303250"/>
                  <a:gd name="connsiteX111" fmla="*/ 442280 w 1129929"/>
                  <a:gd name="connsiteY111" fmla="*/ 887325 h 1303250"/>
                  <a:gd name="connsiteX112" fmla="*/ 439425 w 1129929"/>
                  <a:gd name="connsiteY112" fmla="*/ 885181 h 1303250"/>
                  <a:gd name="connsiteX113" fmla="*/ 368757 w 1129929"/>
                  <a:gd name="connsiteY113" fmla="*/ 830859 h 1303250"/>
                  <a:gd name="connsiteX114" fmla="*/ 326641 w 1129929"/>
                  <a:gd name="connsiteY114" fmla="*/ 799410 h 1303250"/>
                  <a:gd name="connsiteX115" fmla="*/ 326641 w 1129929"/>
                  <a:gd name="connsiteY115" fmla="*/ 798695 h 1303250"/>
                  <a:gd name="connsiteX116" fmla="*/ 357336 w 1129929"/>
                  <a:gd name="connsiteY116" fmla="*/ 758669 h 1303250"/>
                  <a:gd name="connsiteX117" fmla="*/ 410158 w 1129929"/>
                  <a:gd name="connsiteY117" fmla="*/ 690767 h 1303250"/>
                  <a:gd name="connsiteX118" fmla="*/ 410872 w 1129929"/>
                  <a:gd name="connsiteY118" fmla="*/ 689338 h 1303250"/>
                  <a:gd name="connsiteX119" fmla="*/ 402306 w 1129929"/>
                  <a:gd name="connsiteY119" fmla="*/ 680760 h 1303250"/>
                  <a:gd name="connsiteX120" fmla="*/ 388744 w 1129929"/>
                  <a:gd name="connsiteY120" fmla="*/ 161847 h 1303250"/>
                  <a:gd name="connsiteX121" fmla="*/ 701396 w 1129929"/>
                  <a:gd name="connsiteY121" fmla="*/ 312 h 130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129929" h="1303250">
                    <a:moveTo>
                      <a:pt x="289198" y="853988"/>
                    </a:moveTo>
                    <a:cubicBezTo>
                      <a:pt x="289198" y="853988"/>
                      <a:pt x="289198" y="853988"/>
                      <a:pt x="35540" y="1184870"/>
                    </a:cubicBezTo>
                    <a:cubicBezTo>
                      <a:pt x="29109" y="1193446"/>
                      <a:pt x="40542" y="1222032"/>
                      <a:pt x="71981" y="1245615"/>
                    </a:cubicBezTo>
                    <a:cubicBezTo>
                      <a:pt x="86986" y="1257049"/>
                      <a:pt x="104849" y="1264911"/>
                      <a:pt x="119140" y="1267769"/>
                    </a:cubicBezTo>
                    <a:cubicBezTo>
                      <a:pt x="129143" y="1269913"/>
                      <a:pt x="137718" y="1267769"/>
                      <a:pt x="140576" y="1264911"/>
                    </a:cubicBezTo>
                    <a:cubicBezTo>
                      <a:pt x="140576" y="1264911"/>
                      <a:pt x="140576" y="1264911"/>
                      <a:pt x="394234" y="933314"/>
                    </a:cubicBezTo>
                    <a:cubicBezTo>
                      <a:pt x="394234" y="933314"/>
                      <a:pt x="394234" y="933314"/>
                      <a:pt x="289198" y="853988"/>
                    </a:cubicBezTo>
                    <a:close/>
                    <a:moveTo>
                      <a:pt x="283534" y="814143"/>
                    </a:moveTo>
                    <a:cubicBezTo>
                      <a:pt x="288533" y="812713"/>
                      <a:pt x="292819" y="814858"/>
                      <a:pt x="296390" y="817004"/>
                    </a:cubicBezTo>
                    <a:cubicBezTo>
                      <a:pt x="296390" y="817004"/>
                      <a:pt x="296390" y="817004"/>
                      <a:pt x="427812" y="917828"/>
                    </a:cubicBezTo>
                    <a:cubicBezTo>
                      <a:pt x="435669" y="923549"/>
                      <a:pt x="437097" y="934275"/>
                      <a:pt x="431383" y="942141"/>
                    </a:cubicBezTo>
                    <a:cubicBezTo>
                      <a:pt x="431383" y="942141"/>
                      <a:pt x="431383" y="942141"/>
                      <a:pt x="167825" y="1285373"/>
                    </a:cubicBezTo>
                    <a:cubicBezTo>
                      <a:pt x="159254" y="1296815"/>
                      <a:pt x="145683" y="1303250"/>
                      <a:pt x="128541" y="1303250"/>
                    </a:cubicBezTo>
                    <a:cubicBezTo>
                      <a:pt x="124256" y="1303250"/>
                      <a:pt x="118542" y="1302535"/>
                      <a:pt x="114256" y="1301820"/>
                    </a:cubicBezTo>
                    <a:cubicBezTo>
                      <a:pt x="94257" y="1298960"/>
                      <a:pt x="72116" y="1287519"/>
                      <a:pt x="52117" y="1273217"/>
                    </a:cubicBezTo>
                    <a:cubicBezTo>
                      <a:pt x="5690" y="1238179"/>
                      <a:pt x="-12166" y="1192415"/>
                      <a:pt x="8547" y="1165242"/>
                    </a:cubicBezTo>
                    <a:cubicBezTo>
                      <a:pt x="8547" y="1165242"/>
                      <a:pt x="8547" y="1165242"/>
                      <a:pt x="272106" y="819864"/>
                    </a:cubicBezTo>
                    <a:cubicBezTo>
                      <a:pt x="274963" y="817004"/>
                      <a:pt x="279248" y="814858"/>
                      <a:pt x="283534" y="814143"/>
                    </a:cubicBezTo>
                    <a:close/>
                    <a:moveTo>
                      <a:pt x="715344" y="573000"/>
                    </a:moveTo>
                    <a:cubicBezTo>
                      <a:pt x="715344" y="573000"/>
                      <a:pt x="715344" y="573000"/>
                      <a:pt x="729007" y="600174"/>
                    </a:cubicBezTo>
                    <a:cubicBezTo>
                      <a:pt x="729007" y="600174"/>
                      <a:pt x="729007" y="600174"/>
                      <a:pt x="757772" y="603034"/>
                    </a:cubicBezTo>
                    <a:cubicBezTo>
                      <a:pt x="757772" y="603034"/>
                      <a:pt x="757772" y="603034"/>
                      <a:pt x="737637" y="623772"/>
                    </a:cubicBezTo>
                    <a:cubicBezTo>
                      <a:pt x="737637" y="623772"/>
                      <a:pt x="737637" y="623772"/>
                      <a:pt x="741951" y="652375"/>
                    </a:cubicBezTo>
                    <a:cubicBezTo>
                      <a:pt x="741951" y="652375"/>
                      <a:pt x="741951" y="652375"/>
                      <a:pt x="715344" y="637358"/>
                    </a:cubicBezTo>
                    <a:cubicBezTo>
                      <a:pt x="715344" y="637358"/>
                      <a:pt x="715344" y="637358"/>
                      <a:pt x="689455" y="652375"/>
                    </a:cubicBezTo>
                    <a:cubicBezTo>
                      <a:pt x="689455" y="652375"/>
                      <a:pt x="689455" y="652375"/>
                      <a:pt x="693770" y="623772"/>
                    </a:cubicBezTo>
                    <a:cubicBezTo>
                      <a:pt x="693770" y="623772"/>
                      <a:pt x="693770" y="623772"/>
                      <a:pt x="673634" y="603034"/>
                    </a:cubicBezTo>
                    <a:cubicBezTo>
                      <a:pt x="673634" y="603034"/>
                      <a:pt x="673634" y="603034"/>
                      <a:pt x="703119" y="600174"/>
                    </a:cubicBezTo>
                    <a:cubicBezTo>
                      <a:pt x="703119" y="600174"/>
                      <a:pt x="703119" y="600174"/>
                      <a:pt x="715344" y="573000"/>
                    </a:cubicBezTo>
                    <a:close/>
                    <a:moveTo>
                      <a:pt x="616222" y="573000"/>
                    </a:moveTo>
                    <a:cubicBezTo>
                      <a:pt x="616222" y="573000"/>
                      <a:pt x="616222" y="573000"/>
                      <a:pt x="629598" y="600174"/>
                    </a:cubicBezTo>
                    <a:cubicBezTo>
                      <a:pt x="629598" y="600174"/>
                      <a:pt x="629598" y="600174"/>
                      <a:pt x="657759" y="603034"/>
                    </a:cubicBezTo>
                    <a:cubicBezTo>
                      <a:pt x="657759" y="603034"/>
                      <a:pt x="657759" y="603034"/>
                      <a:pt x="636638" y="623772"/>
                    </a:cubicBezTo>
                    <a:cubicBezTo>
                      <a:pt x="636638" y="623772"/>
                      <a:pt x="636638" y="623772"/>
                      <a:pt x="641567" y="652375"/>
                    </a:cubicBezTo>
                    <a:cubicBezTo>
                      <a:pt x="641567" y="652375"/>
                      <a:pt x="641567" y="652375"/>
                      <a:pt x="616222" y="637358"/>
                    </a:cubicBezTo>
                    <a:cubicBezTo>
                      <a:pt x="616222" y="637358"/>
                      <a:pt x="616222" y="637358"/>
                      <a:pt x="591581" y="652375"/>
                    </a:cubicBezTo>
                    <a:cubicBezTo>
                      <a:pt x="591581" y="652375"/>
                      <a:pt x="591581" y="652375"/>
                      <a:pt x="595805" y="623772"/>
                    </a:cubicBezTo>
                    <a:cubicBezTo>
                      <a:pt x="595805" y="623772"/>
                      <a:pt x="595805" y="623772"/>
                      <a:pt x="576796" y="603034"/>
                    </a:cubicBezTo>
                    <a:cubicBezTo>
                      <a:pt x="576796" y="603034"/>
                      <a:pt x="576796" y="603034"/>
                      <a:pt x="604253" y="600174"/>
                    </a:cubicBezTo>
                    <a:cubicBezTo>
                      <a:pt x="604253" y="600174"/>
                      <a:pt x="604253" y="600174"/>
                      <a:pt x="616222" y="573000"/>
                    </a:cubicBezTo>
                    <a:close/>
                    <a:moveTo>
                      <a:pt x="521234" y="573000"/>
                    </a:moveTo>
                    <a:cubicBezTo>
                      <a:pt x="521234" y="573000"/>
                      <a:pt x="521234" y="573000"/>
                      <a:pt x="534092" y="600174"/>
                    </a:cubicBezTo>
                    <a:cubicBezTo>
                      <a:pt x="534092" y="600174"/>
                      <a:pt x="534092" y="600174"/>
                      <a:pt x="564096" y="603034"/>
                    </a:cubicBezTo>
                    <a:cubicBezTo>
                      <a:pt x="564096" y="603034"/>
                      <a:pt x="564096" y="603034"/>
                      <a:pt x="542665" y="623772"/>
                    </a:cubicBezTo>
                    <a:cubicBezTo>
                      <a:pt x="542665" y="623772"/>
                      <a:pt x="542665" y="623772"/>
                      <a:pt x="547666" y="652375"/>
                    </a:cubicBezTo>
                    <a:cubicBezTo>
                      <a:pt x="547666" y="652375"/>
                      <a:pt x="547666" y="652375"/>
                      <a:pt x="521234" y="637358"/>
                    </a:cubicBezTo>
                    <a:cubicBezTo>
                      <a:pt x="521234" y="637358"/>
                      <a:pt x="521234" y="637358"/>
                      <a:pt x="494802" y="652375"/>
                    </a:cubicBezTo>
                    <a:cubicBezTo>
                      <a:pt x="494802" y="652375"/>
                      <a:pt x="494802" y="652375"/>
                      <a:pt x="499088" y="623772"/>
                    </a:cubicBezTo>
                    <a:cubicBezTo>
                      <a:pt x="499088" y="623772"/>
                      <a:pt x="499088" y="623772"/>
                      <a:pt x="478371" y="603034"/>
                    </a:cubicBezTo>
                    <a:cubicBezTo>
                      <a:pt x="478371" y="603034"/>
                      <a:pt x="478371" y="603034"/>
                      <a:pt x="507661" y="600174"/>
                    </a:cubicBezTo>
                    <a:cubicBezTo>
                      <a:pt x="507661" y="600174"/>
                      <a:pt x="507661" y="600174"/>
                      <a:pt x="521234" y="573000"/>
                    </a:cubicBezTo>
                    <a:close/>
                    <a:moveTo>
                      <a:pt x="598151" y="292013"/>
                    </a:moveTo>
                    <a:cubicBezTo>
                      <a:pt x="598867" y="294157"/>
                      <a:pt x="600299" y="296302"/>
                      <a:pt x="601732" y="297731"/>
                    </a:cubicBezTo>
                    <a:cubicBezTo>
                      <a:pt x="604597" y="302020"/>
                      <a:pt x="609612" y="302734"/>
                      <a:pt x="611760" y="302734"/>
                    </a:cubicBezTo>
                    <a:cubicBezTo>
                      <a:pt x="613193" y="309167"/>
                      <a:pt x="616058" y="317744"/>
                      <a:pt x="622505" y="319888"/>
                    </a:cubicBezTo>
                    <a:cubicBezTo>
                      <a:pt x="623938" y="321318"/>
                      <a:pt x="625370" y="321318"/>
                      <a:pt x="626087" y="323462"/>
                    </a:cubicBezTo>
                    <a:cubicBezTo>
                      <a:pt x="636831" y="350623"/>
                      <a:pt x="654739" y="391363"/>
                      <a:pt x="661186" y="397081"/>
                    </a:cubicBezTo>
                    <a:cubicBezTo>
                      <a:pt x="671931" y="406373"/>
                      <a:pt x="700583" y="423527"/>
                      <a:pt x="714909" y="423527"/>
                    </a:cubicBezTo>
                    <a:cubicBezTo>
                      <a:pt x="730668" y="423527"/>
                      <a:pt x="759321" y="406373"/>
                      <a:pt x="770065" y="397081"/>
                    </a:cubicBezTo>
                    <a:cubicBezTo>
                      <a:pt x="775796" y="391363"/>
                      <a:pt x="793703" y="350623"/>
                      <a:pt x="804448" y="323462"/>
                    </a:cubicBezTo>
                    <a:cubicBezTo>
                      <a:pt x="805164" y="322033"/>
                      <a:pt x="805881" y="321318"/>
                      <a:pt x="807313" y="320603"/>
                    </a:cubicBezTo>
                    <a:cubicBezTo>
                      <a:pt x="811611" y="318459"/>
                      <a:pt x="814476" y="315600"/>
                      <a:pt x="815909" y="312026"/>
                    </a:cubicBezTo>
                    <a:cubicBezTo>
                      <a:pt x="821640" y="311311"/>
                      <a:pt x="827370" y="309167"/>
                      <a:pt x="832384" y="307023"/>
                    </a:cubicBezTo>
                    <a:cubicBezTo>
                      <a:pt x="830952" y="313456"/>
                      <a:pt x="826654" y="324177"/>
                      <a:pt x="815909" y="330610"/>
                    </a:cubicBezTo>
                    <a:cubicBezTo>
                      <a:pt x="809462" y="345619"/>
                      <a:pt x="789406" y="397081"/>
                      <a:pt x="777945" y="406373"/>
                    </a:cubicBezTo>
                    <a:cubicBezTo>
                      <a:pt x="777228" y="407088"/>
                      <a:pt x="777228" y="407802"/>
                      <a:pt x="776512" y="408517"/>
                    </a:cubicBezTo>
                    <a:cubicBezTo>
                      <a:pt x="776512" y="427101"/>
                      <a:pt x="776512" y="427101"/>
                      <a:pt x="776512" y="427101"/>
                    </a:cubicBezTo>
                    <a:cubicBezTo>
                      <a:pt x="774363" y="429245"/>
                      <a:pt x="769349" y="433533"/>
                      <a:pt x="763618" y="438537"/>
                    </a:cubicBezTo>
                    <a:cubicBezTo>
                      <a:pt x="763618" y="418524"/>
                      <a:pt x="763618" y="418524"/>
                      <a:pt x="763618" y="418524"/>
                    </a:cubicBezTo>
                    <a:cubicBezTo>
                      <a:pt x="748576" y="427101"/>
                      <a:pt x="729235" y="437107"/>
                      <a:pt x="714909" y="437107"/>
                    </a:cubicBezTo>
                    <a:cubicBezTo>
                      <a:pt x="703448" y="437107"/>
                      <a:pt x="685540" y="429245"/>
                      <a:pt x="671931" y="420668"/>
                    </a:cubicBezTo>
                    <a:cubicBezTo>
                      <a:pt x="671931" y="442825"/>
                      <a:pt x="671931" y="442825"/>
                      <a:pt x="671931" y="442825"/>
                    </a:cubicBezTo>
                    <a:cubicBezTo>
                      <a:pt x="666916" y="438537"/>
                      <a:pt x="662619" y="434248"/>
                      <a:pt x="658321" y="431389"/>
                    </a:cubicBezTo>
                    <a:cubicBezTo>
                      <a:pt x="658321" y="412091"/>
                      <a:pt x="658321" y="412091"/>
                      <a:pt x="658321" y="412091"/>
                    </a:cubicBezTo>
                    <a:cubicBezTo>
                      <a:pt x="656172" y="409947"/>
                      <a:pt x="654023" y="408517"/>
                      <a:pt x="651874" y="406373"/>
                    </a:cubicBezTo>
                    <a:cubicBezTo>
                      <a:pt x="641846" y="397081"/>
                      <a:pt x="621073" y="346334"/>
                      <a:pt x="615342" y="331324"/>
                    </a:cubicBezTo>
                    <a:cubicBezTo>
                      <a:pt x="600299" y="322747"/>
                      <a:pt x="597434" y="302020"/>
                      <a:pt x="597434" y="294872"/>
                    </a:cubicBezTo>
                    <a:cubicBezTo>
                      <a:pt x="597434" y="293443"/>
                      <a:pt x="597434" y="292728"/>
                      <a:pt x="598151" y="292013"/>
                    </a:cubicBezTo>
                    <a:close/>
                    <a:moveTo>
                      <a:pt x="710144" y="50713"/>
                    </a:moveTo>
                    <a:cubicBezTo>
                      <a:pt x="708715" y="51429"/>
                      <a:pt x="707286" y="51429"/>
                      <a:pt x="705856" y="51429"/>
                    </a:cubicBezTo>
                    <a:cubicBezTo>
                      <a:pt x="704427" y="51429"/>
                      <a:pt x="703712" y="51429"/>
                      <a:pt x="702998" y="51429"/>
                    </a:cubicBezTo>
                    <a:cubicBezTo>
                      <a:pt x="700139" y="51429"/>
                      <a:pt x="697995" y="51429"/>
                      <a:pt x="695136" y="51429"/>
                    </a:cubicBezTo>
                    <a:cubicBezTo>
                      <a:pt x="695136" y="51429"/>
                      <a:pt x="695136" y="51429"/>
                      <a:pt x="694421" y="51429"/>
                    </a:cubicBezTo>
                    <a:cubicBezTo>
                      <a:pt x="502886" y="63593"/>
                      <a:pt x="351372" y="223157"/>
                      <a:pt x="351372" y="417783"/>
                    </a:cubicBezTo>
                    <a:cubicBezTo>
                      <a:pt x="351372" y="591659"/>
                      <a:pt x="472869" y="738344"/>
                      <a:pt x="635102" y="775552"/>
                    </a:cubicBezTo>
                    <a:cubicBezTo>
                      <a:pt x="661546" y="781276"/>
                      <a:pt x="689418" y="784138"/>
                      <a:pt x="717291" y="784138"/>
                    </a:cubicBezTo>
                    <a:cubicBezTo>
                      <a:pt x="746593" y="784138"/>
                      <a:pt x="774466" y="781276"/>
                      <a:pt x="801624" y="774836"/>
                    </a:cubicBezTo>
                    <a:cubicBezTo>
                      <a:pt x="963143" y="736197"/>
                      <a:pt x="1083210" y="590943"/>
                      <a:pt x="1083210" y="417783"/>
                    </a:cubicBezTo>
                    <a:cubicBezTo>
                      <a:pt x="1083210" y="233890"/>
                      <a:pt x="948135" y="80766"/>
                      <a:pt x="770893" y="55006"/>
                    </a:cubicBezTo>
                    <a:cubicBezTo>
                      <a:pt x="770893" y="55006"/>
                      <a:pt x="770893" y="55006"/>
                      <a:pt x="770178" y="55006"/>
                    </a:cubicBezTo>
                    <a:cubicBezTo>
                      <a:pt x="766605" y="54291"/>
                      <a:pt x="763031" y="53575"/>
                      <a:pt x="758743" y="53575"/>
                    </a:cubicBezTo>
                    <a:cubicBezTo>
                      <a:pt x="758743" y="53575"/>
                      <a:pt x="758028" y="53575"/>
                      <a:pt x="757314" y="52860"/>
                    </a:cubicBezTo>
                    <a:cubicBezTo>
                      <a:pt x="755884" y="52860"/>
                      <a:pt x="753740" y="52860"/>
                      <a:pt x="751596" y="52860"/>
                    </a:cubicBezTo>
                    <a:cubicBezTo>
                      <a:pt x="750881" y="52860"/>
                      <a:pt x="749452" y="52144"/>
                      <a:pt x="748023" y="52144"/>
                    </a:cubicBezTo>
                    <a:cubicBezTo>
                      <a:pt x="746593" y="52144"/>
                      <a:pt x="745164" y="52144"/>
                      <a:pt x="743735" y="52144"/>
                    </a:cubicBezTo>
                    <a:cubicBezTo>
                      <a:pt x="742305" y="52144"/>
                      <a:pt x="740161" y="51429"/>
                      <a:pt x="738017" y="51429"/>
                    </a:cubicBezTo>
                    <a:cubicBezTo>
                      <a:pt x="737302" y="51429"/>
                      <a:pt x="736588" y="51429"/>
                      <a:pt x="735873" y="51429"/>
                    </a:cubicBezTo>
                    <a:cubicBezTo>
                      <a:pt x="733014" y="51429"/>
                      <a:pt x="730156" y="51429"/>
                      <a:pt x="726582" y="51429"/>
                    </a:cubicBezTo>
                    <a:cubicBezTo>
                      <a:pt x="726582" y="51429"/>
                      <a:pt x="725867" y="51429"/>
                      <a:pt x="725153" y="51429"/>
                    </a:cubicBezTo>
                    <a:cubicBezTo>
                      <a:pt x="723009" y="50713"/>
                      <a:pt x="720865" y="50713"/>
                      <a:pt x="718006" y="50713"/>
                    </a:cubicBezTo>
                    <a:cubicBezTo>
                      <a:pt x="717291" y="50713"/>
                      <a:pt x="715862" y="50713"/>
                      <a:pt x="715147" y="50713"/>
                    </a:cubicBezTo>
                    <a:cubicBezTo>
                      <a:pt x="713718" y="50713"/>
                      <a:pt x="711574" y="50713"/>
                      <a:pt x="710144" y="50713"/>
                    </a:cubicBezTo>
                    <a:close/>
                    <a:moveTo>
                      <a:pt x="701396" y="312"/>
                    </a:moveTo>
                    <a:cubicBezTo>
                      <a:pt x="794192" y="-3262"/>
                      <a:pt x="889129" y="23899"/>
                      <a:pt x="968363" y="83938"/>
                    </a:cubicBezTo>
                    <a:cubicBezTo>
                      <a:pt x="1148959" y="224031"/>
                      <a:pt x="1183222" y="482773"/>
                      <a:pt x="1045455" y="665036"/>
                    </a:cubicBezTo>
                    <a:cubicBezTo>
                      <a:pt x="1041886" y="670039"/>
                      <a:pt x="1036890" y="675757"/>
                      <a:pt x="1032607" y="681475"/>
                    </a:cubicBezTo>
                    <a:cubicBezTo>
                      <a:pt x="1032607" y="681475"/>
                      <a:pt x="1032607" y="681475"/>
                      <a:pt x="1032607" y="680760"/>
                    </a:cubicBezTo>
                    <a:cubicBezTo>
                      <a:pt x="997630" y="721502"/>
                      <a:pt x="955514" y="755095"/>
                      <a:pt x="907689" y="780112"/>
                    </a:cubicBezTo>
                    <a:cubicBezTo>
                      <a:pt x="907689" y="780112"/>
                      <a:pt x="907689" y="780112"/>
                      <a:pt x="909116" y="780112"/>
                    </a:cubicBezTo>
                    <a:cubicBezTo>
                      <a:pt x="791337" y="841581"/>
                      <a:pt x="647859" y="844440"/>
                      <a:pt x="527224" y="780826"/>
                    </a:cubicBezTo>
                    <a:cubicBezTo>
                      <a:pt x="527224" y="780826"/>
                      <a:pt x="527224" y="780826"/>
                      <a:pt x="525083" y="780826"/>
                    </a:cubicBezTo>
                    <a:cubicBezTo>
                      <a:pt x="521514" y="784400"/>
                      <a:pt x="507951" y="801554"/>
                      <a:pt x="442280" y="887325"/>
                    </a:cubicBezTo>
                    <a:cubicBezTo>
                      <a:pt x="442280" y="887325"/>
                      <a:pt x="442280" y="887325"/>
                      <a:pt x="439425" y="885181"/>
                    </a:cubicBezTo>
                    <a:cubicBezTo>
                      <a:pt x="439425" y="885181"/>
                      <a:pt x="439425" y="885181"/>
                      <a:pt x="368757" y="830859"/>
                    </a:cubicBezTo>
                    <a:cubicBezTo>
                      <a:pt x="368757" y="830859"/>
                      <a:pt x="368757" y="830859"/>
                      <a:pt x="326641" y="799410"/>
                    </a:cubicBezTo>
                    <a:cubicBezTo>
                      <a:pt x="326641" y="799410"/>
                      <a:pt x="326641" y="799410"/>
                      <a:pt x="326641" y="798695"/>
                    </a:cubicBezTo>
                    <a:cubicBezTo>
                      <a:pt x="326641" y="798695"/>
                      <a:pt x="326641" y="798695"/>
                      <a:pt x="357336" y="758669"/>
                    </a:cubicBezTo>
                    <a:cubicBezTo>
                      <a:pt x="357336" y="758669"/>
                      <a:pt x="357336" y="758669"/>
                      <a:pt x="410158" y="690767"/>
                    </a:cubicBezTo>
                    <a:cubicBezTo>
                      <a:pt x="410158" y="690767"/>
                      <a:pt x="410158" y="690767"/>
                      <a:pt x="410872" y="689338"/>
                    </a:cubicBezTo>
                    <a:cubicBezTo>
                      <a:pt x="408017" y="686478"/>
                      <a:pt x="405161" y="683619"/>
                      <a:pt x="402306" y="680760"/>
                    </a:cubicBezTo>
                    <a:cubicBezTo>
                      <a:pt x="278816" y="534950"/>
                      <a:pt x="268822" y="319093"/>
                      <a:pt x="388744" y="161847"/>
                    </a:cubicBezTo>
                    <a:cubicBezTo>
                      <a:pt x="466550" y="60351"/>
                      <a:pt x="582902" y="5315"/>
                      <a:pt x="701396" y="31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51" name="Freeform 6">
                <a:extLst>
                  <a:ext uri="{FF2B5EF4-FFF2-40B4-BE49-F238E27FC236}">
                    <a16:creationId xmlns:a16="http://schemas.microsoft.com/office/drawing/2014/main" id="{8CFB8CC1-C95C-4A32-AFE6-9C2B47DCF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0378" y="2901949"/>
                <a:ext cx="459797" cy="527050"/>
              </a:xfrm>
              <a:custGeom>
                <a:avLst/>
                <a:gdLst>
                  <a:gd name="connsiteX0" fmla="*/ 418875 w 459797"/>
                  <a:gd name="connsiteY0" fmla="*/ 447675 h 527050"/>
                  <a:gd name="connsiteX1" fmla="*/ 431575 w 459797"/>
                  <a:gd name="connsiteY1" fmla="*/ 474849 h 527050"/>
                  <a:gd name="connsiteX2" fmla="*/ 459797 w 459797"/>
                  <a:gd name="connsiteY2" fmla="*/ 477709 h 527050"/>
                  <a:gd name="connsiteX3" fmla="*/ 439336 w 459797"/>
                  <a:gd name="connsiteY3" fmla="*/ 498447 h 527050"/>
                  <a:gd name="connsiteX4" fmla="*/ 444275 w 459797"/>
                  <a:gd name="connsiteY4" fmla="*/ 527050 h 527050"/>
                  <a:gd name="connsiteX5" fmla="*/ 418875 w 459797"/>
                  <a:gd name="connsiteY5" fmla="*/ 512033 h 527050"/>
                  <a:gd name="connsiteX6" fmla="*/ 392769 w 459797"/>
                  <a:gd name="connsiteY6" fmla="*/ 527050 h 527050"/>
                  <a:gd name="connsiteX7" fmla="*/ 397708 w 459797"/>
                  <a:gd name="connsiteY7" fmla="*/ 498447 h 527050"/>
                  <a:gd name="connsiteX8" fmla="*/ 377247 w 459797"/>
                  <a:gd name="connsiteY8" fmla="*/ 477709 h 527050"/>
                  <a:gd name="connsiteX9" fmla="*/ 406175 w 459797"/>
                  <a:gd name="connsiteY9" fmla="*/ 474849 h 527050"/>
                  <a:gd name="connsiteX10" fmla="*/ 418875 w 459797"/>
                  <a:gd name="connsiteY10" fmla="*/ 447675 h 527050"/>
                  <a:gd name="connsiteX11" fmla="*/ 322126 w 459797"/>
                  <a:gd name="connsiteY11" fmla="*/ 447675 h 527050"/>
                  <a:gd name="connsiteX12" fmla="*/ 335560 w 459797"/>
                  <a:gd name="connsiteY12" fmla="*/ 474849 h 527050"/>
                  <a:gd name="connsiteX13" fmla="*/ 364548 w 459797"/>
                  <a:gd name="connsiteY13" fmla="*/ 477709 h 527050"/>
                  <a:gd name="connsiteX14" fmla="*/ 343337 w 459797"/>
                  <a:gd name="connsiteY14" fmla="*/ 498447 h 527050"/>
                  <a:gd name="connsiteX15" fmla="*/ 348286 w 459797"/>
                  <a:gd name="connsiteY15" fmla="*/ 527050 h 527050"/>
                  <a:gd name="connsiteX16" fmla="*/ 322126 w 459797"/>
                  <a:gd name="connsiteY16" fmla="*/ 512033 h 527050"/>
                  <a:gd name="connsiteX17" fmla="*/ 296672 w 459797"/>
                  <a:gd name="connsiteY17" fmla="*/ 527050 h 527050"/>
                  <a:gd name="connsiteX18" fmla="*/ 300207 w 459797"/>
                  <a:gd name="connsiteY18" fmla="*/ 498447 h 527050"/>
                  <a:gd name="connsiteX19" fmla="*/ 280410 w 459797"/>
                  <a:gd name="connsiteY19" fmla="*/ 477709 h 527050"/>
                  <a:gd name="connsiteX20" fmla="*/ 309399 w 459797"/>
                  <a:gd name="connsiteY20" fmla="*/ 474849 h 527050"/>
                  <a:gd name="connsiteX21" fmla="*/ 322126 w 459797"/>
                  <a:gd name="connsiteY21" fmla="*/ 447675 h 527050"/>
                  <a:gd name="connsiteX22" fmla="*/ 151503 w 459797"/>
                  <a:gd name="connsiteY22" fmla="*/ 307975 h 527050"/>
                  <a:gd name="connsiteX23" fmla="*/ 221475 w 459797"/>
                  <a:gd name="connsiteY23" fmla="*/ 367227 h 527050"/>
                  <a:gd name="connsiteX24" fmla="*/ 224331 w 459797"/>
                  <a:gd name="connsiteY24" fmla="*/ 367227 h 527050"/>
                  <a:gd name="connsiteX25" fmla="*/ 295730 w 459797"/>
                  <a:gd name="connsiteY25" fmla="*/ 307975 h 527050"/>
                  <a:gd name="connsiteX26" fmla="*/ 392120 w 459797"/>
                  <a:gd name="connsiteY26" fmla="*/ 324595 h 527050"/>
                  <a:gd name="connsiteX27" fmla="*/ 445669 w 459797"/>
                  <a:gd name="connsiteY27" fmla="*/ 404802 h 527050"/>
                  <a:gd name="connsiteX28" fmla="*/ 440671 w 459797"/>
                  <a:gd name="connsiteY28" fmla="*/ 412750 h 527050"/>
                  <a:gd name="connsiteX29" fmla="*/ 5848 w 459797"/>
                  <a:gd name="connsiteY29" fmla="*/ 412750 h 527050"/>
                  <a:gd name="connsiteX30" fmla="*/ 136 w 459797"/>
                  <a:gd name="connsiteY30" fmla="*/ 404802 h 527050"/>
                  <a:gd name="connsiteX31" fmla="*/ 55114 w 459797"/>
                  <a:gd name="connsiteY31" fmla="*/ 324595 h 527050"/>
                  <a:gd name="connsiteX32" fmla="*/ 151503 w 459797"/>
                  <a:gd name="connsiteY32" fmla="*/ 307975 h 527050"/>
                  <a:gd name="connsiteX33" fmla="*/ 224462 w 459797"/>
                  <a:gd name="connsiteY33" fmla="*/ 0 h 527050"/>
                  <a:gd name="connsiteX34" fmla="*/ 337666 w 459797"/>
                  <a:gd name="connsiteY34" fmla="*/ 115780 h 527050"/>
                  <a:gd name="connsiteX35" fmla="*/ 336954 w 459797"/>
                  <a:gd name="connsiteY35" fmla="*/ 137935 h 527050"/>
                  <a:gd name="connsiteX36" fmla="*/ 345497 w 459797"/>
                  <a:gd name="connsiteY36" fmla="*/ 162949 h 527050"/>
                  <a:gd name="connsiteX37" fmla="*/ 310611 w 459797"/>
                  <a:gd name="connsiteY37" fmla="*/ 172955 h 527050"/>
                  <a:gd name="connsiteX38" fmla="*/ 173201 w 459797"/>
                  <a:gd name="connsiteY38" fmla="*/ 90765 h 527050"/>
                  <a:gd name="connsiteX39" fmla="*/ 161809 w 459797"/>
                  <a:gd name="connsiteY39" fmla="*/ 97198 h 527050"/>
                  <a:gd name="connsiteX40" fmla="*/ 116955 w 459797"/>
                  <a:gd name="connsiteY40" fmla="*/ 163664 h 527050"/>
                  <a:gd name="connsiteX41" fmla="*/ 110547 w 459797"/>
                  <a:gd name="connsiteY41" fmla="*/ 115780 h 527050"/>
                  <a:gd name="connsiteX42" fmla="*/ 224462 w 459797"/>
                  <a:gd name="connsiteY42" fmla="*/ 0 h 527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59797" h="527050">
                    <a:moveTo>
                      <a:pt x="418875" y="447675"/>
                    </a:moveTo>
                    <a:cubicBezTo>
                      <a:pt x="418875" y="447675"/>
                      <a:pt x="418875" y="447675"/>
                      <a:pt x="431575" y="474849"/>
                    </a:cubicBezTo>
                    <a:cubicBezTo>
                      <a:pt x="431575" y="474849"/>
                      <a:pt x="431575" y="474849"/>
                      <a:pt x="459797" y="477709"/>
                    </a:cubicBezTo>
                    <a:cubicBezTo>
                      <a:pt x="459797" y="477709"/>
                      <a:pt x="459797" y="477709"/>
                      <a:pt x="439336" y="498447"/>
                    </a:cubicBezTo>
                    <a:cubicBezTo>
                      <a:pt x="439336" y="498447"/>
                      <a:pt x="439336" y="498447"/>
                      <a:pt x="444275" y="527050"/>
                    </a:cubicBezTo>
                    <a:cubicBezTo>
                      <a:pt x="444275" y="527050"/>
                      <a:pt x="444275" y="527050"/>
                      <a:pt x="418875" y="512033"/>
                    </a:cubicBezTo>
                    <a:cubicBezTo>
                      <a:pt x="418875" y="512033"/>
                      <a:pt x="418875" y="512033"/>
                      <a:pt x="392769" y="527050"/>
                    </a:cubicBezTo>
                    <a:cubicBezTo>
                      <a:pt x="392769" y="527050"/>
                      <a:pt x="392769" y="527050"/>
                      <a:pt x="397708" y="498447"/>
                    </a:cubicBezTo>
                    <a:cubicBezTo>
                      <a:pt x="397708" y="498447"/>
                      <a:pt x="397708" y="498447"/>
                      <a:pt x="377247" y="477709"/>
                    </a:cubicBezTo>
                    <a:cubicBezTo>
                      <a:pt x="377247" y="477709"/>
                      <a:pt x="377247" y="477709"/>
                      <a:pt x="406175" y="474849"/>
                    </a:cubicBezTo>
                    <a:cubicBezTo>
                      <a:pt x="406175" y="474849"/>
                      <a:pt x="406175" y="474849"/>
                      <a:pt x="418875" y="447675"/>
                    </a:cubicBezTo>
                    <a:close/>
                    <a:moveTo>
                      <a:pt x="322126" y="447675"/>
                    </a:moveTo>
                    <a:cubicBezTo>
                      <a:pt x="322126" y="447675"/>
                      <a:pt x="322126" y="447675"/>
                      <a:pt x="335560" y="474849"/>
                    </a:cubicBezTo>
                    <a:cubicBezTo>
                      <a:pt x="335560" y="474849"/>
                      <a:pt x="335560" y="474849"/>
                      <a:pt x="364548" y="477709"/>
                    </a:cubicBezTo>
                    <a:cubicBezTo>
                      <a:pt x="364548" y="477709"/>
                      <a:pt x="364548" y="477709"/>
                      <a:pt x="343337" y="498447"/>
                    </a:cubicBezTo>
                    <a:cubicBezTo>
                      <a:pt x="343337" y="498447"/>
                      <a:pt x="343337" y="498447"/>
                      <a:pt x="348286" y="527050"/>
                    </a:cubicBezTo>
                    <a:cubicBezTo>
                      <a:pt x="348286" y="527050"/>
                      <a:pt x="348286" y="527050"/>
                      <a:pt x="322126" y="512033"/>
                    </a:cubicBezTo>
                    <a:cubicBezTo>
                      <a:pt x="322126" y="512033"/>
                      <a:pt x="322126" y="512033"/>
                      <a:pt x="296672" y="527050"/>
                    </a:cubicBezTo>
                    <a:cubicBezTo>
                      <a:pt x="296672" y="527050"/>
                      <a:pt x="296672" y="527050"/>
                      <a:pt x="300207" y="498447"/>
                    </a:cubicBezTo>
                    <a:cubicBezTo>
                      <a:pt x="300207" y="498447"/>
                      <a:pt x="300207" y="498447"/>
                      <a:pt x="280410" y="477709"/>
                    </a:cubicBezTo>
                    <a:cubicBezTo>
                      <a:pt x="280410" y="477709"/>
                      <a:pt x="280410" y="477709"/>
                      <a:pt x="309399" y="474849"/>
                    </a:cubicBezTo>
                    <a:cubicBezTo>
                      <a:pt x="309399" y="474849"/>
                      <a:pt x="309399" y="474849"/>
                      <a:pt x="322126" y="447675"/>
                    </a:cubicBezTo>
                    <a:close/>
                    <a:moveTo>
                      <a:pt x="151503" y="307975"/>
                    </a:moveTo>
                    <a:cubicBezTo>
                      <a:pt x="151503" y="307975"/>
                      <a:pt x="199341" y="349163"/>
                      <a:pt x="221475" y="367227"/>
                    </a:cubicBezTo>
                    <a:cubicBezTo>
                      <a:pt x="222189" y="367950"/>
                      <a:pt x="223617" y="367950"/>
                      <a:pt x="224331" y="367227"/>
                    </a:cubicBezTo>
                    <a:cubicBezTo>
                      <a:pt x="255747" y="341937"/>
                      <a:pt x="295730" y="307975"/>
                      <a:pt x="295730" y="307975"/>
                    </a:cubicBezTo>
                    <a:cubicBezTo>
                      <a:pt x="295730" y="307975"/>
                      <a:pt x="358562" y="308698"/>
                      <a:pt x="392120" y="324595"/>
                    </a:cubicBezTo>
                    <a:cubicBezTo>
                      <a:pt x="419251" y="337601"/>
                      <a:pt x="438529" y="386737"/>
                      <a:pt x="445669" y="404802"/>
                    </a:cubicBezTo>
                    <a:cubicBezTo>
                      <a:pt x="447097" y="408415"/>
                      <a:pt x="444241" y="412750"/>
                      <a:pt x="440671" y="412750"/>
                    </a:cubicBezTo>
                    <a:cubicBezTo>
                      <a:pt x="440671" y="412750"/>
                      <a:pt x="440671" y="412750"/>
                      <a:pt x="5848" y="412750"/>
                    </a:cubicBezTo>
                    <a:cubicBezTo>
                      <a:pt x="1564" y="412750"/>
                      <a:pt x="-578" y="408415"/>
                      <a:pt x="136" y="404802"/>
                    </a:cubicBezTo>
                    <a:cubicBezTo>
                      <a:pt x="7276" y="386737"/>
                      <a:pt x="27268" y="337601"/>
                      <a:pt x="55114" y="324595"/>
                    </a:cubicBezTo>
                    <a:cubicBezTo>
                      <a:pt x="88672" y="308698"/>
                      <a:pt x="151503" y="307975"/>
                      <a:pt x="151503" y="307975"/>
                    </a:cubicBezTo>
                    <a:close/>
                    <a:moveTo>
                      <a:pt x="224462" y="0"/>
                    </a:moveTo>
                    <a:cubicBezTo>
                      <a:pt x="289252" y="0"/>
                      <a:pt x="337666" y="51457"/>
                      <a:pt x="337666" y="115780"/>
                    </a:cubicBezTo>
                    <a:cubicBezTo>
                      <a:pt x="337666" y="123641"/>
                      <a:pt x="337666" y="130788"/>
                      <a:pt x="336954" y="137935"/>
                    </a:cubicBezTo>
                    <a:cubicBezTo>
                      <a:pt x="336242" y="143652"/>
                      <a:pt x="338378" y="152943"/>
                      <a:pt x="345497" y="162949"/>
                    </a:cubicBezTo>
                    <a:cubicBezTo>
                      <a:pt x="345497" y="162949"/>
                      <a:pt x="322002" y="179387"/>
                      <a:pt x="310611" y="172955"/>
                    </a:cubicBezTo>
                    <a:cubicBezTo>
                      <a:pt x="298507" y="166522"/>
                      <a:pt x="244398" y="90051"/>
                      <a:pt x="173201" y="90765"/>
                    </a:cubicBezTo>
                    <a:cubicBezTo>
                      <a:pt x="173201" y="90765"/>
                      <a:pt x="164657" y="95054"/>
                      <a:pt x="161809" y="97198"/>
                    </a:cubicBezTo>
                    <a:cubicBezTo>
                      <a:pt x="129770" y="119353"/>
                      <a:pt x="128346" y="173669"/>
                      <a:pt x="116955" y="163664"/>
                    </a:cubicBezTo>
                    <a:cubicBezTo>
                      <a:pt x="112683" y="158661"/>
                      <a:pt x="110547" y="130073"/>
                      <a:pt x="110547" y="115780"/>
                    </a:cubicBezTo>
                    <a:cubicBezTo>
                      <a:pt x="110547" y="51457"/>
                      <a:pt x="160385" y="0"/>
                      <a:pt x="22446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52" name="Oval 151">
            <a:extLst>
              <a:ext uri="{FF2B5EF4-FFF2-40B4-BE49-F238E27FC236}">
                <a16:creationId xmlns:a16="http://schemas.microsoft.com/office/drawing/2014/main" id="{F173D0C4-1FC0-49DF-BA19-081C76EC74CD}"/>
              </a:ext>
            </a:extLst>
          </p:cNvPr>
          <p:cNvSpPr/>
          <p:nvPr/>
        </p:nvSpPr>
        <p:spPr>
          <a:xfrm>
            <a:off x="8190640" y="1826703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0DCFE672-9B03-49B9-AECF-0777B57D0DC7}"/>
              </a:ext>
            </a:extLst>
          </p:cNvPr>
          <p:cNvGrpSpPr>
            <a:grpSpLocks noChangeAspect="1"/>
          </p:cNvGrpSpPr>
          <p:nvPr/>
        </p:nvGrpSpPr>
        <p:grpSpPr>
          <a:xfrm>
            <a:off x="8400275" y="1826703"/>
            <a:ext cx="548131" cy="548640"/>
            <a:chOff x="5273803" y="2606040"/>
            <a:chExt cx="1644396" cy="1645920"/>
          </a:xfrm>
        </p:grpSpPr>
        <p:sp>
          <p:nvSpPr>
            <p:cNvPr id="157" name="AutoShape 38">
              <a:extLst>
                <a:ext uri="{FF2B5EF4-FFF2-40B4-BE49-F238E27FC236}">
                  <a16:creationId xmlns:a16="http://schemas.microsoft.com/office/drawing/2014/main" id="{30969C12-13B6-41C6-B586-404688AE66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39E5C714-3B61-4617-ADA3-B7B513E4E7FD}"/>
                </a:ext>
              </a:extLst>
            </p:cNvPr>
            <p:cNvGrpSpPr/>
            <p:nvPr/>
          </p:nvGrpSpPr>
          <p:grpSpPr>
            <a:xfrm>
              <a:off x="5377816" y="2865501"/>
              <a:ext cx="1434846" cy="1099185"/>
              <a:chOff x="5377816" y="2865501"/>
              <a:chExt cx="1434846" cy="1099185"/>
            </a:xfrm>
          </p:grpSpPr>
          <p:sp>
            <p:nvSpPr>
              <p:cNvPr id="159" name="Freeform 40">
                <a:extLst>
                  <a:ext uri="{FF2B5EF4-FFF2-40B4-BE49-F238E27FC236}">
                    <a16:creationId xmlns:a16="http://schemas.microsoft.com/office/drawing/2014/main" id="{1708D0A1-10B2-4B7C-A6CD-CC769562CFC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7816" y="2865501"/>
                <a:ext cx="1434846" cy="1099185"/>
              </a:xfrm>
              <a:custGeom>
                <a:avLst/>
                <a:gdLst>
                  <a:gd name="T0" fmla="*/ 169 w 2010"/>
                  <a:gd name="T1" fmla="*/ 1334 h 1539"/>
                  <a:gd name="T2" fmla="*/ 470 w 2010"/>
                  <a:gd name="T3" fmla="*/ 1306 h 1539"/>
                  <a:gd name="T4" fmla="*/ 938 w 2010"/>
                  <a:gd name="T5" fmla="*/ 1306 h 1539"/>
                  <a:gd name="T6" fmla="*/ 637 w 2010"/>
                  <a:gd name="T7" fmla="*/ 1334 h 1539"/>
                  <a:gd name="T8" fmla="*/ 936 w 2010"/>
                  <a:gd name="T9" fmla="*/ 1337 h 1539"/>
                  <a:gd name="T10" fmla="*/ 1072 w 2010"/>
                  <a:gd name="T11" fmla="*/ 1306 h 1539"/>
                  <a:gd name="T12" fmla="*/ 1373 w 2010"/>
                  <a:gd name="T13" fmla="*/ 1334 h 1539"/>
                  <a:gd name="T14" fmla="*/ 1875 w 2010"/>
                  <a:gd name="T15" fmla="*/ 1306 h 1539"/>
                  <a:gd name="T16" fmla="*/ 1573 w 2010"/>
                  <a:gd name="T17" fmla="*/ 1334 h 1539"/>
                  <a:gd name="T18" fmla="*/ 1872 w 2010"/>
                  <a:gd name="T19" fmla="*/ 1337 h 1539"/>
                  <a:gd name="T20" fmla="*/ 468 w 2010"/>
                  <a:gd name="T21" fmla="*/ 948 h 1539"/>
                  <a:gd name="T22" fmla="*/ 138 w 2010"/>
                  <a:gd name="T23" fmla="*/ 948 h 1539"/>
                  <a:gd name="T24" fmla="*/ 938 w 2010"/>
                  <a:gd name="T25" fmla="*/ 917 h 1539"/>
                  <a:gd name="T26" fmla="*/ 637 w 2010"/>
                  <a:gd name="T27" fmla="*/ 945 h 1539"/>
                  <a:gd name="T28" fmla="*/ 936 w 2010"/>
                  <a:gd name="T29" fmla="*/ 948 h 1539"/>
                  <a:gd name="T30" fmla="*/ 1404 w 2010"/>
                  <a:gd name="T31" fmla="*/ 948 h 1539"/>
                  <a:gd name="T32" fmla="*/ 1074 w 2010"/>
                  <a:gd name="T33" fmla="*/ 948 h 1539"/>
                  <a:gd name="T34" fmla="*/ 1875 w 2010"/>
                  <a:gd name="T35" fmla="*/ 917 h 1539"/>
                  <a:gd name="T36" fmla="*/ 1573 w 2010"/>
                  <a:gd name="T37" fmla="*/ 945 h 1539"/>
                  <a:gd name="T38" fmla="*/ 1872 w 2010"/>
                  <a:gd name="T39" fmla="*/ 948 h 1539"/>
                  <a:gd name="T40" fmla="*/ 1999 w 2010"/>
                  <a:gd name="T41" fmla="*/ 1531 h 1539"/>
                  <a:gd name="T42" fmla="*/ 1670 w 2010"/>
                  <a:gd name="T43" fmla="*/ 1531 h 1539"/>
                  <a:gd name="T44" fmla="*/ 343 w 2010"/>
                  <a:gd name="T45" fmla="*/ 1500 h 1539"/>
                  <a:gd name="T46" fmla="*/ 42 w 2010"/>
                  <a:gd name="T47" fmla="*/ 1528 h 1539"/>
                  <a:gd name="T48" fmla="*/ 340 w 2010"/>
                  <a:gd name="T49" fmla="*/ 1531 h 1539"/>
                  <a:gd name="T50" fmla="*/ 1170 w 2010"/>
                  <a:gd name="T51" fmla="*/ 1531 h 1539"/>
                  <a:gd name="T52" fmla="*/ 840 w 2010"/>
                  <a:gd name="T53" fmla="*/ 1531 h 1539"/>
                  <a:gd name="T54" fmla="*/ 758 w 2010"/>
                  <a:gd name="T55" fmla="*/ 1500 h 1539"/>
                  <a:gd name="T56" fmla="*/ 456 w 2010"/>
                  <a:gd name="T57" fmla="*/ 1528 h 1539"/>
                  <a:gd name="T58" fmla="*/ 755 w 2010"/>
                  <a:gd name="T59" fmla="*/ 1531 h 1539"/>
                  <a:gd name="T60" fmla="*/ 1585 w 2010"/>
                  <a:gd name="T61" fmla="*/ 1531 h 1539"/>
                  <a:gd name="T62" fmla="*/ 1255 w 2010"/>
                  <a:gd name="T63" fmla="*/ 1531 h 1539"/>
                  <a:gd name="T64" fmla="*/ 2002 w 2010"/>
                  <a:gd name="T65" fmla="*/ 1111 h 1539"/>
                  <a:gd name="T66" fmla="*/ 1701 w 2010"/>
                  <a:gd name="T67" fmla="*/ 1139 h 1539"/>
                  <a:gd name="T68" fmla="*/ 1999 w 2010"/>
                  <a:gd name="T69" fmla="*/ 1142 h 1539"/>
                  <a:gd name="T70" fmla="*/ 8 w 2010"/>
                  <a:gd name="T71" fmla="*/ 1111 h 1539"/>
                  <a:gd name="T72" fmla="*/ 309 w 2010"/>
                  <a:gd name="T73" fmla="*/ 1139 h 1539"/>
                  <a:gd name="T74" fmla="*/ 1172 w 2010"/>
                  <a:gd name="T75" fmla="*/ 1111 h 1539"/>
                  <a:gd name="T76" fmla="*/ 871 w 2010"/>
                  <a:gd name="T77" fmla="*/ 1139 h 1539"/>
                  <a:gd name="T78" fmla="*/ 1170 w 2010"/>
                  <a:gd name="T79" fmla="*/ 1142 h 1539"/>
                  <a:gd name="T80" fmla="*/ 423 w 2010"/>
                  <a:gd name="T81" fmla="*/ 1111 h 1539"/>
                  <a:gd name="T82" fmla="*/ 724 w 2010"/>
                  <a:gd name="T83" fmla="*/ 1139 h 1539"/>
                  <a:gd name="T84" fmla="*/ 1587 w 2010"/>
                  <a:gd name="T85" fmla="*/ 1111 h 1539"/>
                  <a:gd name="T86" fmla="*/ 1286 w 2010"/>
                  <a:gd name="T87" fmla="*/ 1139 h 1539"/>
                  <a:gd name="T88" fmla="*/ 1585 w 2010"/>
                  <a:gd name="T89" fmla="*/ 1142 h 1539"/>
                  <a:gd name="T90" fmla="*/ 532 w 2010"/>
                  <a:gd name="T91" fmla="*/ 0 h 1539"/>
                  <a:gd name="T92" fmla="*/ 1478 w 2010"/>
                  <a:gd name="T93" fmla="*/ 618 h 1539"/>
                  <a:gd name="T94" fmla="*/ 1456 w 2010"/>
                  <a:gd name="T95" fmla="*/ 574 h 1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10" h="1539">
                    <a:moveTo>
                      <a:pt x="454" y="1342"/>
                    </a:moveTo>
                    <a:cubicBezTo>
                      <a:pt x="447" y="1342"/>
                      <a:pt x="441" y="1339"/>
                      <a:pt x="437" y="1334"/>
                    </a:cubicBezTo>
                    <a:cubicBezTo>
                      <a:pt x="403" y="1294"/>
                      <a:pt x="355" y="1272"/>
                      <a:pt x="303" y="1272"/>
                    </a:cubicBezTo>
                    <a:cubicBezTo>
                      <a:pt x="251" y="1272"/>
                      <a:pt x="202" y="1294"/>
                      <a:pt x="169" y="1334"/>
                    </a:cubicBezTo>
                    <a:cubicBezTo>
                      <a:pt x="161" y="1343"/>
                      <a:pt x="147" y="1344"/>
                      <a:pt x="138" y="1337"/>
                    </a:cubicBezTo>
                    <a:cubicBezTo>
                      <a:pt x="129" y="1329"/>
                      <a:pt x="128" y="1315"/>
                      <a:pt x="135" y="1306"/>
                    </a:cubicBezTo>
                    <a:cubicBezTo>
                      <a:pt x="177" y="1256"/>
                      <a:pt x="238" y="1228"/>
                      <a:pt x="303" y="1228"/>
                    </a:cubicBezTo>
                    <a:cubicBezTo>
                      <a:pt x="368" y="1228"/>
                      <a:pt x="429" y="1256"/>
                      <a:pt x="470" y="1306"/>
                    </a:cubicBezTo>
                    <a:cubicBezTo>
                      <a:pt x="478" y="1315"/>
                      <a:pt x="477" y="1329"/>
                      <a:pt x="468" y="1337"/>
                    </a:cubicBezTo>
                    <a:cubicBezTo>
                      <a:pt x="464" y="1340"/>
                      <a:pt x="458" y="1342"/>
                      <a:pt x="454" y="1342"/>
                    </a:cubicBezTo>
                    <a:close/>
                    <a:moveTo>
                      <a:pt x="936" y="1337"/>
                    </a:moveTo>
                    <a:cubicBezTo>
                      <a:pt x="945" y="1329"/>
                      <a:pt x="946" y="1315"/>
                      <a:pt x="938" y="1306"/>
                    </a:cubicBezTo>
                    <a:cubicBezTo>
                      <a:pt x="897" y="1256"/>
                      <a:pt x="836" y="1228"/>
                      <a:pt x="771" y="1228"/>
                    </a:cubicBezTo>
                    <a:cubicBezTo>
                      <a:pt x="706" y="1228"/>
                      <a:pt x="645" y="1256"/>
                      <a:pt x="603" y="1306"/>
                    </a:cubicBezTo>
                    <a:cubicBezTo>
                      <a:pt x="596" y="1315"/>
                      <a:pt x="597" y="1329"/>
                      <a:pt x="606" y="1337"/>
                    </a:cubicBezTo>
                    <a:cubicBezTo>
                      <a:pt x="615" y="1344"/>
                      <a:pt x="629" y="1343"/>
                      <a:pt x="637" y="1334"/>
                    </a:cubicBezTo>
                    <a:cubicBezTo>
                      <a:pt x="670" y="1294"/>
                      <a:pt x="719" y="1272"/>
                      <a:pt x="771" y="1272"/>
                    </a:cubicBezTo>
                    <a:cubicBezTo>
                      <a:pt x="823" y="1272"/>
                      <a:pt x="871" y="1294"/>
                      <a:pt x="905" y="1334"/>
                    </a:cubicBezTo>
                    <a:cubicBezTo>
                      <a:pt x="909" y="1339"/>
                      <a:pt x="915" y="1342"/>
                      <a:pt x="922" y="1342"/>
                    </a:cubicBezTo>
                    <a:cubicBezTo>
                      <a:pt x="927" y="1342"/>
                      <a:pt x="932" y="1340"/>
                      <a:pt x="936" y="1337"/>
                    </a:cubicBezTo>
                    <a:close/>
                    <a:moveTo>
                      <a:pt x="1404" y="1337"/>
                    </a:moveTo>
                    <a:cubicBezTo>
                      <a:pt x="1413" y="1329"/>
                      <a:pt x="1414" y="1315"/>
                      <a:pt x="1407" y="1306"/>
                    </a:cubicBezTo>
                    <a:cubicBezTo>
                      <a:pt x="1365" y="1256"/>
                      <a:pt x="1304" y="1228"/>
                      <a:pt x="1239" y="1228"/>
                    </a:cubicBezTo>
                    <a:cubicBezTo>
                      <a:pt x="1174" y="1228"/>
                      <a:pt x="1113" y="1256"/>
                      <a:pt x="1072" y="1306"/>
                    </a:cubicBezTo>
                    <a:cubicBezTo>
                      <a:pt x="1064" y="1315"/>
                      <a:pt x="1065" y="1329"/>
                      <a:pt x="1074" y="1337"/>
                    </a:cubicBezTo>
                    <a:cubicBezTo>
                      <a:pt x="1084" y="1344"/>
                      <a:pt x="1097" y="1343"/>
                      <a:pt x="1105" y="1334"/>
                    </a:cubicBezTo>
                    <a:cubicBezTo>
                      <a:pt x="1139" y="1294"/>
                      <a:pt x="1187" y="1272"/>
                      <a:pt x="1239" y="1272"/>
                    </a:cubicBezTo>
                    <a:cubicBezTo>
                      <a:pt x="1291" y="1272"/>
                      <a:pt x="1340" y="1294"/>
                      <a:pt x="1373" y="1334"/>
                    </a:cubicBezTo>
                    <a:cubicBezTo>
                      <a:pt x="1377" y="1339"/>
                      <a:pt x="1383" y="1342"/>
                      <a:pt x="1390" y="1342"/>
                    </a:cubicBezTo>
                    <a:cubicBezTo>
                      <a:pt x="1395" y="1342"/>
                      <a:pt x="1400" y="1340"/>
                      <a:pt x="1404" y="1337"/>
                    </a:cubicBezTo>
                    <a:close/>
                    <a:moveTo>
                      <a:pt x="1872" y="1337"/>
                    </a:moveTo>
                    <a:cubicBezTo>
                      <a:pt x="1881" y="1329"/>
                      <a:pt x="1882" y="1315"/>
                      <a:pt x="1875" y="1306"/>
                    </a:cubicBezTo>
                    <a:cubicBezTo>
                      <a:pt x="1833" y="1256"/>
                      <a:pt x="1772" y="1228"/>
                      <a:pt x="1707" y="1228"/>
                    </a:cubicBezTo>
                    <a:cubicBezTo>
                      <a:pt x="1642" y="1228"/>
                      <a:pt x="1581" y="1256"/>
                      <a:pt x="1540" y="1306"/>
                    </a:cubicBezTo>
                    <a:cubicBezTo>
                      <a:pt x="1532" y="1315"/>
                      <a:pt x="1533" y="1329"/>
                      <a:pt x="1542" y="1337"/>
                    </a:cubicBezTo>
                    <a:cubicBezTo>
                      <a:pt x="1552" y="1344"/>
                      <a:pt x="1566" y="1343"/>
                      <a:pt x="1573" y="1334"/>
                    </a:cubicBezTo>
                    <a:cubicBezTo>
                      <a:pt x="1607" y="1294"/>
                      <a:pt x="1655" y="1272"/>
                      <a:pt x="1707" y="1272"/>
                    </a:cubicBezTo>
                    <a:cubicBezTo>
                      <a:pt x="1759" y="1272"/>
                      <a:pt x="1808" y="1294"/>
                      <a:pt x="1841" y="1334"/>
                    </a:cubicBezTo>
                    <a:cubicBezTo>
                      <a:pt x="1845" y="1339"/>
                      <a:pt x="1852" y="1342"/>
                      <a:pt x="1858" y="1342"/>
                    </a:cubicBezTo>
                    <a:cubicBezTo>
                      <a:pt x="1863" y="1342"/>
                      <a:pt x="1868" y="1340"/>
                      <a:pt x="1872" y="1337"/>
                    </a:cubicBezTo>
                    <a:close/>
                    <a:moveTo>
                      <a:pt x="169" y="945"/>
                    </a:moveTo>
                    <a:cubicBezTo>
                      <a:pt x="202" y="905"/>
                      <a:pt x="251" y="883"/>
                      <a:pt x="303" y="883"/>
                    </a:cubicBezTo>
                    <a:cubicBezTo>
                      <a:pt x="355" y="883"/>
                      <a:pt x="403" y="905"/>
                      <a:pt x="437" y="945"/>
                    </a:cubicBezTo>
                    <a:cubicBezTo>
                      <a:pt x="444" y="954"/>
                      <a:pt x="458" y="955"/>
                      <a:pt x="468" y="948"/>
                    </a:cubicBezTo>
                    <a:cubicBezTo>
                      <a:pt x="477" y="940"/>
                      <a:pt x="478" y="926"/>
                      <a:pt x="470" y="917"/>
                    </a:cubicBezTo>
                    <a:cubicBezTo>
                      <a:pt x="429" y="867"/>
                      <a:pt x="368" y="839"/>
                      <a:pt x="303" y="839"/>
                    </a:cubicBezTo>
                    <a:cubicBezTo>
                      <a:pt x="238" y="839"/>
                      <a:pt x="177" y="867"/>
                      <a:pt x="135" y="917"/>
                    </a:cubicBezTo>
                    <a:cubicBezTo>
                      <a:pt x="128" y="926"/>
                      <a:pt x="129" y="940"/>
                      <a:pt x="138" y="948"/>
                    </a:cubicBezTo>
                    <a:cubicBezTo>
                      <a:pt x="142" y="951"/>
                      <a:pt x="147" y="953"/>
                      <a:pt x="152" y="953"/>
                    </a:cubicBezTo>
                    <a:cubicBezTo>
                      <a:pt x="159" y="953"/>
                      <a:pt x="165" y="950"/>
                      <a:pt x="169" y="945"/>
                    </a:cubicBezTo>
                    <a:close/>
                    <a:moveTo>
                      <a:pt x="936" y="948"/>
                    </a:moveTo>
                    <a:cubicBezTo>
                      <a:pt x="945" y="940"/>
                      <a:pt x="946" y="926"/>
                      <a:pt x="938" y="917"/>
                    </a:cubicBezTo>
                    <a:cubicBezTo>
                      <a:pt x="897" y="867"/>
                      <a:pt x="836" y="839"/>
                      <a:pt x="771" y="839"/>
                    </a:cubicBezTo>
                    <a:cubicBezTo>
                      <a:pt x="706" y="839"/>
                      <a:pt x="645" y="867"/>
                      <a:pt x="603" y="917"/>
                    </a:cubicBezTo>
                    <a:cubicBezTo>
                      <a:pt x="596" y="926"/>
                      <a:pt x="597" y="940"/>
                      <a:pt x="606" y="948"/>
                    </a:cubicBezTo>
                    <a:cubicBezTo>
                      <a:pt x="615" y="955"/>
                      <a:pt x="629" y="954"/>
                      <a:pt x="637" y="945"/>
                    </a:cubicBezTo>
                    <a:cubicBezTo>
                      <a:pt x="670" y="905"/>
                      <a:pt x="719" y="883"/>
                      <a:pt x="771" y="883"/>
                    </a:cubicBezTo>
                    <a:cubicBezTo>
                      <a:pt x="823" y="883"/>
                      <a:pt x="871" y="905"/>
                      <a:pt x="905" y="945"/>
                    </a:cubicBezTo>
                    <a:cubicBezTo>
                      <a:pt x="909" y="950"/>
                      <a:pt x="915" y="953"/>
                      <a:pt x="922" y="953"/>
                    </a:cubicBezTo>
                    <a:cubicBezTo>
                      <a:pt x="927" y="953"/>
                      <a:pt x="932" y="951"/>
                      <a:pt x="936" y="948"/>
                    </a:cubicBezTo>
                    <a:close/>
                    <a:moveTo>
                      <a:pt x="1105" y="945"/>
                    </a:moveTo>
                    <a:cubicBezTo>
                      <a:pt x="1139" y="905"/>
                      <a:pt x="1187" y="883"/>
                      <a:pt x="1239" y="883"/>
                    </a:cubicBezTo>
                    <a:cubicBezTo>
                      <a:pt x="1291" y="883"/>
                      <a:pt x="1340" y="905"/>
                      <a:pt x="1373" y="945"/>
                    </a:cubicBezTo>
                    <a:cubicBezTo>
                      <a:pt x="1381" y="954"/>
                      <a:pt x="1395" y="955"/>
                      <a:pt x="1404" y="948"/>
                    </a:cubicBezTo>
                    <a:cubicBezTo>
                      <a:pt x="1413" y="940"/>
                      <a:pt x="1414" y="926"/>
                      <a:pt x="1407" y="917"/>
                    </a:cubicBezTo>
                    <a:cubicBezTo>
                      <a:pt x="1365" y="867"/>
                      <a:pt x="1304" y="839"/>
                      <a:pt x="1239" y="839"/>
                    </a:cubicBezTo>
                    <a:cubicBezTo>
                      <a:pt x="1174" y="839"/>
                      <a:pt x="1113" y="867"/>
                      <a:pt x="1072" y="917"/>
                    </a:cubicBezTo>
                    <a:cubicBezTo>
                      <a:pt x="1064" y="926"/>
                      <a:pt x="1065" y="940"/>
                      <a:pt x="1074" y="948"/>
                    </a:cubicBezTo>
                    <a:cubicBezTo>
                      <a:pt x="1078" y="951"/>
                      <a:pt x="1083" y="953"/>
                      <a:pt x="1088" y="953"/>
                    </a:cubicBezTo>
                    <a:cubicBezTo>
                      <a:pt x="1095" y="953"/>
                      <a:pt x="1101" y="950"/>
                      <a:pt x="1105" y="945"/>
                    </a:cubicBezTo>
                    <a:close/>
                    <a:moveTo>
                      <a:pt x="1872" y="948"/>
                    </a:moveTo>
                    <a:cubicBezTo>
                      <a:pt x="1881" y="940"/>
                      <a:pt x="1882" y="926"/>
                      <a:pt x="1875" y="917"/>
                    </a:cubicBezTo>
                    <a:cubicBezTo>
                      <a:pt x="1833" y="867"/>
                      <a:pt x="1772" y="839"/>
                      <a:pt x="1707" y="839"/>
                    </a:cubicBezTo>
                    <a:cubicBezTo>
                      <a:pt x="1642" y="839"/>
                      <a:pt x="1581" y="867"/>
                      <a:pt x="1540" y="917"/>
                    </a:cubicBezTo>
                    <a:cubicBezTo>
                      <a:pt x="1532" y="926"/>
                      <a:pt x="1533" y="940"/>
                      <a:pt x="1542" y="948"/>
                    </a:cubicBezTo>
                    <a:cubicBezTo>
                      <a:pt x="1552" y="955"/>
                      <a:pt x="1566" y="954"/>
                      <a:pt x="1573" y="945"/>
                    </a:cubicBezTo>
                    <a:cubicBezTo>
                      <a:pt x="1607" y="905"/>
                      <a:pt x="1655" y="883"/>
                      <a:pt x="1707" y="883"/>
                    </a:cubicBezTo>
                    <a:cubicBezTo>
                      <a:pt x="1759" y="883"/>
                      <a:pt x="1808" y="905"/>
                      <a:pt x="1841" y="945"/>
                    </a:cubicBezTo>
                    <a:cubicBezTo>
                      <a:pt x="1845" y="950"/>
                      <a:pt x="1852" y="953"/>
                      <a:pt x="1858" y="953"/>
                    </a:cubicBezTo>
                    <a:cubicBezTo>
                      <a:pt x="1863" y="953"/>
                      <a:pt x="1868" y="951"/>
                      <a:pt x="1872" y="948"/>
                    </a:cubicBezTo>
                    <a:close/>
                    <a:moveTo>
                      <a:pt x="1701" y="1528"/>
                    </a:moveTo>
                    <a:cubicBezTo>
                      <a:pt x="1734" y="1489"/>
                      <a:pt x="1783" y="1466"/>
                      <a:pt x="1835" y="1466"/>
                    </a:cubicBezTo>
                    <a:cubicBezTo>
                      <a:pt x="1886" y="1466"/>
                      <a:pt x="1935" y="1489"/>
                      <a:pt x="1968" y="1528"/>
                    </a:cubicBezTo>
                    <a:cubicBezTo>
                      <a:pt x="1976" y="1538"/>
                      <a:pt x="1990" y="1539"/>
                      <a:pt x="1999" y="1531"/>
                    </a:cubicBezTo>
                    <a:cubicBezTo>
                      <a:pt x="2009" y="1523"/>
                      <a:pt x="2010" y="1509"/>
                      <a:pt x="2002" y="1500"/>
                    </a:cubicBezTo>
                    <a:cubicBezTo>
                      <a:pt x="1960" y="1451"/>
                      <a:pt x="1899" y="1422"/>
                      <a:pt x="1835" y="1422"/>
                    </a:cubicBezTo>
                    <a:cubicBezTo>
                      <a:pt x="1770" y="1422"/>
                      <a:pt x="1709" y="1451"/>
                      <a:pt x="1667" y="1500"/>
                    </a:cubicBezTo>
                    <a:cubicBezTo>
                      <a:pt x="1659" y="1509"/>
                      <a:pt x="1660" y="1523"/>
                      <a:pt x="1670" y="1531"/>
                    </a:cubicBezTo>
                    <a:cubicBezTo>
                      <a:pt x="1674" y="1535"/>
                      <a:pt x="1679" y="1536"/>
                      <a:pt x="1684" y="1536"/>
                    </a:cubicBezTo>
                    <a:cubicBezTo>
                      <a:pt x="1690" y="1536"/>
                      <a:pt x="1696" y="1534"/>
                      <a:pt x="1701" y="1528"/>
                    </a:cubicBezTo>
                    <a:close/>
                    <a:moveTo>
                      <a:pt x="340" y="1531"/>
                    </a:moveTo>
                    <a:cubicBezTo>
                      <a:pt x="350" y="1523"/>
                      <a:pt x="351" y="1509"/>
                      <a:pt x="343" y="1500"/>
                    </a:cubicBezTo>
                    <a:cubicBezTo>
                      <a:pt x="301" y="1451"/>
                      <a:pt x="240" y="1422"/>
                      <a:pt x="175" y="1422"/>
                    </a:cubicBezTo>
                    <a:cubicBezTo>
                      <a:pt x="111" y="1422"/>
                      <a:pt x="50" y="1451"/>
                      <a:pt x="8" y="1500"/>
                    </a:cubicBezTo>
                    <a:cubicBezTo>
                      <a:pt x="0" y="1509"/>
                      <a:pt x="1" y="1523"/>
                      <a:pt x="11" y="1531"/>
                    </a:cubicBezTo>
                    <a:cubicBezTo>
                      <a:pt x="20" y="1539"/>
                      <a:pt x="34" y="1538"/>
                      <a:pt x="42" y="1528"/>
                    </a:cubicBezTo>
                    <a:cubicBezTo>
                      <a:pt x="75" y="1489"/>
                      <a:pt x="124" y="1466"/>
                      <a:pt x="175" y="1466"/>
                    </a:cubicBezTo>
                    <a:cubicBezTo>
                      <a:pt x="227" y="1466"/>
                      <a:pt x="276" y="1489"/>
                      <a:pt x="309" y="1528"/>
                    </a:cubicBezTo>
                    <a:cubicBezTo>
                      <a:pt x="314" y="1534"/>
                      <a:pt x="320" y="1536"/>
                      <a:pt x="326" y="1536"/>
                    </a:cubicBezTo>
                    <a:cubicBezTo>
                      <a:pt x="331" y="1536"/>
                      <a:pt x="336" y="1535"/>
                      <a:pt x="340" y="1531"/>
                    </a:cubicBezTo>
                    <a:close/>
                    <a:moveTo>
                      <a:pt x="871" y="1528"/>
                    </a:moveTo>
                    <a:cubicBezTo>
                      <a:pt x="905" y="1489"/>
                      <a:pt x="953" y="1466"/>
                      <a:pt x="1005" y="1466"/>
                    </a:cubicBezTo>
                    <a:cubicBezTo>
                      <a:pt x="1057" y="1466"/>
                      <a:pt x="1105" y="1489"/>
                      <a:pt x="1139" y="1528"/>
                    </a:cubicBezTo>
                    <a:cubicBezTo>
                      <a:pt x="1147" y="1538"/>
                      <a:pt x="1160" y="1539"/>
                      <a:pt x="1170" y="1531"/>
                    </a:cubicBezTo>
                    <a:cubicBezTo>
                      <a:pt x="1179" y="1523"/>
                      <a:pt x="1180" y="1509"/>
                      <a:pt x="1172" y="1500"/>
                    </a:cubicBezTo>
                    <a:cubicBezTo>
                      <a:pt x="1131" y="1451"/>
                      <a:pt x="1070" y="1422"/>
                      <a:pt x="1005" y="1422"/>
                    </a:cubicBezTo>
                    <a:cubicBezTo>
                      <a:pt x="940" y="1422"/>
                      <a:pt x="879" y="1451"/>
                      <a:pt x="838" y="1500"/>
                    </a:cubicBezTo>
                    <a:cubicBezTo>
                      <a:pt x="830" y="1509"/>
                      <a:pt x="831" y="1523"/>
                      <a:pt x="840" y="1531"/>
                    </a:cubicBezTo>
                    <a:cubicBezTo>
                      <a:pt x="844" y="1535"/>
                      <a:pt x="849" y="1536"/>
                      <a:pt x="854" y="1536"/>
                    </a:cubicBezTo>
                    <a:cubicBezTo>
                      <a:pt x="861" y="1536"/>
                      <a:pt x="867" y="1534"/>
                      <a:pt x="871" y="1528"/>
                    </a:cubicBezTo>
                    <a:close/>
                    <a:moveTo>
                      <a:pt x="755" y="1531"/>
                    </a:moveTo>
                    <a:cubicBezTo>
                      <a:pt x="764" y="1523"/>
                      <a:pt x="766" y="1509"/>
                      <a:pt x="758" y="1500"/>
                    </a:cubicBezTo>
                    <a:cubicBezTo>
                      <a:pt x="716" y="1451"/>
                      <a:pt x="655" y="1422"/>
                      <a:pt x="590" y="1422"/>
                    </a:cubicBezTo>
                    <a:cubicBezTo>
                      <a:pt x="526" y="1422"/>
                      <a:pt x="464" y="1451"/>
                      <a:pt x="423" y="1500"/>
                    </a:cubicBezTo>
                    <a:cubicBezTo>
                      <a:pt x="415" y="1509"/>
                      <a:pt x="416" y="1523"/>
                      <a:pt x="425" y="1531"/>
                    </a:cubicBezTo>
                    <a:cubicBezTo>
                      <a:pt x="435" y="1539"/>
                      <a:pt x="449" y="1538"/>
                      <a:pt x="456" y="1528"/>
                    </a:cubicBezTo>
                    <a:cubicBezTo>
                      <a:pt x="490" y="1489"/>
                      <a:pt x="539" y="1466"/>
                      <a:pt x="590" y="1466"/>
                    </a:cubicBezTo>
                    <a:cubicBezTo>
                      <a:pt x="642" y="1466"/>
                      <a:pt x="691" y="1489"/>
                      <a:pt x="724" y="1528"/>
                    </a:cubicBezTo>
                    <a:cubicBezTo>
                      <a:pt x="728" y="1534"/>
                      <a:pt x="735" y="1536"/>
                      <a:pt x="741" y="1536"/>
                    </a:cubicBezTo>
                    <a:cubicBezTo>
                      <a:pt x="746" y="1536"/>
                      <a:pt x="751" y="1535"/>
                      <a:pt x="755" y="1531"/>
                    </a:cubicBezTo>
                    <a:close/>
                    <a:moveTo>
                      <a:pt x="1286" y="1528"/>
                    </a:moveTo>
                    <a:cubicBezTo>
                      <a:pt x="1319" y="1489"/>
                      <a:pt x="1368" y="1466"/>
                      <a:pt x="1420" y="1466"/>
                    </a:cubicBezTo>
                    <a:cubicBezTo>
                      <a:pt x="1471" y="1466"/>
                      <a:pt x="1520" y="1489"/>
                      <a:pt x="1554" y="1528"/>
                    </a:cubicBezTo>
                    <a:cubicBezTo>
                      <a:pt x="1561" y="1538"/>
                      <a:pt x="1575" y="1539"/>
                      <a:pt x="1585" y="1531"/>
                    </a:cubicBezTo>
                    <a:cubicBezTo>
                      <a:pt x="1594" y="1523"/>
                      <a:pt x="1595" y="1509"/>
                      <a:pt x="1587" y="1500"/>
                    </a:cubicBezTo>
                    <a:cubicBezTo>
                      <a:pt x="1546" y="1451"/>
                      <a:pt x="1484" y="1422"/>
                      <a:pt x="1420" y="1422"/>
                    </a:cubicBezTo>
                    <a:cubicBezTo>
                      <a:pt x="1355" y="1422"/>
                      <a:pt x="1294" y="1451"/>
                      <a:pt x="1252" y="1500"/>
                    </a:cubicBezTo>
                    <a:cubicBezTo>
                      <a:pt x="1244" y="1509"/>
                      <a:pt x="1246" y="1523"/>
                      <a:pt x="1255" y="1531"/>
                    </a:cubicBezTo>
                    <a:cubicBezTo>
                      <a:pt x="1259" y="1535"/>
                      <a:pt x="1264" y="1536"/>
                      <a:pt x="1269" y="1536"/>
                    </a:cubicBezTo>
                    <a:cubicBezTo>
                      <a:pt x="1275" y="1536"/>
                      <a:pt x="1282" y="1534"/>
                      <a:pt x="1286" y="1528"/>
                    </a:cubicBezTo>
                    <a:close/>
                    <a:moveTo>
                      <a:pt x="1999" y="1142"/>
                    </a:moveTo>
                    <a:cubicBezTo>
                      <a:pt x="2009" y="1134"/>
                      <a:pt x="2010" y="1120"/>
                      <a:pt x="2002" y="1111"/>
                    </a:cubicBezTo>
                    <a:cubicBezTo>
                      <a:pt x="1960" y="1062"/>
                      <a:pt x="1899" y="1033"/>
                      <a:pt x="1835" y="1033"/>
                    </a:cubicBezTo>
                    <a:cubicBezTo>
                      <a:pt x="1770" y="1033"/>
                      <a:pt x="1709" y="1062"/>
                      <a:pt x="1667" y="1111"/>
                    </a:cubicBezTo>
                    <a:cubicBezTo>
                      <a:pt x="1659" y="1120"/>
                      <a:pt x="1660" y="1134"/>
                      <a:pt x="1670" y="1142"/>
                    </a:cubicBezTo>
                    <a:cubicBezTo>
                      <a:pt x="1679" y="1150"/>
                      <a:pt x="1693" y="1149"/>
                      <a:pt x="1701" y="1139"/>
                    </a:cubicBezTo>
                    <a:cubicBezTo>
                      <a:pt x="1734" y="1100"/>
                      <a:pt x="1783" y="1077"/>
                      <a:pt x="1835" y="1077"/>
                    </a:cubicBezTo>
                    <a:cubicBezTo>
                      <a:pt x="1886" y="1077"/>
                      <a:pt x="1935" y="1100"/>
                      <a:pt x="1968" y="1139"/>
                    </a:cubicBezTo>
                    <a:cubicBezTo>
                      <a:pt x="1973" y="1145"/>
                      <a:pt x="1979" y="1147"/>
                      <a:pt x="1985" y="1147"/>
                    </a:cubicBezTo>
                    <a:cubicBezTo>
                      <a:pt x="1990" y="1147"/>
                      <a:pt x="1995" y="1146"/>
                      <a:pt x="1999" y="1142"/>
                    </a:cubicBezTo>
                    <a:close/>
                    <a:moveTo>
                      <a:pt x="340" y="1142"/>
                    </a:moveTo>
                    <a:cubicBezTo>
                      <a:pt x="350" y="1134"/>
                      <a:pt x="351" y="1120"/>
                      <a:pt x="343" y="1111"/>
                    </a:cubicBezTo>
                    <a:cubicBezTo>
                      <a:pt x="301" y="1062"/>
                      <a:pt x="240" y="1033"/>
                      <a:pt x="175" y="1033"/>
                    </a:cubicBezTo>
                    <a:cubicBezTo>
                      <a:pt x="111" y="1033"/>
                      <a:pt x="50" y="1062"/>
                      <a:pt x="8" y="1111"/>
                    </a:cubicBezTo>
                    <a:cubicBezTo>
                      <a:pt x="0" y="1120"/>
                      <a:pt x="1" y="1134"/>
                      <a:pt x="11" y="1142"/>
                    </a:cubicBezTo>
                    <a:cubicBezTo>
                      <a:pt x="20" y="1150"/>
                      <a:pt x="34" y="1149"/>
                      <a:pt x="42" y="1139"/>
                    </a:cubicBezTo>
                    <a:cubicBezTo>
                      <a:pt x="75" y="1100"/>
                      <a:pt x="124" y="1077"/>
                      <a:pt x="175" y="1077"/>
                    </a:cubicBezTo>
                    <a:cubicBezTo>
                      <a:pt x="227" y="1077"/>
                      <a:pt x="276" y="1100"/>
                      <a:pt x="309" y="1139"/>
                    </a:cubicBezTo>
                    <a:cubicBezTo>
                      <a:pt x="314" y="1145"/>
                      <a:pt x="320" y="1147"/>
                      <a:pt x="326" y="1147"/>
                    </a:cubicBezTo>
                    <a:cubicBezTo>
                      <a:pt x="331" y="1147"/>
                      <a:pt x="336" y="1146"/>
                      <a:pt x="340" y="1142"/>
                    </a:cubicBezTo>
                    <a:close/>
                    <a:moveTo>
                      <a:pt x="1170" y="1142"/>
                    </a:moveTo>
                    <a:cubicBezTo>
                      <a:pt x="1179" y="1134"/>
                      <a:pt x="1180" y="1120"/>
                      <a:pt x="1172" y="1111"/>
                    </a:cubicBezTo>
                    <a:cubicBezTo>
                      <a:pt x="1131" y="1062"/>
                      <a:pt x="1070" y="1033"/>
                      <a:pt x="1005" y="1033"/>
                    </a:cubicBezTo>
                    <a:cubicBezTo>
                      <a:pt x="940" y="1033"/>
                      <a:pt x="879" y="1062"/>
                      <a:pt x="838" y="1111"/>
                    </a:cubicBezTo>
                    <a:cubicBezTo>
                      <a:pt x="830" y="1120"/>
                      <a:pt x="831" y="1134"/>
                      <a:pt x="840" y="1142"/>
                    </a:cubicBezTo>
                    <a:cubicBezTo>
                      <a:pt x="850" y="1150"/>
                      <a:pt x="863" y="1149"/>
                      <a:pt x="871" y="1139"/>
                    </a:cubicBezTo>
                    <a:cubicBezTo>
                      <a:pt x="905" y="1100"/>
                      <a:pt x="953" y="1077"/>
                      <a:pt x="1005" y="1077"/>
                    </a:cubicBezTo>
                    <a:cubicBezTo>
                      <a:pt x="1057" y="1077"/>
                      <a:pt x="1105" y="1100"/>
                      <a:pt x="1139" y="1139"/>
                    </a:cubicBezTo>
                    <a:cubicBezTo>
                      <a:pt x="1143" y="1145"/>
                      <a:pt x="1149" y="1147"/>
                      <a:pt x="1156" y="1147"/>
                    </a:cubicBezTo>
                    <a:cubicBezTo>
                      <a:pt x="1161" y="1147"/>
                      <a:pt x="1166" y="1146"/>
                      <a:pt x="1170" y="1142"/>
                    </a:cubicBezTo>
                    <a:close/>
                    <a:moveTo>
                      <a:pt x="755" y="1142"/>
                    </a:moveTo>
                    <a:cubicBezTo>
                      <a:pt x="764" y="1134"/>
                      <a:pt x="766" y="1120"/>
                      <a:pt x="758" y="1111"/>
                    </a:cubicBezTo>
                    <a:cubicBezTo>
                      <a:pt x="716" y="1062"/>
                      <a:pt x="655" y="1033"/>
                      <a:pt x="590" y="1033"/>
                    </a:cubicBezTo>
                    <a:cubicBezTo>
                      <a:pt x="526" y="1033"/>
                      <a:pt x="464" y="1062"/>
                      <a:pt x="423" y="1111"/>
                    </a:cubicBezTo>
                    <a:cubicBezTo>
                      <a:pt x="415" y="1120"/>
                      <a:pt x="416" y="1134"/>
                      <a:pt x="425" y="1142"/>
                    </a:cubicBezTo>
                    <a:cubicBezTo>
                      <a:pt x="435" y="1150"/>
                      <a:pt x="449" y="1149"/>
                      <a:pt x="456" y="1139"/>
                    </a:cubicBezTo>
                    <a:cubicBezTo>
                      <a:pt x="490" y="1100"/>
                      <a:pt x="539" y="1077"/>
                      <a:pt x="590" y="1077"/>
                    </a:cubicBezTo>
                    <a:cubicBezTo>
                      <a:pt x="642" y="1077"/>
                      <a:pt x="691" y="1100"/>
                      <a:pt x="724" y="1139"/>
                    </a:cubicBezTo>
                    <a:cubicBezTo>
                      <a:pt x="728" y="1145"/>
                      <a:pt x="735" y="1147"/>
                      <a:pt x="741" y="1147"/>
                    </a:cubicBezTo>
                    <a:cubicBezTo>
                      <a:pt x="746" y="1147"/>
                      <a:pt x="751" y="1146"/>
                      <a:pt x="755" y="1142"/>
                    </a:cubicBezTo>
                    <a:close/>
                    <a:moveTo>
                      <a:pt x="1585" y="1142"/>
                    </a:moveTo>
                    <a:cubicBezTo>
                      <a:pt x="1594" y="1134"/>
                      <a:pt x="1595" y="1120"/>
                      <a:pt x="1587" y="1111"/>
                    </a:cubicBezTo>
                    <a:cubicBezTo>
                      <a:pt x="1546" y="1062"/>
                      <a:pt x="1485" y="1033"/>
                      <a:pt x="1420" y="1033"/>
                    </a:cubicBezTo>
                    <a:cubicBezTo>
                      <a:pt x="1355" y="1033"/>
                      <a:pt x="1294" y="1062"/>
                      <a:pt x="1252" y="1111"/>
                    </a:cubicBezTo>
                    <a:cubicBezTo>
                      <a:pt x="1244" y="1120"/>
                      <a:pt x="1246" y="1134"/>
                      <a:pt x="1255" y="1142"/>
                    </a:cubicBezTo>
                    <a:cubicBezTo>
                      <a:pt x="1264" y="1150"/>
                      <a:pt x="1278" y="1149"/>
                      <a:pt x="1286" y="1139"/>
                    </a:cubicBezTo>
                    <a:cubicBezTo>
                      <a:pt x="1319" y="1100"/>
                      <a:pt x="1368" y="1077"/>
                      <a:pt x="1420" y="1077"/>
                    </a:cubicBezTo>
                    <a:cubicBezTo>
                      <a:pt x="1471" y="1077"/>
                      <a:pt x="1520" y="1100"/>
                      <a:pt x="1554" y="1139"/>
                    </a:cubicBezTo>
                    <a:cubicBezTo>
                      <a:pt x="1558" y="1145"/>
                      <a:pt x="1564" y="1147"/>
                      <a:pt x="1570" y="1147"/>
                    </a:cubicBezTo>
                    <a:cubicBezTo>
                      <a:pt x="1575" y="1147"/>
                      <a:pt x="1580" y="1146"/>
                      <a:pt x="1585" y="1142"/>
                    </a:cubicBezTo>
                    <a:close/>
                    <a:moveTo>
                      <a:pt x="1500" y="596"/>
                    </a:moveTo>
                    <a:cubicBezTo>
                      <a:pt x="1500" y="22"/>
                      <a:pt x="1500" y="22"/>
                      <a:pt x="1500" y="22"/>
                    </a:cubicBezTo>
                    <a:cubicBezTo>
                      <a:pt x="1500" y="10"/>
                      <a:pt x="1490" y="0"/>
                      <a:pt x="1478" y="0"/>
                    </a:cubicBezTo>
                    <a:cubicBezTo>
                      <a:pt x="532" y="0"/>
                      <a:pt x="532" y="0"/>
                      <a:pt x="532" y="0"/>
                    </a:cubicBezTo>
                    <a:cubicBezTo>
                      <a:pt x="520" y="0"/>
                      <a:pt x="510" y="10"/>
                      <a:pt x="510" y="22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609"/>
                      <a:pt x="520" y="618"/>
                      <a:pt x="532" y="618"/>
                    </a:cubicBezTo>
                    <a:cubicBezTo>
                      <a:pt x="1478" y="618"/>
                      <a:pt x="1478" y="618"/>
                      <a:pt x="1478" y="618"/>
                    </a:cubicBezTo>
                    <a:cubicBezTo>
                      <a:pt x="1490" y="618"/>
                      <a:pt x="1500" y="609"/>
                      <a:pt x="1500" y="596"/>
                    </a:cubicBezTo>
                    <a:close/>
                    <a:moveTo>
                      <a:pt x="554" y="44"/>
                    </a:moveTo>
                    <a:cubicBezTo>
                      <a:pt x="1456" y="44"/>
                      <a:pt x="1456" y="44"/>
                      <a:pt x="1456" y="44"/>
                    </a:cubicBezTo>
                    <a:cubicBezTo>
                      <a:pt x="1456" y="574"/>
                      <a:pt x="1456" y="574"/>
                      <a:pt x="1456" y="574"/>
                    </a:cubicBezTo>
                    <a:cubicBezTo>
                      <a:pt x="554" y="574"/>
                      <a:pt x="554" y="574"/>
                      <a:pt x="554" y="574"/>
                    </a:cubicBezTo>
                    <a:lnTo>
                      <a:pt x="554" y="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Freeform 41">
                <a:extLst>
                  <a:ext uri="{FF2B5EF4-FFF2-40B4-BE49-F238E27FC236}">
                    <a16:creationId xmlns:a16="http://schemas.microsoft.com/office/drawing/2014/main" id="{29AEF958-DBF5-45E3-AE60-2C48D31E47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1107" y="2926080"/>
                <a:ext cx="588264" cy="320802"/>
              </a:xfrm>
              <a:custGeom>
                <a:avLst/>
                <a:gdLst>
                  <a:gd name="T0" fmla="*/ 814 w 824"/>
                  <a:gd name="T1" fmla="*/ 0 h 449"/>
                  <a:gd name="T2" fmla="*/ 10 w 824"/>
                  <a:gd name="T3" fmla="*/ 0 h 449"/>
                  <a:gd name="T4" fmla="*/ 0 w 824"/>
                  <a:gd name="T5" fmla="*/ 10 h 449"/>
                  <a:gd name="T6" fmla="*/ 0 w 824"/>
                  <a:gd name="T7" fmla="*/ 439 h 449"/>
                  <a:gd name="T8" fmla="*/ 10 w 824"/>
                  <a:gd name="T9" fmla="*/ 449 h 449"/>
                  <a:gd name="T10" fmla="*/ 814 w 824"/>
                  <a:gd name="T11" fmla="*/ 449 h 449"/>
                  <a:gd name="T12" fmla="*/ 824 w 824"/>
                  <a:gd name="T13" fmla="*/ 439 h 449"/>
                  <a:gd name="T14" fmla="*/ 824 w 824"/>
                  <a:gd name="T15" fmla="*/ 10 h 449"/>
                  <a:gd name="T16" fmla="*/ 814 w 824"/>
                  <a:gd name="T17" fmla="*/ 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4" h="449">
                    <a:moveTo>
                      <a:pt x="81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439"/>
                      <a:pt x="0" y="439"/>
                      <a:pt x="0" y="439"/>
                    </a:cubicBezTo>
                    <a:cubicBezTo>
                      <a:pt x="0" y="444"/>
                      <a:pt x="4" y="449"/>
                      <a:pt x="10" y="449"/>
                    </a:cubicBezTo>
                    <a:cubicBezTo>
                      <a:pt x="814" y="449"/>
                      <a:pt x="814" y="449"/>
                      <a:pt x="814" y="449"/>
                    </a:cubicBezTo>
                    <a:cubicBezTo>
                      <a:pt x="820" y="449"/>
                      <a:pt x="824" y="444"/>
                      <a:pt x="824" y="439"/>
                    </a:cubicBezTo>
                    <a:cubicBezTo>
                      <a:pt x="824" y="10"/>
                      <a:pt x="824" y="10"/>
                      <a:pt x="824" y="10"/>
                    </a:cubicBezTo>
                    <a:cubicBezTo>
                      <a:pt x="824" y="4"/>
                      <a:pt x="820" y="0"/>
                      <a:pt x="81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61" name="Oval 160">
            <a:extLst>
              <a:ext uri="{FF2B5EF4-FFF2-40B4-BE49-F238E27FC236}">
                <a16:creationId xmlns:a16="http://schemas.microsoft.com/office/drawing/2014/main" id="{FCDFF412-34D1-4750-9FDD-AE5FF9805D26}"/>
              </a:ext>
            </a:extLst>
          </p:cNvPr>
          <p:cNvSpPr/>
          <p:nvPr/>
        </p:nvSpPr>
        <p:spPr>
          <a:xfrm>
            <a:off x="10168989" y="1826703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37D8B7BC-9121-46E7-AEA1-E79BD05BA12B}"/>
              </a:ext>
            </a:extLst>
          </p:cNvPr>
          <p:cNvGrpSpPr>
            <a:grpSpLocks noChangeAspect="1"/>
          </p:cNvGrpSpPr>
          <p:nvPr/>
        </p:nvGrpSpPr>
        <p:grpSpPr>
          <a:xfrm>
            <a:off x="10378370" y="1826703"/>
            <a:ext cx="548640" cy="548640"/>
            <a:chOff x="5272088" y="2605088"/>
            <a:chExt cx="1646237" cy="1646237"/>
          </a:xfrm>
        </p:grpSpPr>
        <p:sp>
          <p:nvSpPr>
            <p:cNvPr id="163" name="AutoShape 3">
              <a:extLst>
                <a:ext uri="{FF2B5EF4-FFF2-40B4-BE49-F238E27FC236}">
                  <a16:creationId xmlns:a16="http://schemas.microsoft.com/office/drawing/2014/main" id="{95D91A94-38DB-453F-B908-BD913BC5F6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5088"/>
              <a:ext cx="1646237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6D425DD8-4F88-4C8E-B4D2-47168F0AEF50}"/>
                </a:ext>
              </a:extLst>
            </p:cNvPr>
            <p:cNvGrpSpPr/>
            <p:nvPr/>
          </p:nvGrpSpPr>
          <p:grpSpPr>
            <a:xfrm>
              <a:off x="5545138" y="2887663"/>
              <a:ext cx="1100137" cy="1192212"/>
              <a:chOff x="5545138" y="2887663"/>
              <a:chExt cx="1100137" cy="1192212"/>
            </a:xfrm>
          </p:grpSpPr>
          <p:sp>
            <p:nvSpPr>
              <p:cNvPr id="165" name="Freeform 35">
                <a:extLst>
                  <a:ext uri="{FF2B5EF4-FFF2-40B4-BE49-F238E27FC236}">
                    <a16:creationId xmlns:a16="http://schemas.microsoft.com/office/drawing/2014/main" id="{6D6486EA-CF9C-4AED-91FA-B0F432F8C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5138" y="2887663"/>
                <a:ext cx="1100137" cy="1192212"/>
              </a:xfrm>
              <a:custGeom>
                <a:avLst/>
                <a:gdLst>
                  <a:gd name="connsiteX0" fmla="*/ 31750 w 1100137"/>
                  <a:gd name="connsiteY0" fmla="*/ 280987 h 1192212"/>
                  <a:gd name="connsiteX1" fmla="*/ 31750 w 1100137"/>
                  <a:gd name="connsiteY1" fmla="*/ 1162049 h 1192212"/>
                  <a:gd name="connsiteX2" fmla="*/ 655637 w 1100137"/>
                  <a:gd name="connsiteY2" fmla="*/ 1162049 h 1192212"/>
                  <a:gd name="connsiteX3" fmla="*/ 655637 w 1100137"/>
                  <a:gd name="connsiteY3" fmla="*/ 1068387 h 1192212"/>
                  <a:gd name="connsiteX4" fmla="*/ 655637 w 1100137"/>
                  <a:gd name="connsiteY4" fmla="*/ 1052512 h 1192212"/>
                  <a:gd name="connsiteX5" fmla="*/ 655637 w 1100137"/>
                  <a:gd name="connsiteY5" fmla="*/ 1036637 h 1192212"/>
                  <a:gd name="connsiteX6" fmla="*/ 655637 w 1100137"/>
                  <a:gd name="connsiteY6" fmla="*/ 1025524 h 1192212"/>
                  <a:gd name="connsiteX7" fmla="*/ 655637 w 1100137"/>
                  <a:gd name="connsiteY7" fmla="*/ 1009649 h 1192212"/>
                  <a:gd name="connsiteX8" fmla="*/ 655637 w 1100137"/>
                  <a:gd name="connsiteY8" fmla="*/ 993774 h 1192212"/>
                  <a:gd name="connsiteX9" fmla="*/ 655637 w 1100137"/>
                  <a:gd name="connsiteY9" fmla="*/ 974724 h 1192212"/>
                  <a:gd name="connsiteX10" fmla="*/ 655637 w 1100137"/>
                  <a:gd name="connsiteY10" fmla="*/ 958849 h 1192212"/>
                  <a:gd name="connsiteX11" fmla="*/ 655637 w 1100137"/>
                  <a:gd name="connsiteY11" fmla="*/ 942974 h 1192212"/>
                  <a:gd name="connsiteX12" fmla="*/ 655637 w 1100137"/>
                  <a:gd name="connsiteY12" fmla="*/ 927099 h 1192212"/>
                  <a:gd name="connsiteX13" fmla="*/ 655637 w 1100137"/>
                  <a:gd name="connsiteY13" fmla="*/ 920749 h 1192212"/>
                  <a:gd name="connsiteX14" fmla="*/ 655637 w 1100137"/>
                  <a:gd name="connsiteY14" fmla="*/ 911224 h 1192212"/>
                  <a:gd name="connsiteX15" fmla="*/ 655637 w 1100137"/>
                  <a:gd name="connsiteY15" fmla="*/ 900112 h 1192212"/>
                  <a:gd name="connsiteX16" fmla="*/ 655637 w 1100137"/>
                  <a:gd name="connsiteY16" fmla="*/ 890587 h 1192212"/>
                  <a:gd name="connsiteX17" fmla="*/ 655637 w 1100137"/>
                  <a:gd name="connsiteY17" fmla="*/ 884237 h 1192212"/>
                  <a:gd name="connsiteX18" fmla="*/ 655637 w 1100137"/>
                  <a:gd name="connsiteY18" fmla="*/ 868362 h 1192212"/>
                  <a:gd name="connsiteX19" fmla="*/ 655637 w 1100137"/>
                  <a:gd name="connsiteY19" fmla="*/ 819149 h 1192212"/>
                  <a:gd name="connsiteX20" fmla="*/ 655637 w 1100137"/>
                  <a:gd name="connsiteY20" fmla="*/ 796924 h 1192212"/>
                  <a:gd name="connsiteX21" fmla="*/ 655637 w 1100137"/>
                  <a:gd name="connsiteY21" fmla="*/ 787399 h 1192212"/>
                  <a:gd name="connsiteX22" fmla="*/ 655637 w 1100137"/>
                  <a:gd name="connsiteY22" fmla="*/ 765174 h 1192212"/>
                  <a:gd name="connsiteX23" fmla="*/ 655637 w 1100137"/>
                  <a:gd name="connsiteY23" fmla="*/ 715962 h 1192212"/>
                  <a:gd name="connsiteX24" fmla="*/ 655637 w 1100137"/>
                  <a:gd name="connsiteY24" fmla="*/ 693737 h 1192212"/>
                  <a:gd name="connsiteX25" fmla="*/ 655637 w 1100137"/>
                  <a:gd name="connsiteY25" fmla="*/ 685799 h 1192212"/>
                  <a:gd name="connsiteX26" fmla="*/ 655637 w 1100137"/>
                  <a:gd name="connsiteY26" fmla="*/ 661987 h 1192212"/>
                  <a:gd name="connsiteX27" fmla="*/ 655637 w 1100137"/>
                  <a:gd name="connsiteY27" fmla="*/ 612774 h 1192212"/>
                  <a:gd name="connsiteX28" fmla="*/ 655637 w 1100137"/>
                  <a:gd name="connsiteY28" fmla="*/ 590549 h 1192212"/>
                  <a:gd name="connsiteX29" fmla="*/ 655637 w 1100137"/>
                  <a:gd name="connsiteY29" fmla="*/ 582612 h 1192212"/>
                  <a:gd name="connsiteX30" fmla="*/ 655637 w 1100137"/>
                  <a:gd name="connsiteY30" fmla="*/ 560387 h 1192212"/>
                  <a:gd name="connsiteX31" fmla="*/ 655637 w 1100137"/>
                  <a:gd name="connsiteY31" fmla="*/ 509587 h 1192212"/>
                  <a:gd name="connsiteX32" fmla="*/ 655637 w 1100137"/>
                  <a:gd name="connsiteY32" fmla="*/ 487362 h 1192212"/>
                  <a:gd name="connsiteX33" fmla="*/ 655637 w 1100137"/>
                  <a:gd name="connsiteY33" fmla="*/ 479425 h 1192212"/>
                  <a:gd name="connsiteX34" fmla="*/ 655637 w 1100137"/>
                  <a:gd name="connsiteY34" fmla="*/ 457200 h 1192212"/>
                  <a:gd name="connsiteX35" fmla="*/ 655637 w 1100137"/>
                  <a:gd name="connsiteY35" fmla="*/ 407987 h 1192212"/>
                  <a:gd name="connsiteX36" fmla="*/ 655637 w 1100137"/>
                  <a:gd name="connsiteY36" fmla="*/ 384175 h 1192212"/>
                  <a:gd name="connsiteX37" fmla="*/ 655637 w 1100137"/>
                  <a:gd name="connsiteY37" fmla="*/ 376237 h 1192212"/>
                  <a:gd name="connsiteX38" fmla="*/ 655637 w 1100137"/>
                  <a:gd name="connsiteY38" fmla="*/ 354012 h 1192212"/>
                  <a:gd name="connsiteX39" fmla="*/ 655637 w 1100137"/>
                  <a:gd name="connsiteY39" fmla="*/ 304800 h 1192212"/>
                  <a:gd name="connsiteX40" fmla="*/ 655637 w 1100137"/>
                  <a:gd name="connsiteY40" fmla="*/ 282575 h 1192212"/>
                  <a:gd name="connsiteX41" fmla="*/ 655637 w 1100137"/>
                  <a:gd name="connsiteY41" fmla="*/ 280987 h 1192212"/>
                  <a:gd name="connsiteX42" fmla="*/ 539750 w 1100137"/>
                  <a:gd name="connsiteY42" fmla="*/ 280987 h 1192212"/>
                  <a:gd name="connsiteX43" fmla="*/ 490537 w 1100137"/>
                  <a:gd name="connsiteY43" fmla="*/ 280987 h 1192212"/>
                  <a:gd name="connsiteX44" fmla="*/ 474662 w 1100137"/>
                  <a:gd name="connsiteY44" fmla="*/ 280987 h 1192212"/>
                  <a:gd name="connsiteX45" fmla="*/ 458787 w 1100137"/>
                  <a:gd name="connsiteY45" fmla="*/ 280987 h 1192212"/>
                  <a:gd name="connsiteX46" fmla="*/ 444500 w 1100137"/>
                  <a:gd name="connsiteY46" fmla="*/ 280987 h 1192212"/>
                  <a:gd name="connsiteX47" fmla="*/ 428625 w 1100137"/>
                  <a:gd name="connsiteY47" fmla="*/ 280987 h 1192212"/>
                  <a:gd name="connsiteX48" fmla="*/ 414337 w 1100137"/>
                  <a:gd name="connsiteY48" fmla="*/ 280987 h 1192212"/>
                  <a:gd name="connsiteX49" fmla="*/ 398462 w 1100137"/>
                  <a:gd name="connsiteY49" fmla="*/ 280987 h 1192212"/>
                  <a:gd name="connsiteX50" fmla="*/ 382587 w 1100137"/>
                  <a:gd name="connsiteY50" fmla="*/ 280987 h 1192212"/>
                  <a:gd name="connsiteX51" fmla="*/ 325437 w 1100137"/>
                  <a:gd name="connsiteY51" fmla="*/ 280987 h 1192212"/>
                  <a:gd name="connsiteX52" fmla="*/ 284163 w 1100137"/>
                  <a:gd name="connsiteY52" fmla="*/ 280987 h 1192212"/>
                  <a:gd name="connsiteX53" fmla="*/ 268288 w 1100137"/>
                  <a:gd name="connsiteY53" fmla="*/ 280987 h 1192212"/>
                  <a:gd name="connsiteX54" fmla="*/ 252413 w 1100137"/>
                  <a:gd name="connsiteY54" fmla="*/ 280987 h 1192212"/>
                  <a:gd name="connsiteX55" fmla="*/ 238125 w 1100137"/>
                  <a:gd name="connsiteY55" fmla="*/ 280987 h 1192212"/>
                  <a:gd name="connsiteX56" fmla="*/ 222250 w 1100137"/>
                  <a:gd name="connsiteY56" fmla="*/ 280987 h 1192212"/>
                  <a:gd name="connsiteX57" fmla="*/ 206375 w 1100137"/>
                  <a:gd name="connsiteY57" fmla="*/ 280987 h 1192212"/>
                  <a:gd name="connsiteX58" fmla="*/ 238125 w 1100137"/>
                  <a:gd name="connsiteY58" fmla="*/ 155575 h 1192212"/>
                  <a:gd name="connsiteX59" fmla="*/ 238125 w 1100137"/>
                  <a:gd name="connsiteY59" fmla="*/ 249259 h 1192212"/>
                  <a:gd name="connsiteX60" fmla="*/ 251719 w 1100137"/>
                  <a:gd name="connsiteY60" fmla="*/ 249259 h 1192212"/>
                  <a:gd name="connsiteX61" fmla="*/ 267459 w 1100137"/>
                  <a:gd name="connsiteY61" fmla="*/ 249259 h 1192212"/>
                  <a:gd name="connsiteX62" fmla="*/ 283200 w 1100137"/>
                  <a:gd name="connsiteY62" fmla="*/ 249259 h 1192212"/>
                  <a:gd name="connsiteX63" fmla="*/ 381934 w 1100137"/>
                  <a:gd name="connsiteY63" fmla="*/ 249259 h 1192212"/>
                  <a:gd name="connsiteX64" fmla="*/ 397674 w 1100137"/>
                  <a:gd name="connsiteY64" fmla="*/ 249259 h 1192212"/>
                  <a:gd name="connsiteX65" fmla="*/ 413415 w 1100137"/>
                  <a:gd name="connsiteY65" fmla="*/ 249259 h 1192212"/>
                  <a:gd name="connsiteX66" fmla="*/ 429155 w 1100137"/>
                  <a:gd name="connsiteY66" fmla="*/ 249259 h 1192212"/>
                  <a:gd name="connsiteX67" fmla="*/ 444895 w 1100137"/>
                  <a:gd name="connsiteY67" fmla="*/ 249259 h 1192212"/>
                  <a:gd name="connsiteX68" fmla="*/ 458489 w 1100137"/>
                  <a:gd name="connsiteY68" fmla="*/ 249259 h 1192212"/>
                  <a:gd name="connsiteX69" fmla="*/ 474229 w 1100137"/>
                  <a:gd name="connsiteY69" fmla="*/ 249259 h 1192212"/>
                  <a:gd name="connsiteX70" fmla="*/ 489970 w 1100137"/>
                  <a:gd name="connsiteY70" fmla="*/ 249259 h 1192212"/>
                  <a:gd name="connsiteX71" fmla="*/ 670983 w 1100137"/>
                  <a:gd name="connsiteY71" fmla="*/ 249259 h 1192212"/>
                  <a:gd name="connsiteX72" fmla="*/ 677422 w 1100137"/>
                  <a:gd name="connsiteY72" fmla="*/ 250690 h 1192212"/>
                  <a:gd name="connsiteX73" fmla="*/ 686723 w 1100137"/>
                  <a:gd name="connsiteY73" fmla="*/ 264993 h 1192212"/>
                  <a:gd name="connsiteX74" fmla="*/ 686723 w 1100137"/>
                  <a:gd name="connsiteY74" fmla="*/ 273575 h 1192212"/>
                  <a:gd name="connsiteX75" fmla="*/ 686723 w 1100137"/>
                  <a:gd name="connsiteY75" fmla="*/ 282156 h 1192212"/>
                  <a:gd name="connsiteX76" fmla="*/ 686723 w 1100137"/>
                  <a:gd name="connsiteY76" fmla="*/ 304326 h 1192212"/>
                  <a:gd name="connsiteX77" fmla="*/ 686723 w 1100137"/>
                  <a:gd name="connsiteY77" fmla="*/ 353671 h 1192212"/>
                  <a:gd name="connsiteX78" fmla="*/ 686723 w 1100137"/>
                  <a:gd name="connsiteY78" fmla="*/ 375841 h 1192212"/>
                  <a:gd name="connsiteX79" fmla="*/ 686723 w 1100137"/>
                  <a:gd name="connsiteY79" fmla="*/ 384422 h 1192212"/>
                  <a:gd name="connsiteX80" fmla="*/ 686723 w 1100137"/>
                  <a:gd name="connsiteY80" fmla="*/ 407307 h 1192212"/>
                  <a:gd name="connsiteX81" fmla="*/ 686723 w 1100137"/>
                  <a:gd name="connsiteY81" fmla="*/ 457367 h 1192212"/>
                  <a:gd name="connsiteX82" fmla="*/ 686723 w 1100137"/>
                  <a:gd name="connsiteY82" fmla="*/ 478822 h 1192212"/>
                  <a:gd name="connsiteX83" fmla="*/ 686723 w 1100137"/>
                  <a:gd name="connsiteY83" fmla="*/ 487404 h 1192212"/>
                  <a:gd name="connsiteX84" fmla="*/ 686723 w 1100137"/>
                  <a:gd name="connsiteY84" fmla="*/ 509573 h 1192212"/>
                  <a:gd name="connsiteX85" fmla="*/ 686723 w 1100137"/>
                  <a:gd name="connsiteY85" fmla="*/ 560349 h 1192212"/>
                  <a:gd name="connsiteX86" fmla="*/ 686723 w 1100137"/>
                  <a:gd name="connsiteY86" fmla="*/ 582518 h 1192212"/>
                  <a:gd name="connsiteX87" fmla="*/ 686723 w 1100137"/>
                  <a:gd name="connsiteY87" fmla="*/ 591100 h 1192212"/>
                  <a:gd name="connsiteX88" fmla="*/ 686723 w 1100137"/>
                  <a:gd name="connsiteY88" fmla="*/ 612555 h 1192212"/>
                  <a:gd name="connsiteX89" fmla="*/ 686723 w 1100137"/>
                  <a:gd name="connsiteY89" fmla="*/ 662615 h 1192212"/>
                  <a:gd name="connsiteX90" fmla="*/ 686723 w 1100137"/>
                  <a:gd name="connsiteY90" fmla="*/ 685500 h 1192212"/>
                  <a:gd name="connsiteX91" fmla="*/ 686723 w 1100137"/>
                  <a:gd name="connsiteY91" fmla="*/ 694081 h 1192212"/>
                  <a:gd name="connsiteX92" fmla="*/ 686723 w 1100137"/>
                  <a:gd name="connsiteY92" fmla="*/ 716251 h 1192212"/>
                  <a:gd name="connsiteX93" fmla="*/ 686723 w 1100137"/>
                  <a:gd name="connsiteY93" fmla="*/ 765596 h 1192212"/>
                  <a:gd name="connsiteX94" fmla="*/ 686723 w 1100137"/>
                  <a:gd name="connsiteY94" fmla="*/ 787766 h 1192212"/>
                  <a:gd name="connsiteX95" fmla="*/ 686723 w 1100137"/>
                  <a:gd name="connsiteY95" fmla="*/ 796348 h 1192212"/>
                  <a:gd name="connsiteX96" fmla="*/ 686723 w 1100137"/>
                  <a:gd name="connsiteY96" fmla="*/ 819232 h 1192212"/>
                  <a:gd name="connsiteX97" fmla="*/ 686723 w 1100137"/>
                  <a:gd name="connsiteY97" fmla="*/ 868577 h 1192212"/>
                  <a:gd name="connsiteX98" fmla="*/ 686723 w 1100137"/>
                  <a:gd name="connsiteY98" fmla="*/ 884311 h 1192212"/>
                  <a:gd name="connsiteX99" fmla="*/ 686723 w 1100137"/>
                  <a:gd name="connsiteY99" fmla="*/ 890747 h 1192212"/>
                  <a:gd name="connsiteX100" fmla="*/ 686723 w 1100137"/>
                  <a:gd name="connsiteY100" fmla="*/ 900044 h 1192212"/>
                  <a:gd name="connsiteX101" fmla="*/ 686723 w 1100137"/>
                  <a:gd name="connsiteY101" fmla="*/ 911486 h 1192212"/>
                  <a:gd name="connsiteX102" fmla="*/ 686723 w 1100137"/>
                  <a:gd name="connsiteY102" fmla="*/ 921498 h 1192212"/>
                  <a:gd name="connsiteX103" fmla="*/ 686723 w 1100137"/>
                  <a:gd name="connsiteY103" fmla="*/ 927220 h 1192212"/>
                  <a:gd name="connsiteX104" fmla="*/ 686723 w 1100137"/>
                  <a:gd name="connsiteY104" fmla="*/ 942953 h 1192212"/>
                  <a:gd name="connsiteX105" fmla="*/ 686723 w 1100137"/>
                  <a:gd name="connsiteY105" fmla="*/ 958686 h 1192212"/>
                  <a:gd name="connsiteX106" fmla="*/ 686723 w 1100137"/>
                  <a:gd name="connsiteY106" fmla="*/ 974419 h 1192212"/>
                  <a:gd name="connsiteX107" fmla="*/ 686723 w 1100137"/>
                  <a:gd name="connsiteY107" fmla="*/ 1009462 h 1192212"/>
                  <a:gd name="connsiteX108" fmla="*/ 686723 w 1100137"/>
                  <a:gd name="connsiteY108" fmla="*/ 1025195 h 1192212"/>
                  <a:gd name="connsiteX109" fmla="*/ 686723 w 1100137"/>
                  <a:gd name="connsiteY109" fmla="*/ 1036637 h 1192212"/>
                  <a:gd name="connsiteX110" fmla="*/ 862012 w 1100137"/>
                  <a:gd name="connsiteY110" fmla="*/ 1036637 h 1192212"/>
                  <a:gd name="connsiteX111" fmla="*/ 862012 w 1100137"/>
                  <a:gd name="connsiteY111" fmla="*/ 974419 h 1192212"/>
                  <a:gd name="connsiteX112" fmla="*/ 862012 w 1100137"/>
                  <a:gd name="connsiteY112" fmla="*/ 958686 h 1192212"/>
                  <a:gd name="connsiteX113" fmla="*/ 862012 w 1100137"/>
                  <a:gd name="connsiteY113" fmla="*/ 942953 h 1192212"/>
                  <a:gd name="connsiteX114" fmla="*/ 862012 w 1100137"/>
                  <a:gd name="connsiteY114" fmla="*/ 927220 h 1192212"/>
                  <a:gd name="connsiteX115" fmla="*/ 862012 w 1100137"/>
                  <a:gd name="connsiteY115" fmla="*/ 911486 h 1192212"/>
                  <a:gd name="connsiteX116" fmla="*/ 862012 w 1100137"/>
                  <a:gd name="connsiteY116" fmla="*/ 900044 h 1192212"/>
                  <a:gd name="connsiteX117" fmla="*/ 862012 w 1100137"/>
                  <a:gd name="connsiteY117" fmla="*/ 884311 h 1192212"/>
                  <a:gd name="connsiteX118" fmla="*/ 862012 w 1100137"/>
                  <a:gd name="connsiteY118" fmla="*/ 868577 h 1192212"/>
                  <a:gd name="connsiteX119" fmla="*/ 862012 w 1100137"/>
                  <a:gd name="connsiteY119" fmla="*/ 796348 h 1192212"/>
                  <a:gd name="connsiteX120" fmla="*/ 862012 w 1100137"/>
                  <a:gd name="connsiteY120" fmla="*/ 765596 h 1192212"/>
                  <a:gd name="connsiteX121" fmla="*/ 862012 w 1100137"/>
                  <a:gd name="connsiteY121" fmla="*/ 694081 h 1192212"/>
                  <a:gd name="connsiteX122" fmla="*/ 862012 w 1100137"/>
                  <a:gd name="connsiteY122" fmla="*/ 662615 h 1192212"/>
                  <a:gd name="connsiteX123" fmla="*/ 862012 w 1100137"/>
                  <a:gd name="connsiteY123" fmla="*/ 591100 h 1192212"/>
                  <a:gd name="connsiteX124" fmla="*/ 862012 w 1100137"/>
                  <a:gd name="connsiteY124" fmla="*/ 560349 h 1192212"/>
                  <a:gd name="connsiteX125" fmla="*/ 862012 w 1100137"/>
                  <a:gd name="connsiteY125" fmla="*/ 487404 h 1192212"/>
                  <a:gd name="connsiteX126" fmla="*/ 862012 w 1100137"/>
                  <a:gd name="connsiteY126" fmla="*/ 457367 h 1192212"/>
                  <a:gd name="connsiteX127" fmla="*/ 862012 w 1100137"/>
                  <a:gd name="connsiteY127" fmla="*/ 384422 h 1192212"/>
                  <a:gd name="connsiteX128" fmla="*/ 862012 w 1100137"/>
                  <a:gd name="connsiteY128" fmla="*/ 353671 h 1192212"/>
                  <a:gd name="connsiteX129" fmla="*/ 862012 w 1100137"/>
                  <a:gd name="connsiteY129" fmla="*/ 282156 h 1192212"/>
                  <a:gd name="connsiteX130" fmla="*/ 862012 w 1100137"/>
                  <a:gd name="connsiteY130" fmla="*/ 250690 h 1192212"/>
                  <a:gd name="connsiteX131" fmla="*/ 862012 w 1100137"/>
                  <a:gd name="connsiteY131" fmla="*/ 179175 h 1192212"/>
                  <a:gd name="connsiteX132" fmla="*/ 862012 w 1100137"/>
                  <a:gd name="connsiteY132" fmla="*/ 155575 h 1192212"/>
                  <a:gd name="connsiteX133" fmla="*/ 532182 w 1100137"/>
                  <a:gd name="connsiteY133" fmla="*/ 155575 h 1192212"/>
                  <a:gd name="connsiteX134" fmla="*/ 489970 w 1100137"/>
                  <a:gd name="connsiteY134" fmla="*/ 155575 h 1192212"/>
                  <a:gd name="connsiteX135" fmla="*/ 474229 w 1100137"/>
                  <a:gd name="connsiteY135" fmla="*/ 155575 h 1192212"/>
                  <a:gd name="connsiteX136" fmla="*/ 458489 w 1100137"/>
                  <a:gd name="connsiteY136" fmla="*/ 155575 h 1192212"/>
                  <a:gd name="connsiteX137" fmla="*/ 444895 w 1100137"/>
                  <a:gd name="connsiteY137" fmla="*/ 155575 h 1192212"/>
                  <a:gd name="connsiteX138" fmla="*/ 429155 w 1100137"/>
                  <a:gd name="connsiteY138" fmla="*/ 155575 h 1192212"/>
                  <a:gd name="connsiteX139" fmla="*/ 413415 w 1100137"/>
                  <a:gd name="connsiteY139" fmla="*/ 155575 h 1192212"/>
                  <a:gd name="connsiteX140" fmla="*/ 397674 w 1100137"/>
                  <a:gd name="connsiteY140" fmla="*/ 155575 h 1192212"/>
                  <a:gd name="connsiteX141" fmla="*/ 381934 w 1100137"/>
                  <a:gd name="connsiteY141" fmla="*/ 155575 h 1192212"/>
                  <a:gd name="connsiteX142" fmla="*/ 238125 w 1100137"/>
                  <a:gd name="connsiteY142" fmla="*/ 155575 h 1192212"/>
                  <a:gd name="connsiteX143" fmla="*/ 444500 w 1100137"/>
                  <a:gd name="connsiteY143" fmla="*/ 31750 h 1192212"/>
                  <a:gd name="connsiteX144" fmla="*/ 444500 w 1100137"/>
                  <a:gd name="connsiteY144" fmla="*/ 125266 h 1192212"/>
                  <a:gd name="connsiteX145" fmla="*/ 458079 w 1100137"/>
                  <a:gd name="connsiteY145" fmla="*/ 125266 h 1192212"/>
                  <a:gd name="connsiteX146" fmla="*/ 473801 w 1100137"/>
                  <a:gd name="connsiteY146" fmla="*/ 125266 h 1192212"/>
                  <a:gd name="connsiteX147" fmla="*/ 489523 w 1100137"/>
                  <a:gd name="connsiteY147" fmla="*/ 125266 h 1192212"/>
                  <a:gd name="connsiteX148" fmla="*/ 876862 w 1100137"/>
                  <a:gd name="connsiteY148" fmla="*/ 125266 h 1192212"/>
                  <a:gd name="connsiteX149" fmla="*/ 879006 w 1100137"/>
                  <a:gd name="connsiteY149" fmla="*/ 125266 h 1192212"/>
                  <a:gd name="connsiteX150" fmla="*/ 892584 w 1100137"/>
                  <a:gd name="connsiteY150" fmla="*/ 140971 h 1192212"/>
                  <a:gd name="connsiteX151" fmla="*/ 892584 w 1100137"/>
                  <a:gd name="connsiteY151" fmla="*/ 149537 h 1192212"/>
                  <a:gd name="connsiteX152" fmla="*/ 892584 w 1100137"/>
                  <a:gd name="connsiteY152" fmla="*/ 180233 h 1192212"/>
                  <a:gd name="connsiteX153" fmla="*/ 892584 w 1100137"/>
                  <a:gd name="connsiteY153" fmla="*/ 251619 h 1192212"/>
                  <a:gd name="connsiteX154" fmla="*/ 892584 w 1100137"/>
                  <a:gd name="connsiteY154" fmla="*/ 283029 h 1192212"/>
                  <a:gd name="connsiteX155" fmla="*/ 892584 w 1100137"/>
                  <a:gd name="connsiteY155" fmla="*/ 354415 h 1192212"/>
                  <a:gd name="connsiteX156" fmla="*/ 892584 w 1100137"/>
                  <a:gd name="connsiteY156" fmla="*/ 385111 h 1192212"/>
                  <a:gd name="connsiteX157" fmla="*/ 892584 w 1100137"/>
                  <a:gd name="connsiteY157" fmla="*/ 457924 h 1192212"/>
                  <a:gd name="connsiteX158" fmla="*/ 892584 w 1100137"/>
                  <a:gd name="connsiteY158" fmla="*/ 487906 h 1192212"/>
                  <a:gd name="connsiteX159" fmla="*/ 892584 w 1100137"/>
                  <a:gd name="connsiteY159" fmla="*/ 560720 h 1192212"/>
                  <a:gd name="connsiteX160" fmla="*/ 892584 w 1100137"/>
                  <a:gd name="connsiteY160" fmla="*/ 591416 h 1192212"/>
                  <a:gd name="connsiteX161" fmla="*/ 892584 w 1100137"/>
                  <a:gd name="connsiteY161" fmla="*/ 662802 h 1192212"/>
                  <a:gd name="connsiteX162" fmla="*/ 892584 w 1100137"/>
                  <a:gd name="connsiteY162" fmla="*/ 694212 h 1192212"/>
                  <a:gd name="connsiteX163" fmla="*/ 892584 w 1100137"/>
                  <a:gd name="connsiteY163" fmla="*/ 765598 h 1192212"/>
                  <a:gd name="connsiteX164" fmla="*/ 892584 w 1100137"/>
                  <a:gd name="connsiteY164" fmla="*/ 796294 h 1192212"/>
                  <a:gd name="connsiteX165" fmla="*/ 892584 w 1100137"/>
                  <a:gd name="connsiteY165" fmla="*/ 884098 h 1192212"/>
                  <a:gd name="connsiteX166" fmla="*/ 892584 w 1100137"/>
                  <a:gd name="connsiteY166" fmla="*/ 899803 h 1192212"/>
                  <a:gd name="connsiteX167" fmla="*/ 892584 w 1100137"/>
                  <a:gd name="connsiteY167" fmla="*/ 911225 h 1192212"/>
                  <a:gd name="connsiteX168" fmla="*/ 1068387 w 1100137"/>
                  <a:gd name="connsiteY168" fmla="*/ 911225 h 1192212"/>
                  <a:gd name="connsiteX169" fmla="*/ 1068387 w 1100137"/>
                  <a:gd name="connsiteY169" fmla="*/ 31750 h 1192212"/>
                  <a:gd name="connsiteX170" fmla="*/ 444500 w 1100137"/>
                  <a:gd name="connsiteY170" fmla="*/ 31750 h 1192212"/>
                  <a:gd name="connsiteX171" fmla="*/ 427911 w 1100137"/>
                  <a:gd name="connsiteY171" fmla="*/ 0 h 1192212"/>
                  <a:gd name="connsiteX172" fmla="*/ 429339 w 1100137"/>
                  <a:gd name="connsiteY172" fmla="*/ 0 h 1192212"/>
                  <a:gd name="connsiteX173" fmla="*/ 1084421 w 1100137"/>
                  <a:gd name="connsiteY173" fmla="*/ 0 h 1192212"/>
                  <a:gd name="connsiteX174" fmla="*/ 1086564 w 1100137"/>
                  <a:gd name="connsiteY174" fmla="*/ 0 h 1192212"/>
                  <a:gd name="connsiteX175" fmla="*/ 1100137 w 1100137"/>
                  <a:gd name="connsiteY175" fmla="*/ 15706 h 1192212"/>
                  <a:gd name="connsiteX176" fmla="*/ 1100137 w 1100137"/>
                  <a:gd name="connsiteY176" fmla="*/ 926642 h 1192212"/>
                  <a:gd name="connsiteX177" fmla="*/ 1084421 w 1100137"/>
                  <a:gd name="connsiteY177" fmla="*/ 942347 h 1192212"/>
                  <a:gd name="connsiteX178" fmla="*/ 892969 w 1100137"/>
                  <a:gd name="connsiteY178" fmla="*/ 942347 h 1192212"/>
                  <a:gd name="connsiteX179" fmla="*/ 892969 w 1100137"/>
                  <a:gd name="connsiteY179" fmla="*/ 958053 h 1192212"/>
                  <a:gd name="connsiteX180" fmla="*/ 892969 w 1100137"/>
                  <a:gd name="connsiteY180" fmla="*/ 973759 h 1192212"/>
                  <a:gd name="connsiteX181" fmla="*/ 892969 w 1100137"/>
                  <a:gd name="connsiteY181" fmla="*/ 1051574 h 1192212"/>
                  <a:gd name="connsiteX182" fmla="*/ 877252 w 1100137"/>
                  <a:gd name="connsiteY182" fmla="*/ 1067280 h 1192212"/>
                  <a:gd name="connsiteX183" fmla="*/ 686514 w 1100137"/>
                  <a:gd name="connsiteY183" fmla="*/ 1067280 h 1192212"/>
                  <a:gd name="connsiteX184" fmla="*/ 686514 w 1100137"/>
                  <a:gd name="connsiteY184" fmla="*/ 1176506 h 1192212"/>
                  <a:gd name="connsiteX185" fmla="*/ 670798 w 1100137"/>
                  <a:gd name="connsiteY185" fmla="*/ 1192212 h 1192212"/>
                  <a:gd name="connsiteX186" fmla="*/ 15716 w 1100137"/>
                  <a:gd name="connsiteY186" fmla="*/ 1192212 h 1192212"/>
                  <a:gd name="connsiteX187" fmla="*/ 0 w 1100137"/>
                  <a:gd name="connsiteY187" fmla="*/ 1176506 h 1192212"/>
                  <a:gd name="connsiteX188" fmla="*/ 0 w 1100137"/>
                  <a:gd name="connsiteY188" fmla="*/ 265571 h 1192212"/>
                  <a:gd name="connsiteX189" fmla="*/ 15716 w 1100137"/>
                  <a:gd name="connsiteY189" fmla="*/ 249865 h 1192212"/>
                  <a:gd name="connsiteX190" fmla="*/ 207169 w 1100137"/>
                  <a:gd name="connsiteY190" fmla="*/ 249865 h 1192212"/>
                  <a:gd name="connsiteX191" fmla="*/ 207169 w 1100137"/>
                  <a:gd name="connsiteY191" fmla="*/ 140638 h 1192212"/>
                  <a:gd name="connsiteX192" fmla="*/ 222885 w 1100137"/>
                  <a:gd name="connsiteY192" fmla="*/ 124933 h 1192212"/>
                  <a:gd name="connsiteX193" fmla="*/ 382191 w 1100137"/>
                  <a:gd name="connsiteY193" fmla="*/ 124933 h 1192212"/>
                  <a:gd name="connsiteX194" fmla="*/ 397907 w 1100137"/>
                  <a:gd name="connsiteY194" fmla="*/ 124933 h 1192212"/>
                  <a:gd name="connsiteX195" fmla="*/ 413623 w 1100137"/>
                  <a:gd name="connsiteY195" fmla="*/ 124933 h 1192212"/>
                  <a:gd name="connsiteX196" fmla="*/ 413623 w 1100137"/>
                  <a:gd name="connsiteY196" fmla="*/ 15706 h 1192212"/>
                  <a:gd name="connsiteX197" fmla="*/ 427911 w 1100137"/>
                  <a:gd name="connsiteY197" fmla="*/ 0 h 1192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</a:cxnLst>
                <a:rect l="l" t="t" r="r" b="b"/>
                <a:pathLst>
                  <a:path w="1100137" h="1192212">
                    <a:moveTo>
                      <a:pt x="31750" y="280987"/>
                    </a:moveTo>
                    <a:lnTo>
                      <a:pt x="31750" y="1162049"/>
                    </a:lnTo>
                    <a:lnTo>
                      <a:pt x="655637" y="1162049"/>
                    </a:lnTo>
                    <a:lnTo>
                      <a:pt x="655637" y="1068387"/>
                    </a:lnTo>
                    <a:lnTo>
                      <a:pt x="655637" y="1052512"/>
                    </a:lnTo>
                    <a:lnTo>
                      <a:pt x="655637" y="1036637"/>
                    </a:lnTo>
                    <a:lnTo>
                      <a:pt x="655637" y="1025524"/>
                    </a:lnTo>
                    <a:lnTo>
                      <a:pt x="655637" y="1009649"/>
                    </a:lnTo>
                    <a:lnTo>
                      <a:pt x="655637" y="993774"/>
                    </a:lnTo>
                    <a:lnTo>
                      <a:pt x="655637" y="974724"/>
                    </a:lnTo>
                    <a:lnTo>
                      <a:pt x="655637" y="958849"/>
                    </a:lnTo>
                    <a:lnTo>
                      <a:pt x="655637" y="942974"/>
                    </a:lnTo>
                    <a:lnTo>
                      <a:pt x="655637" y="927099"/>
                    </a:lnTo>
                    <a:lnTo>
                      <a:pt x="655637" y="920749"/>
                    </a:lnTo>
                    <a:lnTo>
                      <a:pt x="655637" y="911224"/>
                    </a:lnTo>
                    <a:lnTo>
                      <a:pt x="655637" y="900112"/>
                    </a:lnTo>
                    <a:lnTo>
                      <a:pt x="655637" y="890587"/>
                    </a:lnTo>
                    <a:lnTo>
                      <a:pt x="655637" y="884237"/>
                    </a:lnTo>
                    <a:lnTo>
                      <a:pt x="655637" y="868362"/>
                    </a:lnTo>
                    <a:lnTo>
                      <a:pt x="655637" y="819149"/>
                    </a:lnTo>
                    <a:lnTo>
                      <a:pt x="655637" y="796924"/>
                    </a:lnTo>
                    <a:lnTo>
                      <a:pt x="655637" y="787399"/>
                    </a:lnTo>
                    <a:lnTo>
                      <a:pt x="655637" y="765174"/>
                    </a:lnTo>
                    <a:lnTo>
                      <a:pt x="655637" y="715962"/>
                    </a:lnTo>
                    <a:lnTo>
                      <a:pt x="655637" y="693737"/>
                    </a:lnTo>
                    <a:lnTo>
                      <a:pt x="655637" y="685799"/>
                    </a:lnTo>
                    <a:lnTo>
                      <a:pt x="655637" y="661987"/>
                    </a:lnTo>
                    <a:lnTo>
                      <a:pt x="655637" y="612774"/>
                    </a:lnTo>
                    <a:lnTo>
                      <a:pt x="655637" y="590549"/>
                    </a:lnTo>
                    <a:lnTo>
                      <a:pt x="655637" y="582612"/>
                    </a:lnTo>
                    <a:lnTo>
                      <a:pt x="655637" y="560387"/>
                    </a:lnTo>
                    <a:lnTo>
                      <a:pt x="655637" y="509587"/>
                    </a:lnTo>
                    <a:lnTo>
                      <a:pt x="655637" y="487362"/>
                    </a:lnTo>
                    <a:lnTo>
                      <a:pt x="655637" y="479425"/>
                    </a:lnTo>
                    <a:lnTo>
                      <a:pt x="655637" y="457200"/>
                    </a:lnTo>
                    <a:lnTo>
                      <a:pt x="655637" y="407987"/>
                    </a:lnTo>
                    <a:lnTo>
                      <a:pt x="655637" y="384175"/>
                    </a:lnTo>
                    <a:lnTo>
                      <a:pt x="655637" y="376237"/>
                    </a:lnTo>
                    <a:lnTo>
                      <a:pt x="655637" y="354012"/>
                    </a:lnTo>
                    <a:lnTo>
                      <a:pt x="655637" y="304800"/>
                    </a:lnTo>
                    <a:lnTo>
                      <a:pt x="655637" y="282575"/>
                    </a:lnTo>
                    <a:lnTo>
                      <a:pt x="655637" y="280987"/>
                    </a:lnTo>
                    <a:lnTo>
                      <a:pt x="539750" y="280987"/>
                    </a:lnTo>
                    <a:lnTo>
                      <a:pt x="490537" y="280987"/>
                    </a:lnTo>
                    <a:lnTo>
                      <a:pt x="474662" y="280987"/>
                    </a:lnTo>
                    <a:lnTo>
                      <a:pt x="458787" y="280987"/>
                    </a:lnTo>
                    <a:lnTo>
                      <a:pt x="444500" y="280987"/>
                    </a:lnTo>
                    <a:lnTo>
                      <a:pt x="428625" y="280987"/>
                    </a:lnTo>
                    <a:lnTo>
                      <a:pt x="414337" y="280987"/>
                    </a:lnTo>
                    <a:lnTo>
                      <a:pt x="398462" y="280987"/>
                    </a:lnTo>
                    <a:lnTo>
                      <a:pt x="382587" y="280987"/>
                    </a:lnTo>
                    <a:lnTo>
                      <a:pt x="325437" y="280987"/>
                    </a:lnTo>
                    <a:lnTo>
                      <a:pt x="284163" y="280987"/>
                    </a:lnTo>
                    <a:lnTo>
                      <a:pt x="268288" y="280987"/>
                    </a:lnTo>
                    <a:lnTo>
                      <a:pt x="252413" y="280987"/>
                    </a:lnTo>
                    <a:lnTo>
                      <a:pt x="238125" y="280987"/>
                    </a:lnTo>
                    <a:lnTo>
                      <a:pt x="222250" y="280987"/>
                    </a:lnTo>
                    <a:lnTo>
                      <a:pt x="206375" y="280987"/>
                    </a:lnTo>
                    <a:close/>
                    <a:moveTo>
                      <a:pt x="238125" y="155575"/>
                    </a:moveTo>
                    <a:cubicBezTo>
                      <a:pt x="238125" y="155575"/>
                      <a:pt x="238125" y="155575"/>
                      <a:pt x="238125" y="249259"/>
                    </a:cubicBezTo>
                    <a:cubicBezTo>
                      <a:pt x="238125" y="249259"/>
                      <a:pt x="238125" y="249259"/>
                      <a:pt x="251719" y="249259"/>
                    </a:cubicBezTo>
                    <a:cubicBezTo>
                      <a:pt x="251719" y="249259"/>
                      <a:pt x="251719" y="249259"/>
                      <a:pt x="267459" y="249259"/>
                    </a:cubicBezTo>
                    <a:cubicBezTo>
                      <a:pt x="267459" y="249259"/>
                      <a:pt x="267459" y="249259"/>
                      <a:pt x="283200" y="249259"/>
                    </a:cubicBezTo>
                    <a:cubicBezTo>
                      <a:pt x="283200" y="249259"/>
                      <a:pt x="283200" y="249259"/>
                      <a:pt x="381934" y="249259"/>
                    </a:cubicBezTo>
                    <a:cubicBezTo>
                      <a:pt x="381934" y="249259"/>
                      <a:pt x="381934" y="249259"/>
                      <a:pt x="397674" y="249259"/>
                    </a:cubicBezTo>
                    <a:cubicBezTo>
                      <a:pt x="397674" y="249259"/>
                      <a:pt x="397674" y="249259"/>
                      <a:pt x="413415" y="249259"/>
                    </a:cubicBezTo>
                    <a:cubicBezTo>
                      <a:pt x="413415" y="249259"/>
                      <a:pt x="413415" y="249259"/>
                      <a:pt x="429155" y="249259"/>
                    </a:cubicBezTo>
                    <a:cubicBezTo>
                      <a:pt x="429155" y="249259"/>
                      <a:pt x="429155" y="249259"/>
                      <a:pt x="444895" y="249259"/>
                    </a:cubicBezTo>
                    <a:cubicBezTo>
                      <a:pt x="444895" y="249259"/>
                      <a:pt x="444895" y="249259"/>
                      <a:pt x="458489" y="249259"/>
                    </a:cubicBezTo>
                    <a:cubicBezTo>
                      <a:pt x="458489" y="249259"/>
                      <a:pt x="458489" y="249259"/>
                      <a:pt x="474229" y="249259"/>
                    </a:cubicBezTo>
                    <a:cubicBezTo>
                      <a:pt x="474229" y="249259"/>
                      <a:pt x="474229" y="249259"/>
                      <a:pt x="489970" y="249259"/>
                    </a:cubicBezTo>
                    <a:cubicBezTo>
                      <a:pt x="489970" y="249259"/>
                      <a:pt x="489970" y="249259"/>
                      <a:pt x="670983" y="249259"/>
                    </a:cubicBezTo>
                    <a:cubicBezTo>
                      <a:pt x="673129" y="249259"/>
                      <a:pt x="675275" y="249975"/>
                      <a:pt x="677422" y="250690"/>
                    </a:cubicBezTo>
                    <a:cubicBezTo>
                      <a:pt x="682430" y="253550"/>
                      <a:pt x="686723" y="258556"/>
                      <a:pt x="686723" y="264993"/>
                    </a:cubicBezTo>
                    <a:cubicBezTo>
                      <a:pt x="686723" y="264993"/>
                      <a:pt x="686723" y="264993"/>
                      <a:pt x="686723" y="273575"/>
                    </a:cubicBezTo>
                    <a:cubicBezTo>
                      <a:pt x="686723" y="273575"/>
                      <a:pt x="686723" y="273575"/>
                      <a:pt x="686723" y="282156"/>
                    </a:cubicBezTo>
                    <a:cubicBezTo>
                      <a:pt x="686723" y="282156"/>
                      <a:pt x="686723" y="282156"/>
                      <a:pt x="686723" y="304326"/>
                    </a:cubicBezTo>
                    <a:cubicBezTo>
                      <a:pt x="686723" y="304326"/>
                      <a:pt x="686723" y="304326"/>
                      <a:pt x="686723" y="353671"/>
                    </a:cubicBezTo>
                    <a:cubicBezTo>
                      <a:pt x="686723" y="353671"/>
                      <a:pt x="686723" y="353671"/>
                      <a:pt x="686723" y="375841"/>
                    </a:cubicBezTo>
                    <a:cubicBezTo>
                      <a:pt x="686723" y="375841"/>
                      <a:pt x="686723" y="375841"/>
                      <a:pt x="686723" y="384422"/>
                    </a:cubicBezTo>
                    <a:cubicBezTo>
                      <a:pt x="686723" y="384422"/>
                      <a:pt x="686723" y="384422"/>
                      <a:pt x="686723" y="407307"/>
                    </a:cubicBezTo>
                    <a:cubicBezTo>
                      <a:pt x="686723" y="407307"/>
                      <a:pt x="686723" y="407307"/>
                      <a:pt x="686723" y="457367"/>
                    </a:cubicBezTo>
                    <a:cubicBezTo>
                      <a:pt x="686723" y="457367"/>
                      <a:pt x="686723" y="457367"/>
                      <a:pt x="686723" y="478822"/>
                    </a:cubicBezTo>
                    <a:cubicBezTo>
                      <a:pt x="686723" y="478822"/>
                      <a:pt x="686723" y="478822"/>
                      <a:pt x="686723" y="487404"/>
                    </a:cubicBezTo>
                    <a:cubicBezTo>
                      <a:pt x="686723" y="487404"/>
                      <a:pt x="686723" y="487404"/>
                      <a:pt x="686723" y="509573"/>
                    </a:cubicBezTo>
                    <a:cubicBezTo>
                      <a:pt x="686723" y="509573"/>
                      <a:pt x="686723" y="509573"/>
                      <a:pt x="686723" y="560349"/>
                    </a:cubicBezTo>
                    <a:cubicBezTo>
                      <a:pt x="686723" y="560349"/>
                      <a:pt x="686723" y="560349"/>
                      <a:pt x="686723" y="582518"/>
                    </a:cubicBezTo>
                    <a:cubicBezTo>
                      <a:pt x="686723" y="582518"/>
                      <a:pt x="686723" y="582518"/>
                      <a:pt x="686723" y="591100"/>
                    </a:cubicBezTo>
                    <a:cubicBezTo>
                      <a:pt x="686723" y="591100"/>
                      <a:pt x="686723" y="591100"/>
                      <a:pt x="686723" y="612555"/>
                    </a:cubicBezTo>
                    <a:cubicBezTo>
                      <a:pt x="686723" y="612555"/>
                      <a:pt x="686723" y="612555"/>
                      <a:pt x="686723" y="662615"/>
                    </a:cubicBezTo>
                    <a:cubicBezTo>
                      <a:pt x="686723" y="662615"/>
                      <a:pt x="686723" y="662615"/>
                      <a:pt x="686723" y="685500"/>
                    </a:cubicBezTo>
                    <a:cubicBezTo>
                      <a:pt x="686723" y="685500"/>
                      <a:pt x="686723" y="685500"/>
                      <a:pt x="686723" y="694081"/>
                    </a:cubicBezTo>
                    <a:cubicBezTo>
                      <a:pt x="686723" y="694081"/>
                      <a:pt x="686723" y="694081"/>
                      <a:pt x="686723" y="716251"/>
                    </a:cubicBezTo>
                    <a:cubicBezTo>
                      <a:pt x="686723" y="716251"/>
                      <a:pt x="686723" y="716251"/>
                      <a:pt x="686723" y="765596"/>
                    </a:cubicBezTo>
                    <a:cubicBezTo>
                      <a:pt x="686723" y="765596"/>
                      <a:pt x="686723" y="765596"/>
                      <a:pt x="686723" y="787766"/>
                    </a:cubicBezTo>
                    <a:cubicBezTo>
                      <a:pt x="686723" y="787766"/>
                      <a:pt x="686723" y="787766"/>
                      <a:pt x="686723" y="796348"/>
                    </a:cubicBezTo>
                    <a:cubicBezTo>
                      <a:pt x="686723" y="796348"/>
                      <a:pt x="686723" y="796348"/>
                      <a:pt x="686723" y="819232"/>
                    </a:cubicBezTo>
                    <a:cubicBezTo>
                      <a:pt x="686723" y="819232"/>
                      <a:pt x="686723" y="819232"/>
                      <a:pt x="686723" y="868577"/>
                    </a:cubicBezTo>
                    <a:cubicBezTo>
                      <a:pt x="686723" y="868577"/>
                      <a:pt x="686723" y="868577"/>
                      <a:pt x="686723" y="884311"/>
                    </a:cubicBezTo>
                    <a:cubicBezTo>
                      <a:pt x="686723" y="884311"/>
                      <a:pt x="686723" y="884311"/>
                      <a:pt x="686723" y="890747"/>
                    </a:cubicBezTo>
                    <a:cubicBezTo>
                      <a:pt x="686723" y="890747"/>
                      <a:pt x="686723" y="890747"/>
                      <a:pt x="686723" y="900044"/>
                    </a:cubicBezTo>
                    <a:cubicBezTo>
                      <a:pt x="686723" y="900044"/>
                      <a:pt x="686723" y="900044"/>
                      <a:pt x="686723" y="911486"/>
                    </a:cubicBezTo>
                    <a:cubicBezTo>
                      <a:pt x="686723" y="911486"/>
                      <a:pt x="686723" y="911486"/>
                      <a:pt x="686723" y="921498"/>
                    </a:cubicBezTo>
                    <a:cubicBezTo>
                      <a:pt x="686723" y="921498"/>
                      <a:pt x="686723" y="921498"/>
                      <a:pt x="686723" y="927220"/>
                    </a:cubicBezTo>
                    <a:cubicBezTo>
                      <a:pt x="686723" y="927220"/>
                      <a:pt x="686723" y="927220"/>
                      <a:pt x="686723" y="942953"/>
                    </a:cubicBezTo>
                    <a:cubicBezTo>
                      <a:pt x="686723" y="942953"/>
                      <a:pt x="686723" y="942953"/>
                      <a:pt x="686723" y="958686"/>
                    </a:cubicBezTo>
                    <a:cubicBezTo>
                      <a:pt x="686723" y="958686"/>
                      <a:pt x="686723" y="958686"/>
                      <a:pt x="686723" y="974419"/>
                    </a:cubicBezTo>
                    <a:cubicBezTo>
                      <a:pt x="686723" y="974419"/>
                      <a:pt x="686723" y="974419"/>
                      <a:pt x="686723" y="1009462"/>
                    </a:cubicBezTo>
                    <a:cubicBezTo>
                      <a:pt x="686723" y="1009462"/>
                      <a:pt x="686723" y="1009462"/>
                      <a:pt x="686723" y="1025195"/>
                    </a:cubicBezTo>
                    <a:cubicBezTo>
                      <a:pt x="686723" y="1025195"/>
                      <a:pt x="686723" y="1025195"/>
                      <a:pt x="686723" y="1036637"/>
                    </a:cubicBezTo>
                    <a:cubicBezTo>
                      <a:pt x="686723" y="1036637"/>
                      <a:pt x="686723" y="1036637"/>
                      <a:pt x="862012" y="1036637"/>
                    </a:cubicBezTo>
                    <a:cubicBezTo>
                      <a:pt x="862012" y="1036637"/>
                      <a:pt x="862012" y="1036637"/>
                      <a:pt x="862012" y="974419"/>
                    </a:cubicBezTo>
                    <a:cubicBezTo>
                      <a:pt x="862012" y="974419"/>
                      <a:pt x="862012" y="974419"/>
                      <a:pt x="862012" y="958686"/>
                    </a:cubicBezTo>
                    <a:cubicBezTo>
                      <a:pt x="862012" y="958686"/>
                      <a:pt x="862012" y="958686"/>
                      <a:pt x="862012" y="942953"/>
                    </a:cubicBezTo>
                    <a:cubicBezTo>
                      <a:pt x="862012" y="942953"/>
                      <a:pt x="862012" y="942953"/>
                      <a:pt x="862012" y="927220"/>
                    </a:cubicBezTo>
                    <a:cubicBezTo>
                      <a:pt x="862012" y="927220"/>
                      <a:pt x="862012" y="927220"/>
                      <a:pt x="862012" y="911486"/>
                    </a:cubicBezTo>
                    <a:cubicBezTo>
                      <a:pt x="862012" y="911486"/>
                      <a:pt x="862012" y="911486"/>
                      <a:pt x="862012" y="900044"/>
                    </a:cubicBezTo>
                    <a:cubicBezTo>
                      <a:pt x="862012" y="900044"/>
                      <a:pt x="862012" y="900044"/>
                      <a:pt x="862012" y="884311"/>
                    </a:cubicBezTo>
                    <a:cubicBezTo>
                      <a:pt x="862012" y="884311"/>
                      <a:pt x="862012" y="884311"/>
                      <a:pt x="862012" y="868577"/>
                    </a:cubicBezTo>
                    <a:cubicBezTo>
                      <a:pt x="862012" y="868577"/>
                      <a:pt x="862012" y="868577"/>
                      <a:pt x="862012" y="796348"/>
                    </a:cubicBezTo>
                    <a:cubicBezTo>
                      <a:pt x="862012" y="796348"/>
                      <a:pt x="862012" y="796348"/>
                      <a:pt x="862012" y="765596"/>
                    </a:cubicBezTo>
                    <a:cubicBezTo>
                      <a:pt x="862012" y="765596"/>
                      <a:pt x="862012" y="765596"/>
                      <a:pt x="862012" y="694081"/>
                    </a:cubicBezTo>
                    <a:cubicBezTo>
                      <a:pt x="862012" y="694081"/>
                      <a:pt x="862012" y="694081"/>
                      <a:pt x="862012" y="662615"/>
                    </a:cubicBezTo>
                    <a:cubicBezTo>
                      <a:pt x="862012" y="662615"/>
                      <a:pt x="862012" y="662615"/>
                      <a:pt x="862012" y="591100"/>
                    </a:cubicBezTo>
                    <a:cubicBezTo>
                      <a:pt x="862012" y="591100"/>
                      <a:pt x="862012" y="591100"/>
                      <a:pt x="862012" y="560349"/>
                    </a:cubicBezTo>
                    <a:cubicBezTo>
                      <a:pt x="862012" y="560349"/>
                      <a:pt x="862012" y="560349"/>
                      <a:pt x="862012" y="487404"/>
                    </a:cubicBezTo>
                    <a:cubicBezTo>
                      <a:pt x="862012" y="487404"/>
                      <a:pt x="862012" y="487404"/>
                      <a:pt x="862012" y="457367"/>
                    </a:cubicBezTo>
                    <a:cubicBezTo>
                      <a:pt x="862012" y="457367"/>
                      <a:pt x="862012" y="457367"/>
                      <a:pt x="862012" y="384422"/>
                    </a:cubicBezTo>
                    <a:cubicBezTo>
                      <a:pt x="862012" y="384422"/>
                      <a:pt x="862012" y="384422"/>
                      <a:pt x="862012" y="353671"/>
                    </a:cubicBezTo>
                    <a:cubicBezTo>
                      <a:pt x="862012" y="353671"/>
                      <a:pt x="862012" y="353671"/>
                      <a:pt x="862012" y="282156"/>
                    </a:cubicBezTo>
                    <a:cubicBezTo>
                      <a:pt x="862012" y="282156"/>
                      <a:pt x="862012" y="282156"/>
                      <a:pt x="862012" y="250690"/>
                    </a:cubicBezTo>
                    <a:cubicBezTo>
                      <a:pt x="862012" y="250690"/>
                      <a:pt x="862012" y="250690"/>
                      <a:pt x="862012" y="179175"/>
                    </a:cubicBezTo>
                    <a:cubicBezTo>
                      <a:pt x="862012" y="179175"/>
                      <a:pt x="862012" y="179175"/>
                      <a:pt x="862012" y="155575"/>
                    </a:cubicBezTo>
                    <a:cubicBezTo>
                      <a:pt x="862012" y="155575"/>
                      <a:pt x="862012" y="155575"/>
                      <a:pt x="532182" y="155575"/>
                    </a:cubicBezTo>
                    <a:cubicBezTo>
                      <a:pt x="532182" y="155575"/>
                      <a:pt x="532182" y="155575"/>
                      <a:pt x="489970" y="155575"/>
                    </a:cubicBezTo>
                    <a:cubicBezTo>
                      <a:pt x="489970" y="155575"/>
                      <a:pt x="489970" y="155575"/>
                      <a:pt x="474229" y="155575"/>
                    </a:cubicBezTo>
                    <a:cubicBezTo>
                      <a:pt x="474229" y="155575"/>
                      <a:pt x="474229" y="155575"/>
                      <a:pt x="458489" y="155575"/>
                    </a:cubicBezTo>
                    <a:cubicBezTo>
                      <a:pt x="458489" y="155575"/>
                      <a:pt x="458489" y="155575"/>
                      <a:pt x="444895" y="155575"/>
                    </a:cubicBezTo>
                    <a:cubicBezTo>
                      <a:pt x="444895" y="155575"/>
                      <a:pt x="444895" y="155575"/>
                      <a:pt x="429155" y="155575"/>
                    </a:cubicBezTo>
                    <a:cubicBezTo>
                      <a:pt x="429155" y="155575"/>
                      <a:pt x="429155" y="155575"/>
                      <a:pt x="413415" y="155575"/>
                    </a:cubicBezTo>
                    <a:cubicBezTo>
                      <a:pt x="413415" y="155575"/>
                      <a:pt x="413415" y="155575"/>
                      <a:pt x="397674" y="155575"/>
                    </a:cubicBezTo>
                    <a:cubicBezTo>
                      <a:pt x="397674" y="155575"/>
                      <a:pt x="397674" y="155575"/>
                      <a:pt x="381934" y="155575"/>
                    </a:cubicBezTo>
                    <a:cubicBezTo>
                      <a:pt x="381934" y="155575"/>
                      <a:pt x="381934" y="155575"/>
                      <a:pt x="238125" y="155575"/>
                    </a:cubicBezTo>
                    <a:close/>
                    <a:moveTo>
                      <a:pt x="444500" y="31750"/>
                    </a:moveTo>
                    <a:lnTo>
                      <a:pt x="444500" y="125266"/>
                    </a:lnTo>
                    <a:cubicBezTo>
                      <a:pt x="444500" y="125266"/>
                      <a:pt x="444500" y="125266"/>
                      <a:pt x="458079" y="125266"/>
                    </a:cubicBezTo>
                    <a:cubicBezTo>
                      <a:pt x="458079" y="125266"/>
                      <a:pt x="458079" y="125266"/>
                      <a:pt x="473801" y="125266"/>
                    </a:cubicBezTo>
                    <a:cubicBezTo>
                      <a:pt x="473801" y="125266"/>
                      <a:pt x="473801" y="125266"/>
                      <a:pt x="489523" y="125266"/>
                    </a:cubicBezTo>
                    <a:cubicBezTo>
                      <a:pt x="489523" y="125266"/>
                      <a:pt x="489523" y="125266"/>
                      <a:pt x="876862" y="125266"/>
                    </a:cubicBezTo>
                    <a:cubicBezTo>
                      <a:pt x="877576" y="125266"/>
                      <a:pt x="878291" y="125266"/>
                      <a:pt x="879006" y="125266"/>
                    </a:cubicBezTo>
                    <a:cubicBezTo>
                      <a:pt x="886867" y="125980"/>
                      <a:pt x="892584" y="133118"/>
                      <a:pt x="892584" y="140971"/>
                    </a:cubicBezTo>
                    <a:cubicBezTo>
                      <a:pt x="892584" y="140971"/>
                      <a:pt x="892584" y="140971"/>
                      <a:pt x="892584" y="149537"/>
                    </a:cubicBezTo>
                    <a:cubicBezTo>
                      <a:pt x="892584" y="149537"/>
                      <a:pt x="892584" y="149537"/>
                      <a:pt x="892584" y="180233"/>
                    </a:cubicBezTo>
                    <a:cubicBezTo>
                      <a:pt x="892584" y="180233"/>
                      <a:pt x="892584" y="180233"/>
                      <a:pt x="892584" y="251619"/>
                    </a:cubicBezTo>
                    <a:cubicBezTo>
                      <a:pt x="892584" y="251619"/>
                      <a:pt x="892584" y="251619"/>
                      <a:pt x="892584" y="283029"/>
                    </a:cubicBezTo>
                    <a:cubicBezTo>
                      <a:pt x="892584" y="283029"/>
                      <a:pt x="892584" y="283029"/>
                      <a:pt x="892584" y="354415"/>
                    </a:cubicBezTo>
                    <a:cubicBezTo>
                      <a:pt x="892584" y="354415"/>
                      <a:pt x="892584" y="354415"/>
                      <a:pt x="892584" y="385111"/>
                    </a:cubicBezTo>
                    <a:cubicBezTo>
                      <a:pt x="892584" y="385111"/>
                      <a:pt x="892584" y="385111"/>
                      <a:pt x="892584" y="457924"/>
                    </a:cubicBezTo>
                    <a:cubicBezTo>
                      <a:pt x="892584" y="457924"/>
                      <a:pt x="892584" y="457924"/>
                      <a:pt x="892584" y="487906"/>
                    </a:cubicBezTo>
                    <a:cubicBezTo>
                      <a:pt x="892584" y="487906"/>
                      <a:pt x="892584" y="487906"/>
                      <a:pt x="892584" y="560720"/>
                    </a:cubicBezTo>
                    <a:cubicBezTo>
                      <a:pt x="892584" y="560720"/>
                      <a:pt x="892584" y="560720"/>
                      <a:pt x="892584" y="591416"/>
                    </a:cubicBezTo>
                    <a:cubicBezTo>
                      <a:pt x="892584" y="591416"/>
                      <a:pt x="892584" y="591416"/>
                      <a:pt x="892584" y="662802"/>
                    </a:cubicBezTo>
                    <a:cubicBezTo>
                      <a:pt x="892584" y="662802"/>
                      <a:pt x="892584" y="662802"/>
                      <a:pt x="892584" y="694212"/>
                    </a:cubicBezTo>
                    <a:cubicBezTo>
                      <a:pt x="892584" y="694212"/>
                      <a:pt x="892584" y="694212"/>
                      <a:pt x="892584" y="765598"/>
                    </a:cubicBezTo>
                    <a:cubicBezTo>
                      <a:pt x="892584" y="765598"/>
                      <a:pt x="892584" y="765598"/>
                      <a:pt x="892584" y="796294"/>
                    </a:cubicBezTo>
                    <a:cubicBezTo>
                      <a:pt x="892584" y="796294"/>
                      <a:pt x="892584" y="796294"/>
                      <a:pt x="892584" y="884098"/>
                    </a:cubicBezTo>
                    <a:cubicBezTo>
                      <a:pt x="892584" y="884098"/>
                      <a:pt x="892584" y="884098"/>
                      <a:pt x="892584" y="899803"/>
                    </a:cubicBezTo>
                    <a:cubicBezTo>
                      <a:pt x="892584" y="899803"/>
                      <a:pt x="892584" y="899803"/>
                      <a:pt x="892584" y="911225"/>
                    </a:cubicBezTo>
                    <a:cubicBezTo>
                      <a:pt x="892584" y="911225"/>
                      <a:pt x="892584" y="911225"/>
                      <a:pt x="1068387" y="911225"/>
                    </a:cubicBezTo>
                    <a:cubicBezTo>
                      <a:pt x="1068387" y="911225"/>
                      <a:pt x="1068387" y="911225"/>
                      <a:pt x="1068387" y="31750"/>
                    </a:cubicBezTo>
                    <a:cubicBezTo>
                      <a:pt x="1068387" y="31750"/>
                      <a:pt x="1068387" y="31750"/>
                      <a:pt x="444500" y="31750"/>
                    </a:cubicBezTo>
                    <a:close/>
                    <a:moveTo>
                      <a:pt x="427911" y="0"/>
                    </a:moveTo>
                    <a:cubicBezTo>
                      <a:pt x="428625" y="0"/>
                      <a:pt x="428625" y="0"/>
                      <a:pt x="429339" y="0"/>
                    </a:cubicBezTo>
                    <a:cubicBezTo>
                      <a:pt x="429339" y="0"/>
                      <a:pt x="429339" y="0"/>
                      <a:pt x="1084421" y="0"/>
                    </a:cubicBezTo>
                    <a:cubicBezTo>
                      <a:pt x="1085135" y="0"/>
                      <a:pt x="1085850" y="0"/>
                      <a:pt x="1086564" y="0"/>
                    </a:cubicBezTo>
                    <a:cubicBezTo>
                      <a:pt x="1094422" y="714"/>
                      <a:pt x="1100137" y="7853"/>
                      <a:pt x="1100137" y="15706"/>
                    </a:cubicBezTo>
                    <a:cubicBezTo>
                      <a:pt x="1100137" y="15706"/>
                      <a:pt x="1100137" y="15706"/>
                      <a:pt x="1100137" y="926642"/>
                    </a:cubicBezTo>
                    <a:cubicBezTo>
                      <a:pt x="1100137" y="935208"/>
                      <a:pt x="1092993" y="942347"/>
                      <a:pt x="1084421" y="942347"/>
                    </a:cubicBezTo>
                    <a:cubicBezTo>
                      <a:pt x="1084421" y="942347"/>
                      <a:pt x="1084421" y="942347"/>
                      <a:pt x="892969" y="942347"/>
                    </a:cubicBezTo>
                    <a:cubicBezTo>
                      <a:pt x="892969" y="942347"/>
                      <a:pt x="892969" y="942347"/>
                      <a:pt x="892969" y="958053"/>
                    </a:cubicBezTo>
                    <a:cubicBezTo>
                      <a:pt x="892969" y="958053"/>
                      <a:pt x="892969" y="958053"/>
                      <a:pt x="892969" y="973759"/>
                    </a:cubicBezTo>
                    <a:cubicBezTo>
                      <a:pt x="892969" y="973759"/>
                      <a:pt x="892969" y="973759"/>
                      <a:pt x="892969" y="1051574"/>
                    </a:cubicBezTo>
                    <a:cubicBezTo>
                      <a:pt x="892969" y="1060141"/>
                      <a:pt x="886539" y="1067280"/>
                      <a:pt x="877252" y="1067280"/>
                    </a:cubicBezTo>
                    <a:cubicBezTo>
                      <a:pt x="877252" y="1067280"/>
                      <a:pt x="877252" y="1067280"/>
                      <a:pt x="686514" y="1067280"/>
                    </a:cubicBezTo>
                    <a:cubicBezTo>
                      <a:pt x="686514" y="1067280"/>
                      <a:pt x="686514" y="1067280"/>
                      <a:pt x="686514" y="1176506"/>
                    </a:cubicBezTo>
                    <a:cubicBezTo>
                      <a:pt x="686514" y="1185073"/>
                      <a:pt x="679371" y="1192212"/>
                      <a:pt x="670798" y="1192212"/>
                    </a:cubicBezTo>
                    <a:cubicBezTo>
                      <a:pt x="670798" y="1192212"/>
                      <a:pt x="670798" y="1192212"/>
                      <a:pt x="15716" y="1192212"/>
                    </a:cubicBezTo>
                    <a:cubicBezTo>
                      <a:pt x="7144" y="1192212"/>
                      <a:pt x="0" y="1185073"/>
                      <a:pt x="0" y="1176506"/>
                    </a:cubicBezTo>
                    <a:cubicBezTo>
                      <a:pt x="0" y="1176506"/>
                      <a:pt x="0" y="1176506"/>
                      <a:pt x="0" y="265571"/>
                    </a:cubicBezTo>
                    <a:cubicBezTo>
                      <a:pt x="0" y="257004"/>
                      <a:pt x="7144" y="249865"/>
                      <a:pt x="15716" y="249865"/>
                    </a:cubicBezTo>
                    <a:cubicBezTo>
                      <a:pt x="15716" y="249865"/>
                      <a:pt x="15716" y="249865"/>
                      <a:pt x="207169" y="249865"/>
                    </a:cubicBezTo>
                    <a:cubicBezTo>
                      <a:pt x="207169" y="249865"/>
                      <a:pt x="207169" y="249865"/>
                      <a:pt x="207169" y="140638"/>
                    </a:cubicBezTo>
                    <a:cubicBezTo>
                      <a:pt x="207169" y="132072"/>
                      <a:pt x="213598" y="124933"/>
                      <a:pt x="222885" y="124933"/>
                    </a:cubicBezTo>
                    <a:cubicBezTo>
                      <a:pt x="222885" y="124933"/>
                      <a:pt x="222885" y="124933"/>
                      <a:pt x="382191" y="124933"/>
                    </a:cubicBezTo>
                    <a:cubicBezTo>
                      <a:pt x="382191" y="124933"/>
                      <a:pt x="382191" y="124933"/>
                      <a:pt x="397907" y="124933"/>
                    </a:cubicBezTo>
                    <a:cubicBezTo>
                      <a:pt x="397907" y="124933"/>
                      <a:pt x="397907" y="124933"/>
                      <a:pt x="413623" y="124933"/>
                    </a:cubicBezTo>
                    <a:cubicBezTo>
                      <a:pt x="413623" y="124933"/>
                      <a:pt x="413623" y="124933"/>
                      <a:pt x="413623" y="15706"/>
                    </a:cubicBezTo>
                    <a:cubicBezTo>
                      <a:pt x="413623" y="7853"/>
                      <a:pt x="420053" y="714"/>
                      <a:pt x="427911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66" name="Freeform 40">
                <a:extLst>
                  <a:ext uri="{FF2B5EF4-FFF2-40B4-BE49-F238E27FC236}">
                    <a16:creationId xmlns:a16="http://schemas.microsoft.com/office/drawing/2014/main" id="{159FEA4E-A285-4DD5-A308-6DCE7125D5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1025" y="3036888"/>
                <a:ext cx="869950" cy="896937"/>
              </a:xfrm>
              <a:custGeom>
                <a:avLst/>
                <a:gdLst>
                  <a:gd name="connsiteX0" fmla="*/ 15044 w 869950"/>
                  <a:gd name="connsiteY0" fmla="*/ 866775 h 896937"/>
                  <a:gd name="connsiteX1" fmla="*/ 90979 w 869950"/>
                  <a:gd name="connsiteY1" fmla="*/ 866775 h 896937"/>
                  <a:gd name="connsiteX2" fmla="*/ 106740 w 869950"/>
                  <a:gd name="connsiteY2" fmla="*/ 866775 h 896937"/>
                  <a:gd name="connsiteX3" fmla="*/ 122500 w 869950"/>
                  <a:gd name="connsiteY3" fmla="*/ 866775 h 896937"/>
                  <a:gd name="connsiteX4" fmla="*/ 136111 w 869950"/>
                  <a:gd name="connsiteY4" fmla="*/ 866775 h 896937"/>
                  <a:gd name="connsiteX5" fmla="*/ 440568 w 869950"/>
                  <a:gd name="connsiteY5" fmla="*/ 866775 h 896937"/>
                  <a:gd name="connsiteX6" fmla="*/ 454179 w 869950"/>
                  <a:gd name="connsiteY6" fmla="*/ 875894 h 896937"/>
                  <a:gd name="connsiteX7" fmla="*/ 455612 w 869950"/>
                  <a:gd name="connsiteY7" fmla="*/ 882207 h 896937"/>
                  <a:gd name="connsiteX8" fmla="*/ 455612 w 869950"/>
                  <a:gd name="connsiteY8" fmla="*/ 883610 h 896937"/>
                  <a:gd name="connsiteX9" fmla="*/ 454896 w 869950"/>
                  <a:gd name="connsiteY9" fmla="*/ 887117 h 896937"/>
                  <a:gd name="connsiteX10" fmla="*/ 445583 w 869950"/>
                  <a:gd name="connsiteY10" fmla="*/ 896236 h 896937"/>
                  <a:gd name="connsiteX11" fmla="*/ 444150 w 869950"/>
                  <a:gd name="connsiteY11" fmla="*/ 896937 h 896937"/>
                  <a:gd name="connsiteX12" fmla="*/ 443434 w 869950"/>
                  <a:gd name="connsiteY12" fmla="*/ 896937 h 896937"/>
                  <a:gd name="connsiteX13" fmla="*/ 440568 w 869950"/>
                  <a:gd name="connsiteY13" fmla="*/ 896937 h 896937"/>
                  <a:gd name="connsiteX14" fmla="*/ 106740 w 869950"/>
                  <a:gd name="connsiteY14" fmla="*/ 896937 h 896937"/>
                  <a:gd name="connsiteX15" fmla="*/ 90979 w 869950"/>
                  <a:gd name="connsiteY15" fmla="*/ 896937 h 896937"/>
                  <a:gd name="connsiteX16" fmla="*/ 15044 w 869950"/>
                  <a:gd name="connsiteY16" fmla="*/ 896937 h 896937"/>
                  <a:gd name="connsiteX17" fmla="*/ 14328 w 869950"/>
                  <a:gd name="connsiteY17" fmla="*/ 896937 h 896937"/>
                  <a:gd name="connsiteX18" fmla="*/ 0 w 869950"/>
                  <a:gd name="connsiteY18" fmla="*/ 882207 h 896937"/>
                  <a:gd name="connsiteX19" fmla="*/ 15044 w 869950"/>
                  <a:gd name="connsiteY19" fmla="*/ 866775 h 896937"/>
                  <a:gd name="connsiteX20" fmla="*/ 15044 w 869950"/>
                  <a:gd name="connsiteY20" fmla="*/ 763587 h 896937"/>
                  <a:gd name="connsiteX21" fmla="*/ 90979 w 869950"/>
                  <a:gd name="connsiteY21" fmla="*/ 763587 h 896937"/>
                  <a:gd name="connsiteX22" fmla="*/ 106740 w 869950"/>
                  <a:gd name="connsiteY22" fmla="*/ 763587 h 896937"/>
                  <a:gd name="connsiteX23" fmla="*/ 122500 w 869950"/>
                  <a:gd name="connsiteY23" fmla="*/ 763587 h 896937"/>
                  <a:gd name="connsiteX24" fmla="*/ 136111 w 869950"/>
                  <a:gd name="connsiteY24" fmla="*/ 763587 h 896937"/>
                  <a:gd name="connsiteX25" fmla="*/ 151871 w 869950"/>
                  <a:gd name="connsiteY25" fmla="*/ 763587 h 896937"/>
                  <a:gd name="connsiteX26" fmla="*/ 167631 w 869950"/>
                  <a:gd name="connsiteY26" fmla="*/ 763587 h 896937"/>
                  <a:gd name="connsiteX27" fmla="*/ 209181 w 869950"/>
                  <a:gd name="connsiteY27" fmla="*/ 763587 h 896937"/>
                  <a:gd name="connsiteX28" fmla="*/ 266490 w 869950"/>
                  <a:gd name="connsiteY28" fmla="*/ 763587 h 896937"/>
                  <a:gd name="connsiteX29" fmla="*/ 282250 w 869950"/>
                  <a:gd name="connsiteY29" fmla="*/ 763587 h 896937"/>
                  <a:gd name="connsiteX30" fmla="*/ 298011 w 869950"/>
                  <a:gd name="connsiteY30" fmla="*/ 763587 h 896937"/>
                  <a:gd name="connsiteX31" fmla="*/ 313771 w 869950"/>
                  <a:gd name="connsiteY31" fmla="*/ 763587 h 896937"/>
                  <a:gd name="connsiteX32" fmla="*/ 440568 w 869950"/>
                  <a:gd name="connsiteY32" fmla="*/ 763587 h 896937"/>
                  <a:gd name="connsiteX33" fmla="*/ 450598 w 869950"/>
                  <a:gd name="connsiteY33" fmla="*/ 767917 h 896937"/>
                  <a:gd name="connsiteX34" fmla="*/ 452030 w 869950"/>
                  <a:gd name="connsiteY34" fmla="*/ 769360 h 896937"/>
                  <a:gd name="connsiteX35" fmla="*/ 454179 w 869950"/>
                  <a:gd name="connsiteY35" fmla="*/ 772246 h 896937"/>
                  <a:gd name="connsiteX36" fmla="*/ 455612 w 869950"/>
                  <a:gd name="connsiteY36" fmla="*/ 778019 h 896937"/>
                  <a:gd name="connsiteX37" fmla="*/ 455612 w 869950"/>
                  <a:gd name="connsiteY37" fmla="*/ 779462 h 896937"/>
                  <a:gd name="connsiteX38" fmla="*/ 455612 w 869950"/>
                  <a:gd name="connsiteY38" fmla="*/ 782348 h 896937"/>
                  <a:gd name="connsiteX39" fmla="*/ 454896 w 869950"/>
                  <a:gd name="connsiteY39" fmla="*/ 783792 h 896937"/>
                  <a:gd name="connsiteX40" fmla="*/ 454896 w 869950"/>
                  <a:gd name="connsiteY40" fmla="*/ 784513 h 896937"/>
                  <a:gd name="connsiteX41" fmla="*/ 447732 w 869950"/>
                  <a:gd name="connsiteY41" fmla="*/ 793894 h 896937"/>
                  <a:gd name="connsiteX42" fmla="*/ 445583 w 869950"/>
                  <a:gd name="connsiteY42" fmla="*/ 794616 h 896937"/>
                  <a:gd name="connsiteX43" fmla="*/ 444867 w 869950"/>
                  <a:gd name="connsiteY43" fmla="*/ 794616 h 896937"/>
                  <a:gd name="connsiteX44" fmla="*/ 443434 w 869950"/>
                  <a:gd name="connsiteY44" fmla="*/ 795337 h 896937"/>
                  <a:gd name="connsiteX45" fmla="*/ 440568 w 869950"/>
                  <a:gd name="connsiteY45" fmla="*/ 795337 h 896937"/>
                  <a:gd name="connsiteX46" fmla="*/ 287981 w 869950"/>
                  <a:gd name="connsiteY46" fmla="*/ 795337 h 896937"/>
                  <a:gd name="connsiteX47" fmla="*/ 270072 w 869950"/>
                  <a:gd name="connsiteY47" fmla="*/ 795337 h 896937"/>
                  <a:gd name="connsiteX48" fmla="*/ 167631 w 869950"/>
                  <a:gd name="connsiteY48" fmla="*/ 795337 h 896937"/>
                  <a:gd name="connsiteX49" fmla="*/ 151871 w 869950"/>
                  <a:gd name="connsiteY49" fmla="*/ 795337 h 896937"/>
                  <a:gd name="connsiteX50" fmla="*/ 136111 w 869950"/>
                  <a:gd name="connsiteY50" fmla="*/ 795337 h 896937"/>
                  <a:gd name="connsiteX51" fmla="*/ 122500 w 869950"/>
                  <a:gd name="connsiteY51" fmla="*/ 795337 h 896937"/>
                  <a:gd name="connsiteX52" fmla="*/ 106740 w 869950"/>
                  <a:gd name="connsiteY52" fmla="*/ 795337 h 896937"/>
                  <a:gd name="connsiteX53" fmla="*/ 90979 w 869950"/>
                  <a:gd name="connsiteY53" fmla="*/ 795337 h 896937"/>
                  <a:gd name="connsiteX54" fmla="*/ 15044 w 869950"/>
                  <a:gd name="connsiteY54" fmla="*/ 795337 h 896937"/>
                  <a:gd name="connsiteX55" fmla="*/ 0 w 869950"/>
                  <a:gd name="connsiteY55" fmla="*/ 779462 h 896937"/>
                  <a:gd name="connsiteX56" fmla="*/ 15044 w 869950"/>
                  <a:gd name="connsiteY56" fmla="*/ 763587 h 896937"/>
                  <a:gd name="connsiteX57" fmla="*/ 601663 w 869950"/>
                  <a:gd name="connsiteY57" fmla="*/ 741362 h 896937"/>
                  <a:gd name="connsiteX58" fmla="*/ 646907 w 869950"/>
                  <a:gd name="connsiteY58" fmla="*/ 741362 h 896937"/>
                  <a:gd name="connsiteX59" fmla="*/ 660552 w 869950"/>
                  <a:gd name="connsiteY59" fmla="*/ 750481 h 896937"/>
                  <a:gd name="connsiteX60" fmla="*/ 661988 w 869950"/>
                  <a:gd name="connsiteY60" fmla="*/ 756794 h 896937"/>
                  <a:gd name="connsiteX61" fmla="*/ 661270 w 869950"/>
                  <a:gd name="connsiteY61" fmla="*/ 761704 h 896937"/>
                  <a:gd name="connsiteX62" fmla="*/ 646907 w 869950"/>
                  <a:gd name="connsiteY62" fmla="*/ 771524 h 896937"/>
                  <a:gd name="connsiteX63" fmla="*/ 601663 w 869950"/>
                  <a:gd name="connsiteY63" fmla="*/ 771524 h 896937"/>
                  <a:gd name="connsiteX64" fmla="*/ 601663 w 869950"/>
                  <a:gd name="connsiteY64" fmla="*/ 761704 h 896937"/>
                  <a:gd name="connsiteX65" fmla="*/ 601663 w 869950"/>
                  <a:gd name="connsiteY65" fmla="*/ 750481 h 896937"/>
                  <a:gd name="connsiteX66" fmla="*/ 601663 w 869950"/>
                  <a:gd name="connsiteY66" fmla="*/ 741362 h 896937"/>
                  <a:gd name="connsiteX67" fmla="*/ 15044 w 869950"/>
                  <a:gd name="connsiteY67" fmla="*/ 661987 h 896937"/>
                  <a:gd name="connsiteX68" fmla="*/ 90979 w 869950"/>
                  <a:gd name="connsiteY68" fmla="*/ 661987 h 896937"/>
                  <a:gd name="connsiteX69" fmla="*/ 106740 w 869950"/>
                  <a:gd name="connsiteY69" fmla="*/ 661987 h 896937"/>
                  <a:gd name="connsiteX70" fmla="*/ 122500 w 869950"/>
                  <a:gd name="connsiteY70" fmla="*/ 661987 h 896937"/>
                  <a:gd name="connsiteX71" fmla="*/ 136111 w 869950"/>
                  <a:gd name="connsiteY71" fmla="*/ 661987 h 896937"/>
                  <a:gd name="connsiteX72" fmla="*/ 151871 w 869950"/>
                  <a:gd name="connsiteY72" fmla="*/ 661987 h 896937"/>
                  <a:gd name="connsiteX73" fmla="*/ 167631 w 869950"/>
                  <a:gd name="connsiteY73" fmla="*/ 661987 h 896937"/>
                  <a:gd name="connsiteX74" fmla="*/ 209181 w 869950"/>
                  <a:gd name="connsiteY74" fmla="*/ 661987 h 896937"/>
                  <a:gd name="connsiteX75" fmla="*/ 266490 w 869950"/>
                  <a:gd name="connsiteY75" fmla="*/ 661987 h 896937"/>
                  <a:gd name="connsiteX76" fmla="*/ 282250 w 869950"/>
                  <a:gd name="connsiteY76" fmla="*/ 661987 h 896937"/>
                  <a:gd name="connsiteX77" fmla="*/ 298011 w 869950"/>
                  <a:gd name="connsiteY77" fmla="*/ 661987 h 896937"/>
                  <a:gd name="connsiteX78" fmla="*/ 313771 w 869950"/>
                  <a:gd name="connsiteY78" fmla="*/ 661987 h 896937"/>
                  <a:gd name="connsiteX79" fmla="*/ 329531 w 869950"/>
                  <a:gd name="connsiteY79" fmla="*/ 661987 h 896937"/>
                  <a:gd name="connsiteX80" fmla="*/ 343142 w 869950"/>
                  <a:gd name="connsiteY80" fmla="*/ 661987 h 896937"/>
                  <a:gd name="connsiteX81" fmla="*/ 358902 w 869950"/>
                  <a:gd name="connsiteY81" fmla="*/ 661987 h 896937"/>
                  <a:gd name="connsiteX82" fmla="*/ 374662 w 869950"/>
                  <a:gd name="connsiteY82" fmla="*/ 661987 h 896937"/>
                  <a:gd name="connsiteX83" fmla="*/ 440568 w 869950"/>
                  <a:gd name="connsiteY83" fmla="*/ 661987 h 896937"/>
                  <a:gd name="connsiteX84" fmla="*/ 454179 w 869950"/>
                  <a:gd name="connsiteY84" fmla="*/ 670404 h 896937"/>
                  <a:gd name="connsiteX85" fmla="*/ 455612 w 869950"/>
                  <a:gd name="connsiteY85" fmla="*/ 677419 h 896937"/>
                  <a:gd name="connsiteX86" fmla="*/ 440568 w 869950"/>
                  <a:gd name="connsiteY86" fmla="*/ 692149 h 896937"/>
                  <a:gd name="connsiteX87" fmla="*/ 374662 w 869950"/>
                  <a:gd name="connsiteY87" fmla="*/ 692149 h 896937"/>
                  <a:gd name="connsiteX88" fmla="*/ 358902 w 869950"/>
                  <a:gd name="connsiteY88" fmla="*/ 692149 h 896937"/>
                  <a:gd name="connsiteX89" fmla="*/ 343142 w 869950"/>
                  <a:gd name="connsiteY89" fmla="*/ 692149 h 896937"/>
                  <a:gd name="connsiteX90" fmla="*/ 329531 w 869950"/>
                  <a:gd name="connsiteY90" fmla="*/ 692149 h 896937"/>
                  <a:gd name="connsiteX91" fmla="*/ 313771 w 869950"/>
                  <a:gd name="connsiteY91" fmla="*/ 692149 h 896937"/>
                  <a:gd name="connsiteX92" fmla="*/ 298011 w 869950"/>
                  <a:gd name="connsiteY92" fmla="*/ 692149 h 896937"/>
                  <a:gd name="connsiteX93" fmla="*/ 282250 w 869950"/>
                  <a:gd name="connsiteY93" fmla="*/ 692149 h 896937"/>
                  <a:gd name="connsiteX94" fmla="*/ 266490 w 869950"/>
                  <a:gd name="connsiteY94" fmla="*/ 692149 h 896937"/>
                  <a:gd name="connsiteX95" fmla="*/ 167631 w 869950"/>
                  <a:gd name="connsiteY95" fmla="*/ 692149 h 896937"/>
                  <a:gd name="connsiteX96" fmla="*/ 151871 w 869950"/>
                  <a:gd name="connsiteY96" fmla="*/ 692149 h 896937"/>
                  <a:gd name="connsiteX97" fmla="*/ 136111 w 869950"/>
                  <a:gd name="connsiteY97" fmla="*/ 692149 h 896937"/>
                  <a:gd name="connsiteX98" fmla="*/ 122500 w 869950"/>
                  <a:gd name="connsiteY98" fmla="*/ 692149 h 896937"/>
                  <a:gd name="connsiteX99" fmla="*/ 106740 w 869950"/>
                  <a:gd name="connsiteY99" fmla="*/ 692149 h 896937"/>
                  <a:gd name="connsiteX100" fmla="*/ 90979 w 869950"/>
                  <a:gd name="connsiteY100" fmla="*/ 692149 h 896937"/>
                  <a:gd name="connsiteX101" fmla="*/ 15044 w 869950"/>
                  <a:gd name="connsiteY101" fmla="*/ 692149 h 896937"/>
                  <a:gd name="connsiteX102" fmla="*/ 0 w 869950"/>
                  <a:gd name="connsiteY102" fmla="*/ 677419 h 896937"/>
                  <a:gd name="connsiteX103" fmla="*/ 15044 w 869950"/>
                  <a:gd name="connsiteY103" fmla="*/ 661987 h 896937"/>
                  <a:gd name="connsiteX104" fmla="*/ 601663 w 869950"/>
                  <a:gd name="connsiteY104" fmla="*/ 638175 h 896937"/>
                  <a:gd name="connsiteX105" fmla="*/ 646907 w 869950"/>
                  <a:gd name="connsiteY105" fmla="*/ 638175 h 896937"/>
                  <a:gd name="connsiteX106" fmla="*/ 660552 w 869950"/>
                  <a:gd name="connsiteY106" fmla="*/ 646834 h 896937"/>
                  <a:gd name="connsiteX107" fmla="*/ 661988 w 869950"/>
                  <a:gd name="connsiteY107" fmla="*/ 654050 h 896937"/>
                  <a:gd name="connsiteX108" fmla="*/ 646907 w 869950"/>
                  <a:gd name="connsiteY108" fmla="*/ 669925 h 896937"/>
                  <a:gd name="connsiteX109" fmla="*/ 601663 w 869950"/>
                  <a:gd name="connsiteY109" fmla="*/ 669925 h 896937"/>
                  <a:gd name="connsiteX110" fmla="*/ 601663 w 869950"/>
                  <a:gd name="connsiteY110" fmla="*/ 646834 h 896937"/>
                  <a:gd name="connsiteX111" fmla="*/ 601663 w 869950"/>
                  <a:gd name="connsiteY111" fmla="*/ 638175 h 896937"/>
                  <a:gd name="connsiteX112" fmla="*/ 808038 w 869950"/>
                  <a:gd name="connsiteY112" fmla="*/ 615950 h 896937"/>
                  <a:gd name="connsiteX113" fmla="*/ 853926 w 869950"/>
                  <a:gd name="connsiteY113" fmla="*/ 615950 h 896937"/>
                  <a:gd name="connsiteX114" fmla="*/ 869950 w 869950"/>
                  <a:gd name="connsiteY114" fmla="*/ 631456 h 896937"/>
                  <a:gd name="connsiteX115" fmla="*/ 853926 w 869950"/>
                  <a:gd name="connsiteY115" fmla="*/ 647700 h 896937"/>
                  <a:gd name="connsiteX116" fmla="*/ 808038 w 869950"/>
                  <a:gd name="connsiteY116" fmla="*/ 647700 h 896937"/>
                  <a:gd name="connsiteX117" fmla="*/ 808038 w 869950"/>
                  <a:gd name="connsiteY117" fmla="*/ 615950 h 896937"/>
                  <a:gd name="connsiteX118" fmla="*/ 15044 w 869950"/>
                  <a:gd name="connsiteY118" fmla="*/ 558800 h 896937"/>
                  <a:gd name="connsiteX119" fmla="*/ 90979 w 869950"/>
                  <a:gd name="connsiteY119" fmla="*/ 558800 h 896937"/>
                  <a:gd name="connsiteX120" fmla="*/ 106740 w 869950"/>
                  <a:gd name="connsiteY120" fmla="*/ 558800 h 896937"/>
                  <a:gd name="connsiteX121" fmla="*/ 122500 w 869950"/>
                  <a:gd name="connsiteY121" fmla="*/ 558800 h 896937"/>
                  <a:gd name="connsiteX122" fmla="*/ 136111 w 869950"/>
                  <a:gd name="connsiteY122" fmla="*/ 558800 h 896937"/>
                  <a:gd name="connsiteX123" fmla="*/ 151871 w 869950"/>
                  <a:gd name="connsiteY123" fmla="*/ 558800 h 896937"/>
                  <a:gd name="connsiteX124" fmla="*/ 167631 w 869950"/>
                  <a:gd name="connsiteY124" fmla="*/ 558800 h 896937"/>
                  <a:gd name="connsiteX125" fmla="*/ 209181 w 869950"/>
                  <a:gd name="connsiteY125" fmla="*/ 558800 h 896937"/>
                  <a:gd name="connsiteX126" fmla="*/ 266490 w 869950"/>
                  <a:gd name="connsiteY126" fmla="*/ 558800 h 896937"/>
                  <a:gd name="connsiteX127" fmla="*/ 282250 w 869950"/>
                  <a:gd name="connsiteY127" fmla="*/ 558800 h 896937"/>
                  <a:gd name="connsiteX128" fmla="*/ 298011 w 869950"/>
                  <a:gd name="connsiteY128" fmla="*/ 558800 h 896937"/>
                  <a:gd name="connsiteX129" fmla="*/ 313771 w 869950"/>
                  <a:gd name="connsiteY129" fmla="*/ 558800 h 896937"/>
                  <a:gd name="connsiteX130" fmla="*/ 329531 w 869950"/>
                  <a:gd name="connsiteY130" fmla="*/ 558800 h 896937"/>
                  <a:gd name="connsiteX131" fmla="*/ 343142 w 869950"/>
                  <a:gd name="connsiteY131" fmla="*/ 558800 h 896937"/>
                  <a:gd name="connsiteX132" fmla="*/ 358902 w 869950"/>
                  <a:gd name="connsiteY132" fmla="*/ 558800 h 896937"/>
                  <a:gd name="connsiteX133" fmla="*/ 374662 w 869950"/>
                  <a:gd name="connsiteY133" fmla="*/ 558800 h 896937"/>
                  <a:gd name="connsiteX134" fmla="*/ 440568 w 869950"/>
                  <a:gd name="connsiteY134" fmla="*/ 558800 h 896937"/>
                  <a:gd name="connsiteX135" fmla="*/ 454179 w 869950"/>
                  <a:gd name="connsiteY135" fmla="*/ 567418 h 896937"/>
                  <a:gd name="connsiteX136" fmla="*/ 455612 w 869950"/>
                  <a:gd name="connsiteY136" fmla="*/ 573881 h 896937"/>
                  <a:gd name="connsiteX137" fmla="*/ 440568 w 869950"/>
                  <a:gd name="connsiteY137" fmla="*/ 588962 h 896937"/>
                  <a:gd name="connsiteX138" fmla="*/ 374662 w 869950"/>
                  <a:gd name="connsiteY138" fmla="*/ 588962 h 896937"/>
                  <a:gd name="connsiteX139" fmla="*/ 358902 w 869950"/>
                  <a:gd name="connsiteY139" fmla="*/ 588962 h 896937"/>
                  <a:gd name="connsiteX140" fmla="*/ 343142 w 869950"/>
                  <a:gd name="connsiteY140" fmla="*/ 588962 h 896937"/>
                  <a:gd name="connsiteX141" fmla="*/ 329531 w 869950"/>
                  <a:gd name="connsiteY141" fmla="*/ 588962 h 896937"/>
                  <a:gd name="connsiteX142" fmla="*/ 313771 w 869950"/>
                  <a:gd name="connsiteY142" fmla="*/ 588962 h 896937"/>
                  <a:gd name="connsiteX143" fmla="*/ 298011 w 869950"/>
                  <a:gd name="connsiteY143" fmla="*/ 588962 h 896937"/>
                  <a:gd name="connsiteX144" fmla="*/ 282250 w 869950"/>
                  <a:gd name="connsiteY144" fmla="*/ 588962 h 896937"/>
                  <a:gd name="connsiteX145" fmla="*/ 266490 w 869950"/>
                  <a:gd name="connsiteY145" fmla="*/ 588962 h 896937"/>
                  <a:gd name="connsiteX146" fmla="*/ 167631 w 869950"/>
                  <a:gd name="connsiteY146" fmla="*/ 588962 h 896937"/>
                  <a:gd name="connsiteX147" fmla="*/ 151871 w 869950"/>
                  <a:gd name="connsiteY147" fmla="*/ 588962 h 896937"/>
                  <a:gd name="connsiteX148" fmla="*/ 136111 w 869950"/>
                  <a:gd name="connsiteY148" fmla="*/ 588962 h 896937"/>
                  <a:gd name="connsiteX149" fmla="*/ 122500 w 869950"/>
                  <a:gd name="connsiteY149" fmla="*/ 588962 h 896937"/>
                  <a:gd name="connsiteX150" fmla="*/ 106740 w 869950"/>
                  <a:gd name="connsiteY150" fmla="*/ 588962 h 896937"/>
                  <a:gd name="connsiteX151" fmla="*/ 90979 w 869950"/>
                  <a:gd name="connsiteY151" fmla="*/ 588962 h 896937"/>
                  <a:gd name="connsiteX152" fmla="*/ 15044 w 869950"/>
                  <a:gd name="connsiteY152" fmla="*/ 588962 h 896937"/>
                  <a:gd name="connsiteX153" fmla="*/ 0 w 869950"/>
                  <a:gd name="connsiteY153" fmla="*/ 573881 h 896937"/>
                  <a:gd name="connsiteX154" fmla="*/ 15044 w 869950"/>
                  <a:gd name="connsiteY154" fmla="*/ 558800 h 896937"/>
                  <a:gd name="connsiteX155" fmla="*/ 601663 w 869950"/>
                  <a:gd name="connsiteY155" fmla="*/ 536575 h 896937"/>
                  <a:gd name="connsiteX156" fmla="*/ 646907 w 869950"/>
                  <a:gd name="connsiteY156" fmla="*/ 536575 h 896937"/>
                  <a:gd name="connsiteX157" fmla="*/ 660552 w 869950"/>
                  <a:gd name="connsiteY157" fmla="*/ 544992 h 896937"/>
                  <a:gd name="connsiteX158" fmla="*/ 661988 w 869950"/>
                  <a:gd name="connsiteY158" fmla="*/ 552007 h 896937"/>
                  <a:gd name="connsiteX159" fmla="*/ 646907 w 869950"/>
                  <a:gd name="connsiteY159" fmla="*/ 566737 h 896937"/>
                  <a:gd name="connsiteX160" fmla="*/ 601663 w 869950"/>
                  <a:gd name="connsiteY160" fmla="*/ 566737 h 896937"/>
                  <a:gd name="connsiteX161" fmla="*/ 601663 w 869950"/>
                  <a:gd name="connsiteY161" fmla="*/ 544992 h 896937"/>
                  <a:gd name="connsiteX162" fmla="*/ 601663 w 869950"/>
                  <a:gd name="connsiteY162" fmla="*/ 536575 h 896937"/>
                  <a:gd name="connsiteX163" fmla="*/ 808038 w 869950"/>
                  <a:gd name="connsiteY163" fmla="*/ 512762 h 896937"/>
                  <a:gd name="connsiteX164" fmla="*/ 853926 w 869950"/>
                  <a:gd name="connsiteY164" fmla="*/ 512762 h 896937"/>
                  <a:gd name="connsiteX165" fmla="*/ 869950 w 869950"/>
                  <a:gd name="connsiteY165" fmla="*/ 528637 h 896937"/>
                  <a:gd name="connsiteX166" fmla="*/ 853926 w 869950"/>
                  <a:gd name="connsiteY166" fmla="*/ 544512 h 896937"/>
                  <a:gd name="connsiteX167" fmla="*/ 808038 w 869950"/>
                  <a:gd name="connsiteY167" fmla="*/ 544512 h 896937"/>
                  <a:gd name="connsiteX168" fmla="*/ 808038 w 869950"/>
                  <a:gd name="connsiteY168" fmla="*/ 512762 h 896937"/>
                  <a:gd name="connsiteX169" fmla="*/ 15044 w 869950"/>
                  <a:gd name="connsiteY169" fmla="*/ 455612 h 896937"/>
                  <a:gd name="connsiteX170" fmla="*/ 90979 w 869950"/>
                  <a:gd name="connsiteY170" fmla="*/ 455612 h 896937"/>
                  <a:gd name="connsiteX171" fmla="*/ 106740 w 869950"/>
                  <a:gd name="connsiteY171" fmla="*/ 455612 h 896937"/>
                  <a:gd name="connsiteX172" fmla="*/ 122500 w 869950"/>
                  <a:gd name="connsiteY172" fmla="*/ 455612 h 896937"/>
                  <a:gd name="connsiteX173" fmla="*/ 136111 w 869950"/>
                  <a:gd name="connsiteY173" fmla="*/ 455612 h 896937"/>
                  <a:gd name="connsiteX174" fmla="*/ 151871 w 869950"/>
                  <a:gd name="connsiteY174" fmla="*/ 455612 h 896937"/>
                  <a:gd name="connsiteX175" fmla="*/ 167631 w 869950"/>
                  <a:gd name="connsiteY175" fmla="*/ 455612 h 896937"/>
                  <a:gd name="connsiteX176" fmla="*/ 208464 w 869950"/>
                  <a:gd name="connsiteY176" fmla="*/ 455612 h 896937"/>
                  <a:gd name="connsiteX177" fmla="*/ 266490 w 869950"/>
                  <a:gd name="connsiteY177" fmla="*/ 455612 h 896937"/>
                  <a:gd name="connsiteX178" fmla="*/ 282250 w 869950"/>
                  <a:gd name="connsiteY178" fmla="*/ 455612 h 896937"/>
                  <a:gd name="connsiteX179" fmla="*/ 298011 w 869950"/>
                  <a:gd name="connsiteY179" fmla="*/ 455612 h 896937"/>
                  <a:gd name="connsiteX180" fmla="*/ 313771 w 869950"/>
                  <a:gd name="connsiteY180" fmla="*/ 455612 h 896937"/>
                  <a:gd name="connsiteX181" fmla="*/ 329531 w 869950"/>
                  <a:gd name="connsiteY181" fmla="*/ 455612 h 896937"/>
                  <a:gd name="connsiteX182" fmla="*/ 343142 w 869950"/>
                  <a:gd name="connsiteY182" fmla="*/ 455612 h 896937"/>
                  <a:gd name="connsiteX183" fmla="*/ 358902 w 869950"/>
                  <a:gd name="connsiteY183" fmla="*/ 455612 h 896937"/>
                  <a:gd name="connsiteX184" fmla="*/ 374662 w 869950"/>
                  <a:gd name="connsiteY184" fmla="*/ 455612 h 896937"/>
                  <a:gd name="connsiteX185" fmla="*/ 440568 w 869950"/>
                  <a:gd name="connsiteY185" fmla="*/ 455612 h 896937"/>
                  <a:gd name="connsiteX186" fmla="*/ 454179 w 869950"/>
                  <a:gd name="connsiteY186" fmla="*/ 464029 h 896937"/>
                  <a:gd name="connsiteX187" fmla="*/ 455612 w 869950"/>
                  <a:gd name="connsiteY187" fmla="*/ 471044 h 896937"/>
                  <a:gd name="connsiteX188" fmla="*/ 440568 w 869950"/>
                  <a:gd name="connsiteY188" fmla="*/ 485774 h 896937"/>
                  <a:gd name="connsiteX189" fmla="*/ 374662 w 869950"/>
                  <a:gd name="connsiteY189" fmla="*/ 485774 h 896937"/>
                  <a:gd name="connsiteX190" fmla="*/ 358902 w 869950"/>
                  <a:gd name="connsiteY190" fmla="*/ 485774 h 896937"/>
                  <a:gd name="connsiteX191" fmla="*/ 343142 w 869950"/>
                  <a:gd name="connsiteY191" fmla="*/ 485774 h 896937"/>
                  <a:gd name="connsiteX192" fmla="*/ 329531 w 869950"/>
                  <a:gd name="connsiteY192" fmla="*/ 485774 h 896937"/>
                  <a:gd name="connsiteX193" fmla="*/ 313771 w 869950"/>
                  <a:gd name="connsiteY193" fmla="*/ 485774 h 896937"/>
                  <a:gd name="connsiteX194" fmla="*/ 298011 w 869950"/>
                  <a:gd name="connsiteY194" fmla="*/ 485774 h 896937"/>
                  <a:gd name="connsiteX195" fmla="*/ 282250 w 869950"/>
                  <a:gd name="connsiteY195" fmla="*/ 485774 h 896937"/>
                  <a:gd name="connsiteX196" fmla="*/ 266490 w 869950"/>
                  <a:gd name="connsiteY196" fmla="*/ 485774 h 896937"/>
                  <a:gd name="connsiteX197" fmla="*/ 167631 w 869950"/>
                  <a:gd name="connsiteY197" fmla="*/ 485774 h 896937"/>
                  <a:gd name="connsiteX198" fmla="*/ 151871 w 869950"/>
                  <a:gd name="connsiteY198" fmla="*/ 485774 h 896937"/>
                  <a:gd name="connsiteX199" fmla="*/ 136111 w 869950"/>
                  <a:gd name="connsiteY199" fmla="*/ 485774 h 896937"/>
                  <a:gd name="connsiteX200" fmla="*/ 122500 w 869950"/>
                  <a:gd name="connsiteY200" fmla="*/ 485774 h 896937"/>
                  <a:gd name="connsiteX201" fmla="*/ 106740 w 869950"/>
                  <a:gd name="connsiteY201" fmla="*/ 485774 h 896937"/>
                  <a:gd name="connsiteX202" fmla="*/ 90979 w 869950"/>
                  <a:gd name="connsiteY202" fmla="*/ 485774 h 896937"/>
                  <a:gd name="connsiteX203" fmla="*/ 15044 w 869950"/>
                  <a:gd name="connsiteY203" fmla="*/ 485774 h 896937"/>
                  <a:gd name="connsiteX204" fmla="*/ 0 w 869950"/>
                  <a:gd name="connsiteY204" fmla="*/ 471044 h 896937"/>
                  <a:gd name="connsiteX205" fmla="*/ 15044 w 869950"/>
                  <a:gd name="connsiteY205" fmla="*/ 455612 h 896937"/>
                  <a:gd name="connsiteX206" fmla="*/ 601663 w 869950"/>
                  <a:gd name="connsiteY206" fmla="*/ 433387 h 896937"/>
                  <a:gd name="connsiteX207" fmla="*/ 646907 w 869950"/>
                  <a:gd name="connsiteY207" fmla="*/ 433387 h 896937"/>
                  <a:gd name="connsiteX208" fmla="*/ 660552 w 869950"/>
                  <a:gd name="connsiteY208" fmla="*/ 442005 h 896937"/>
                  <a:gd name="connsiteX209" fmla="*/ 661988 w 869950"/>
                  <a:gd name="connsiteY209" fmla="*/ 448468 h 896937"/>
                  <a:gd name="connsiteX210" fmla="*/ 646907 w 869950"/>
                  <a:gd name="connsiteY210" fmla="*/ 463549 h 896937"/>
                  <a:gd name="connsiteX211" fmla="*/ 601663 w 869950"/>
                  <a:gd name="connsiteY211" fmla="*/ 463549 h 896937"/>
                  <a:gd name="connsiteX212" fmla="*/ 601663 w 869950"/>
                  <a:gd name="connsiteY212" fmla="*/ 442005 h 896937"/>
                  <a:gd name="connsiteX213" fmla="*/ 601663 w 869950"/>
                  <a:gd name="connsiteY213" fmla="*/ 433387 h 896937"/>
                  <a:gd name="connsiteX214" fmla="*/ 808038 w 869950"/>
                  <a:gd name="connsiteY214" fmla="*/ 411162 h 896937"/>
                  <a:gd name="connsiteX215" fmla="*/ 853926 w 869950"/>
                  <a:gd name="connsiteY215" fmla="*/ 411162 h 896937"/>
                  <a:gd name="connsiteX216" fmla="*/ 869950 w 869950"/>
                  <a:gd name="connsiteY216" fmla="*/ 425892 h 896937"/>
                  <a:gd name="connsiteX217" fmla="*/ 853926 w 869950"/>
                  <a:gd name="connsiteY217" fmla="*/ 441324 h 896937"/>
                  <a:gd name="connsiteX218" fmla="*/ 808038 w 869950"/>
                  <a:gd name="connsiteY218" fmla="*/ 441324 h 896937"/>
                  <a:gd name="connsiteX219" fmla="*/ 808038 w 869950"/>
                  <a:gd name="connsiteY219" fmla="*/ 411162 h 896937"/>
                  <a:gd name="connsiteX220" fmla="*/ 15044 w 869950"/>
                  <a:gd name="connsiteY220" fmla="*/ 352425 h 896937"/>
                  <a:gd name="connsiteX221" fmla="*/ 90979 w 869950"/>
                  <a:gd name="connsiteY221" fmla="*/ 352425 h 896937"/>
                  <a:gd name="connsiteX222" fmla="*/ 106740 w 869950"/>
                  <a:gd name="connsiteY222" fmla="*/ 352425 h 896937"/>
                  <a:gd name="connsiteX223" fmla="*/ 122500 w 869950"/>
                  <a:gd name="connsiteY223" fmla="*/ 352425 h 896937"/>
                  <a:gd name="connsiteX224" fmla="*/ 136111 w 869950"/>
                  <a:gd name="connsiteY224" fmla="*/ 352425 h 896937"/>
                  <a:gd name="connsiteX225" fmla="*/ 151871 w 869950"/>
                  <a:gd name="connsiteY225" fmla="*/ 352425 h 896937"/>
                  <a:gd name="connsiteX226" fmla="*/ 167631 w 869950"/>
                  <a:gd name="connsiteY226" fmla="*/ 352425 h 896937"/>
                  <a:gd name="connsiteX227" fmla="*/ 209181 w 869950"/>
                  <a:gd name="connsiteY227" fmla="*/ 352425 h 896937"/>
                  <a:gd name="connsiteX228" fmla="*/ 266490 w 869950"/>
                  <a:gd name="connsiteY228" fmla="*/ 352425 h 896937"/>
                  <a:gd name="connsiteX229" fmla="*/ 282250 w 869950"/>
                  <a:gd name="connsiteY229" fmla="*/ 352425 h 896937"/>
                  <a:gd name="connsiteX230" fmla="*/ 298011 w 869950"/>
                  <a:gd name="connsiteY230" fmla="*/ 352425 h 896937"/>
                  <a:gd name="connsiteX231" fmla="*/ 313771 w 869950"/>
                  <a:gd name="connsiteY231" fmla="*/ 352425 h 896937"/>
                  <a:gd name="connsiteX232" fmla="*/ 329531 w 869950"/>
                  <a:gd name="connsiteY232" fmla="*/ 352425 h 896937"/>
                  <a:gd name="connsiteX233" fmla="*/ 343142 w 869950"/>
                  <a:gd name="connsiteY233" fmla="*/ 352425 h 896937"/>
                  <a:gd name="connsiteX234" fmla="*/ 358902 w 869950"/>
                  <a:gd name="connsiteY234" fmla="*/ 352425 h 896937"/>
                  <a:gd name="connsiteX235" fmla="*/ 374662 w 869950"/>
                  <a:gd name="connsiteY235" fmla="*/ 352425 h 896937"/>
                  <a:gd name="connsiteX236" fmla="*/ 440568 w 869950"/>
                  <a:gd name="connsiteY236" fmla="*/ 352425 h 896937"/>
                  <a:gd name="connsiteX237" fmla="*/ 454179 w 869950"/>
                  <a:gd name="connsiteY237" fmla="*/ 361084 h 896937"/>
                  <a:gd name="connsiteX238" fmla="*/ 455612 w 869950"/>
                  <a:gd name="connsiteY238" fmla="*/ 368300 h 896937"/>
                  <a:gd name="connsiteX239" fmla="*/ 440568 w 869950"/>
                  <a:gd name="connsiteY239" fmla="*/ 384175 h 896937"/>
                  <a:gd name="connsiteX240" fmla="*/ 374662 w 869950"/>
                  <a:gd name="connsiteY240" fmla="*/ 384175 h 896937"/>
                  <a:gd name="connsiteX241" fmla="*/ 358902 w 869950"/>
                  <a:gd name="connsiteY241" fmla="*/ 384175 h 896937"/>
                  <a:gd name="connsiteX242" fmla="*/ 343142 w 869950"/>
                  <a:gd name="connsiteY242" fmla="*/ 384175 h 896937"/>
                  <a:gd name="connsiteX243" fmla="*/ 329531 w 869950"/>
                  <a:gd name="connsiteY243" fmla="*/ 384175 h 896937"/>
                  <a:gd name="connsiteX244" fmla="*/ 313771 w 869950"/>
                  <a:gd name="connsiteY244" fmla="*/ 384175 h 896937"/>
                  <a:gd name="connsiteX245" fmla="*/ 298011 w 869950"/>
                  <a:gd name="connsiteY245" fmla="*/ 384175 h 896937"/>
                  <a:gd name="connsiteX246" fmla="*/ 282250 w 869950"/>
                  <a:gd name="connsiteY246" fmla="*/ 384175 h 896937"/>
                  <a:gd name="connsiteX247" fmla="*/ 266490 w 869950"/>
                  <a:gd name="connsiteY247" fmla="*/ 384175 h 896937"/>
                  <a:gd name="connsiteX248" fmla="*/ 167631 w 869950"/>
                  <a:gd name="connsiteY248" fmla="*/ 384175 h 896937"/>
                  <a:gd name="connsiteX249" fmla="*/ 151871 w 869950"/>
                  <a:gd name="connsiteY249" fmla="*/ 384175 h 896937"/>
                  <a:gd name="connsiteX250" fmla="*/ 136111 w 869950"/>
                  <a:gd name="connsiteY250" fmla="*/ 384175 h 896937"/>
                  <a:gd name="connsiteX251" fmla="*/ 122500 w 869950"/>
                  <a:gd name="connsiteY251" fmla="*/ 384175 h 896937"/>
                  <a:gd name="connsiteX252" fmla="*/ 106740 w 869950"/>
                  <a:gd name="connsiteY252" fmla="*/ 384175 h 896937"/>
                  <a:gd name="connsiteX253" fmla="*/ 90979 w 869950"/>
                  <a:gd name="connsiteY253" fmla="*/ 384175 h 896937"/>
                  <a:gd name="connsiteX254" fmla="*/ 15044 w 869950"/>
                  <a:gd name="connsiteY254" fmla="*/ 384175 h 896937"/>
                  <a:gd name="connsiteX255" fmla="*/ 0 w 869950"/>
                  <a:gd name="connsiteY255" fmla="*/ 368300 h 896937"/>
                  <a:gd name="connsiteX256" fmla="*/ 15044 w 869950"/>
                  <a:gd name="connsiteY256" fmla="*/ 352425 h 896937"/>
                  <a:gd name="connsiteX257" fmla="*/ 601663 w 869950"/>
                  <a:gd name="connsiteY257" fmla="*/ 330200 h 896937"/>
                  <a:gd name="connsiteX258" fmla="*/ 646907 w 869950"/>
                  <a:gd name="connsiteY258" fmla="*/ 330200 h 896937"/>
                  <a:gd name="connsiteX259" fmla="*/ 660552 w 869950"/>
                  <a:gd name="connsiteY259" fmla="*/ 338617 h 896937"/>
                  <a:gd name="connsiteX260" fmla="*/ 661988 w 869950"/>
                  <a:gd name="connsiteY260" fmla="*/ 344930 h 896937"/>
                  <a:gd name="connsiteX261" fmla="*/ 646907 w 869950"/>
                  <a:gd name="connsiteY261" fmla="*/ 360362 h 896937"/>
                  <a:gd name="connsiteX262" fmla="*/ 601663 w 869950"/>
                  <a:gd name="connsiteY262" fmla="*/ 360362 h 896937"/>
                  <a:gd name="connsiteX263" fmla="*/ 601663 w 869950"/>
                  <a:gd name="connsiteY263" fmla="*/ 338617 h 896937"/>
                  <a:gd name="connsiteX264" fmla="*/ 601663 w 869950"/>
                  <a:gd name="connsiteY264" fmla="*/ 330200 h 896937"/>
                  <a:gd name="connsiteX265" fmla="*/ 808038 w 869950"/>
                  <a:gd name="connsiteY265" fmla="*/ 307975 h 896937"/>
                  <a:gd name="connsiteX266" fmla="*/ 853926 w 869950"/>
                  <a:gd name="connsiteY266" fmla="*/ 307975 h 896937"/>
                  <a:gd name="connsiteX267" fmla="*/ 869950 w 869950"/>
                  <a:gd name="connsiteY267" fmla="*/ 323056 h 896937"/>
                  <a:gd name="connsiteX268" fmla="*/ 853926 w 869950"/>
                  <a:gd name="connsiteY268" fmla="*/ 338137 h 896937"/>
                  <a:gd name="connsiteX269" fmla="*/ 808038 w 869950"/>
                  <a:gd name="connsiteY269" fmla="*/ 338137 h 896937"/>
                  <a:gd name="connsiteX270" fmla="*/ 808038 w 869950"/>
                  <a:gd name="connsiteY270" fmla="*/ 307975 h 896937"/>
                  <a:gd name="connsiteX271" fmla="*/ 15044 w 869950"/>
                  <a:gd name="connsiteY271" fmla="*/ 249237 h 896937"/>
                  <a:gd name="connsiteX272" fmla="*/ 90979 w 869950"/>
                  <a:gd name="connsiteY272" fmla="*/ 249237 h 896937"/>
                  <a:gd name="connsiteX273" fmla="*/ 106740 w 869950"/>
                  <a:gd name="connsiteY273" fmla="*/ 249237 h 896937"/>
                  <a:gd name="connsiteX274" fmla="*/ 122500 w 869950"/>
                  <a:gd name="connsiteY274" fmla="*/ 249237 h 896937"/>
                  <a:gd name="connsiteX275" fmla="*/ 136111 w 869950"/>
                  <a:gd name="connsiteY275" fmla="*/ 249237 h 896937"/>
                  <a:gd name="connsiteX276" fmla="*/ 151871 w 869950"/>
                  <a:gd name="connsiteY276" fmla="*/ 249237 h 896937"/>
                  <a:gd name="connsiteX277" fmla="*/ 167631 w 869950"/>
                  <a:gd name="connsiteY277" fmla="*/ 249237 h 896937"/>
                  <a:gd name="connsiteX278" fmla="*/ 209181 w 869950"/>
                  <a:gd name="connsiteY278" fmla="*/ 249237 h 896937"/>
                  <a:gd name="connsiteX279" fmla="*/ 266490 w 869950"/>
                  <a:gd name="connsiteY279" fmla="*/ 249237 h 896937"/>
                  <a:gd name="connsiteX280" fmla="*/ 282250 w 869950"/>
                  <a:gd name="connsiteY280" fmla="*/ 249237 h 896937"/>
                  <a:gd name="connsiteX281" fmla="*/ 298011 w 869950"/>
                  <a:gd name="connsiteY281" fmla="*/ 249237 h 896937"/>
                  <a:gd name="connsiteX282" fmla="*/ 313771 w 869950"/>
                  <a:gd name="connsiteY282" fmla="*/ 249237 h 896937"/>
                  <a:gd name="connsiteX283" fmla="*/ 329531 w 869950"/>
                  <a:gd name="connsiteY283" fmla="*/ 249237 h 896937"/>
                  <a:gd name="connsiteX284" fmla="*/ 343142 w 869950"/>
                  <a:gd name="connsiteY284" fmla="*/ 249237 h 896937"/>
                  <a:gd name="connsiteX285" fmla="*/ 358902 w 869950"/>
                  <a:gd name="connsiteY285" fmla="*/ 249237 h 896937"/>
                  <a:gd name="connsiteX286" fmla="*/ 374662 w 869950"/>
                  <a:gd name="connsiteY286" fmla="*/ 249237 h 896937"/>
                  <a:gd name="connsiteX287" fmla="*/ 440568 w 869950"/>
                  <a:gd name="connsiteY287" fmla="*/ 249237 h 896937"/>
                  <a:gd name="connsiteX288" fmla="*/ 454179 w 869950"/>
                  <a:gd name="connsiteY288" fmla="*/ 258097 h 896937"/>
                  <a:gd name="connsiteX289" fmla="*/ 455612 w 869950"/>
                  <a:gd name="connsiteY289" fmla="*/ 265481 h 896937"/>
                  <a:gd name="connsiteX290" fmla="*/ 440568 w 869950"/>
                  <a:gd name="connsiteY290" fmla="*/ 280987 h 896937"/>
                  <a:gd name="connsiteX291" fmla="*/ 374662 w 869950"/>
                  <a:gd name="connsiteY291" fmla="*/ 280987 h 896937"/>
                  <a:gd name="connsiteX292" fmla="*/ 358902 w 869950"/>
                  <a:gd name="connsiteY292" fmla="*/ 280987 h 896937"/>
                  <a:gd name="connsiteX293" fmla="*/ 343142 w 869950"/>
                  <a:gd name="connsiteY293" fmla="*/ 280987 h 896937"/>
                  <a:gd name="connsiteX294" fmla="*/ 329531 w 869950"/>
                  <a:gd name="connsiteY294" fmla="*/ 280987 h 896937"/>
                  <a:gd name="connsiteX295" fmla="*/ 313771 w 869950"/>
                  <a:gd name="connsiteY295" fmla="*/ 280987 h 896937"/>
                  <a:gd name="connsiteX296" fmla="*/ 298011 w 869950"/>
                  <a:gd name="connsiteY296" fmla="*/ 280987 h 896937"/>
                  <a:gd name="connsiteX297" fmla="*/ 282250 w 869950"/>
                  <a:gd name="connsiteY297" fmla="*/ 280987 h 896937"/>
                  <a:gd name="connsiteX298" fmla="*/ 266490 w 869950"/>
                  <a:gd name="connsiteY298" fmla="*/ 280987 h 896937"/>
                  <a:gd name="connsiteX299" fmla="*/ 167631 w 869950"/>
                  <a:gd name="connsiteY299" fmla="*/ 280987 h 896937"/>
                  <a:gd name="connsiteX300" fmla="*/ 151871 w 869950"/>
                  <a:gd name="connsiteY300" fmla="*/ 280987 h 896937"/>
                  <a:gd name="connsiteX301" fmla="*/ 136111 w 869950"/>
                  <a:gd name="connsiteY301" fmla="*/ 280987 h 896937"/>
                  <a:gd name="connsiteX302" fmla="*/ 122500 w 869950"/>
                  <a:gd name="connsiteY302" fmla="*/ 280987 h 896937"/>
                  <a:gd name="connsiteX303" fmla="*/ 106740 w 869950"/>
                  <a:gd name="connsiteY303" fmla="*/ 280987 h 896937"/>
                  <a:gd name="connsiteX304" fmla="*/ 90979 w 869950"/>
                  <a:gd name="connsiteY304" fmla="*/ 280987 h 896937"/>
                  <a:gd name="connsiteX305" fmla="*/ 15044 w 869950"/>
                  <a:gd name="connsiteY305" fmla="*/ 280987 h 896937"/>
                  <a:gd name="connsiteX306" fmla="*/ 0 w 869950"/>
                  <a:gd name="connsiteY306" fmla="*/ 265481 h 896937"/>
                  <a:gd name="connsiteX307" fmla="*/ 15044 w 869950"/>
                  <a:gd name="connsiteY307" fmla="*/ 249237 h 896937"/>
                  <a:gd name="connsiteX308" fmla="*/ 601663 w 869950"/>
                  <a:gd name="connsiteY308" fmla="*/ 227012 h 896937"/>
                  <a:gd name="connsiteX309" fmla="*/ 646907 w 869950"/>
                  <a:gd name="connsiteY309" fmla="*/ 227012 h 896937"/>
                  <a:gd name="connsiteX310" fmla="*/ 660552 w 869950"/>
                  <a:gd name="connsiteY310" fmla="*/ 235671 h 896937"/>
                  <a:gd name="connsiteX311" fmla="*/ 661988 w 869950"/>
                  <a:gd name="connsiteY311" fmla="*/ 242887 h 896937"/>
                  <a:gd name="connsiteX312" fmla="*/ 646907 w 869950"/>
                  <a:gd name="connsiteY312" fmla="*/ 258762 h 896937"/>
                  <a:gd name="connsiteX313" fmla="*/ 601663 w 869950"/>
                  <a:gd name="connsiteY313" fmla="*/ 258762 h 896937"/>
                  <a:gd name="connsiteX314" fmla="*/ 601663 w 869950"/>
                  <a:gd name="connsiteY314" fmla="*/ 235671 h 896937"/>
                  <a:gd name="connsiteX315" fmla="*/ 601663 w 869950"/>
                  <a:gd name="connsiteY315" fmla="*/ 227012 h 896937"/>
                  <a:gd name="connsiteX316" fmla="*/ 808038 w 869950"/>
                  <a:gd name="connsiteY316" fmla="*/ 204787 h 896937"/>
                  <a:gd name="connsiteX317" fmla="*/ 853926 w 869950"/>
                  <a:gd name="connsiteY317" fmla="*/ 204787 h 896937"/>
                  <a:gd name="connsiteX318" fmla="*/ 869950 w 869950"/>
                  <a:gd name="connsiteY318" fmla="*/ 219517 h 896937"/>
                  <a:gd name="connsiteX319" fmla="*/ 853926 w 869950"/>
                  <a:gd name="connsiteY319" fmla="*/ 234949 h 896937"/>
                  <a:gd name="connsiteX320" fmla="*/ 808038 w 869950"/>
                  <a:gd name="connsiteY320" fmla="*/ 234949 h 896937"/>
                  <a:gd name="connsiteX321" fmla="*/ 808038 w 869950"/>
                  <a:gd name="connsiteY321" fmla="*/ 204787 h 896937"/>
                  <a:gd name="connsiteX322" fmla="*/ 601663 w 869950"/>
                  <a:gd name="connsiteY322" fmla="*/ 125412 h 896937"/>
                  <a:gd name="connsiteX323" fmla="*/ 646907 w 869950"/>
                  <a:gd name="connsiteY323" fmla="*/ 125412 h 896937"/>
                  <a:gd name="connsiteX324" fmla="*/ 660552 w 869950"/>
                  <a:gd name="connsiteY324" fmla="*/ 133829 h 896937"/>
                  <a:gd name="connsiteX325" fmla="*/ 661988 w 869950"/>
                  <a:gd name="connsiteY325" fmla="*/ 140142 h 896937"/>
                  <a:gd name="connsiteX326" fmla="*/ 646907 w 869950"/>
                  <a:gd name="connsiteY326" fmla="*/ 155574 h 896937"/>
                  <a:gd name="connsiteX327" fmla="*/ 601663 w 869950"/>
                  <a:gd name="connsiteY327" fmla="*/ 155574 h 896937"/>
                  <a:gd name="connsiteX328" fmla="*/ 601663 w 869950"/>
                  <a:gd name="connsiteY328" fmla="*/ 133829 h 896937"/>
                  <a:gd name="connsiteX329" fmla="*/ 601663 w 869950"/>
                  <a:gd name="connsiteY329" fmla="*/ 125412 h 896937"/>
                  <a:gd name="connsiteX330" fmla="*/ 808038 w 869950"/>
                  <a:gd name="connsiteY330" fmla="*/ 101600 h 896937"/>
                  <a:gd name="connsiteX331" fmla="*/ 853926 w 869950"/>
                  <a:gd name="connsiteY331" fmla="*/ 101600 h 896937"/>
                  <a:gd name="connsiteX332" fmla="*/ 869950 w 869950"/>
                  <a:gd name="connsiteY332" fmla="*/ 117475 h 896937"/>
                  <a:gd name="connsiteX333" fmla="*/ 853926 w 869950"/>
                  <a:gd name="connsiteY333" fmla="*/ 133350 h 896937"/>
                  <a:gd name="connsiteX334" fmla="*/ 808038 w 869950"/>
                  <a:gd name="connsiteY334" fmla="*/ 133350 h 896937"/>
                  <a:gd name="connsiteX335" fmla="*/ 808038 w 869950"/>
                  <a:gd name="connsiteY335" fmla="*/ 101600 h 896937"/>
                  <a:gd name="connsiteX336" fmla="*/ 808038 w 869950"/>
                  <a:gd name="connsiteY336" fmla="*/ 0 h 896937"/>
                  <a:gd name="connsiteX337" fmla="*/ 853926 w 869950"/>
                  <a:gd name="connsiteY337" fmla="*/ 0 h 896937"/>
                  <a:gd name="connsiteX338" fmla="*/ 869950 w 869950"/>
                  <a:gd name="connsiteY338" fmla="*/ 14730 h 896937"/>
                  <a:gd name="connsiteX339" fmla="*/ 853926 w 869950"/>
                  <a:gd name="connsiteY339" fmla="*/ 30162 h 896937"/>
                  <a:gd name="connsiteX340" fmla="*/ 808038 w 869950"/>
                  <a:gd name="connsiteY340" fmla="*/ 30162 h 896937"/>
                  <a:gd name="connsiteX341" fmla="*/ 808038 w 869950"/>
                  <a:gd name="connsiteY341" fmla="*/ 0 h 896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</a:cxnLst>
                <a:rect l="l" t="t" r="r" b="b"/>
                <a:pathLst>
                  <a:path w="869950" h="896937">
                    <a:moveTo>
                      <a:pt x="15044" y="866775"/>
                    </a:moveTo>
                    <a:cubicBezTo>
                      <a:pt x="42266" y="866775"/>
                      <a:pt x="67339" y="866775"/>
                      <a:pt x="90979" y="866775"/>
                    </a:cubicBezTo>
                    <a:cubicBezTo>
                      <a:pt x="95994" y="866775"/>
                      <a:pt x="101009" y="866775"/>
                      <a:pt x="106740" y="866775"/>
                    </a:cubicBezTo>
                    <a:cubicBezTo>
                      <a:pt x="111754" y="866775"/>
                      <a:pt x="116769" y="866775"/>
                      <a:pt x="122500" y="866775"/>
                    </a:cubicBezTo>
                    <a:cubicBezTo>
                      <a:pt x="126798" y="866775"/>
                      <a:pt x="131096" y="866775"/>
                      <a:pt x="136111" y="866775"/>
                    </a:cubicBezTo>
                    <a:cubicBezTo>
                      <a:pt x="440568" y="866775"/>
                      <a:pt x="440568" y="866775"/>
                      <a:pt x="440568" y="866775"/>
                    </a:cubicBezTo>
                    <a:cubicBezTo>
                      <a:pt x="447016" y="866775"/>
                      <a:pt x="452030" y="870282"/>
                      <a:pt x="454179" y="875894"/>
                    </a:cubicBezTo>
                    <a:cubicBezTo>
                      <a:pt x="455612" y="877297"/>
                      <a:pt x="455612" y="879401"/>
                      <a:pt x="455612" y="882207"/>
                    </a:cubicBezTo>
                    <a:cubicBezTo>
                      <a:pt x="455612" y="882908"/>
                      <a:pt x="455612" y="882908"/>
                      <a:pt x="455612" y="883610"/>
                    </a:cubicBezTo>
                    <a:cubicBezTo>
                      <a:pt x="455612" y="885013"/>
                      <a:pt x="455612" y="885714"/>
                      <a:pt x="454896" y="887117"/>
                    </a:cubicBezTo>
                    <a:cubicBezTo>
                      <a:pt x="453463" y="891326"/>
                      <a:pt x="450598" y="894833"/>
                      <a:pt x="445583" y="896236"/>
                    </a:cubicBezTo>
                    <a:cubicBezTo>
                      <a:pt x="445583" y="896236"/>
                      <a:pt x="444867" y="896937"/>
                      <a:pt x="444150" y="896937"/>
                    </a:cubicBezTo>
                    <a:cubicBezTo>
                      <a:pt x="444150" y="896937"/>
                      <a:pt x="443434" y="896937"/>
                      <a:pt x="443434" y="896937"/>
                    </a:cubicBezTo>
                    <a:cubicBezTo>
                      <a:pt x="442718" y="896937"/>
                      <a:pt x="441285" y="896937"/>
                      <a:pt x="440568" y="896937"/>
                    </a:cubicBezTo>
                    <a:cubicBezTo>
                      <a:pt x="270072" y="896937"/>
                      <a:pt x="167631" y="896937"/>
                      <a:pt x="106740" y="896937"/>
                    </a:cubicBezTo>
                    <a:cubicBezTo>
                      <a:pt x="101009" y="896937"/>
                      <a:pt x="95278" y="896937"/>
                      <a:pt x="90979" y="896937"/>
                    </a:cubicBezTo>
                    <a:cubicBezTo>
                      <a:pt x="15044" y="896937"/>
                      <a:pt x="15044" y="896937"/>
                      <a:pt x="15044" y="896937"/>
                    </a:cubicBezTo>
                    <a:cubicBezTo>
                      <a:pt x="15044" y="896937"/>
                      <a:pt x="15044" y="896937"/>
                      <a:pt x="14328" y="896937"/>
                    </a:cubicBezTo>
                    <a:cubicBezTo>
                      <a:pt x="6448" y="896937"/>
                      <a:pt x="0" y="890624"/>
                      <a:pt x="0" y="882207"/>
                    </a:cubicBezTo>
                    <a:cubicBezTo>
                      <a:pt x="0" y="873790"/>
                      <a:pt x="6448" y="866775"/>
                      <a:pt x="15044" y="866775"/>
                    </a:cubicBezTo>
                    <a:close/>
                    <a:moveTo>
                      <a:pt x="15044" y="763587"/>
                    </a:moveTo>
                    <a:cubicBezTo>
                      <a:pt x="42266" y="763587"/>
                      <a:pt x="67339" y="763587"/>
                      <a:pt x="90979" y="763587"/>
                    </a:cubicBezTo>
                    <a:cubicBezTo>
                      <a:pt x="95994" y="763587"/>
                      <a:pt x="101009" y="763587"/>
                      <a:pt x="106740" y="763587"/>
                    </a:cubicBezTo>
                    <a:cubicBezTo>
                      <a:pt x="111754" y="763587"/>
                      <a:pt x="116769" y="763587"/>
                      <a:pt x="122500" y="763587"/>
                    </a:cubicBezTo>
                    <a:cubicBezTo>
                      <a:pt x="126798" y="763587"/>
                      <a:pt x="131096" y="763587"/>
                      <a:pt x="136111" y="763587"/>
                    </a:cubicBezTo>
                    <a:cubicBezTo>
                      <a:pt x="141125" y="763587"/>
                      <a:pt x="146140" y="763587"/>
                      <a:pt x="151871" y="763587"/>
                    </a:cubicBezTo>
                    <a:cubicBezTo>
                      <a:pt x="156886" y="763587"/>
                      <a:pt x="161900" y="763587"/>
                      <a:pt x="167631" y="763587"/>
                    </a:cubicBezTo>
                    <a:cubicBezTo>
                      <a:pt x="181958" y="763587"/>
                      <a:pt x="195570" y="763587"/>
                      <a:pt x="209181" y="763587"/>
                    </a:cubicBezTo>
                    <a:cubicBezTo>
                      <a:pt x="229955" y="763587"/>
                      <a:pt x="249297" y="763587"/>
                      <a:pt x="266490" y="763587"/>
                    </a:cubicBezTo>
                    <a:cubicBezTo>
                      <a:pt x="272221" y="763587"/>
                      <a:pt x="277236" y="763587"/>
                      <a:pt x="282250" y="763587"/>
                    </a:cubicBezTo>
                    <a:cubicBezTo>
                      <a:pt x="287981" y="763587"/>
                      <a:pt x="292996" y="763587"/>
                      <a:pt x="298011" y="763587"/>
                    </a:cubicBezTo>
                    <a:cubicBezTo>
                      <a:pt x="303742" y="763587"/>
                      <a:pt x="308756" y="763587"/>
                      <a:pt x="313771" y="763587"/>
                    </a:cubicBezTo>
                    <a:cubicBezTo>
                      <a:pt x="440568" y="763587"/>
                      <a:pt x="440568" y="763587"/>
                      <a:pt x="440568" y="763587"/>
                    </a:cubicBezTo>
                    <a:cubicBezTo>
                      <a:pt x="444867" y="763587"/>
                      <a:pt x="448449" y="765752"/>
                      <a:pt x="450598" y="767917"/>
                    </a:cubicBezTo>
                    <a:cubicBezTo>
                      <a:pt x="451314" y="767917"/>
                      <a:pt x="451314" y="768638"/>
                      <a:pt x="452030" y="769360"/>
                    </a:cubicBezTo>
                    <a:cubicBezTo>
                      <a:pt x="452747" y="770081"/>
                      <a:pt x="453463" y="771525"/>
                      <a:pt x="454179" y="772246"/>
                    </a:cubicBezTo>
                    <a:cubicBezTo>
                      <a:pt x="454896" y="774411"/>
                      <a:pt x="455612" y="775854"/>
                      <a:pt x="455612" y="778019"/>
                    </a:cubicBezTo>
                    <a:cubicBezTo>
                      <a:pt x="455612" y="778741"/>
                      <a:pt x="455612" y="778741"/>
                      <a:pt x="455612" y="779462"/>
                    </a:cubicBezTo>
                    <a:cubicBezTo>
                      <a:pt x="455612" y="780905"/>
                      <a:pt x="455612" y="781627"/>
                      <a:pt x="455612" y="782348"/>
                    </a:cubicBezTo>
                    <a:cubicBezTo>
                      <a:pt x="455612" y="783070"/>
                      <a:pt x="455612" y="783792"/>
                      <a:pt x="454896" y="783792"/>
                    </a:cubicBezTo>
                    <a:cubicBezTo>
                      <a:pt x="454896" y="784513"/>
                      <a:pt x="454896" y="784513"/>
                      <a:pt x="454896" y="784513"/>
                    </a:cubicBezTo>
                    <a:cubicBezTo>
                      <a:pt x="454179" y="788843"/>
                      <a:pt x="451314" y="791729"/>
                      <a:pt x="447732" y="793894"/>
                    </a:cubicBezTo>
                    <a:cubicBezTo>
                      <a:pt x="447016" y="793894"/>
                      <a:pt x="446299" y="794616"/>
                      <a:pt x="445583" y="794616"/>
                    </a:cubicBezTo>
                    <a:cubicBezTo>
                      <a:pt x="444867" y="794616"/>
                      <a:pt x="444867" y="794616"/>
                      <a:pt x="444867" y="794616"/>
                    </a:cubicBezTo>
                    <a:cubicBezTo>
                      <a:pt x="444150" y="794616"/>
                      <a:pt x="443434" y="794616"/>
                      <a:pt x="443434" y="795337"/>
                    </a:cubicBezTo>
                    <a:cubicBezTo>
                      <a:pt x="442001" y="795337"/>
                      <a:pt x="441285" y="795337"/>
                      <a:pt x="440568" y="795337"/>
                    </a:cubicBezTo>
                    <a:cubicBezTo>
                      <a:pt x="381826" y="795337"/>
                      <a:pt x="330964" y="795337"/>
                      <a:pt x="287981" y="795337"/>
                    </a:cubicBezTo>
                    <a:cubicBezTo>
                      <a:pt x="281534" y="795337"/>
                      <a:pt x="275803" y="795337"/>
                      <a:pt x="270072" y="795337"/>
                    </a:cubicBezTo>
                    <a:cubicBezTo>
                      <a:pt x="229955" y="795337"/>
                      <a:pt x="196286" y="795337"/>
                      <a:pt x="167631" y="795337"/>
                    </a:cubicBezTo>
                    <a:cubicBezTo>
                      <a:pt x="161900" y="795337"/>
                      <a:pt x="156886" y="795337"/>
                      <a:pt x="151871" y="795337"/>
                    </a:cubicBezTo>
                    <a:cubicBezTo>
                      <a:pt x="146140" y="795337"/>
                      <a:pt x="141125" y="795337"/>
                      <a:pt x="136111" y="795337"/>
                    </a:cubicBezTo>
                    <a:cubicBezTo>
                      <a:pt x="131096" y="795337"/>
                      <a:pt x="126798" y="795337"/>
                      <a:pt x="122500" y="795337"/>
                    </a:cubicBezTo>
                    <a:cubicBezTo>
                      <a:pt x="116769" y="795337"/>
                      <a:pt x="111038" y="795337"/>
                      <a:pt x="106740" y="795337"/>
                    </a:cubicBezTo>
                    <a:cubicBezTo>
                      <a:pt x="101009" y="795337"/>
                      <a:pt x="95278" y="795337"/>
                      <a:pt x="90979" y="795337"/>
                    </a:cubicBezTo>
                    <a:cubicBezTo>
                      <a:pt x="15044" y="795337"/>
                      <a:pt x="15044" y="795337"/>
                      <a:pt x="15044" y="795337"/>
                    </a:cubicBezTo>
                    <a:cubicBezTo>
                      <a:pt x="6448" y="795337"/>
                      <a:pt x="0" y="788843"/>
                      <a:pt x="0" y="779462"/>
                    </a:cubicBezTo>
                    <a:cubicBezTo>
                      <a:pt x="0" y="770803"/>
                      <a:pt x="6448" y="763587"/>
                      <a:pt x="15044" y="763587"/>
                    </a:cubicBezTo>
                    <a:close/>
                    <a:moveTo>
                      <a:pt x="601663" y="741362"/>
                    </a:moveTo>
                    <a:cubicBezTo>
                      <a:pt x="646907" y="741362"/>
                      <a:pt x="646907" y="741362"/>
                      <a:pt x="646907" y="741362"/>
                    </a:cubicBezTo>
                    <a:cubicBezTo>
                      <a:pt x="653370" y="741362"/>
                      <a:pt x="658397" y="744869"/>
                      <a:pt x="660552" y="750481"/>
                    </a:cubicBezTo>
                    <a:cubicBezTo>
                      <a:pt x="661270" y="751884"/>
                      <a:pt x="661988" y="753988"/>
                      <a:pt x="661988" y="756794"/>
                    </a:cubicBezTo>
                    <a:cubicBezTo>
                      <a:pt x="661988" y="758197"/>
                      <a:pt x="661988" y="760301"/>
                      <a:pt x="661270" y="761704"/>
                    </a:cubicBezTo>
                    <a:cubicBezTo>
                      <a:pt x="659116" y="767315"/>
                      <a:pt x="654089" y="771524"/>
                      <a:pt x="646907" y="771524"/>
                    </a:cubicBezTo>
                    <a:cubicBezTo>
                      <a:pt x="631108" y="771524"/>
                      <a:pt x="616026" y="771524"/>
                      <a:pt x="601663" y="771524"/>
                    </a:cubicBezTo>
                    <a:cubicBezTo>
                      <a:pt x="601663" y="771524"/>
                      <a:pt x="601663" y="771524"/>
                      <a:pt x="601663" y="761704"/>
                    </a:cubicBezTo>
                    <a:cubicBezTo>
                      <a:pt x="601663" y="761704"/>
                      <a:pt x="601663" y="761704"/>
                      <a:pt x="601663" y="750481"/>
                    </a:cubicBezTo>
                    <a:cubicBezTo>
                      <a:pt x="601663" y="750481"/>
                      <a:pt x="601663" y="750481"/>
                      <a:pt x="601663" y="741362"/>
                    </a:cubicBezTo>
                    <a:close/>
                    <a:moveTo>
                      <a:pt x="15044" y="661987"/>
                    </a:moveTo>
                    <a:cubicBezTo>
                      <a:pt x="42266" y="661987"/>
                      <a:pt x="67339" y="661987"/>
                      <a:pt x="90979" y="661987"/>
                    </a:cubicBezTo>
                    <a:cubicBezTo>
                      <a:pt x="95994" y="661987"/>
                      <a:pt x="101009" y="661987"/>
                      <a:pt x="106740" y="661987"/>
                    </a:cubicBezTo>
                    <a:cubicBezTo>
                      <a:pt x="111754" y="661987"/>
                      <a:pt x="116769" y="661987"/>
                      <a:pt x="122500" y="661987"/>
                    </a:cubicBezTo>
                    <a:cubicBezTo>
                      <a:pt x="126798" y="661987"/>
                      <a:pt x="131096" y="661987"/>
                      <a:pt x="136111" y="661987"/>
                    </a:cubicBezTo>
                    <a:cubicBezTo>
                      <a:pt x="141125" y="661987"/>
                      <a:pt x="146140" y="661987"/>
                      <a:pt x="151871" y="661987"/>
                    </a:cubicBezTo>
                    <a:cubicBezTo>
                      <a:pt x="156886" y="661987"/>
                      <a:pt x="161900" y="661987"/>
                      <a:pt x="167631" y="661987"/>
                    </a:cubicBezTo>
                    <a:cubicBezTo>
                      <a:pt x="181958" y="661987"/>
                      <a:pt x="195570" y="661987"/>
                      <a:pt x="209181" y="661987"/>
                    </a:cubicBezTo>
                    <a:cubicBezTo>
                      <a:pt x="229955" y="661987"/>
                      <a:pt x="249297" y="661987"/>
                      <a:pt x="266490" y="661987"/>
                    </a:cubicBezTo>
                    <a:cubicBezTo>
                      <a:pt x="272221" y="661987"/>
                      <a:pt x="277236" y="661987"/>
                      <a:pt x="282250" y="661987"/>
                    </a:cubicBezTo>
                    <a:cubicBezTo>
                      <a:pt x="287981" y="661987"/>
                      <a:pt x="292996" y="661987"/>
                      <a:pt x="298011" y="661987"/>
                    </a:cubicBezTo>
                    <a:cubicBezTo>
                      <a:pt x="303742" y="661987"/>
                      <a:pt x="308756" y="661987"/>
                      <a:pt x="313771" y="661987"/>
                    </a:cubicBezTo>
                    <a:cubicBezTo>
                      <a:pt x="319502" y="661987"/>
                      <a:pt x="324516" y="661987"/>
                      <a:pt x="329531" y="661987"/>
                    </a:cubicBezTo>
                    <a:cubicBezTo>
                      <a:pt x="334546" y="661987"/>
                      <a:pt x="338844" y="661987"/>
                      <a:pt x="343142" y="661987"/>
                    </a:cubicBezTo>
                    <a:cubicBezTo>
                      <a:pt x="348873" y="661987"/>
                      <a:pt x="354604" y="661987"/>
                      <a:pt x="358902" y="661987"/>
                    </a:cubicBezTo>
                    <a:cubicBezTo>
                      <a:pt x="364633" y="661987"/>
                      <a:pt x="370364" y="661987"/>
                      <a:pt x="374662" y="661987"/>
                    </a:cubicBezTo>
                    <a:cubicBezTo>
                      <a:pt x="440568" y="661987"/>
                      <a:pt x="440568" y="661987"/>
                      <a:pt x="440568" y="661987"/>
                    </a:cubicBezTo>
                    <a:cubicBezTo>
                      <a:pt x="447016" y="661987"/>
                      <a:pt x="452030" y="665494"/>
                      <a:pt x="454179" y="670404"/>
                    </a:cubicBezTo>
                    <a:cubicBezTo>
                      <a:pt x="455612" y="672509"/>
                      <a:pt x="455612" y="674613"/>
                      <a:pt x="455612" y="677419"/>
                    </a:cubicBezTo>
                    <a:cubicBezTo>
                      <a:pt x="455612" y="685836"/>
                      <a:pt x="449881" y="692149"/>
                      <a:pt x="440568" y="692149"/>
                    </a:cubicBezTo>
                    <a:cubicBezTo>
                      <a:pt x="417645" y="692149"/>
                      <a:pt x="395437" y="692149"/>
                      <a:pt x="374662" y="692149"/>
                    </a:cubicBezTo>
                    <a:cubicBezTo>
                      <a:pt x="369648" y="692149"/>
                      <a:pt x="364633" y="692149"/>
                      <a:pt x="358902" y="692149"/>
                    </a:cubicBezTo>
                    <a:cubicBezTo>
                      <a:pt x="353888" y="692149"/>
                      <a:pt x="348873" y="692149"/>
                      <a:pt x="343142" y="692149"/>
                    </a:cubicBezTo>
                    <a:cubicBezTo>
                      <a:pt x="338844" y="692149"/>
                      <a:pt x="334546" y="692149"/>
                      <a:pt x="329531" y="692149"/>
                    </a:cubicBezTo>
                    <a:cubicBezTo>
                      <a:pt x="324516" y="692149"/>
                      <a:pt x="319502" y="692149"/>
                      <a:pt x="313771" y="692149"/>
                    </a:cubicBezTo>
                    <a:cubicBezTo>
                      <a:pt x="308756" y="692149"/>
                      <a:pt x="303742" y="692149"/>
                      <a:pt x="298011" y="692149"/>
                    </a:cubicBezTo>
                    <a:cubicBezTo>
                      <a:pt x="292996" y="692149"/>
                      <a:pt x="287981" y="692149"/>
                      <a:pt x="282250" y="692149"/>
                    </a:cubicBezTo>
                    <a:cubicBezTo>
                      <a:pt x="277236" y="692149"/>
                      <a:pt x="272221" y="692149"/>
                      <a:pt x="266490" y="692149"/>
                    </a:cubicBezTo>
                    <a:cubicBezTo>
                      <a:pt x="227806" y="692149"/>
                      <a:pt x="194853" y="692149"/>
                      <a:pt x="167631" y="692149"/>
                    </a:cubicBezTo>
                    <a:cubicBezTo>
                      <a:pt x="161900" y="692149"/>
                      <a:pt x="156886" y="692149"/>
                      <a:pt x="151871" y="692149"/>
                    </a:cubicBezTo>
                    <a:cubicBezTo>
                      <a:pt x="146140" y="692149"/>
                      <a:pt x="141125" y="692149"/>
                      <a:pt x="136111" y="692149"/>
                    </a:cubicBezTo>
                    <a:cubicBezTo>
                      <a:pt x="131096" y="692149"/>
                      <a:pt x="126798" y="692149"/>
                      <a:pt x="122500" y="692149"/>
                    </a:cubicBezTo>
                    <a:cubicBezTo>
                      <a:pt x="116769" y="692149"/>
                      <a:pt x="111038" y="692149"/>
                      <a:pt x="106740" y="692149"/>
                    </a:cubicBezTo>
                    <a:cubicBezTo>
                      <a:pt x="101009" y="692149"/>
                      <a:pt x="95278" y="692149"/>
                      <a:pt x="90979" y="692149"/>
                    </a:cubicBezTo>
                    <a:cubicBezTo>
                      <a:pt x="15044" y="692149"/>
                      <a:pt x="15044" y="692149"/>
                      <a:pt x="15044" y="692149"/>
                    </a:cubicBezTo>
                    <a:cubicBezTo>
                      <a:pt x="6448" y="692149"/>
                      <a:pt x="0" y="685836"/>
                      <a:pt x="0" y="677419"/>
                    </a:cubicBezTo>
                    <a:cubicBezTo>
                      <a:pt x="0" y="669002"/>
                      <a:pt x="6448" y="661987"/>
                      <a:pt x="15044" y="661987"/>
                    </a:cubicBezTo>
                    <a:close/>
                    <a:moveTo>
                      <a:pt x="601663" y="638175"/>
                    </a:moveTo>
                    <a:cubicBezTo>
                      <a:pt x="646907" y="638175"/>
                      <a:pt x="646907" y="638175"/>
                      <a:pt x="646907" y="638175"/>
                    </a:cubicBezTo>
                    <a:cubicBezTo>
                      <a:pt x="653370" y="638175"/>
                      <a:pt x="658397" y="641783"/>
                      <a:pt x="660552" y="646834"/>
                    </a:cubicBezTo>
                    <a:cubicBezTo>
                      <a:pt x="661270" y="648999"/>
                      <a:pt x="661988" y="651885"/>
                      <a:pt x="661988" y="654050"/>
                    </a:cubicBezTo>
                    <a:cubicBezTo>
                      <a:pt x="661988" y="663431"/>
                      <a:pt x="655525" y="669925"/>
                      <a:pt x="646907" y="669925"/>
                    </a:cubicBezTo>
                    <a:cubicBezTo>
                      <a:pt x="631108" y="669925"/>
                      <a:pt x="616026" y="669925"/>
                      <a:pt x="601663" y="669925"/>
                    </a:cubicBezTo>
                    <a:cubicBezTo>
                      <a:pt x="601663" y="669925"/>
                      <a:pt x="601663" y="669925"/>
                      <a:pt x="601663" y="646834"/>
                    </a:cubicBezTo>
                    <a:cubicBezTo>
                      <a:pt x="601663" y="646834"/>
                      <a:pt x="601663" y="646834"/>
                      <a:pt x="601663" y="638175"/>
                    </a:cubicBezTo>
                    <a:close/>
                    <a:moveTo>
                      <a:pt x="808038" y="615950"/>
                    </a:moveTo>
                    <a:cubicBezTo>
                      <a:pt x="853926" y="615950"/>
                      <a:pt x="853926" y="615950"/>
                      <a:pt x="853926" y="615950"/>
                    </a:cubicBezTo>
                    <a:cubicBezTo>
                      <a:pt x="863395" y="615950"/>
                      <a:pt x="869950" y="623334"/>
                      <a:pt x="869950" y="631456"/>
                    </a:cubicBezTo>
                    <a:cubicBezTo>
                      <a:pt x="869950" y="640316"/>
                      <a:pt x="863395" y="647700"/>
                      <a:pt x="853926" y="647700"/>
                    </a:cubicBezTo>
                    <a:cubicBezTo>
                      <a:pt x="838630" y="647700"/>
                      <a:pt x="823334" y="647700"/>
                      <a:pt x="808038" y="647700"/>
                    </a:cubicBezTo>
                    <a:cubicBezTo>
                      <a:pt x="808038" y="647700"/>
                      <a:pt x="808038" y="647700"/>
                      <a:pt x="808038" y="615950"/>
                    </a:cubicBezTo>
                    <a:close/>
                    <a:moveTo>
                      <a:pt x="15044" y="558800"/>
                    </a:moveTo>
                    <a:cubicBezTo>
                      <a:pt x="42266" y="558800"/>
                      <a:pt x="67339" y="558800"/>
                      <a:pt x="90979" y="558800"/>
                    </a:cubicBezTo>
                    <a:cubicBezTo>
                      <a:pt x="95994" y="558800"/>
                      <a:pt x="101009" y="558800"/>
                      <a:pt x="106740" y="558800"/>
                    </a:cubicBezTo>
                    <a:cubicBezTo>
                      <a:pt x="111754" y="558800"/>
                      <a:pt x="116769" y="558800"/>
                      <a:pt x="122500" y="558800"/>
                    </a:cubicBezTo>
                    <a:cubicBezTo>
                      <a:pt x="126798" y="558800"/>
                      <a:pt x="131096" y="558800"/>
                      <a:pt x="136111" y="558800"/>
                    </a:cubicBezTo>
                    <a:cubicBezTo>
                      <a:pt x="141125" y="558800"/>
                      <a:pt x="146140" y="558800"/>
                      <a:pt x="151871" y="558800"/>
                    </a:cubicBezTo>
                    <a:cubicBezTo>
                      <a:pt x="156886" y="558800"/>
                      <a:pt x="161900" y="558800"/>
                      <a:pt x="167631" y="558800"/>
                    </a:cubicBezTo>
                    <a:cubicBezTo>
                      <a:pt x="181958" y="558800"/>
                      <a:pt x="195570" y="558800"/>
                      <a:pt x="209181" y="558800"/>
                    </a:cubicBezTo>
                    <a:cubicBezTo>
                      <a:pt x="229955" y="558800"/>
                      <a:pt x="249297" y="558800"/>
                      <a:pt x="266490" y="558800"/>
                    </a:cubicBezTo>
                    <a:cubicBezTo>
                      <a:pt x="272221" y="558800"/>
                      <a:pt x="277236" y="558800"/>
                      <a:pt x="282250" y="558800"/>
                    </a:cubicBezTo>
                    <a:cubicBezTo>
                      <a:pt x="287981" y="558800"/>
                      <a:pt x="292996" y="558800"/>
                      <a:pt x="298011" y="558800"/>
                    </a:cubicBezTo>
                    <a:cubicBezTo>
                      <a:pt x="303742" y="558800"/>
                      <a:pt x="308756" y="558800"/>
                      <a:pt x="313771" y="558800"/>
                    </a:cubicBezTo>
                    <a:cubicBezTo>
                      <a:pt x="319502" y="558800"/>
                      <a:pt x="324516" y="558800"/>
                      <a:pt x="329531" y="558800"/>
                    </a:cubicBezTo>
                    <a:cubicBezTo>
                      <a:pt x="334546" y="558800"/>
                      <a:pt x="338844" y="558800"/>
                      <a:pt x="343142" y="558800"/>
                    </a:cubicBezTo>
                    <a:cubicBezTo>
                      <a:pt x="348873" y="558800"/>
                      <a:pt x="354604" y="558800"/>
                      <a:pt x="358902" y="558800"/>
                    </a:cubicBezTo>
                    <a:cubicBezTo>
                      <a:pt x="364633" y="558800"/>
                      <a:pt x="370364" y="558800"/>
                      <a:pt x="374662" y="558800"/>
                    </a:cubicBezTo>
                    <a:cubicBezTo>
                      <a:pt x="440568" y="558800"/>
                      <a:pt x="440568" y="558800"/>
                      <a:pt x="440568" y="558800"/>
                    </a:cubicBezTo>
                    <a:cubicBezTo>
                      <a:pt x="447016" y="558800"/>
                      <a:pt x="452030" y="562391"/>
                      <a:pt x="454179" y="567418"/>
                    </a:cubicBezTo>
                    <a:cubicBezTo>
                      <a:pt x="455612" y="569572"/>
                      <a:pt x="455612" y="571727"/>
                      <a:pt x="455612" y="573881"/>
                    </a:cubicBezTo>
                    <a:cubicBezTo>
                      <a:pt x="455612" y="581781"/>
                      <a:pt x="449881" y="588962"/>
                      <a:pt x="440568" y="588962"/>
                    </a:cubicBezTo>
                    <a:cubicBezTo>
                      <a:pt x="417645" y="588962"/>
                      <a:pt x="395437" y="588962"/>
                      <a:pt x="374662" y="588962"/>
                    </a:cubicBezTo>
                    <a:cubicBezTo>
                      <a:pt x="369648" y="588962"/>
                      <a:pt x="364633" y="588962"/>
                      <a:pt x="358902" y="588962"/>
                    </a:cubicBezTo>
                    <a:cubicBezTo>
                      <a:pt x="353888" y="588962"/>
                      <a:pt x="348873" y="588962"/>
                      <a:pt x="343142" y="588962"/>
                    </a:cubicBezTo>
                    <a:cubicBezTo>
                      <a:pt x="338844" y="588962"/>
                      <a:pt x="334546" y="588962"/>
                      <a:pt x="329531" y="588962"/>
                    </a:cubicBezTo>
                    <a:cubicBezTo>
                      <a:pt x="324516" y="588962"/>
                      <a:pt x="319502" y="588962"/>
                      <a:pt x="313771" y="588962"/>
                    </a:cubicBezTo>
                    <a:cubicBezTo>
                      <a:pt x="308756" y="588962"/>
                      <a:pt x="303742" y="588962"/>
                      <a:pt x="298011" y="588962"/>
                    </a:cubicBezTo>
                    <a:cubicBezTo>
                      <a:pt x="292996" y="588962"/>
                      <a:pt x="287981" y="588962"/>
                      <a:pt x="282250" y="588962"/>
                    </a:cubicBezTo>
                    <a:cubicBezTo>
                      <a:pt x="277236" y="588962"/>
                      <a:pt x="272221" y="588962"/>
                      <a:pt x="266490" y="588962"/>
                    </a:cubicBezTo>
                    <a:cubicBezTo>
                      <a:pt x="227806" y="588962"/>
                      <a:pt x="194853" y="588962"/>
                      <a:pt x="167631" y="588962"/>
                    </a:cubicBezTo>
                    <a:cubicBezTo>
                      <a:pt x="161900" y="588962"/>
                      <a:pt x="156886" y="588962"/>
                      <a:pt x="151871" y="588962"/>
                    </a:cubicBezTo>
                    <a:cubicBezTo>
                      <a:pt x="146140" y="588962"/>
                      <a:pt x="141125" y="588962"/>
                      <a:pt x="136111" y="588962"/>
                    </a:cubicBezTo>
                    <a:cubicBezTo>
                      <a:pt x="131096" y="588962"/>
                      <a:pt x="126798" y="588962"/>
                      <a:pt x="122500" y="588962"/>
                    </a:cubicBezTo>
                    <a:cubicBezTo>
                      <a:pt x="116769" y="588962"/>
                      <a:pt x="111038" y="588962"/>
                      <a:pt x="106740" y="588962"/>
                    </a:cubicBezTo>
                    <a:cubicBezTo>
                      <a:pt x="101009" y="588962"/>
                      <a:pt x="95278" y="588962"/>
                      <a:pt x="90979" y="588962"/>
                    </a:cubicBezTo>
                    <a:cubicBezTo>
                      <a:pt x="15044" y="588962"/>
                      <a:pt x="15044" y="588962"/>
                      <a:pt x="15044" y="588962"/>
                    </a:cubicBezTo>
                    <a:cubicBezTo>
                      <a:pt x="6448" y="588962"/>
                      <a:pt x="0" y="581781"/>
                      <a:pt x="0" y="573881"/>
                    </a:cubicBezTo>
                    <a:cubicBezTo>
                      <a:pt x="0" y="565982"/>
                      <a:pt x="6448" y="558800"/>
                      <a:pt x="15044" y="558800"/>
                    </a:cubicBezTo>
                    <a:close/>
                    <a:moveTo>
                      <a:pt x="601663" y="536575"/>
                    </a:moveTo>
                    <a:cubicBezTo>
                      <a:pt x="646907" y="536575"/>
                      <a:pt x="646907" y="536575"/>
                      <a:pt x="646907" y="536575"/>
                    </a:cubicBezTo>
                    <a:cubicBezTo>
                      <a:pt x="653370" y="536575"/>
                      <a:pt x="658397" y="540082"/>
                      <a:pt x="660552" y="544992"/>
                    </a:cubicBezTo>
                    <a:cubicBezTo>
                      <a:pt x="661270" y="547097"/>
                      <a:pt x="661988" y="549201"/>
                      <a:pt x="661988" y="552007"/>
                    </a:cubicBezTo>
                    <a:cubicBezTo>
                      <a:pt x="661988" y="559723"/>
                      <a:pt x="655525" y="566737"/>
                      <a:pt x="646907" y="566737"/>
                    </a:cubicBezTo>
                    <a:cubicBezTo>
                      <a:pt x="631108" y="566737"/>
                      <a:pt x="616026" y="566737"/>
                      <a:pt x="601663" y="566737"/>
                    </a:cubicBezTo>
                    <a:cubicBezTo>
                      <a:pt x="601663" y="566737"/>
                      <a:pt x="601663" y="566737"/>
                      <a:pt x="601663" y="544992"/>
                    </a:cubicBezTo>
                    <a:cubicBezTo>
                      <a:pt x="601663" y="544992"/>
                      <a:pt x="601663" y="544992"/>
                      <a:pt x="601663" y="536575"/>
                    </a:cubicBezTo>
                    <a:close/>
                    <a:moveTo>
                      <a:pt x="808038" y="512762"/>
                    </a:moveTo>
                    <a:cubicBezTo>
                      <a:pt x="853926" y="512762"/>
                      <a:pt x="853926" y="512762"/>
                      <a:pt x="853926" y="512762"/>
                    </a:cubicBezTo>
                    <a:cubicBezTo>
                      <a:pt x="863395" y="512762"/>
                      <a:pt x="869950" y="519978"/>
                      <a:pt x="869950" y="528637"/>
                    </a:cubicBezTo>
                    <a:cubicBezTo>
                      <a:pt x="869950" y="538018"/>
                      <a:pt x="863395" y="544512"/>
                      <a:pt x="853926" y="544512"/>
                    </a:cubicBezTo>
                    <a:cubicBezTo>
                      <a:pt x="838630" y="544512"/>
                      <a:pt x="823334" y="544512"/>
                      <a:pt x="808038" y="544512"/>
                    </a:cubicBezTo>
                    <a:cubicBezTo>
                      <a:pt x="808038" y="544512"/>
                      <a:pt x="808038" y="544512"/>
                      <a:pt x="808038" y="512762"/>
                    </a:cubicBezTo>
                    <a:close/>
                    <a:moveTo>
                      <a:pt x="15044" y="455612"/>
                    </a:moveTo>
                    <a:cubicBezTo>
                      <a:pt x="42266" y="455612"/>
                      <a:pt x="67339" y="455612"/>
                      <a:pt x="90979" y="455612"/>
                    </a:cubicBezTo>
                    <a:cubicBezTo>
                      <a:pt x="95994" y="455612"/>
                      <a:pt x="101009" y="455612"/>
                      <a:pt x="106740" y="455612"/>
                    </a:cubicBezTo>
                    <a:cubicBezTo>
                      <a:pt x="111754" y="455612"/>
                      <a:pt x="116769" y="455612"/>
                      <a:pt x="122500" y="455612"/>
                    </a:cubicBezTo>
                    <a:cubicBezTo>
                      <a:pt x="126798" y="455612"/>
                      <a:pt x="131096" y="455612"/>
                      <a:pt x="136111" y="455612"/>
                    </a:cubicBezTo>
                    <a:cubicBezTo>
                      <a:pt x="141125" y="455612"/>
                      <a:pt x="146140" y="455612"/>
                      <a:pt x="151871" y="455612"/>
                    </a:cubicBezTo>
                    <a:cubicBezTo>
                      <a:pt x="156886" y="455612"/>
                      <a:pt x="161900" y="455612"/>
                      <a:pt x="167631" y="455612"/>
                    </a:cubicBezTo>
                    <a:cubicBezTo>
                      <a:pt x="181958" y="455612"/>
                      <a:pt x="195570" y="455612"/>
                      <a:pt x="208464" y="455612"/>
                    </a:cubicBezTo>
                    <a:cubicBezTo>
                      <a:pt x="229955" y="455612"/>
                      <a:pt x="249297" y="455612"/>
                      <a:pt x="266490" y="455612"/>
                    </a:cubicBezTo>
                    <a:cubicBezTo>
                      <a:pt x="272221" y="455612"/>
                      <a:pt x="277236" y="455612"/>
                      <a:pt x="282250" y="455612"/>
                    </a:cubicBezTo>
                    <a:cubicBezTo>
                      <a:pt x="287981" y="455612"/>
                      <a:pt x="292996" y="455612"/>
                      <a:pt x="298011" y="455612"/>
                    </a:cubicBezTo>
                    <a:cubicBezTo>
                      <a:pt x="303742" y="455612"/>
                      <a:pt x="308756" y="455612"/>
                      <a:pt x="313771" y="455612"/>
                    </a:cubicBezTo>
                    <a:cubicBezTo>
                      <a:pt x="319502" y="455612"/>
                      <a:pt x="324516" y="455612"/>
                      <a:pt x="329531" y="455612"/>
                    </a:cubicBezTo>
                    <a:cubicBezTo>
                      <a:pt x="334546" y="455612"/>
                      <a:pt x="338844" y="455612"/>
                      <a:pt x="343142" y="455612"/>
                    </a:cubicBezTo>
                    <a:cubicBezTo>
                      <a:pt x="348873" y="455612"/>
                      <a:pt x="354604" y="455612"/>
                      <a:pt x="358902" y="455612"/>
                    </a:cubicBezTo>
                    <a:cubicBezTo>
                      <a:pt x="364633" y="455612"/>
                      <a:pt x="370364" y="455612"/>
                      <a:pt x="374662" y="455612"/>
                    </a:cubicBezTo>
                    <a:cubicBezTo>
                      <a:pt x="440568" y="455612"/>
                      <a:pt x="440568" y="455612"/>
                      <a:pt x="440568" y="455612"/>
                    </a:cubicBezTo>
                    <a:cubicBezTo>
                      <a:pt x="447016" y="455612"/>
                      <a:pt x="452030" y="459119"/>
                      <a:pt x="454179" y="464029"/>
                    </a:cubicBezTo>
                    <a:cubicBezTo>
                      <a:pt x="455612" y="466134"/>
                      <a:pt x="455612" y="468238"/>
                      <a:pt x="455612" y="471044"/>
                    </a:cubicBezTo>
                    <a:cubicBezTo>
                      <a:pt x="455612" y="478760"/>
                      <a:pt x="449881" y="485774"/>
                      <a:pt x="440568" y="485774"/>
                    </a:cubicBezTo>
                    <a:cubicBezTo>
                      <a:pt x="417645" y="485774"/>
                      <a:pt x="395437" y="485774"/>
                      <a:pt x="374662" y="485774"/>
                    </a:cubicBezTo>
                    <a:cubicBezTo>
                      <a:pt x="369648" y="485774"/>
                      <a:pt x="364633" y="485774"/>
                      <a:pt x="358902" y="485774"/>
                    </a:cubicBezTo>
                    <a:cubicBezTo>
                      <a:pt x="353888" y="485774"/>
                      <a:pt x="348873" y="485774"/>
                      <a:pt x="343142" y="485774"/>
                    </a:cubicBezTo>
                    <a:cubicBezTo>
                      <a:pt x="338844" y="485774"/>
                      <a:pt x="334546" y="485774"/>
                      <a:pt x="329531" y="485774"/>
                    </a:cubicBezTo>
                    <a:cubicBezTo>
                      <a:pt x="324516" y="485774"/>
                      <a:pt x="319502" y="485774"/>
                      <a:pt x="313771" y="485774"/>
                    </a:cubicBezTo>
                    <a:cubicBezTo>
                      <a:pt x="308756" y="485774"/>
                      <a:pt x="303742" y="485774"/>
                      <a:pt x="298011" y="485774"/>
                    </a:cubicBezTo>
                    <a:cubicBezTo>
                      <a:pt x="292996" y="485774"/>
                      <a:pt x="287981" y="485774"/>
                      <a:pt x="282250" y="485774"/>
                    </a:cubicBezTo>
                    <a:cubicBezTo>
                      <a:pt x="277236" y="485774"/>
                      <a:pt x="272221" y="485774"/>
                      <a:pt x="266490" y="485774"/>
                    </a:cubicBezTo>
                    <a:cubicBezTo>
                      <a:pt x="227806" y="485774"/>
                      <a:pt x="194853" y="485774"/>
                      <a:pt x="167631" y="485774"/>
                    </a:cubicBezTo>
                    <a:cubicBezTo>
                      <a:pt x="161900" y="485774"/>
                      <a:pt x="156886" y="485774"/>
                      <a:pt x="151871" y="485774"/>
                    </a:cubicBezTo>
                    <a:cubicBezTo>
                      <a:pt x="146140" y="485774"/>
                      <a:pt x="141125" y="485774"/>
                      <a:pt x="136111" y="485774"/>
                    </a:cubicBezTo>
                    <a:cubicBezTo>
                      <a:pt x="131096" y="485774"/>
                      <a:pt x="126798" y="485774"/>
                      <a:pt x="122500" y="485774"/>
                    </a:cubicBezTo>
                    <a:cubicBezTo>
                      <a:pt x="116769" y="485774"/>
                      <a:pt x="111038" y="485774"/>
                      <a:pt x="106740" y="485774"/>
                    </a:cubicBezTo>
                    <a:cubicBezTo>
                      <a:pt x="101009" y="485774"/>
                      <a:pt x="95278" y="485774"/>
                      <a:pt x="90979" y="485774"/>
                    </a:cubicBezTo>
                    <a:cubicBezTo>
                      <a:pt x="15044" y="485774"/>
                      <a:pt x="15044" y="485774"/>
                      <a:pt x="15044" y="485774"/>
                    </a:cubicBezTo>
                    <a:cubicBezTo>
                      <a:pt x="6448" y="485774"/>
                      <a:pt x="0" y="478760"/>
                      <a:pt x="0" y="471044"/>
                    </a:cubicBezTo>
                    <a:cubicBezTo>
                      <a:pt x="0" y="462627"/>
                      <a:pt x="6448" y="455612"/>
                      <a:pt x="15044" y="455612"/>
                    </a:cubicBezTo>
                    <a:close/>
                    <a:moveTo>
                      <a:pt x="601663" y="433387"/>
                    </a:moveTo>
                    <a:cubicBezTo>
                      <a:pt x="646907" y="433387"/>
                      <a:pt x="646907" y="433387"/>
                      <a:pt x="646907" y="433387"/>
                    </a:cubicBezTo>
                    <a:cubicBezTo>
                      <a:pt x="653370" y="433387"/>
                      <a:pt x="658397" y="436978"/>
                      <a:pt x="660552" y="442005"/>
                    </a:cubicBezTo>
                    <a:cubicBezTo>
                      <a:pt x="661270" y="444159"/>
                      <a:pt x="661988" y="446314"/>
                      <a:pt x="661988" y="448468"/>
                    </a:cubicBezTo>
                    <a:cubicBezTo>
                      <a:pt x="661988" y="456368"/>
                      <a:pt x="655525" y="463549"/>
                      <a:pt x="646907" y="463549"/>
                    </a:cubicBezTo>
                    <a:cubicBezTo>
                      <a:pt x="631108" y="463549"/>
                      <a:pt x="616026" y="463549"/>
                      <a:pt x="601663" y="463549"/>
                    </a:cubicBezTo>
                    <a:cubicBezTo>
                      <a:pt x="601663" y="463549"/>
                      <a:pt x="601663" y="463549"/>
                      <a:pt x="601663" y="442005"/>
                    </a:cubicBezTo>
                    <a:cubicBezTo>
                      <a:pt x="601663" y="442005"/>
                      <a:pt x="601663" y="442005"/>
                      <a:pt x="601663" y="433387"/>
                    </a:cubicBezTo>
                    <a:close/>
                    <a:moveTo>
                      <a:pt x="808038" y="411162"/>
                    </a:moveTo>
                    <a:cubicBezTo>
                      <a:pt x="853926" y="411162"/>
                      <a:pt x="853926" y="411162"/>
                      <a:pt x="853926" y="411162"/>
                    </a:cubicBezTo>
                    <a:cubicBezTo>
                      <a:pt x="863395" y="411162"/>
                      <a:pt x="869950" y="418177"/>
                      <a:pt x="869950" y="425892"/>
                    </a:cubicBezTo>
                    <a:cubicBezTo>
                      <a:pt x="869950" y="434310"/>
                      <a:pt x="863395" y="441324"/>
                      <a:pt x="853926" y="441324"/>
                    </a:cubicBezTo>
                    <a:cubicBezTo>
                      <a:pt x="838630" y="441324"/>
                      <a:pt x="823334" y="441324"/>
                      <a:pt x="808038" y="441324"/>
                    </a:cubicBezTo>
                    <a:cubicBezTo>
                      <a:pt x="808038" y="441324"/>
                      <a:pt x="808038" y="441324"/>
                      <a:pt x="808038" y="411162"/>
                    </a:cubicBezTo>
                    <a:close/>
                    <a:moveTo>
                      <a:pt x="15044" y="352425"/>
                    </a:moveTo>
                    <a:cubicBezTo>
                      <a:pt x="42266" y="352425"/>
                      <a:pt x="67339" y="352425"/>
                      <a:pt x="90979" y="352425"/>
                    </a:cubicBezTo>
                    <a:cubicBezTo>
                      <a:pt x="95994" y="352425"/>
                      <a:pt x="101009" y="352425"/>
                      <a:pt x="106740" y="352425"/>
                    </a:cubicBezTo>
                    <a:cubicBezTo>
                      <a:pt x="111754" y="352425"/>
                      <a:pt x="116769" y="352425"/>
                      <a:pt x="122500" y="352425"/>
                    </a:cubicBezTo>
                    <a:cubicBezTo>
                      <a:pt x="126798" y="352425"/>
                      <a:pt x="131096" y="352425"/>
                      <a:pt x="136111" y="352425"/>
                    </a:cubicBezTo>
                    <a:cubicBezTo>
                      <a:pt x="141125" y="352425"/>
                      <a:pt x="146140" y="352425"/>
                      <a:pt x="151871" y="352425"/>
                    </a:cubicBezTo>
                    <a:cubicBezTo>
                      <a:pt x="156886" y="352425"/>
                      <a:pt x="161900" y="352425"/>
                      <a:pt x="167631" y="352425"/>
                    </a:cubicBezTo>
                    <a:cubicBezTo>
                      <a:pt x="181958" y="352425"/>
                      <a:pt x="195570" y="352425"/>
                      <a:pt x="209181" y="352425"/>
                    </a:cubicBezTo>
                    <a:cubicBezTo>
                      <a:pt x="229955" y="352425"/>
                      <a:pt x="249297" y="352425"/>
                      <a:pt x="266490" y="352425"/>
                    </a:cubicBezTo>
                    <a:cubicBezTo>
                      <a:pt x="272221" y="352425"/>
                      <a:pt x="277236" y="352425"/>
                      <a:pt x="282250" y="352425"/>
                    </a:cubicBezTo>
                    <a:cubicBezTo>
                      <a:pt x="287981" y="352425"/>
                      <a:pt x="292996" y="352425"/>
                      <a:pt x="298011" y="352425"/>
                    </a:cubicBezTo>
                    <a:cubicBezTo>
                      <a:pt x="303742" y="352425"/>
                      <a:pt x="308756" y="352425"/>
                      <a:pt x="313771" y="352425"/>
                    </a:cubicBezTo>
                    <a:cubicBezTo>
                      <a:pt x="319502" y="352425"/>
                      <a:pt x="324516" y="352425"/>
                      <a:pt x="329531" y="352425"/>
                    </a:cubicBezTo>
                    <a:cubicBezTo>
                      <a:pt x="334546" y="352425"/>
                      <a:pt x="338844" y="352425"/>
                      <a:pt x="343142" y="352425"/>
                    </a:cubicBezTo>
                    <a:cubicBezTo>
                      <a:pt x="348873" y="352425"/>
                      <a:pt x="354604" y="352425"/>
                      <a:pt x="358902" y="352425"/>
                    </a:cubicBezTo>
                    <a:cubicBezTo>
                      <a:pt x="364633" y="352425"/>
                      <a:pt x="370364" y="352425"/>
                      <a:pt x="374662" y="352425"/>
                    </a:cubicBezTo>
                    <a:cubicBezTo>
                      <a:pt x="440568" y="352425"/>
                      <a:pt x="440568" y="352425"/>
                      <a:pt x="440568" y="352425"/>
                    </a:cubicBezTo>
                    <a:cubicBezTo>
                      <a:pt x="447016" y="352425"/>
                      <a:pt x="452030" y="356033"/>
                      <a:pt x="454179" y="361084"/>
                    </a:cubicBezTo>
                    <a:cubicBezTo>
                      <a:pt x="455612" y="363249"/>
                      <a:pt x="455612" y="366135"/>
                      <a:pt x="455612" y="368300"/>
                    </a:cubicBezTo>
                    <a:cubicBezTo>
                      <a:pt x="455612" y="376959"/>
                      <a:pt x="449881" y="384175"/>
                      <a:pt x="440568" y="384175"/>
                    </a:cubicBezTo>
                    <a:cubicBezTo>
                      <a:pt x="417645" y="384175"/>
                      <a:pt x="395437" y="384175"/>
                      <a:pt x="374662" y="384175"/>
                    </a:cubicBezTo>
                    <a:cubicBezTo>
                      <a:pt x="369648" y="384175"/>
                      <a:pt x="364633" y="384175"/>
                      <a:pt x="358902" y="384175"/>
                    </a:cubicBezTo>
                    <a:cubicBezTo>
                      <a:pt x="353888" y="384175"/>
                      <a:pt x="348873" y="384175"/>
                      <a:pt x="343142" y="384175"/>
                    </a:cubicBezTo>
                    <a:cubicBezTo>
                      <a:pt x="338844" y="384175"/>
                      <a:pt x="334546" y="384175"/>
                      <a:pt x="329531" y="384175"/>
                    </a:cubicBezTo>
                    <a:cubicBezTo>
                      <a:pt x="324516" y="384175"/>
                      <a:pt x="319502" y="384175"/>
                      <a:pt x="313771" y="384175"/>
                    </a:cubicBezTo>
                    <a:cubicBezTo>
                      <a:pt x="308756" y="384175"/>
                      <a:pt x="303742" y="384175"/>
                      <a:pt x="298011" y="384175"/>
                    </a:cubicBezTo>
                    <a:cubicBezTo>
                      <a:pt x="292996" y="384175"/>
                      <a:pt x="287981" y="384175"/>
                      <a:pt x="282250" y="384175"/>
                    </a:cubicBezTo>
                    <a:cubicBezTo>
                      <a:pt x="277236" y="384175"/>
                      <a:pt x="272221" y="384175"/>
                      <a:pt x="266490" y="384175"/>
                    </a:cubicBezTo>
                    <a:cubicBezTo>
                      <a:pt x="227806" y="384175"/>
                      <a:pt x="194853" y="384175"/>
                      <a:pt x="167631" y="384175"/>
                    </a:cubicBezTo>
                    <a:cubicBezTo>
                      <a:pt x="161900" y="384175"/>
                      <a:pt x="156886" y="384175"/>
                      <a:pt x="151871" y="384175"/>
                    </a:cubicBezTo>
                    <a:cubicBezTo>
                      <a:pt x="146140" y="384175"/>
                      <a:pt x="141125" y="384175"/>
                      <a:pt x="136111" y="384175"/>
                    </a:cubicBezTo>
                    <a:cubicBezTo>
                      <a:pt x="131096" y="384175"/>
                      <a:pt x="126798" y="384175"/>
                      <a:pt x="122500" y="384175"/>
                    </a:cubicBezTo>
                    <a:cubicBezTo>
                      <a:pt x="116769" y="384175"/>
                      <a:pt x="111038" y="384175"/>
                      <a:pt x="106740" y="384175"/>
                    </a:cubicBezTo>
                    <a:cubicBezTo>
                      <a:pt x="101009" y="384175"/>
                      <a:pt x="95278" y="384175"/>
                      <a:pt x="90979" y="384175"/>
                    </a:cubicBezTo>
                    <a:cubicBezTo>
                      <a:pt x="15044" y="384175"/>
                      <a:pt x="15044" y="384175"/>
                      <a:pt x="15044" y="384175"/>
                    </a:cubicBezTo>
                    <a:cubicBezTo>
                      <a:pt x="6448" y="384175"/>
                      <a:pt x="0" y="376959"/>
                      <a:pt x="0" y="368300"/>
                    </a:cubicBezTo>
                    <a:cubicBezTo>
                      <a:pt x="0" y="359641"/>
                      <a:pt x="6448" y="352425"/>
                      <a:pt x="15044" y="352425"/>
                    </a:cubicBezTo>
                    <a:close/>
                    <a:moveTo>
                      <a:pt x="601663" y="330200"/>
                    </a:moveTo>
                    <a:cubicBezTo>
                      <a:pt x="646907" y="330200"/>
                      <a:pt x="646907" y="330200"/>
                      <a:pt x="646907" y="330200"/>
                    </a:cubicBezTo>
                    <a:cubicBezTo>
                      <a:pt x="653370" y="330200"/>
                      <a:pt x="658397" y="333707"/>
                      <a:pt x="660552" y="338617"/>
                    </a:cubicBezTo>
                    <a:cubicBezTo>
                      <a:pt x="661270" y="340722"/>
                      <a:pt x="661988" y="342826"/>
                      <a:pt x="661988" y="344930"/>
                    </a:cubicBezTo>
                    <a:cubicBezTo>
                      <a:pt x="661988" y="353348"/>
                      <a:pt x="655525" y="360362"/>
                      <a:pt x="646907" y="360362"/>
                    </a:cubicBezTo>
                    <a:cubicBezTo>
                      <a:pt x="631108" y="360362"/>
                      <a:pt x="616026" y="360362"/>
                      <a:pt x="601663" y="360362"/>
                    </a:cubicBezTo>
                    <a:cubicBezTo>
                      <a:pt x="601663" y="360362"/>
                      <a:pt x="601663" y="360362"/>
                      <a:pt x="601663" y="338617"/>
                    </a:cubicBezTo>
                    <a:cubicBezTo>
                      <a:pt x="601663" y="338617"/>
                      <a:pt x="601663" y="338617"/>
                      <a:pt x="601663" y="330200"/>
                    </a:cubicBezTo>
                    <a:close/>
                    <a:moveTo>
                      <a:pt x="808038" y="307975"/>
                    </a:moveTo>
                    <a:cubicBezTo>
                      <a:pt x="853926" y="307975"/>
                      <a:pt x="853926" y="307975"/>
                      <a:pt x="853926" y="307975"/>
                    </a:cubicBezTo>
                    <a:cubicBezTo>
                      <a:pt x="863395" y="307975"/>
                      <a:pt x="869950" y="315156"/>
                      <a:pt x="869950" y="323056"/>
                    </a:cubicBezTo>
                    <a:cubicBezTo>
                      <a:pt x="869950" y="330955"/>
                      <a:pt x="863395" y="338137"/>
                      <a:pt x="853926" y="338137"/>
                    </a:cubicBezTo>
                    <a:cubicBezTo>
                      <a:pt x="838630" y="338137"/>
                      <a:pt x="823334" y="338137"/>
                      <a:pt x="808038" y="338137"/>
                    </a:cubicBezTo>
                    <a:cubicBezTo>
                      <a:pt x="808038" y="338137"/>
                      <a:pt x="808038" y="338137"/>
                      <a:pt x="808038" y="307975"/>
                    </a:cubicBezTo>
                    <a:close/>
                    <a:moveTo>
                      <a:pt x="15044" y="249237"/>
                    </a:moveTo>
                    <a:cubicBezTo>
                      <a:pt x="42266" y="249237"/>
                      <a:pt x="67339" y="249237"/>
                      <a:pt x="90979" y="249237"/>
                    </a:cubicBezTo>
                    <a:cubicBezTo>
                      <a:pt x="95994" y="249237"/>
                      <a:pt x="101009" y="249237"/>
                      <a:pt x="106740" y="249237"/>
                    </a:cubicBezTo>
                    <a:cubicBezTo>
                      <a:pt x="111754" y="249237"/>
                      <a:pt x="116769" y="249237"/>
                      <a:pt x="122500" y="249237"/>
                    </a:cubicBezTo>
                    <a:cubicBezTo>
                      <a:pt x="126798" y="249237"/>
                      <a:pt x="131096" y="249237"/>
                      <a:pt x="136111" y="249237"/>
                    </a:cubicBezTo>
                    <a:cubicBezTo>
                      <a:pt x="141125" y="249237"/>
                      <a:pt x="146140" y="249237"/>
                      <a:pt x="151871" y="249237"/>
                    </a:cubicBezTo>
                    <a:cubicBezTo>
                      <a:pt x="156886" y="249237"/>
                      <a:pt x="161900" y="249237"/>
                      <a:pt x="167631" y="249237"/>
                    </a:cubicBezTo>
                    <a:cubicBezTo>
                      <a:pt x="181958" y="249237"/>
                      <a:pt x="195570" y="249237"/>
                      <a:pt x="209181" y="249237"/>
                    </a:cubicBezTo>
                    <a:cubicBezTo>
                      <a:pt x="229955" y="249237"/>
                      <a:pt x="249297" y="249237"/>
                      <a:pt x="266490" y="249237"/>
                    </a:cubicBezTo>
                    <a:cubicBezTo>
                      <a:pt x="272221" y="249237"/>
                      <a:pt x="277236" y="249237"/>
                      <a:pt x="282250" y="249237"/>
                    </a:cubicBezTo>
                    <a:cubicBezTo>
                      <a:pt x="287981" y="249237"/>
                      <a:pt x="292996" y="249237"/>
                      <a:pt x="298011" y="249237"/>
                    </a:cubicBezTo>
                    <a:cubicBezTo>
                      <a:pt x="303742" y="249237"/>
                      <a:pt x="308756" y="249237"/>
                      <a:pt x="313771" y="249237"/>
                    </a:cubicBezTo>
                    <a:cubicBezTo>
                      <a:pt x="319502" y="249237"/>
                      <a:pt x="324516" y="249237"/>
                      <a:pt x="329531" y="249237"/>
                    </a:cubicBezTo>
                    <a:cubicBezTo>
                      <a:pt x="334546" y="249237"/>
                      <a:pt x="338844" y="249237"/>
                      <a:pt x="343142" y="249237"/>
                    </a:cubicBezTo>
                    <a:cubicBezTo>
                      <a:pt x="348873" y="249237"/>
                      <a:pt x="354604" y="249237"/>
                      <a:pt x="358902" y="249237"/>
                    </a:cubicBezTo>
                    <a:cubicBezTo>
                      <a:pt x="364633" y="249237"/>
                      <a:pt x="370364" y="249237"/>
                      <a:pt x="374662" y="249237"/>
                    </a:cubicBezTo>
                    <a:cubicBezTo>
                      <a:pt x="440568" y="249237"/>
                      <a:pt x="440568" y="249237"/>
                      <a:pt x="440568" y="249237"/>
                    </a:cubicBezTo>
                    <a:cubicBezTo>
                      <a:pt x="447016" y="249237"/>
                      <a:pt x="452030" y="252190"/>
                      <a:pt x="454179" y="258097"/>
                    </a:cubicBezTo>
                    <a:cubicBezTo>
                      <a:pt x="455612" y="260312"/>
                      <a:pt x="455612" y="262528"/>
                      <a:pt x="455612" y="265481"/>
                    </a:cubicBezTo>
                    <a:cubicBezTo>
                      <a:pt x="455612" y="273603"/>
                      <a:pt x="449881" y="280987"/>
                      <a:pt x="440568" y="280987"/>
                    </a:cubicBezTo>
                    <a:cubicBezTo>
                      <a:pt x="417645" y="280987"/>
                      <a:pt x="395437" y="280987"/>
                      <a:pt x="374662" y="280987"/>
                    </a:cubicBezTo>
                    <a:cubicBezTo>
                      <a:pt x="369648" y="280987"/>
                      <a:pt x="364633" y="280987"/>
                      <a:pt x="358902" y="280987"/>
                    </a:cubicBezTo>
                    <a:cubicBezTo>
                      <a:pt x="353888" y="280987"/>
                      <a:pt x="348873" y="280987"/>
                      <a:pt x="343142" y="280987"/>
                    </a:cubicBezTo>
                    <a:cubicBezTo>
                      <a:pt x="338844" y="280987"/>
                      <a:pt x="334546" y="280987"/>
                      <a:pt x="329531" y="280987"/>
                    </a:cubicBezTo>
                    <a:cubicBezTo>
                      <a:pt x="324516" y="280987"/>
                      <a:pt x="319502" y="280987"/>
                      <a:pt x="313771" y="280987"/>
                    </a:cubicBezTo>
                    <a:cubicBezTo>
                      <a:pt x="308756" y="280987"/>
                      <a:pt x="303742" y="280987"/>
                      <a:pt x="298011" y="280987"/>
                    </a:cubicBezTo>
                    <a:cubicBezTo>
                      <a:pt x="292996" y="280987"/>
                      <a:pt x="287981" y="280987"/>
                      <a:pt x="282250" y="280987"/>
                    </a:cubicBezTo>
                    <a:cubicBezTo>
                      <a:pt x="277236" y="280987"/>
                      <a:pt x="272221" y="280987"/>
                      <a:pt x="266490" y="280987"/>
                    </a:cubicBezTo>
                    <a:cubicBezTo>
                      <a:pt x="227806" y="280987"/>
                      <a:pt x="194853" y="280987"/>
                      <a:pt x="167631" y="280987"/>
                    </a:cubicBezTo>
                    <a:cubicBezTo>
                      <a:pt x="161900" y="280987"/>
                      <a:pt x="156886" y="280987"/>
                      <a:pt x="151871" y="280987"/>
                    </a:cubicBezTo>
                    <a:cubicBezTo>
                      <a:pt x="146140" y="280987"/>
                      <a:pt x="141125" y="280987"/>
                      <a:pt x="136111" y="280987"/>
                    </a:cubicBezTo>
                    <a:cubicBezTo>
                      <a:pt x="131096" y="280987"/>
                      <a:pt x="126798" y="280987"/>
                      <a:pt x="122500" y="280987"/>
                    </a:cubicBezTo>
                    <a:cubicBezTo>
                      <a:pt x="116769" y="280987"/>
                      <a:pt x="111038" y="280987"/>
                      <a:pt x="106740" y="280987"/>
                    </a:cubicBezTo>
                    <a:cubicBezTo>
                      <a:pt x="101009" y="280987"/>
                      <a:pt x="95278" y="280987"/>
                      <a:pt x="90979" y="280987"/>
                    </a:cubicBezTo>
                    <a:cubicBezTo>
                      <a:pt x="15044" y="280987"/>
                      <a:pt x="15044" y="280987"/>
                      <a:pt x="15044" y="280987"/>
                    </a:cubicBezTo>
                    <a:cubicBezTo>
                      <a:pt x="6448" y="280987"/>
                      <a:pt x="0" y="273603"/>
                      <a:pt x="0" y="265481"/>
                    </a:cubicBezTo>
                    <a:cubicBezTo>
                      <a:pt x="0" y="255882"/>
                      <a:pt x="6448" y="249237"/>
                      <a:pt x="15044" y="249237"/>
                    </a:cubicBezTo>
                    <a:close/>
                    <a:moveTo>
                      <a:pt x="601663" y="227012"/>
                    </a:moveTo>
                    <a:cubicBezTo>
                      <a:pt x="646907" y="227012"/>
                      <a:pt x="646907" y="227012"/>
                      <a:pt x="646907" y="227012"/>
                    </a:cubicBezTo>
                    <a:cubicBezTo>
                      <a:pt x="653370" y="227012"/>
                      <a:pt x="658397" y="230620"/>
                      <a:pt x="660552" y="235671"/>
                    </a:cubicBezTo>
                    <a:cubicBezTo>
                      <a:pt x="661270" y="237836"/>
                      <a:pt x="661988" y="240001"/>
                      <a:pt x="661988" y="242887"/>
                    </a:cubicBezTo>
                    <a:cubicBezTo>
                      <a:pt x="661988" y="251546"/>
                      <a:pt x="655525" y="258762"/>
                      <a:pt x="646907" y="258762"/>
                    </a:cubicBezTo>
                    <a:cubicBezTo>
                      <a:pt x="631108" y="258762"/>
                      <a:pt x="616026" y="258762"/>
                      <a:pt x="601663" y="258762"/>
                    </a:cubicBezTo>
                    <a:cubicBezTo>
                      <a:pt x="601663" y="258762"/>
                      <a:pt x="601663" y="258762"/>
                      <a:pt x="601663" y="235671"/>
                    </a:cubicBezTo>
                    <a:cubicBezTo>
                      <a:pt x="601663" y="235671"/>
                      <a:pt x="601663" y="235671"/>
                      <a:pt x="601663" y="227012"/>
                    </a:cubicBezTo>
                    <a:close/>
                    <a:moveTo>
                      <a:pt x="808038" y="204787"/>
                    </a:moveTo>
                    <a:cubicBezTo>
                      <a:pt x="853926" y="204787"/>
                      <a:pt x="853926" y="204787"/>
                      <a:pt x="853926" y="204787"/>
                    </a:cubicBezTo>
                    <a:cubicBezTo>
                      <a:pt x="863395" y="204787"/>
                      <a:pt x="869950" y="211100"/>
                      <a:pt x="869950" y="219517"/>
                    </a:cubicBezTo>
                    <a:cubicBezTo>
                      <a:pt x="869950" y="227934"/>
                      <a:pt x="863395" y="234949"/>
                      <a:pt x="853926" y="234949"/>
                    </a:cubicBezTo>
                    <a:cubicBezTo>
                      <a:pt x="838630" y="234949"/>
                      <a:pt x="823334" y="234949"/>
                      <a:pt x="808038" y="234949"/>
                    </a:cubicBezTo>
                    <a:cubicBezTo>
                      <a:pt x="808038" y="234949"/>
                      <a:pt x="808038" y="234949"/>
                      <a:pt x="808038" y="204787"/>
                    </a:cubicBezTo>
                    <a:close/>
                    <a:moveTo>
                      <a:pt x="601663" y="125412"/>
                    </a:moveTo>
                    <a:cubicBezTo>
                      <a:pt x="646907" y="125412"/>
                      <a:pt x="646907" y="125412"/>
                      <a:pt x="646907" y="125412"/>
                    </a:cubicBezTo>
                    <a:cubicBezTo>
                      <a:pt x="653370" y="125412"/>
                      <a:pt x="658397" y="128218"/>
                      <a:pt x="660552" y="133829"/>
                    </a:cubicBezTo>
                    <a:cubicBezTo>
                      <a:pt x="661270" y="135934"/>
                      <a:pt x="661988" y="138038"/>
                      <a:pt x="661988" y="140142"/>
                    </a:cubicBezTo>
                    <a:cubicBezTo>
                      <a:pt x="661988" y="148559"/>
                      <a:pt x="655525" y="155574"/>
                      <a:pt x="646907" y="155574"/>
                    </a:cubicBezTo>
                    <a:cubicBezTo>
                      <a:pt x="631108" y="155574"/>
                      <a:pt x="616026" y="155574"/>
                      <a:pt x="601663" y="155574"/>
                    </a:cubicBezTo>
                    <a:cubicBezTo>
                      <a:pt x="601663" y="155574"/>
                      <a:pt x="601663" y="155574"/>
                      <a:pt x="601663" y="133829"/>
                    </a:cubicBezTo>
                    <a:cubicBezTo>
                      <a:pt x="601663" y="133829"/>
                      <a:pt x="601663" y="133829"/>
                      <a:pt x="601663" y="125412"/>
                    </a:cubicBezTo>
                    <a:close/>
                    <a:moveTo>
                      <a:pt x="808038" y="101600"/>
                    </a:moveTo>
                    <a:cubicBezTo>
                      <a:pt x="853926" y="101600"/>
                      <a:pt x="853926" y="101600"/>
                      <a:pt x="853926" y="101600"/>
                    </a:cubicBezTo>
                    <a:cubicBezTo>
                      <a:pt x="863395" y="101600"/>
                      <a:pt x="869950" y="108816"/>
                      <a:pt x="869950" y="117475"/>
                    </a:cubicBezTo>
                    <a:cubicBezTo>
                      <a:pt x="869950" y="126134"/>
                      <a:pt x="863395" y="133350"/>
                      <a:pt x="853926" y="133350"/>
                    </a:cubicBezTo>
                    <a:cubicBezTo>
                      <a:pt x="838630" y="133350"/>
                      <a:pt x="823334" y="133350"/>
                      <a:pt x="808038" y="133350"/>
                    </a:cubicBezTo>
                    <a:cubicBezTo>
                      <a:pt x="808038" y="133350"/>
                      <a:pt x="808038" y="133350"/>
                      <a:pt x="808038" y="101600"/>
                    </a:cubicBezTo>
                    <a:close/>
                    <a:moveTo>
                      <a:pt x="808038" y="0"/>
                    </a:moveTo>
                    <a:cubicBezTo>
                      <a:pt x="853926" y="0"/>
                      <a:pt x="853926" y="0"/>
                      <a:pt x="853926" y="0"/>
                    </a:cubicBezTo>
                    <a:cubicBezTo>
                      <a:pt x="863395" y="0"/>
                      <a:pt x="869950" y="6313"/>
                      <a:pt x="869950" y="14730"/>
                    </a:cubicBezTo>
                    <a:cubicBezTo>
                      <a:pt x="869950" y="23147"/>
                      <a:pt x="863395" y="30162"/>
                      <a:pt x="853926" y="30162"/>
                    </a:cubicBezTo>
                    <a:cubicBezTo>
                      <a:pt x="838630" y="30162"/>
                      <a:pt x="823334" y="30162"/>
                      <a:pt x="808038" y="30162"/>
                    </a:cubicBezTo>
                    <a:cubicBezTo>
                      <a:pt x="808038" y="30162"/>
                      <a:pt x="808038" y="30162"/>
                      <a:pt x="808038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275B3A3D-D472-4224-8D25-C41C29917A97}"/>
              </a:ext>
            </a:extLst>
          </p:cNvPr>
          <p:cNvSpPr/>
          <p:nvPr/>
        </p:nvSpPr>
        <p:spPr>
          <a:xfrm>
            <a:off x="1810203" y="2361714"/>
            <a:ext cx="1858190" cy="733647"/>
          </a:xfrm>
          <a:prstGeom prst="round2SameRect">
            <a:avLst>
              <a:gd name="adj1" fmla="val 29227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Employers needed to be referred per Market Maker monthly</a:t>
            </a:r>
          </a:p>
        </p:txBody>
      </p:sp>
      <p:sp>
        <p:nvSpPr>
          <p:cNvPr id="27" name="Rectangle: Top Corners Rounded 26">
            <a:extLst>
              <a:ext uri="{FF2B5EF4-FFF2-40B4-BE49-F238E27FC236}">
                <a16:creationId xmlns:a16="http://schemas.microsoft.com/office/drawing/2014/main" id="{4C522A3B-B583-4911-A080-5FBC78FBCC08}"/>
              </a:ext>
            </a:extLst>
          </p:cNvPr>
          <p:cNvSpPr/>
          <p:nvPr/>
        </p:nvSpPr>
        <p:spPr>
          <a:xfrm>
            <a:off x="3788550" y="2361714"/>
            <a:ext cx="1858190" cy="733647"/>
          </a:xfrm>
          <a:prstGeom prst="round2SameRect">
            <a:avLst>
              <a:gd name="adj1" fmla="val 29227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Employers referred per Market Maker in each year of funding</a:t>
            </a:r>
          </a:p>
        </p:txBody>
      </p:sp>
      <p:sp>
        <p:nvSpPr>
          <p:cNvPr id="29" name="Rectangle: Top Corners Rounded 28">
            <a:extLst>
              <a:ext uri="{FF2B5EF4-FFF2-40B4-BE49-F238E27FC236}">
                <a16:creationId xmlns:a16="http://schemas.microsoft.com/office/drawing/2014/main" id="{C2BF602A-6870-46D6-A102-49CF3BEB7F5E}"/>
              </a:ext>
            </a:extLst>
          </p:cNvPr>
          <p:cNvSpPr/>
          <p:nvPr/>
        </p:nvSpPr>
        <p:spPr>
          <a:xfrm>
            <a:off x="5766898" y="2361714"/>
            <a:ext cx="1858190" cy="733647"/>
          </a:xfrm>
          <a:prstGeom prst="round2SameRect">
            <a:avLst>
              <a:gd name="adj1" fmla="val 29227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Employers referred per Market Maker</a:t>
            </a:r>
          </a:p>
        </p:txBody>
      </p:sp>
      <p:sp>
        <p:nvSpPr>
          <p:cNvPr id="31" name="Rectangle: Top Corners Rounded 30">
            <a:extLst>
              <a:ext uri="{FF2B5EF4-FFF2-40B4-BE49-F238E27FC236}">
                <a16:creationId xmlns:a16="http://schemas.microsoft.com/office/drawing/2014/main" id="{23887F0C-96BB-4477-835E-0E04AD412ED2}"/>
              </a:ext>
            </a:extLst>
          </p:cNvPr>
          <p:cNvSpPr/>
          <p:nvPr/>
        </p:nvSpPr>
        <p:spPr>
          <a:xfrm>
            <a:off x="7745245" y="2361714"/>
            <a:ext cx="1858190" cy="733647"/>
          </a:xfrm>
          <a:prstGeom prst="round2SameRect">
            <a:avLst>
              <a:gd name="adj1" fmla="val 30711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Total employers referred to start training partnerships</a:t>
            </a:r>
          </a:p>
        </p:txBody>
      </p: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id="{4C51C9CA-2995-42F8-98FA-323ECD9766C3}"/>
              </a:ext>
            </a:extLst>
          </p:cNvPr>
          <p:cNvSpPr/>
          <p:nvPr/>
        </p:nvSpPr>
        <p:spPr>
          <a:xfrm>
            <a:off x="9723594" y="2361714"/>
            <a:ext cx="1858190" cy="733647"/>
          </a:xfrm>
          <a:prstGeom prst="round2SameRect">
            <a:avLst>
              <a:gd name="adj1" fmla="val 30711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Number of CTI, WCTF, RENEW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grants submitted</a:t>
            </a:r>
          </a:p>
        </p:txBody>
      </p: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92064BFE-9BDC-4BEB-A97D-B1A4A6980AEF}"/>
              </a:ext>
            </a:extLst>
          </p:cNvPr>
          <p:cNvCxnSpPr>
            <a:cxnSpLocks/>
            <a:stCxn id="35" idx="0"/>
            <a:endCxn id="51" idx="3"/>
          </p:cNvCxnSpPr>
          <p:nvPr/>
        </p:nvCxnSpPr>
        <p:spPr>
          <a:xfrm>
            <a:off x="1490211" y="4033301"/>
            <a:ext cx="491220" cy="403521"/>
          </a:xfrm>
          <a:prstGeom prst="bentConnector3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Connector: Elbow 167">
            <a:extLst>
              <a:ext uri="{FF2B5EF4-FFF2-40B4-BE49-F238E27FC236}">
                <a16:creationId xmlns:a16="http://schemas.microsoft.com/office/drawing/2014/main" id="{7A17B5D5-1384-4DD6-9B3E-E4F475B19634}"/>
              </a:ext>
            </a:extLst>
          </p:cNvPr>
          <p:cNvCxnSpPr>
            <a:cxnSpLocks/>
            <a:stCxn id="35" idx="0"/>
            <a:endCxn id="50" idx="3"/>
          </p:cNvCxnSpPr>
          <p:nvPr/>
        </p:nvCxnSpPr>
        <p:spPr>
          <a:xfrm flipV="1">
            <a:off x="1490211" y="3584808"/>
            <a:ext cx="491220" cy="448493"/>
          </a:xfrm>
          <a:prstGeom prst="bentConnector3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F736821-F6DF-4E5A-BAA3-A0075F4C2E65}"/>
              </a:ext>
            </a:extLst>
          </p:cNvPr>
          <p:cNvGrpSpPr/>
          <p:nvPr/>
        </p:nvGrpSpPr>
        <p:grpSpPr>
          <a:xfrm>
            <a:off x="1630665" y="3906002"/>
            <a:ext cx="210312" cy="209624"/>
            <a:chOff x="1197007" y="3821055"/>
            <a:chExt cx="199450" cy="209624"/>
          </a:xfrm>
        </p:grpSpPr>
        <p:sp>
          <p:nvSpPr>
            <p:cNvPr id="68" name="Oval 12">
              <a:extLst>
                <a:ext uri="{FF2B5EF4-FFF2-40B4-BE49-F238E27FC236}">
                  <a16:creationId xmlns:a16="http://schemas.microsoft.com/office/drawing/2014/main" id="{AD38A468-3AA5-4CCE-BCB0-BB7BC424BA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007" y="3821055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A44A080D-0D77-45EC-9CF5-E2C3D81700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763" y="3874075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0AE220DE-1181-403D-8C1F-B5EB621AAB44}"/>
              </a:ext>
            </a:extLst>
          </p:cNvPr>
          <p:cNvGrpSpPr/>
          <p:nvPr/>
        </p:nvGrpSpPr>
        <p:grpSpPr>
          <a:xfrm>
            <a:off x="3623316" y="3479995"/>
            <a:ext cx="210312" cy="209624"/>
            <a:chOff x="3147638" y="3602816"/>
            <a:chExt cx="199450" cy="209624"/>
          </a:xfrm>
        </p:grpSpPr>
        <p:sp>
          <p:nvSpPr>
            <p:cNvPr id="170" name="Oval 12">
              <a:extLst>
                <a:ext uri="{FF2B5EF4-FFF2-40B4-BE49-F238E27FC236}">
                  <a16:creationId xmlns:a16="http://schemas.microsoft.com/office/drawing/2014/main" id="{F4CF94C7-334B-4792-AF1D-F3B434E3D6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7638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1" name="Freeform 13">
              <a:extLst>
                <a:ext uri="{FF2B5EF4-FFF2-40B4-BE49-F238E27FC236}">
                  <a16:creationId xmlns:a16="http://schemas.microsoft.com/office/drawing/2014/main" id="{1422D2A6-A17F-4621-A609-DE763F115F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3394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AA296ABB-D964-4213-AE8A-2A750857729F}"/>
              </a:ext>
            </a:extLst>
          </p:cNvPr>
          <p:cNvGrpSpPr/>
          <p:nvPr/>
        </p:nvGrpSpPr>
        <p:grpSpPr>
          <a:xfrm>
            <a:off x="5601664" y="3479995"/>
            <a:ext cx="210312" cy="209624"/>
            <a:chOff x="5077101" y="3602816"/>
            <a:chExt cx="199450" cy="209624"/>
          </a:xfrm>
        </p:grpSpPr>
        <p:sp>
          <p:nvSpPr>
            <p:cNvPr id="173" name="Oval 12">
              <a:extLst>
                <a:ext uri="{FF2B5EF4-FFF2-40B4-BE49-F238E27FC236}">
                  <a16:creationId xmlns:a16="http://schemas.microsoft.com/office/drawing/2014/main" id="{A77EA0BB-EF51-4D39-B3CB-9430BC6198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7101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4" name="Freeform 13">
              <a:extLst>
                <a:ext uri="{FF2B5EF4-FFF2-40B4-BE49-F238E27FC236}">
                  <a16:creationId xmlns:a16="http://schemas.microsoft.com/office/drawing/2014/main" id="{B076C41F-1605-4C2B-992F-E7B255A32C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857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4F6AEEB3-4ED2-44CB-BBD2-FD5BFB5D622A}"/>
              </a:ext>
            </a:extLst>
          </p:cNvPr>
          <p:cNvGrpSpPr/>
          <p:nvPr/>
        </p:nvGrpSpPr>
        <p:grpSpPr>
          <a:xfrm>
            <a:off x="5861804" y="3247512"/>
            <a:ext cx="210312" cy="209624"/>
            <a:chOff x="6000383" y="3514638"/>
            <a:chExt cx="209624" cy="209624"/>
          </a:xfrm>
        </p:grpSpPr>
        <p:sp>
          <p:nvSpPr>
            <p:cNvPr id="176" name="Oval 14">
              <a:extLst>
                <a:ext uri="{FF2B5EF4-FFF2-40B4-BE49-F238E27FC236}">
                  <a16:creationId xmlns:a16="http://schemas.microsoft.com/office/drawing/2014/main" id="{5D736FA0-1261-4D3A-A784-FB7AC708CA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383" y="3514638"/>
              <a:ext cx="209624" cy="209624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77" name="Freeform 15">
              <a:extLst>
                <a:ext uri="{FF2B5EF4-FFF2-40B4-BE49-F238E27FC236}">
                  <a16:creationId xmlns:a16="http://schemas.microsoft.com/office/drawing/2014/main" id="{E6645FEE-5CCB-4659-ABDC-D16648BC4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4157" y="3560879"/>
              <a:ext cx="122075" cy="11714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32477368-29C7-4271-8CEB-2F694CF08BA3}"/>
              </a:ext>
            </a:extLst>
          </p:cNvPr>
          <p:cNvGrpSpPr/>
          <p:nvPr/>
        </p:nvGrpSpPr>
        <p:grpSpPr>
          <a:xfrm>
            <a:off x="7840152" y="3247512"/>
            <a:ext cx="210312" cy="209624"/>
            <a:chOff x="6000383" y="3514638"/>
            <a:chExt cx="209624" cy="209624"/>
          </a:xfrm>
        </p:grpSpPr>
        <p:sp>
          <p:nvSpPr>
            <p:cNvPr id="179" name="Oval 14">
              <a:extLst>
                <a:ext uri="{FF2B5EF4-FFF2-40B4-BE49-F238E27FC236}">
                  <a16:creationId xmlns:a16="http://schemas.microsoft.com/office/drawing/2014/main" id="{EDB38B3A-8FD2-4B50-B369-35B6C47EBE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383" y="3514638"/>
              <a:ext cx="209624" cy="209624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0" name="Freeform 15">
              <a:extLst>
                <a:ext uri="{FF2B5EF4-FFF2-40B4-BE49-F238E27FC236}">
                  <a16:creationId xmlns:a16="http://schemas.microsoft.com/office/drawing/2014/main" id="{5896102B-0918-44A1-AF37-7CBBA055C2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4157" y="3560879"/>
              <a:ext cx="122075" cy="11714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181" name="Group 180">
            <a:extLst>
              <a:ext uri="{FF2B5EF4-FFF2-40B4-BE49-F238E27FC236}">
                <a16:creationId xmlns:a16="http://schemas.microsoft.com/office/drawing/2014/main" id="{A17089D3-DF8C-4C5F-AF8A-76B26749BC0C}"/>
              </a:ext>
            </a:extLst>
          </p:cNvPr>
          <p:cNvGrpSpPr/>
          <p:nvPr/>
        </p:nvGrpSpPr>
        <p:grpSpPr>
          <a:xfrm>
            <a:off x="1905109" y="3247512"/>
            <a:ext cx="210312" cy="209624"/>
            <a:chOff x="6000383" y="3514638"/>
            <a:chExt cx="209624" cy="209624"/>
          </a:xfrm>
        </p:grpSpPr>
        <p:sp>
          <p:nvSpPr>
            <p:cNvPr id="182" name="Oval 14">
              <a:extLst>
                <a:ext uri="{FF2B5EF4-FFF2-40B4-BE49-F238E27FC236}">
                  <a16:creationId xmlns:a16="http://schemas.microsoft.com/office/drawing/2014/main" id="{872099D4-EF14-425F-9B7E-921E25011E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383" y="3514638"/>
              <a:ext cx="209624" cy="209624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183" name="Freeform 15">
              <a:extLst>
                <a:ext uri="{FF2B5EF4-FFF2-40B4-BE49-F238E27FC236}">
                  <a16:creationId xmlns:a16="http://schemas.microsoft.com/office/drawing/2014/main" id="{754A061C-B708-4468-B442-453BAD15B3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4157" y="3560879"/>
              <a:ext cx="122075" cy="11714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0B35A565-DF51-4743-B71D-C5E9D44546D4}"/>
              </a:ext>
            </a:extLst>
          </p:cNvPr>
          <p:cNvGrpSpPr>
            <a:grpSpLocks noChangeAspect="1"/>
          </p:cNvGrpSpPr>
          <p:nvPr/>
        </p:nvGrpSpPr>
        <p:grpSpPr>
          <a:xfrm>
            <a:off x="7580355" y="3479995"/>
            <a:ext cx="209624" cy="209624"/>
            <a:chOff x="628650" y="2655888"/>
            <a:chExt cx="269875" cy="269875"/>
          </a:xfrm>
        </p:grpSpPr>
        <p:sp>
          <p:nvSpPr>
            <p:cNvPr id="185" name="Oval 18">
              <a:extLst>
                <a:ext uri="{FF2B5EF4-FFF2-40B4-BE49-F238E27FC236}">
                  <a16:creationId xmlns:a16="http://schemas.microsoft.com/office/drawing/2014/main" id="{9F01165E-8A7B-4630-A411-42DD57EA5E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650" y="2655888"/>
              <a:ext cx="269875" cy="269875"/>
            </a:xfrm>
            <a:prstGeom prst="ellipse">
              <a:avLst/>
            </a:prstGeom>
            <a:solidFill>
              <a:srgbClr val="00269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6" name="Freeform 19">
              <a:extLst>
                <a:ext uri="{FF2B5EF4-FFF2-40B4-BE49-F238E27FC236}">
                  <a16:creationId xmlns:a16="http://schemas.microsoft.com/office/drawing/2014/main" id="{E2320297-E2AE-4FE3-AF58-A60F5B9FF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25" y="2735263"/>
              <a:ext cx="111125" cy="111125"/>
            </a:xfrm>
            <a:custGeom>
              <a:avLst/>
              <a:gdLst>
                <a:gd name="T0" fmla="*/ 63 w 70"/>
                <a:gd name="T1" fmla="*/ 0 h 70"/>
                <a:gd name="T2" fmla="*/ 35 w 70"/>
                <a:gd name="T3" fmla="*/ 29 h 70"/>
                <a:gd name="T4" fmla="*/ 6 w 70"/>
                <a:gd name="T5" fmla="*/ 0 h 70"/>
                <a:gd name="T6" fmla="*/ 0 w 70"/>
                <a:gd name="T7" fmla="*/ 6 h 70"/>
                <a:gd name="T8" fmla="*/ 28 w 70"/>
                <a:gd name="T9" fmla="*/ 35 h 70"/>
                <a:gd name="T10" fmla="*/ 0 w 70"/>
                <a:gd name="T11" fmla="*/ 63 h 70"/>
                <a:gd name="T12" fmla="*/ 6 w 70"/>
                <a:gd name="T13" fmla="*/ 70 h 70"/>
                <a:gd name="T14" fmla="*/ 35 w 70"/>
                <a:gd name="T15" fmla="*/ 41 h 70"/>
                <a:gd name="T16" fmla="*/ 63 w 70"/>
                <a:gd name="T17" fmla="*/ 70 h 70"/>
                <a:gd name="T18" fmla="*/ 70 w 70"/>
                <a:gd name="T19" fmla="*/ 63 h 70"/>
                <a:gd name="T20" fmla="*/ 41 w 70"/>
                <a:gd name="T21" fmla="*/ 35 h 70"/>
                <a:gd name="T22" fmla="*/ 70 w 70"/>
                <a:gd name="T23" fmla="*/ 6 h 70"/>
                <a:gd name="T24" fmla="*/ 63 w 70"/>
                <a:gd name="T2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" h="70">
                  <a:moveTo>
                    <a:pt x="63" y="0"/>
                  </a:moveTo>
                  <a:lnTo>
                    <a:pt x="35" y="29"/>
                  </a:lnTo>
                  <a:lnTo>
                    <a:pt x="6" y="0"/>
                  </a:lnTo>
                  <a:lnTo>
                    <a:pt x="0" y="6"/>
                  </a:lnTo>
                  <a:lnTo>
                    <a:pt x="28" y="35"/>
                  </a:lnTo>
                  <a:lnTo>
                    <a:pt x="0" y="63"/>
                  </a:lnTo>
                  <a:lnTo>
                    <a:pt x="6" y="70"/>
                  </a:lnTo>
                  <a:lnTo>
                    <a:pt x="35" y="41"/>
                  </a:lnTo>
                  <a:lnTo>
                    <a:pt x="63" y="70"/>
                  </a:lnTo>
                  <a:lnTo>
                    <a:pt x="70" y="63"/>
                  </a:lnTo>
                  <a:lnTo>
                    <a:pt x="41" y="35"/>
                  </a:lnTo>
                  <a:lnTo>
                    <a:pt x="70" y="6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:a16="http://schemas.microsoft.com/office/drawing/2014/main" id="{E4D672FC-E1F1-4E27-B3F1-B1219FD96435}"/>
              </a:ext>
            </a:extLst>
          </p:cNvPr>
          <p:cNvGrpSpPr/>
          <p:nvPr/>
        </p:nvGrpSpPr>
        <p:grpSpPr>
          <a:xfrm>
            <a:off x="9558359" y="3479995"/>
            <a:ext cx="210312" cy="209624"/>
            <a:chOff x="5077101" y="3602816"/>
            <a:chExt cx="199450" cy="209624"/>
          </a:xfrm>
        </p:grpSpPr>
        <p:sp>
          <p:nvSpPr>
            <p:cNvPr id="188" name="Oval 12">
              <a:extLst>
                <a:ext uri="{FF2B5EF4-FFF2-40B4-BE49-F238E27FC236}">
                  <a16:creationId xmlns:a16="http://schemas.microsoft.com/office/drawing/2014/main" id="{A3F8ACFD-B12B-4089-B83F-D68D97B30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7101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89" name="Freeform 13">
              <a:extLst>
                <a:ext uri="{FF2B5EF4-FFF2-40B4-BE49-F238E27FC236}">
                  <a16:creationId xmlns:a16="http://schemas.microsoft.com/office/drawing/2014/main" id="{D774855F-813E-4764-97D1-2989D55039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857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93FEBCF5-E539-4DDB-961C-F146159D8223}"/>
              </a:ext>
            </a:extLst>
          </p:cNvPr>
          <p:cNvGrpSpPr/>
          <p:nvPr/>
        </p:nvGrpSpPr>
        <p:grpSpPr>
          <a:xfrm>
            <a:off x="4943634" y="5878573"/>
            <a:ext cx="2314359" cy="224742"/>
            <a:chOff x="3510902" y="6231284"/>
            <a:chExt cx="2314359" cy="224742"/>
          </a:xfrm>
        </p:grpSpPr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8E840F95-E3D3-451C-9FFA-0EFF4DCE013E}"/>
                </a:ext>
              </a:extLst>
            </p:cNvPr>
            <p:cNvGrpSpPr/>
            <p:nvPr/>
          </p:nvGrpSpPr>
          <p:grpSpPr>
            <a:xfrm>
              <a:off x="3510902" y="6231285"/>
              <a:ext cx="224741" cy="224741"/>
              <a:chOff x="3526142" y="6294129"/>
              <a:chExt cx="224741" cy="224741"/>
            </a:xfrm>
          </p:grpSpPr>
          <p:sp>
            <p:nvSpPr>
              <p:cNvPr id="193" name="Oval 14">
                <a:extLst>
                  <a:ext uri="{FF2B5EF4-FFF2-40B4-BE49-F238E27FC236}">
                    <a16:creationId xmlns:a16="http://schemas.microsoft.com/office/drawing/2014/main" id="{CA227E6F-9C73-487E-8552-9A1F52C685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6142" y="6294129"/>
                <a:ext cx="224741" cy="224741"/>
              </a:xfrm>
              <a:prstGeom prst="ellipse">
                <a:avLst/>
              </a:prstGeom>
              <a:solidFill>
                <a:srgbClr val="E71C57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15">
                <a:extLst>
                  <a:ext uri="{FF2B5EF4-FFF2-40B4-BE49-F238E27FC236}">
                    <a16:creationId xmlns:a16="http://schemas.microsoft.com/office/drawing/2014/main" id="{5523BEB1-03F8-4A4E-8F9E-13E65BA1F1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3073" y="6343705"/>
                <a:ext cx="130878" cy="125590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92" name="TextBox 191">
              <a:extLst>
                <a:ext uri="{FF2B5EF4-FFF2-40B4-BE49-F238E27FC236}">
                  <a16:creationId xmlns:a16="http://schemas.microsoft.com/office/drawing/2014/main" id="{3D868718-D392-4CD7-9FA8-1D0A1AB8247D}"/>
                </a:ext>
              </a:extLst>
            </p:cNvPr>
            <p:cNvSpPr txBox="1"/>
            <p:nvPr/>
          </p:nvSpPr>
          <p:spPr>
            <a:xfrm>
              <a:off x="3779947" y="6231284"/>
              <a:ext cx="2045314" cy="2247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>
                  <a:solidFill>
                    <a:srgbClr val="575757"/>
                  </a:solidFill>
                </a:rPr>
                <a:t>Relies on a key assumption</a:t>
              </a:r>
            </a:p>
          </p:txBody>
        </p:sp>
      </p:grpSp>
      <p:sp>
        <p:nvSpPr>
          <p:cNvPr id="100" name="Isosceles Triangle 99">
            <a:extLst>
              <a:ext uri="{FF2B5EF4-FFF2-40B4-BE49-F238E27FC236}">
                <a16:creationId xmlns:a16="http://schemas.microsoft.com/office/drawing/2014/main" id="{27A68BAB-2D72-4E31-AECD-5FE56A1F1A47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2E88DB2E-E6DF-4186-B45E-28F8B6AFC24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87456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C9028D-1EC3-4073-8E57-FF826E0A2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C9028D-1EC3-4073-8E57-FF826E0A2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B5F67CE1-4703-4FD5-B670-6FE6CF4E3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556750"/>
            <a:ext cx="10117513" cy="609398"/>
          </a:xfrm>
        </p:spPr>
        <p:txBody>
          <a:bodyPr vert="horz"/>
          <a:lstStyle/>
          <a:p>
            <a:r>
              <a:rPr lang="en-US" sz="2200">
                <a:solidFill>
                  <a:srgbClr val="FF9900"/>
                </a:solidFill>
              </a:rPr>
              <a:t>Existing partnerships:</a:t>
            </a:r>
            <a:r>
              <a:rPr lang="en-US" sz="2200">
                <a:solidFill>
                  <a:schemeClr val="accent3"/>
                </a:solidFill>
              </a:rPr>
              <a:t> </a:t>
            </a:r>
            <a:r>
              <a:rPr lang="en-US" sz="2200"/>
              <a:t>Each Market Maker to target making 4–7 business connections to existing training programs a month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F54531EB-5C79-491E-B292-EB7B7D4C066F}"/>
              </a:ext>
            </a:extLst>
          </p:cNvPr>
          <p:cNvSpPr txBox="1"/>
          <p:nvPr/>
        </p:nvSpPr>
        <p:spPr>
          <a:xfrm>
            <a:off x="462685" y="1298202"/>
            <a:ext cx="10006533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solidFill>
                  <a:schemeClr val="tx1"/>
                </a:solidFill>
              </a:rPr>
              <a:t>4-7 business connections per month estimated using trainee placed approach:</a:t>
            </a:r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0D994B75-22B9-4302-8907-980B3AE06A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151" y="304800"/>
            <a:ext cx="10007600" cy="228600"/>
          </a:xfrm>
        </p:spPr>
        <p:txBody>
          <a:bodyPr/>
          <a:lstStyle/>
          <a:p>
            <a:r>
              <a:rPr lang="en-US"/>
              <a:t>Market Maker target outcomes</a:t>
            </a:r>
          </a:p>
          <a:p>
            <a:endParaRPr lang="en-US"/>
          </a:p>
        </p:txBody>
      </p:sp>
      <p:sp>
        <p:nvSpPr>
          <p:cNvPr id="135" name="Footnote example">
            <a:extLst>
              <a:ext uri="{FF2B5EF4-FFF2-40B4-BE49-F238E27FC236}">
                <a16:creationId xmlns:a16="http://schemas.microsoft.com/office/drawing/2014/main" id="{5E21A762-AD36-45E0-A4FA-537CFBA6DBD3}"/>
              </a:ext>
            </a:extLst>
          </p:cNvPr>
          <p:cNvSpPr txBox="1"/>
          <p:nvPr/>
        </p:nvSpPr>
        <p:spPr>
          <a:xfrm>
            <a:off x="462685" y="6280379"/>
            <a:ext cx="9030914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  <a:sym typeface="+mn-lt"/>
              </a:rPr>
              <a:t>Source: BCG analysis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D72496C-0B6A-4085-AB20-F237081BAA7D}"/>
              </a:ext>
            </a:extLst>
          </p:cNvPr>
          <p:cNvGrpSpPr/>
          <p:nvPr/>
        </p:nvGrpSpPr>
        <p:grpSpPr>
          <a:xfrm>
            <a:off x="4943634" y="5878573"/>
            <a:ext cx="2314359" cy="224742"/>
            <a:chOff x="3510902" y="6231284"/>
            <a:chExt cx="2314359" cy="224742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CCC94F6F-863D-4C67-826E-C0910DBD5C46}"/>
                </a:ext>
              </a:extLst>
            </p:cNvPr>
            <p:cNvGrpSpPr/>
            <p:nvPr/>
          </p:nvGrpSpPr>
          <p:grpSpPr>
            <a:xfrm>
              <a:off x="3510902" y="6231285"/>
              <a:ext cx="224741" cy="224741"/>
              <a:chOff x="3526142" y="6294129"/>
              <a:chExt cx="224741" cy="224741"/>
            </a:xfrm>
          </p:grpSpPr>
          <p:sp>
            <p:nvSpPr>
              <p:cNvPr id="130" name="Oval 14">
                <a:extLst>
                  <a:ext uri="{FF2B5EF4-FFF2-40B4-BE49-F238E27FC236}">
                    <a16:creationId xmlns:a16="http://schemas.microsoft.com/office/drawing/2014/main" id="{7576D083-A874-45DA-B598-CBEF54001B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6142" y="6294129"/>
                <a:ext cx="224741" cy="224741"/>
              </a:xfrm>
              <a:prstGeom prst="ellipse">
                <a:avLst/>
              </a:prstGeom>
              <a:solidFill>
                <a:srgbClr val="E71C57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5">
                <a:extLst>
                  <a:ext uri="{FF2B5EF4-FFF2-40B4-BE49-F238E27FC236}">
                    <a16:creationId xmlns:a16="http://schemas.microsoft.com/office/drawing/2014/main" id="{0797907D-C88F-423F-82B8-6BD114FFB5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73073" y="6343705"/>
                <a:ext cx="130878" cy="125590"/>
              </a:xfrm>
              <a:custGeom>
                <a:avLst/>
                <a:gdLst>
                  <a:gd name="T0" fmla="*/ 704 w 736"/>
                  <a:gd name="T1" fmla="*/ 250 h 709"/>
                  <a:gd name="T2" fmla="*/ 496 w 736"/>
                  <a:gd name="T3" fmla="*/ 218 h 709"/>
                  <a:gd name="T4" fmla="*/ 392 w 736"/>
                  <a:gd name="T5" fmla="*/ 24 h 709"/>
                  <a:gd name="T6" fmla="*/ 336 w 736"/>
                  <a:gd name="T7" fmla="*/ 24 h 709"/>
                  <a:gd name="T8" fmla="*/ 240 w 736"/>
                  <a:gd name="T9" fmla="*/ 218 h 709"/>
                  <a:gd name="T10" fmla="*/ 24 w 736"/>
                  <a:gd name="T11" fmla="*/ 242 h 709"/>
                  <a:gd name="T12" fmla="*/ 0 w 736"/>
                  <a:gd name="T13" fmla="*/ 266 h 709"/>
                  <a:gd name="T14" fmla="*/ 8 w 736"/>
                  <a:gd name="T15" fmla="*/ 290 h 709"/>
                  <a:gd name="T16" fmla="*/ 168 w 736"/>
                  <a:gd name="T17" fmla="*/ 451 h 709"/>
                  <a:gd name="T18" fmla="*/ 128 w 736"/>
                  <a:gd name="T19" fmla="*/ 661 h 709"/>
                  <a:gd name="T20" fmla="*/ 144 w 736"/>
                  <a:gd name="T21" fmla="*/ 693 h 709"/>
                  <a:gd name="T22" fmla="*/ 176 w 736"/>
                  <a:gd name="T23" fmla="*/ 701 h 709"/>
                  <a:gd name="T24" fmla="*/ 360 w 736"/>
                  <a:gd name="T25" fmla="*/ 597 h 709"/>
                  <a:gd name="T26" fmla="*/ 552 w 736"/>
                  <a:gd name="T27" fmla="*/ 709 h 709"/>
                  <a:gd name="T28" fmla="*/ 568 w 736"/>
                  <a:gd name="T29" fmla="*/ 709 h 709"/>
                  <a:gd name="T30" fmla="*/ 584 w 736"/>
                  <a:gd name="T31" fmla="*/ 709 h 709"/>
                  <a:gd name="T32" fmla="*/ 600 w 736"/>
                  <a:gd name="T33" fmla="*/ 677 h 709"/>
                  <a:gd name="T34" fmla="*/ 568 w 736"/>
                  <a:gd name="T35" fmla="*/ 451 h 709"/>
                  <a:gd name="T36" fmla="*/ 720 w 736"/>
                  <a:gd name="T37" fmla="*/ 306 h 709"/>
                  <a:gd name="T38" fmla="*/ 728 w 736"/>
                  <a:gd name="T39" fmla="*/ 274 h 709"/>
                  <a:gd name="T40" fmla="*/ 704 w 736"/>
                  <a:gd name="T41" fmla="*/ 250 h 709"/>
                  <a:gd name="T42" fmla="*/ 512 w 736"/>
                  <a:gd name="T43" fmla="*/ 419 h 709"/>
                  <a:gd name="T44" fmla="*/ 504 w 736"/>
                  <a:gd name="T45" fmla="*/ 443 h 709"/>
                  <a:gd name="T46" fmla="*/ 528 w 736"/>
                  <a:gd name="T47" fmla="*/ 621 h 709"/>
                  <a:gd name="T48" fmla="*/ 384 w 736"/>
                  <a:gd name="T49" fmla="*/ 532 h 709"/>
                  <a:gd name="T50" fmla="*/ 360 w 736"/>
                  <a:gd name="T51" fmla="*/ 532 h 709"/>
                  <a:gd name="T52" fmla="*/ 352 w 736"/>
                  <a:gd name="T53" fmla="*/ 532 h 709"/>
                  <a:gd name="T54" fmla="*/ 208 w 736"/>
                  <a:gd name="T55" fmla="*/ 613 h 709"/>
                  <a:gd name="T56" fmla="*/ 232 w 736"/>
                  <a:gd name="T57" fmla="*/ 443 h 709"/>
                  <a:gd name="T58" fmla="*/ 224 w 736"/>
                  <a:gd name="T59" fmla="*/ 419 h 709"/>
                  <a:gd name="T60" fmla="*/ 104 w 736"/>
                  <a:gd name="T61" fmla="*/ 298 h 709"/>
                  <a:gd name="T62" fmla="*/ 264 w 736"/>
                  <a:gd name="T63" fmla="*/ 282 h 709"/>
                  <a:gd name="T64" fmla="*/ 288 w 736"/>
                  <a:gd name="T65" fmla="*/ 266 h 709"/>
                  <a:gd name="T66" fmla="*/ 360 w 736"/>
                  <a:gd name="T67" fmla="*/ 105 h 709"/>
                  <a:gd name="T68" fmla="*/ 440 w 736"/>
                  <a:gd name="T69" fmla="*/ 266 h 709"/>
                  <a:gd name="T70" fmla="*/ 464 w 736"/>
                  <a:gd name="T71" fmla="*/ 282 h 709"/>
                  <a:gd name="T72" fmla="*/ 632 w 736"/>
                  <a:gd name="T73" fmla="*/ 306 h 709"/>
                  <a:gd name="T74" fmla="*/ 512 w 736"/>
                  <a:gd name="T75" fmla="*/ 419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36" h="709">
                    <a:moveTo>
                      <a:pt x="704" y="250"/>
                    </a:moveTo>
                    <a:cubicBezTo>
                      <a:pt x="704" y="250"/>
                      <a:pt x="704" y="250"/>
                      <a:pt x="496" y="218"/>
                    </a:cubicBezTo>
                    <a:cubicBezTo>
                      <a:pt x="496" y="218"/>
                      <a:pt x="496" y="218"/>
                      <a:pt x="392" y="24"/>
                    </a:cubicBezTo>
                    <a:cubicBezTo>
                      <a:pt x="384" y="0"/>
                      <a:pt x="352" y="0"/>
                      <a:pt x="336" y="24"/>
                    </a:cubicBezTo>
                    <a:cubicBezTo>
                      <a:pt x="336" y="24"/>
                      <a:pt x="336" y="24"/>
                      <a:pt x="240" y="218"/>
                    </a:cubicBezTo>
                    <a:cubicBezTo>
                      <a:pt x="240" y="218"/>
                      <a:pt x="240" y="218"/>
                      <a:pt x="24" y="242"/>
                    </a:cubicBezTo>
                    <a:cubicBezTo>
                      <a:pt x="16" y="242"/>
                      <a:pt x="8" y="250"/>
                      <a:pt x="0" y="266"/>
                    </a:cubicBezTo>
                    <a:cubicBezTo>
                      <a:pt x="0" y="274"/>
                      <a:pt x="0" y="290"/>
                      <a:pt x="8" y="290"/>
                    </a:cubicBezTo>
                    <a:cubicBezTo>
                      <a:pt x="8" y="290"/>
                      <a:pt x="8" y="290"/>
                      <a:pt x="168" y="451"/>
                    </a:cubicBezTo>
                    <a:cubicBezTo>
                      <a:pt x="168" y="451"/>
                      <a:pt x="168" y="451"/>
                      <a:pt x="128" y="661"/>
                    </a:cubicBezTo>
                    <a:cubicBezTo>
                      <a:pt x="128" y="677"/>
                      <a:pt x="136" y="685"/>
                      <a:pt x="144" y="693"/>
                    </a:cubicBezTo>
                    <a:cubicBezTo>
                      <a:pt x="160" y="701"/>
                      <a:pt x="168" y="701"/>
                      <a:pt x="176" y="701"/>
                    </a:cubicBezTo>
                    <a:cubicBezTo>
                      <a:pt x="176" y="701"/>
                      <a:pt x="176" y="701"/>
                      <a:pt x="360" y="597"/>
                    </a:cubicBezTo>
                    <a:cubicBezTo>
                      <a:pt x="360" y="597"/>
                      <a:pt x="360" y="597"/>
                      <a:pt x="552" y="709"/>
                    </a:cubicBezTo>
                    <a:cubicBezTo>
                      <a:pt x="560" y="709"/>
                      <a:pt x="560" y="709"/>
                      <a:pt x="568" y="709"/>
                    </a:cubicBezTo>
                    <a:cubicBezTo>
                      <a:pt x="576" y="709"/>
                      <a:pt x="584" y="709"/>
                      <a:pt x="584" y="709"/>
                    </a:cubicBezTo>
                    <a:cubicBezTo>
                      <a:pt x="600" y="701"/>
                      <a:pt x="600" y="685"/>
                      <a:pt x="600" y="677"/>
                    </a:cubicBezTo>
                    <a:cubicBezTo>
                      <a:pt x="600" y="677"/>
                      <a:pt x="600" y="677"/>
                      <a:pt x="568" y="451"/>
                    </a:cubicBezTo>
                    <a:cubicBezTo>
                      <a:pt x="568" y="451"/>
                      <a:pt x="568" y="451"/>
                      <a:pt x="720" y="306"/>
                    </a:cubicBezTo>
                    <a:cubicBezTo>
                      <a:pt x="728" y="298"/>
                      <a:pt x="736" y="290"/>
                      <a:pt x="728" y="274"/>
                    </a:cubicBezTo>
                    <a:cubicBezTo>
                      <a:pt x="728" y="266"/>
                      <a:pt x="712" y="250"/>
                      <a:pt x="704" y="250"/>
                    </a:cubicBezTo>
                    <a:close/>
                    <a:moveTo>
                      <a:pt x="512" y="419"/>
                    </a:moveTo>
                    <a:cubicBezTo>
                      <a:pt x="504" y="419"/>
                      <a:pt x="504" y="435"/>
                      <a:pt x="504" y="443"/>
                    </a:cubicBezTo>
                    <a:cubicBezTo>
                      <a:pt x="504" y="443"/>
                      <a:pt x="504" y="443"/>
                      <a:pt x="528" y="621"/>
                    </a:cubicBezTo>
                    <a:cubicBezTo>
                      <a:pt x="528" y="621"/>
                      <a:pt x="528" y="621"/>
                      <a:pt x="384" y="532"/>
                    </a:cubicBezTo>
                    <a:cubicBezTo>
                      <a:pt x="376" y="532"/>
                      <a:pt x="376" y="532"/>
                      <a:pt x="360" y="532"/>
                    </a:cubicBezTo>
                    <a:cubicBezTo>
                      <a:pt x="352" y="532"/>
                      <a:pt x="352" y="532"/>
                      <a:pt x="352" y="532"/>
                    </a:cubicBezTo>
                    <a:cubicBezTo>
                      <a:pt x="352" y="532"/>
                      <a:pt x="352" y="532"/>
                      <a:pt x="208" y="613"/>
                    </a:cubicBezTo>
                    <a:cubicBezTo>
                      <a:pt x="208" y="613"/>
                      <a:pt x="208" y="613"/>
                      <a:pt x="232" y="443"/>
                    </a:cubicBezTo>
                    <a:cubicBezTo>
                      <a:pt x="232" y="435"/>
                      <a:pt x="224" y="419"/>
                      <a:pt x="224" y="419"/>
                    </a:cubicBezTo>
                    <a:cubicBezTo>
                      <a:pt x="224" y="419"/>
                      <a:pt x="224" y="419"/>
                      <a:pt x="104" y="298"/>
                    </a:cubicBezTo>
                    <a:cubicBezTo>
                      <a:pt x="104" y="298"/>
                      <a:pt x="104" y="298"/>
                      <a:pt x="264" y="282"/>
                    </a:cubicBezTo>
                    <a:cubicBezTo>
                      <a:pt x="272" y="282"/>
                      <a:pt x="280" y="274"/>
                      <a:pt x="288" y="266"/>
                    </a:cubicBezTo>
                    <a:cubicBezTo>
                      <a:pt x="288" y="266"/>
                      <a:pt x="288" y="266"/>
                      <a:pt x="360" y="105"/>
                    </a:cubicBezTo>
                    <a:cubicBezTo>
                      <a:pt x="360" y="105"/>
                      <a:pt x="360" y="105"/>
                      <a:pt x="440" y="266"/>
                    </a:cubicBezTo>
                    <a:cubicBezTo>
                      <a:pt x="448" y="274"/>
                      <a:pt x="456" y="282"/>
                      <a:pt x="464" y="282"/>
                    </a:cubicBezTo>
                    <a:cubicBezTo>
                      <a:pt x="464" y="282"/>
                      <a:pt x="464" y="282"/>
                      <a:pt x="632" y="306"/>
                    </a:cubicBezTo>
                    <a:cubicBezTo>
                      <a:pt x="632" y="306"/>
                      <a:pt x="632" y="306"/>
                      <a:pt x="512" y="41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4008" tIns="32004" rIns="64008" bIns="3200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72A99067-1BD4-4DBE-8661-81477128EB37}"/>
                </a:ext>
              </a:extLst>
            </p:cNvPr>
            <p:cNvSpPr txBox="1"/>
            <p:nvPr/>
          </p:nvSpPr>
          <p:spPr>
            <a:xfrm>
              <a:off x="3779947" y="6231284"/>
              <a:ext cx="2045314" cy="22474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>
                  <a:solidFill>
                    <a:srgbClr val="575757"/>
                  </a:solidFill>
                </a:rPr>
                <a:t>Relies on a key assumption</a:t>
              </a:r>
            </a:p>
          </p:txBody>
        </p:sp>
      </p:grpSp>
      <p:sp>
        <p:nvSpPr>
          <p:cNvPr id="131" name="NavigationIcon">
            <a:extLst>
              <a:ext uri="{FF2B5EF4-FFF2-40B4-BE49-F238E27FC236}">
                <a16:creationId xmlns:a16="http://schemas.microsoft.com/office/drawing/2014/main" id="{90FD1236-D963-459D-8E7B-3A1AD6989EB2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47995" y="559131"/>
            <a:ext cx="286310" cy="28631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4591EE2C-FDD9-4D92-BB65-65F07D8053D6}"/>
              </a:ext>
            </a:extLst>
          </p:cNvPr>
          <p:cNvSpPr txBox="1"/>
          <p:nvPr/>
        </p:nvSpPr>
        <p:spPr>
          <a:xfrm>
            <a:off x="1810203" y="4935569"/>
            <a:ext cx="1858190" cy="107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Timeline of ARPA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funding is 3 years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CB68EF03-3EB7-4EB8-8ECC-D1D673874054}"/>
              </a:ext>
            </a:extLst>
          </p:cNvPr>
          <p:cNvSpPr txBox="1"/>
          <p:nvPr/>
        </p:nvSpPr>
        <p:spPr>
          <a:xfrm>
            <a:off x="5766898" y="4935569"/>
            <a:ext cx="1858190" cy="107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verage number of trainees hired by 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employer is 5-10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6E2CA699-3FFE-401A-963E-939C1040BD0E}"/>
              </a:ext>
            </a:extLst>
          </p:cNvPr>
          <p:cNvSpPr txBox="1"/>
          <p:nvPr/>
        </p:nvSpPr>
        <p:spPr>
          <a:xfrm>
            <a:off x="7745245" y="4935569"/>
            <a:ext cx="1858190" cy="10738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Average trainee placement cost is $8K and total funding for CTI, WCTF, and RENEW is fully deployed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8829BF9B-C3FD-4426-94EB-E698D8E084C6}"/>
              </a:ext>
            </a:extLst>
          </p:cNvPr>
          <p:cNvSpPr/>
          <p:nvPr/>
        </p:nvSpPr>
        <p:spPr>
          <a:xfrm flipH="1">
            <a:off x="5938126" y="4145072"/>
            <a:ext cx="1515734" cy="603598"/>
          </a:xfrm>
          <a:prstGeom prst="roundRect">
            <a:avLst>
              <a:gd name="adj" fmla="val 20378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7 Market Makers</a:t>
            </a:r>
          </a:p>
        </p:txBody>
      </p:sp>
      <p:sp>
        <p:nvSpPr>
          <p:cNvPr id="141" name="Rectangle: Rounded Corners 140">
            <a:extLst>
              <a:ext uri="{FF2B5EF4-FFF2-40B4-BE49-F238E27FC236}">
                <a16:creationId xmlns:a16="http://schemas.microsoft.com/office/drawing/2014/main" id="{0A1C6263-6722-443E-8081-27239C0FCF48}"/>
              </a:ext>
            </a:extLst>
          </p:cNvPr>
          <p:cNvSpPr/>
          <p:nvPr/>
        </p:nvSpPr>
        <p:spPr>
          <a:xfrm flipH="1">
            <a:off x="3959779" y="4145072"/>
            <a:ext cx="1515734" cy="603598"/>
          </a:xfrm>
          <a:prstGeom prst="roundRect">
            <a:avLst>
              <a:gd name="adj" fmla="val 20378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3 years of funding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F0BD5DD0-3DBA-4D45-9F0C-A01CDEB7FCB7}"/>
              </a:ext>
            </a:extLst>
          </p:cNvPr>
          <p:cNvSpPr/>
          <p:nvPr/>
        </p:nvSpPr>
        <p:spPr>
          <a:xfrm flipH="1">
            <a:off x="7916473" y="4145072"/>
            <a:ext cx="1515734" cy="603598"/>
          </a:xfrm>
          <a:prstGeom prst="roundRect">
            <a:avLst>
              <a:gd name="adj" fmla="val 20377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5-10 trainees hired per employer</a:t>
            </a:r>
          </a:p>
        </p:txBody>
      </p:sp>
      <p:sp>
        <p:nvSpPr>
          <p:cNvPr id="143" name="Rectangle: Rounded Corners 142">
            <a:extLst>
              <a:ext uri="{FF2B5EF4-FFF2-40B4-BE49-F238E27FC236}">
                <a16:creationId xmlns:a16="http://schemas.microsoft.com/office/drawing/2014/main" id="{6B552355-AAA6-4B10-B980-92AAB6DE8597}"/>
              </a:ext>
            </a:extLst>
          </p:cNvPr>
          <p:cNvSpPr/>
          <p:nvPr/>
        </p:nvSpPr>
        <p:spPr>
          <a:xfrm flipH="1">
            <a:off x="9894822" y="4145072"/>
            <a:ext cx="1515734" cy="603598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$8K cost per trainee placement</a:t>
            </a: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9E76759E-A646-4B4A-B98B-1A4E85B73194}"/>
              </a:ext>
            </a:extLst>
          </p:cNvPr>
          <p:cNvSpPr/>
          <p:nvPr/>
        </p:nvSpPr>
        <p:spPr>
          <a:xfrm flipH="1">
            <a:off x="1981431" y="3293057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45-90 employers annually</a:t>
            </a:r>
          </a:p>
        </p:txBody>
      </p:sp>
      <p:sp>
        <p:nvSpPr>
          <p:cNvPr id="145" name="Rectangle: Rounded Corners 144">
            <a:extLst>
              <a:ext uri="{FF2B5EF4-FFF2-40B4-BE49-F238E27FC236}">
                <a16:creationId xmlns:a16="http://schemas.microsoft.com/office/drawing/2014/main" id="{174D5ADA-54F8-41FA-819B-857076340AA8}"/>
              </a:ext>
            </a:extLst>
          </p:cNvPr>
          <p:cNvSpPr/>
          <p:nvPr/>
        </p:nvSpPr>
        <p:spPr>
          <a:xfrm flipH="1">
            <a:off x="1981431" y="4145072"/>
            <a:ext cx="1515734" cy="603598"/>
          </a:xfrm>
          <a:prstGeom prst="roundRect">
            <a:avLst>
              <a:gd name="adj" fmla="val 20378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12 months</a:t>
            </a:r>
          </a:p>
        </p:txBody>
      </p:sp>
      <p:sp>
        <p:nvSpPr>
          <p:cNvPr id="146" name="Rectangle: Rounded Corners 145">
            <a:extLst>
              <a:ext uri="{FF2B5EF4-FFF2-40B4-BE49-F238E27FC236}">
                <a16:creationId xmlns:a16="http://schemas.microsoft.com/office/drawing/2014/main" id="{2FCDEA48-CDBD-43D2-93CE-BF33FE6BD4F6}"/>
              </a:ext>
            </a:extLst>
          </p:cNvPr>
          <p:cNvSpPr/>
          <p:nvPr/>
        </p:nvSpPr>
        <p:spPr>
          <a:xfrm flipH="1">
            <a:off x="5938126" y="3293057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900-1800</a:t>
            </a:r>
          </a:p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employers</a:t>
            </a:r>
          </a:p>
        </p:txBody>
      </p:sp>
      <p:sp>
        <p:nvSpPr>
          <p:cNvPr id="156" name="Rectangle: Rounded Corners 155">
            <a:extLst>
              <a:ext uri="{FF2B5EF4-FFF2-40B4-BE49-F238E27FC236}">
                <a16:creationId xmlns:a16="http://schemas.microsoft.com/office/drawing/2014/main" id="{08EA3199-48BC-461C-8946-3355D059A07D}"/>
              </a:ext>
            </a:extLst>
          </p:cNvPr>
          <p:cNvSpPr/>
          <p:nvPr/>
        </p:nvSpPr>
        <p:spPr>
          <a:xfrm flipH="1">
            <a:off x="3959779" y="3293057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 spc="-30">
                <a:solidFill>
                  <a:schemeClr val="tx2"/>
                </a:solidFill>
                <a:cs typeface="Arial" pitchFamily="34" charset="0"/>
              </a:rPr>
              <a:t>~130-160 employers across funding years</a:t>
            </a:r>
          </a:p>
        </p:txBody>
      </p:sp>
      <p:sp>
        <p:nvSpPr>
          <p:cNvPr id="157" name="Rectangle: Rounded Corners 156">
            <a:extLst>
              <a:ext uri="{FF2B5EF4-FFF2-40B4-BE49-F238E27FC236}">
                <a16:creationId xmlns:a16="http://schemas.microsoft.com/office/drawing/2014/main" id="{79E0FB02-6BAF-4074-B77E-44A50A853A21}"/>
              </a:ext>
            </a:extLst>
          </p:cNvPr>
          <p:cNvSpPr/>
          <p:nvPr/>
        </p:nvSpPr>
        <p:spPr>
          <a:xfrm flipH="1">
            <a:off x="7916473" y="3293057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rgbClr val="E71C57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~9000 trainees</a:t>
            </a:r>
          </a:p>
        </p:txBody>
      </p:sp>
      <p:sp>
        <p:nvSpPr>
          <p:cNvPr id="158" name="Rectangle: Rounded Corners 157">
            <a:extLst>
              <a:ext uri="{FF2B5EF4-FFF2-40B4-BE49-F238E27FC236}">
                <a16:creationId xmlns:a16="http://schemas.microsoft.com/office/drawing/2014/main" id="{9322EBBC-5C8D-446D-AA1F-08223C6B051C}"/>
              </a:ext>
            </a:extLst>
          </p:cNvPr>
          <p:cNvSpPr/>
          <p:nvPr/>
        </p:nvSpPr>
        <p:spPr>
          <a:xfrm flipH="1">
            <a:off x="9894822" y="3293057"/>
            <a:ext cx="1515734" cy="603599"/>
          </a:xfrm>
          <a:prstGeom prst="roundRect">
            <a:avLst>
              <a:gd name="adj" fmla="val 22724"/>
            </a:avLst>
          </a:prstGeom>
          <a:solidFill>
            <a:srgbClr val="FFFFFF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50800" dir="54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buSzPts val="950"/>
            </a:pPr>
            <a:r>
              <a:rPr lang="en-US" sz="1200">
                <a:solidFill>
                  <a:schemeClr val="tx2"/>
                </a:solidFill>
                <a:cs typeface="Arial" pitchFamily="34" charset="0"/>
              </a:rPr>
              <a:t>$72.5M funding</a:t>
            </a:r>
          </a:p>
        </p:txBody>
      </p: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C56215D5-A611-4ECC-A24B-AB453970D61E}"/>
              </a:ext>
            </a:extLst>
          </p:cNvPr>
          <p:cNvCxnSpPr>
            <a:cxnSpLocks/>
            <a:stCxn id="144" idx="1"/>
            <a:endCxn id="141" idx="3"/>
          </p:cNvCxnSpPr>
          <p:nvPr/>
        </p:nvCxnSpPr>
        <p:spPr>
          <a:xfrm>
            <a:off x="3497165" y="3594857"/>
            <a:ext cx="462614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A1671DF6-FD1A-46EE-812D-C2EFC565454D}"/>
              </a:ext>
            </a:extLst>
          </p:cNvPr>
          <p:cNvCxnSpPr>
            <a:cxnSpLocks/>
            <a:stCxn id="144" idx="1"/>
            <a:endCxn id="156" idx="3"/>
          </p:cNvCxnSpPr>
          <p:nvPr/>
        </p:nvCxnSpPr>
        <p:spPr>
          <a:xfrm>
            <a:off x="3497165" y="3594857"/>
            <a:ext cx="462614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2D526B8E-ED03-4DDC-8ED8-010D26703353}"/>
              </a:ext>
            </a:extLst>
          </p:cNvPr>
          <p:cNvCxnSpPr>
            <a:cxnSpLocks/>
            <a:stCxn id="156" idx="1"/>
            <a:endCxn id="140" idx="3"/>
          </p:cNvCxnSpPr>
          <p:nvPr/>
        </p:nvCxnSpPr>
        <p:spPr>
          <a:xfrm>
            <a:off x="5475513" y="3594857"/>
            <a:ext cx="462613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Connector: Elbow 175">
            <a:extLst>
              <a:ext uri="{FF2B5EF4-FFF2-40B4-BE49-F238E27FC236}">
                <a16:creationId xmlns:a16="http://schemas.microsoft.com/office/drawing/2014/main" id="{EF3159F4-E422-400E-A8CA-32CAC80244C4}"/>
              </a:ext>
            </a:extLst>
          </p:cNvPr>
          <p:cNvCxnSpPr>
            <a:cxnSpLocks/>
            <a:stCxn id="156" idx="1"/>
            <a:endCxn id="146" idx="3"/>
          </p:cNvCxnSpPr>
          <p:nvPr/>
        </p:nvCxnSpPr>
        <p:spPr>
          <a:xfrm>
            <a:off x="5475513" y="3594857"/>
            <a:ext cx="462613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5005EF19-4710-4004-993A-98011630F3F9}"/>
              </a:ext>
            </a:extLst>
          </p:cNvPr>
          <p:cNvCxnSpPr>
            <a:cxnSpLocks/>
            <a:stCxn id="146" idx="1"/>
            <a:endCxn id="142" idx="3"/>
          </p:cNvCxnSpPr>
          <p:nvPr/>
        </p:nvCxnSpPr>
        <p:spPr>
          <a:xfrm>
            <a:off x="7453860" y="3594857"/>
            <a:ext cx="462613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Connector: Elbow 163">
            <a:extLst>
              <a:ext uri="{FF2B5EF4-FFF2-40B4-BE49-F238E27FC236}">
                <a16:creationId xmlns:a16="http://schemas.microsoft.com/office/drawing/2014/main" id="{4181C36D-9888-4624-B89F-35FD7B88DD14}"/>
              </a:ext>
            </a:extLst>
          </p:cNvPr>
          <p:cNvCxnSpPr>
            <a:cxnSpLocks/>
            <a:stCxn id="157" idx="1"/>
            <a:endCxn id="143" idx="3"/>
          </p:cNvCxnSpPr>
          <p:nvPr/>
        </p:nvCxnSpPr>
        <p:spPr>
          <a:xfrm>
            <a:off x="9432207" y="3594857"/>
            <a:ext cx="462615" cy="852014"/>
          </a:xfrm>
          <a:prstGeom prst="bentConnector3">
            <a:avLst>
              <a:gd name="adj1" fmla="val 50000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Elbow 181">
            <a:extLst>
              <a:ext uri="{FF2B5EF4-FFF2-40B4-BE49-F238E27FC236}">
                <a16:creationId xmlns:a16="http://schemas.microsoft.com/office/drawing/2014/main" id="{ABB05D2D-2246-4404-B3E9-A6C3115DD2EF}"/>
              </a:ext>
            </a:extLst>
          </p:cNvPr>
          <p:cNvCxnSpPr>
            <a:cxnSpLocks/>
            <a:stCxn id="146" idx="1"/>
            <a:endCxn id="157" idx="3"/>
          </p:cNvCxnSpPr>
          <p:nvPr/>
        </p:nvCxnSpPr>
        <p:spPr>
          <a:xfrm>
            <a:off x="7453860" y="3594857"/>
            <a:ext cx="462613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or: Elbow 183">
            <a:extLst>
              <a:ext uri="{FF2B5EF4-FFF2-40B4-BE49-F238E27FC236}">
                <a16:creationId xmlns:a16="http://schemas.microsoft.com/office/drawing/2014/main" id="{6DF23B26-7C7D-4226-9FD2-96E10B6B4508}"/>
              </a:ext>
            </a:extLst>
          </p:cNvPr>
          <p:cNvCxnSpPr>
            <a:cxnSpLocks/>
            <a:stCxn id="157" idx="1"/>
            <a:endCxn id="158" idx="3"/>
          </p:cNvCxnSpPr>
          <p:nvPr/>
        </p:nvCxnSpPr>
        <p:spPr>
          <a:xfrm>
            <a:off x="9432207" y="3594857"/>
            <a:ext cx="462615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167">
            <a:extLst>
              <a:ext uri="{FF2B5EF4-FFF2-40B4-BE49-F238E27FC236}">
                <a16:creationId xmlns:a16="http://schemas.microsoft.com/office/drawing/2014/main" id="{E064A56C-7D43-4E01-9650-4DCBF8256C7B}"/>
              </a:ext>
            </a:extLst>
          </p:cNvPr>
          <p:cNvSpPr/>
          <p:nvPr/>
        </p:nvSpPr>
        <p:spPr>
          <a:xfrm>
            <a:off x="2255597" y="1836752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69" name="bcgIcons_ThumbsUp">
            <a:extLst>
              <a:ext uri="{FF2B5EF4-FFF2-40B4-BE49-F238E27FC236}">
                <a16:creationId xmlns:a16="http://schemas.microsoft.com/office/drawing/2014/main" id="{8D2AC299-B525-4008-86AC-70048ED7AA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65232" y="1836752"/>
            <a:ext cx="548132" cy="548640"/>
            <a:chOff x="1682" y="0"/>
            <a:chExt cx="4316" cy="4320"/>
          </a:xfrm>
        </p:grpSpPr>
        <p:sp>
          <p:nvSpPr>
            <p:cNvPr id="170" name="AutoShape 3">
              <a:extLst>
                <a:ext uri="{FF2B5EF4-FFF2-40B4-BE49-F238E27FC236}">
                  <a16:creationId xmlns:a16="http://schemas.microsoft.com/office/drawing/2014/main" id="{FC8CE2ED-4FCD-42A4-BDC3-340B929C3C0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5">
              <a:extLst>
                <a:ext uri="{FF2B5EF4-FFF2-40B4-BE49-F238E27FC236}">
                  <a16:creationId xmlns:a16="http://schemas.microsoft.com/office/drawing/2014/main" id="{91F00ECA-1F50-468F-8170-F5755C6BB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8" y="698"/>
              <a:ext cx="2034" cy="2919"/>
            </a:xfrm>
            <a:custGeom>
              <a:avLst/>
              <a:gdLst>
                <a:gd name="T0" fmla="*/ 1086 w 1086"/>
                <a:gd name="T1" fmla="*/ 681 h 1557"/>
                <a:gd name="T2" fmla="*/ 530 w 1086"/>
                <a:gd name="T3" fmla="*/ 537 h 1557"/>
                <a:gd name="T4" fmla="*/ 593 w 1086"/>
                <a:gd name="T5" fmla="*/ 253 h 1557"/>
                <a:gd name="T6" fmla="*/ 391 w 1086"/>
                <a:gd name="T7" fmla="*/ 4 h 1557"/>
                <a:gd name="T8" fmla="*/ 279 w 1086"/>
                <a:gd name="T9" fmla="*/ 114 h 1557"/>
                <a:gd name="T10" fmla="*/ 279 w 1086"/>
                <a:gd name="T11" fmla="*/ 221 h 1557"/>
                <a:gd name="T12" fmla="*/ 0 w 1086"/>
                <a:gd name="T13" fmla="*/ 523 h 1557"/>
                <a:gd name="T14" fmla="*/ 203 w 1086"/>
                <a:gd name="T15" fmla="*/ 459 h 1557"/>
                <a:gd name="T16" fmla="*/ 323 w 1086"/>
                <a:gd name="T17" fmla="*/ 114 h 1557"/>
                <a:gd name="T18" fmla="*/ 386 w 1086"/>
                <a:gd name="T19" fmla="*/ 48 h 1557"/>
                <a:gd name="T20" fmla="*/ 549 w 1086"/>
                <a:gd name="T21" fmla="*/ 257 h 1557"/>
                <a:gd name="T22" fmla="*/ 476 w 1086"/>
                <a:gd name="T23" fmla="*/ 570 h 1557"/>
                <a:gd name="T24" fmla="*/ 942 w 1086"/>
                <a:gd name="T25" fmla="*/ 581 h 1557"/>
                <a:gd name="T26" fmla="*/ 942 w 1086"/>
                <a:gd name="T27" fmla="*/ 781 h 1557"/>
                <a:gd name="T28" fmla="*/ 917 w 1086"/>
                <a:gd name="T29" fmla="*/ 780 h 1557"/>
                <a:gd name="T30" fmla="*/ 757 w 1086"/>
                <a:gd name="T31" fmla="*/ 802 h 1557"/>
                <a:gd name="T32" fmla="*/ 807 w 1086"/>
                <a:gd name="T33" fmla="*/ 824 h 1557"/>
                <a:gd name="T34" fmla="*/ 924 w 1086"/>
                <a:gd name="T35" fmla="*/ 825 h 1557"/>
                <a:gd name="T36" fmla="*/ 917 w 1086"/>
                <a:gd name="T37" fmla="*/ 1024 h 1557"/>
                <a:gd name="T38" fmla="*/ 874 w 1086"/>
                <a:gd name="T39" fmla="*/ 1025 h 1557"/>
                <a:gd name="T40" fmla="*/ 757 w 1086"/>
                <a:gd name="T41" fmla="*/ 1024 h 1557"/>
                <a:gd name="T42" fmla="*/ 757 w 1086"/>
                <a:gd name="T43" fmla="*/ 1068 h 1557"/>
                <a:gd name="T44" fmla="*/ 961 w 1086"/>
                <a:gd name="T45" fmla="*/ 1168 h 1557"/>
                <a:gd name="T46" fmla="*/ 793 w 1086"/>
                <a:gd name="T47" fmla="*/ 1269 h 1557"/>
                <a:gd name="T48" fmla="*/ 724 w 1086"/>
                <a:gd name="T49" fmla="*/ 1269 h 1557"/>
                <a:gd name="T50" fmla="*/ 724 w 1086"/>
                <a:gd name="T51" fmla="*/ 1313 h 1557"/>
                <a:gd name="T52" fmla="*/ 793 w 1086"/>
                <a:gd name="T53" fmla="*/ 1313 h 1557"/>
                <a:gd name="T54" fmla="*/ 793 w 1086"/>
                <a:gd name="T55" fmla="*/ 1513 h 1557"/>
                <a:gd name="T56" fmla="*/ 26 w 1086"/>
                <a:gd name="T57" fmla="*/ 1394 h 1557"/>
                <a:gd name="T58" fmla="*/ 344 w 1086"/>
                <a:gd name="T59" fmla="*/ 1557 h 1557"/>
                <a:gd name="T60" fmla="*/ 937 w 1086"/>
                <a:gd name="T61" fmla="*/ 1413 h 1557"/>
                <a:gd name="T62" fmla="*/ 1005 w 1086"/>
                <a:gd name="T63" fmla="*/ 1168 h 1557"/>
                <a:gd name="T64" fmla="*/ 1061 w 1086"/>
                <a:gd name="T65" fmla="*/ 924 h 1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6" h="1557">
                  <a:moveTo>
                    <a:pt x="1004" y="810"/>
                  </a:moveTo>
                  <a:cubicBezTo>
                    <a:pt x="1052" y="787"/>
                    <a:pt x="1086" y="738"/>
                    <a:pt x="1086" y="681"/>
                  </a:cubicBezTo>
                  <a:cubicBezTo>
                    <a:pt x="1086" y="601"/>
                    <a:pt x="1021" y="537"/>
                    <a:pt x="942" y="537"/>
                  </a:cubicBezTo>
                  <a:cubicBezTo>
                    <a:pt x="530" y="537"/>
                    <a:pt x="530" y="537"/>
                    <a:pt x="530" y="537"/>
                  </a:cubicBezTo>
                  <a:cubicBezTo>
                    <a:pt x="553" y="485"/>
                    <a:pt x="593" y="378"/>
                    <a:pt x="593" y="255"/>
                  </a:cubicBezTo>
                  <a:cubicBezTo>
                    <a:pt x="593" y="255"/>
                    <a:pt x="593" y="254"/>
                    <a:pt x="593" y="253"/>
                  </a:cubicBezTo>
                  <a:cubicBezTo>
                    <a:pt x="592" y="251"/>
                    <a:pt x="586" y="193"/>
                    <a:pt x="559" y="134"/>
                  </a:cubicBezTo>
                  <a:cubicBezTo>
                    <a:pt x="522" y="52"/>
                    <a:pt x="464" y="7"/>
                    <a:pt x="391" y="4"/>
                  </a:cubicBezTo>
                  <a:cubicBezTo>
                    <a:pt x="383" y="3"/>
                    <a:pt x="344" y="0"/>
                    <a:pt x="313" y="26"/>
                  </a:cubicBezTo>
                  <a:cubicBezTo>
                    <a:pt x="291" y="46"/>
                    <a:pt x="279" y="75"/>
                    <a:pt x="279" y="114"/>
                  </a:cubicBezTo>
                  <a:cubicBezTo>
                    <a:pt x="279" y="221"/>
                    <a:pt x="279" y="221"/>
                    <a:pt x="279" y="221"/>
                  </a:cubicBezTo>
                  <a:cubicBezTo>
                    <a:pt x="279" y="221"/>
                    <a:pt x="279" y="221"/>
                    <a:pt x="279" y="221"/>
                  </a:cubicBezTo>
                  <a:cubicBezTo>
                    <a:pt x="279" y="223"/>
                    <a:pt x="283" y="364"/>
                    <a:pt x="181" y="420"/>
                  </a:cubicBezTo>
                  <a:cubicBezTo>
                    <a:pt x="132" y="448"/>
                    <a:pt x="63" y="487"/>
                    <a:pt x="0" y="523"/>
                  </a:cubicBezTo>
                  <a:cubicBezTo>
                    <a:pt x="12" y="531"/>
                    <a:pt x="21" y="544"/>
                    <a:pt x="25" y="559"/>
                  </a:cubicBezTo>
                  <a:cubicBezTo>
                    <a:pt x="86" y="524"/>
                    <a:pt x="154" y="486"/>
                    <a:pt x="203" y="459"/>
                  </a:cubicBezTo>
                  <a:cubicBezTo>
                    <a:pt x="326" y="390"/>
                    <a:pt x="324" y="232"/>
                    <a:pt x="323" y="220"/>
                  </a:cubicBezTo>
                  <a:cubicBezTo>
                    <a:pt x="323" y="114"/>
                    <a:pt x="323" y="114"/>
                    <a:pt x="323" y="114"/>
                  </a:cubicBezTo>
                  <a:cubicBezTo>
                    <a:pt x="323" y="89"/>
                    <a:pt x="330" y="70"/>
                    <a:pt x="342" y="60"/>
                  </a:cubicBezTo>
                  <a:cubicBezTo>
                    <a:pt x="359" y="44"/>
                    <a:pt x="386" y="48"/>
                    <a:pt x="386" y="48"/>
                  </a:cubicBezTo>
                  <a:cubicBezTo>
                    <a:pt x="387" y="48"/>
                    <a:pt x="388" y="48"/>
                    <a:pt x="389" y="48"/>
                  </a:cubicBezTo>
                  <a:cubicBezTo>
                    <a:pt x="520" y="52"/>
                    <a:pt x="547" y="241"/>
                    <a:pt x="549" y="257"/>
                  </a:cubicBezTo>
                  <a:cubicBezTo>
                    <a:pt x="548" y="413"/>
                    <a:pt x="476" y="547"/>
                    <a:pt x="476" y="548"/>
                  </a:cubicBezTo>
                  <a:cubicBezTo>
                    <a:pt x="472" y="555"/>
                    <a:pt x="472" y="563"/>
                    <a:pt x="476" y="570"/>
                  </a:cubicBezTo>
                  <a:cubicBezTo>
                    <a:pt x="480" y="577"/>
                    <a:pt x="487" y="581"/>
                    <a:pt x="495" y="581"/>
                  </a:cubicBezTo>
                  <a:cubicBezTo>
                    <a:pt x="942" y="581"/>
                    <a:pt x="942" y="581"/>
                    <a:pt x="942" y="581"/>
                  </a:cubicBezTo>
                  <a:cubicBezTo>
                    <a:pt x="997" y="581"/>
                    <a:pt x="1042" y="626"/>
                    <a:pt x="1042" y="681"/>
                  </a:cubicBezTo>
                  <a:cubicBezTo>
                    <a:pt x="1042" y="736"/>
                    <a:pt x="997" y="781"/>
                    <a:pt x="942" y="781"/>
                  </a:cubicBezTo>
                  <a:cubicBezTo>
                    <a:pt x="926" y="781"/>
                    <a:pt x="926" y="781"/>
                    <a:pt x="926" y="781"/>
                  </a:cubicBezTo>
                  <a:cubicBezTo>
                    <a:pt x="923" y="781"/>
                    <a:pt x="920" y="780"/>
                    <a:pt x="917" y="780"/>
                  </a:cubicBezTo>
                  <a:cubicBezTo>
                    <a:pt x="779" y="780"/>
                    <a:pt x="779" y="780"/>
                    <a:pt x="779" y="780"/>
                  </a:cubicBezTo>
                  <a:cubicBezTo>
                    <a:pt x="767" y="780"/>
                    <a:pt x="757" y="790"/>
                    <a:pt x="757" y="802"/>
                  </a:cubicBezTo>
                  <a:cubicBezTo>
                    <a:pt x="757" y="815"/>
                    <a:pt x="767" y="824"/>
                    <a:pt x="779" y="824"/>
                  </a:cubicBezTo>
                  <a:cubicBezTo>
                    <a:pt x="807" y="824"/>
                    <a:pt x="807" y="824"/>
                    <a:pt x="807" y="824"/>
                  </a:cubicBezTo>
                  <a:cubicBezTo>
                    <a:pt x="809" y="825"/>
                    <a:pt x="810" y="825"/>
                    <a:pt x="811" y="825"/>
                  </a:cubicBezTo>
                  <a:cubicBezTo>
                    <a:pt x="924" y="825"/>
                    <a:pt x="924" y="825"/>
                    <a:pt x="924" y="825"/>
                  </a:cubicBezTo>
                  <a:cubicBezTo>
                    <a:pt x="976" y="829"/>
                    <a:pt x="1017" y="872"/>
                    <a:pt x="1017" y="924"/>
                  </a:cubicBezTo>
                  <a:cubicBezTo>
                    <a:pt x="1017" y="980"/>
                    <a:pt x="972" y="1024"/>
                    <a:pt x="917" y="1024"/>
                  </a:cubicBezTo>
                  <a:cubicBezTo>
                    <a:pt x="879" y="1024"/>
                    <a:pt x="879" y="1024"/>
                    <a:pt x="879" y="1024"/>
                  </a:cubicBezTo>
                  <a:cubicBezTo>
                    <a:pt x="877" y="1024"/>
                    <a:pt x="875" y="1025"/>
                    <a:pt x="874" y="1025"/>
                  </a:cubicBezTo>
                  <a:cubicBezTo>
                    <a:pt x="869" y="1025"/>
                    <a:pt x="865" y="1024"/>
                    <a:pt x="861" y="1024"/>
                  </a:cubicBezTo>
                  <a:cubicBezTo>
                    <a:pt x="757" y="1024"/>
                    <a:pt x="757" y="1024"/>
                    <a:pt x="757" y="1024"/>
                  </a:cubicBezTo>
                  <a:cubicBezTo>
                    <a:pt x="745" y="1024"/>
                    <a:pt x="735" y="1034"/>
                    <a:pt x="735" y="1046"/>
                  </a:cubicBezTo>
                  <a:cubicBezTo>
                    <a:pt x="735" y="1059"/>
                    <a:pt x="745" y="1068"/>
                    <a:pt x="757" y="1068"/>
                  </a:cubicBezTo>
                  <a:cubicBezTo>
                    <a:pt x="861" y="1068"/>
                    <a:pt x="861" y="1068"/>
                    <a:pt x="861" y="1068"/>
                  </a:cubicBezTo>
                  <a:cubicBezTo>
                    <a:pt x="916" y="1068"/>
                    <a:pt x="961" y="1113"/>
                    <a:pt x="961" y="1168"/>
                  </a:cubicBezTo>
                  <a:cubicBezTo>
                    <a:pt x="961" y="1224"/>
                    <a:pt x="916" y="1269"/>
                    <a:pt x="861" y="1269"/>
                  </a:cubicBezTo>
                  <a:cubicBezTo>
                    <a:pt x="793" y="1269"/>
                    <a:pt x="793" y="1269"/>
                    <a:pt x="793" y="1269"/>
                  </a:cubicBezTo>
                  <a:cubicBezTo>
                    <a:pt x="757" y="1269"/>
                    <a:pt x="757" y="1269"/>
                    <a:pt x="757" y="1269"/>
                  </a:cubicBezTo>
                  <a:cubicBezTo>
                    <a:pt x="724" y="1269"/>
                    <a:pt x="724" y="1269"/>
                    <a:pt x="724" y="1269"/>
                  </a:cubicBezTo>
                  <a:cubicBezTo>
                    <a:pt x="712" y="1269"/>
                    <a:pt x="702" y="1278"/>
                    <a:pt x="702" y="1291"/>
                  </a:cubicBezTo>
                  <a:cubicBezTo>
                    <a:pt x="702" y="1303"/>
                    <a:pt x="712" y="1313"/>
                    <a:pt x="724" y="1313"/>
                  </a:cubicBezTo>
                  <a:cubicBezTo>
                    <a:pt x="757" y="1313"/>
                    <a:pt x="757" y="1313"/>
                    <a:pt x="757" y="1313"/>
                  </a:cubicBezTo>
                  <a:cubicBezTo>
                    <a:pt x="793" y="1313"/>
                    <a:pt x="793" y="1313"/>
                    <a:pt x="793" y="1313"/>
                  </a:cubicBezTo>
                  <a:cubicBezTo>
                    <a:pt x="848" y="1313"/>
                    <a:pt x="893" y="1357"/>
                    <a:pt x="893" y="1413"/>
                  </a:cubicBezTo>
                  <a:cubicBezTo>
                    <a:pt x="893" y="1468"/>
                    <a:pt x="848" y="1513"/>
                    <a:pt x="793" y="1513"/>
                  </a:cubicBezTo>
                  <a:cubicBezTo>
                    <a:pt x="344" y="1513"/>
                    <a:pt x="344" y="1513"/>
                    <a:pt x="344" y="1513"/>
                  </a:cubicBezTo>
                  <a:cubicBezTo>
                    <a:pt x="301" y="1513"/>
                    <a:pt x="175" y="1513"/>
                    <a:pt x="26" y="1394"/>
                  </a:cubicBezTo>
                  <a:cubicBezTo>
                    <a:pt x="26" y="1449"/>
                    <a:pt x="26" y="1449"/>
                    <a:pt x="26" y="1449"/>
                  </a:cubicBezTo>
                  <a:cubicBezTo>
                    <a:pt x="126" y="1521"/>
                    <a:pt x="230" y="1557"/>
                    <a:pt x="344" y="1557"/>
                  </a:cubicBezTo>
                  <a:cubicBezTo>
                    <a:pt x="793" y="1557"/>
                    <a:pt x="793" y="1557"/>
                    <a:pt x="793" y="1557"/>
                  </a:cubicBezTo>
                  <a:cubicBezTo>
                    <a:pt x="872" y="1557"/>
                    <a:pt x="937" y="1492"/>
                    <a:pt x="937" y="1413"/>
                  </a:cubicBezTo>
                  <a:cubicBezTo>
                    <a:pt x="937" y="1372"/>
                    <a:pt x="920" y="1335"/>
                    <a:pt x="892" y="1309"/>
                  </a:cubicBezTo>
                  <a:cubicBezTo>
                    <a:pt x="957" y="1294"/>
                    <a:pt x="1005" y="1237"/>
                    <a:pt x="1005" y="1168"/>
                  </a:cubicBezTo>
                  <a:cubicBezTo>
                    <a:pt x="1005" y="1127"/>
                    <a:pt x="987" y="1089"/>
                    <a:pt x="958" y="1062"/>
                  </a:cubicBezTo>
                  <a:cubicBezTo>
                    <a:pt x="1017" y="1045"/>
                    <a:pt x="1061" y="989"/>
                    <a:pt x="1061" y="924"/>
                  </a:cubicBezTo>
                  <a:cubicBezTo>
                    <a:pt x="1061" y="878"/>
                    <a:pt x="1039" y="837"/>
                    <a:pt x="1004" y="8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6">
              <a:extLst>
                <a:ext uri="{FF2B5EF4-FFF2-40B4-BE49-F238E27FC236}">
                  <a16:creationId xmlns:a16="http://schemas.microsoft.com/office/drawing/2014/main" id="{92852676-010B-4F63-9947-F8D2D7B4EB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8" y="1740"/>
              <a:ext cx="846" cy="1723"/>
            </a:xfrm>
            <a:custGeom>
              <a:avLst/>
              <a:gdLst>
                <a:gd name="T0" fmla="*/ 193 w 452"/>
                <a:gd name="T1" fmla="*/ 773 h 919"/>
                <a:gd name="T2" fmla="*/ 146 w 452"/>
                <a:gd name="T3" fmla="*/ 820 h 919"/>
                <a:gd name="T4" fmla="*/ 99 w 452"/>
                <a:gd name="T5" fmla="*/ 773 h 919"/>
                <a:gd name="T6" fmla="*/ 146 w 452"/>
                <a:gd name="T7" fmla="*/ 726 h 919"/>
                <a:gd name="T8" fmla="*/ 193 w 452"/>
                <a:gd name="T9" fmla="*/ 773 h 919"/>
                <a:gd name="T10" fmla="*/ 452 w 452"/>
                <a:gd name="T11" fmla="*/ 22 h 919"/>
                <a:gd name="T12" fmla="*/ 452 w 452"/>
                <a:gd name="T13" fmla="*/ 897 h 919"/>
                <a:gd name="T14" fmla="*/ 430 w 452"/>
                <a:gd name="T15" fmla="*/ 919 h 919"/>
                <a:gd name="T16" fmla="*/ 22 w 452"/>
                <a:gd name="T17" fmla="*/ 919 h 919"/>
                <a:gd name="T18" fmla="*/ 0 w 452"/>
                <a:gd name="T19" fmla="*/ 897 h 919"/>
                <a:gd name="T20" fmla="*/ 0 w 452"/>
                <a:gd name="T21" fmla="*/ 22 h 919"/>
                <a:gd name="T22" fmla="*/ 22 w 452"/>
                <a:gd name="T23" fmla="*/ 0 h 919"/>
                <a:gd name="T24" fmla="*/ 430 w 452"/>
                <a:gd name="T25" fmla="*/ 0 h 919"/>
                <a:gd name="T26" fmla="*/ 452 w 452"/>
                <a:gd name="T27" fmla="*/ 22 h 919"/>
                <a:gd name="T28" fmla="*/ 237 w 452"/>
                <a:gd name="T29" fmla="*/ 773 h 919"/>
                <a:gd name="T30" fmla="*/ 146 w 452"/>
                <a:gd name="T31" fmla="*/ 682 h 919"/>
                <a:gd name="T32" fmla="*/ 55 w 452"/>
                <a:gd name="T33" fmla="*/ 773 h 919"/>
                <a:gd name="T34" fmla="*/ 146 w 452"/>
                <a:gd name="T35" fmla="*/ 864 h 919"/>
                <a:gd name="T36" fmla="*/ 237 w 452"/>
                <a:gd name="T37" fmla="*/ 773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2" h="919">
                  <a:moveTo>
                    <a:pt x="193" y="773"/>
                  </a:moveTo>
                  <a:cubicBezTo>
                    <a:pt x="193" y="799"/>
                    <a:pt x="172" y="820"/>
                    <a:pt x="146" y="820"/>
                  </a:cubicBezTo>
                  <a:cubicBezTo>
                    <a:pt x="120" y="820"/>
                    <a:pt x="99" y="799"/>
                    <a:pt x="99" y="773"/>
                  </a:cubicBezTo>
                  <a:cubicBezTo>
                    <a:pt x="99" y="747"/>
                    <a:pt x="120" y="726"/>
                    <a:pt x="146" y="726"/>
                  </a:cubicBezTo>
                  <a:cubicBezTo>
                    <a:pt x="172" y="726"/>
                    <a:pt x="193" y="747"/>
                    <a:pt x="193" y="773"/>
                  </a:cubicBezTo>
                  <a:close/>
                  <a:moveTo>
                    <a:pt x="452" y="22"/>
                  </a:moveTo>
                  <a:cubicBezTo>
                    <a:pt x="452" y="897"/>
                    <a:pt x="452" y="897"/>
                    <a:pt x="452" y="897"/>
                  </a:cubicBezTo>
                  <a:cubicBezTo>
                    <a:pt x="452" y="909"/>
                    <a:pt x="442" y="919"/>
                    <a:pt x="430" y="919"/>
                  </a:cubicBezTo>
                  <a:cubicBezTo>
                    <a:pt x="22" y="919"/>
                    <a:pt x="22" y="919"/>
                    <a:pt x="22" y="919"/>
                  </a:cubicBezTo>
                  <a:cubicBezTo>
                    <a:pt x="10" y="919"/>
                    <a:pt x="0" y="909"/>
                    <a:pt x="0" y="89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430" y="0"/>
                    <a:pt x="430" y="0"/>
                    <a:pt x="430" y="0"/>
                  </a:cubicBezTo>
                  <a:cubicBezTo>
                    <a:pt x="442" y="0"/>
                    <a:pt x="452" y="10"/>
                    <a:pt x="452" y="22"/>
                  </a:cubicBezTo>
                  <a:close/>
                  <a:moveTo>
                    <a:pt x="237" y="773"/>
                  </a:moveTo>
                  <a:cubicBezTo>
                    <a:pt x="237" y="722"/>
                    <a:pt x="196" y="682"/>
                    <a:pt x="146" y="682"/>
                  </a:cubicBezTo>
                  <a:cubicBezTo>
                    <a:pt x="96" y="682"/>
                    <a:pt x="55" y="722"/>
                    <a:pt x="55" y="773"/>
                  </a:cubicBezTo>
                  <a:cubicBezTo>
                    <a:pt x="55" y="823"/>
                    <a:pt x="96" y="864"/>
                    <a:pt x="146" y="864"/>
                  </a:cubicBezTo>
                  <a:cubicBezTo>
                    <a:pt x="196" y="864"/>
                    <a:pt x="237" y="823"/>
                    <a:pt x="237" y="77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3" name="Oval 172">
            <a:extLst>
              <a:ext uri="{FF2B5EF4-FFF2-40B4-BE49-F238E27FC236}">
                <a16:creationId xmlns:a16="http://schemas.microsoft.com/office/drawing/2014/main" id="{34A63EDA-CF2A-4549-82EB-BFAFCB77CB5A}"/>
              </a:ext>
            </a:extLst>
          </p:cNvPr>
          <p:cNvSpPr/>
          <p:nvPr/>
        </p:nvSpPr>
        <p:spPr>
          <a:xfrm>
            <a:off x="4233944" y="1836752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88365AC4-E463-43A5-B434-D6E32B63B3D0}"/>
              </a:ext>
            </a:extLst>
          </p:cNvPr>
          <p:cNvGrpSpPr>
            <a:grpSpLocks noChangeAspect="1"/>
          </p:cNvGrpSpPr>
          <p:nvPr/>
        </p:nvGrpSpPr>
        <p:grpSpPr>
          <a:xfrm>
            <a:off x="4443325" y="1836752"/>
            <a:ext cx="548640" cy="548640"/>
            <a:chOff x="5273675" y="2606675"/>
            <a:chExt cx="1644650" cy="1644650"/>
          </a:xfrm>
        </p:grpSpPr>
        <p:sp>
          <p:nvSpPr>
            <p:cNvPr id="175" name="AutoShape 3">
              <a:extLst>
                <a:ext uri="{FF2B5EF4-FFF2-40B4-BE49-F238E27FC236}">
                  <a16:creationId xmlns:a16="http://schemas.microsoft.com/office/drawing/2014/main" id="{8D860957-D776-45C6-A21B-9B794A8B17B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E83CAC2F-DA44-44A3-A707-5F4615BB13BA}"/>
                </a:ext>
              </a:extLst>
            </p:cNvPr>
            <p:cNvGrpSpPr/>
            <p:nvPr/>
          </p:nvGrpSpPr>
          <p:grpSpPr>
            <a:xfrm>
              <a:off x="5562600" y="2773363"/>
              <a:ext cx="1109818" cy="1268411"/>
              <a:chOff x="5562600" y="2773363"/>
              <a:chExt cx="1109818" cy="1268411"/>
            </a:xfrm>
          </p:grpSpPr>
          <p:sp>
            <p:nvSpPr>
              <p:cNvPr id="177" name="Freeform 13">
                <a:extLst>
                  <a:ext uri="{FF2B5EF4-FFF2-40B4-BE49-F238E27FC236}">
                    <a16:creationId xmlns:a16="http://schemas.microsoft.com/office/drawing/2014/main" id="{C1C88D33-AA4F-4D45-88BD-DB8594274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600" y="3114674"/>
                <a:ext cx="1063625" cy="927100"/>
              </a:xfrm>
              <a:custGeom>
                <a:avLst/>
                <a:gdLst>
                  <a:gd name="connsiteX0" fmla="*/ 517189 w 1063625"/>
                  <a:gd name="connsiteY0" fmla="*/ 498475 h 927100"/>
                  <a:gd name="connsiteX1" fmla="*/ 548577 w 1063625"/>
                  <a:gd name="connsiteY1" fmla="*/ 498475 h 927100"/>
                  <a:gd name="connsiteX2" fmla="*/ 548577 w 1063625"/>
                  <a:gd name="connsiteY2" fmla="*/ 605453 h 927100"/>
                  <a:gd name="connsiteX3" fmla="*/ 983015 w 1063625"/>
                  <a:gd name="connsiteY3" fmla="*/ 605453 h 927100"/>
                  <a:gd name="connsiteX4" fmla="*/ 998709 w 1063625"/>
                  <a:gd name="connsiteY4" fmla="*/ 621143 h 927100"/>
                  <a:gd name="connsiteX5" fmla="*/ 998709 w 1063625"/>
                  <a:gd name="connsiteY5" fmla="*/ 753796 h 927100"/>
                  <a:gd name="connsiteX6" fmla="*/ 1023677 w 1063625"/>
                  <a:gd name="connsiteY6" fmla="*/ 753796 h 927100"/>
                  <a:gd name="connsiteX7" fmla="*/ 992289 w 1063625"/>
                  <a:gd name="connsiteY7" fmla="*/ 785176 h 927100"/>
                  <a:gd name="connsiteX8" fmla="*/ 920953 w 1063625"/>
                  <a:gd name="connsiteY8" fmla="*/ 785176 h 927100"/>
                  <a:gd name="connsiteX9" fmla="*/ 920953 w 1063625"/>
                  <a:gd name="connsiteY9" fmla="*/ 895720 h 927100"/>
                  <a:gd name="connsiteX10" fmla="*/ 1032237 w 1063625"/>
                  <a:gd name="connsiteY10" fmla="*/ 895720 h 927100"/>
                  <a:gd name="connsiteX11" fmla="*/ 1032237 w 1063625"/>
                  <a:gd name="connsiteY11" fmla="*/ 877890 h 927100"/>
                  <a:gd name="connsiteX12" fmla="*/ 1063625 w 1063625"/>
                  <a:gd name="connsiteY12" fmla="*/ 846510 h 927100"/>
                  <a:gd name="connsiteX13" fmla="*/ 1063625 w 1063625"/>
                  <a:gd name="connsiteY13" fmla="*/ 911410 h 927100"/>
                  <a:gd name="connsiteX14" fmla="*/ 1047931 w 1063625"/>
                  <a:gd name="connsiteY14" fmla="*/ 927100 h 927100"/>
                  <a:gd name="connsiteX15" fmla="*/ 905259 w 1063625"/>
                  <a:gd name="connsiteY15" fmla="*/ 927100 h 927100"/>
                  <a:gd name="connsiteX16" fmla="*/ 889565 w 1063625"/>
                  <a:gd name="connsiteY16" fmla="*/ 911410 h 927100"/>
                  <a:gd name="connsiteX17" fmla="*/ 889565 w 1063625"/>
                  <a:gd name="connsiteY17" fmla="*/ 769486 h 927100"/>
                  <a:gd name="connsiteX18" fmla="*/ 905259 w 1063625"/>
                  <a:gd name="connsiteY18" fmla="*/ 753796 h 927100"/>
                  <a:gd name="connsiteX19" fmla="*/ 967321 w 1063625"/>
                  <a:gd name="connsiteY19" fmla="*/ 753796 h 927100"/>
                  <a:gd name="connsiteX20" fmla="*/ 967321 w 1063625"/>
                  <a:gd name="connsiteY20" fmla="*/ 636833 h 927100"/>
                  <a:gd name="connsiteX21" fmla="*/ 548577 w 1063625"/>
                  <a:gd name="connsiteY21" fmla="*/ 636833 h 927100"/>
                  <a:gd name="connsiteX22" fmla="*/ 548577 w 1063625"/>
                  <a:gd name="connsiteY22" fmla="*/ 753796 h 927100"/>
                  <a:gd name="connsiteX23" fmla="*/ 579965 w 1063625"/>
                  <a:gd name="connsiteY23" fmla="*/ 753796 h 927100"/>
                  <a:gd name="connsiteX24" fmla="*/ 548577 w 1063625"/>
                  <a:gd name="connsiteY24" fmla="*/ 785176 h 927100"/>
                  <a:gd name="connsiteX25" fmla="*/ 547863 w 1063625"/>
                  <a:gd name="connsiteY25" fmla="*/ 785176 h 927100"/>
                  <a:gd name="connsiteX26" fmla="*/ 532883 w 1063625"/>
                  <a:gd name="connsiteY26" fmla="*/ 797300 h 927100"/>
                  <a:gd name="connsiteX27" fmla="*/ 517189 w 1063625"/>
                  <a:gd name="connsiteY27" fmla="*/ 785176 h 927100"/>
                  <a:gd name="connsiteX28" fmla="*/ 477240 w 1063625"/>
                  <a:gd name="connsiteY28" fmla="*/ 785176 h 927100"/>
                  <a:gd name="connsiteX29" fmla="*/ 477240 w 1063625"/>
                  <a:gd name="connsiteY29" fmla="*/ 895720 h 927100"/>
                  <a:gd name="connsiteX30" fmla="*/ 588525 w 1063625"/>
                  <a:gd name="connsiteY30" fmla="*/ 895720 h 927100"/>
                  <a:gd name="connsiteX31" fmla="*/ 588525 w 1063625"/>
                  <a:gd name="connsiteY31" fmla="*/ 877890 h 927100"/>
                  <a:gd name="connsiteX32" fmla="*/ 619913 w 1063625"/>
                  <a:gd name="connsiteY32" fmla="*/ 846510 h 927100"/>
                  <a:gd name="connsiteX33" fmla="*/ 619913 w 1063625"/>
                  <a:gd name="connsiteY33" fmla="*/ 911410 h 927100"/>
                  <a:gd name="connsiteX34" fmla="*/ 604219 w 1063625"/>
                  <a:gd name="connsiteY34" fmla="*/ 927100 h 927100"/>
                  <a:gd name="connsiteX35" fmla="*/ 461546 w 1063625"/>
                  <a:gd name="connsiteY35" fmla="*/ 927100 h 927100"/>
                  <a:gd name="connsiteX36" fmla="*/ 445852 w 1063625"/>
                  <a:gd name="connsiteY36" fmla="*/ 911410 h 927100"/>
                  <a:gd name="connsiteX37" fmla="*/ 445852 w 1063625"/>
                  <a:gd name="connsiteY37" fmla="*/ 769486 h 927100"/>
                  <a:gd name="connsiteX38" fmla="*/ 461546 w 1063625"/>
                  <a:gd name="connsiteY38" fmla="*/ 753796 h 927100"/>
                  <a:gd name="connsiteX39" fmla="*/ 517189 w 1063625"/>
                  <a:gd name="connsiteY39" fmla="*/ 753796 h 927100"/>
                  <a:gd name="connsiteX40" fmla="*/ 517189 w 1063625"/>
                  <a:gd name="connsiteY40" fmla="*/ 636833 h 927100"/>
                  <a:gd name="connsiteX41" fmla="*/ 101298 w 1063625"/>
                  <a:gd name="connsiteY41" fmla="*/ 636833 h 927100"/>
                  <a:gd name="connsiteX42" fmla="*/ 101298 w 1063625"/>
                  <a:gd name="connsiteY42" fmla="*/ 753796 h 927100"/>
                  <a:gd name="connsiteX43" fmla="*/ 134826 w 1063625"/>
                  <a:gd name="connsiteY43" fmla="*/ 753796 h 927100"/>
                  <a:gd name="connsiteX44" fmla="*/ 103438 w 1063625"/>
                  <a:gd name="connsiteY44" fmla="*/ 785176 h 927100"/>
                  <a:gd name="connsiteX45" fmla="*/ 31388 w 1063625"/>
                  <a:gd name="connsiteY45" fmla="*/ 785176 h 927100"/>
                  <a:gd name="connsiteX46" fmla="*/ 31388 w 1063625"/>
                  <a:gd name="connsiteY46" fmla="*/ 895720 h 927100"/>
                  <a:gd name="connsiteX47" fmla="*/ 143386 w 1063625"/>
                  <a:gd name="connsiteY47" fmla="*/ 895720 h 927100"/>
                  <a:gd name="connsiteX48" fmla="*/ 143386 w 1063625"/>
                  <a:gd name="connsiteY48" fmla="*/ 877890 h 927100"/>
                  <a:gd name="connsiteX49" fmla="*/ 174774 w 1063625"/>
                  <a:gd name="connsiteY49" fmla="*/ 846510 h 927100"/>
                  <a:gd name="connsiteX50" fmla="*/ 174774 w 1063625"/>
                  <a:gd name="connsiteY50" fmla="*/ 911410 h 927100"/>
                  <a:gd name="connsiteX51" fmla="*/ 159080 w 1063625"/>
                  <a:gd name="connsiteY51" fmla="*/ 927100 h 927100"/>
                  <a:gd name="connsiteX52" fmla="*/ 15694 w 1063625"/>
                  <a:gd name="connsiteY52" fmla="*/ 927100 h 927100"/>
                  <a:gd name="connsiteX53" fmla="*/ 0 w 1063625"/>
                  <a:gd name="connsiteY53" fmla="*/ 911410 h 927100"/>
                  <a:gd name="connsiteX54" fmla="*/ 0 w 1063625"/>
                  <a:gd name="connsiteY54" fmla="*/ 769486 h 927100"/>
                  <a:gd name="connsiteX55" fmla="*/ 15694 w 1063625"/>
                  <a:gd name="connsiteY55" fmla="*/ 753796 h 927100"/>
                  <a:gd name="connsiteX56" fmla="*/ 69910 w 1063625"/>
                  <a:gd name="connsiteY56" fmla="*/ 753796 h 927100"/>
                  <a:gd name="connsiteX57" fmla="*/ 69910 w 1063625"/>
                  <a:gd name="connsiteY57" fmla="*/ 621143 h 927100"/>
                  <a:gd name="connsiteX58" fmla="*/ 85604 w 1063625"/>
                  <a:gd name="connsiteY58" fmla="*/ 605453 h 927100"/>
                  <a:gd name="connsiteX59" fmla="*/ 517189 w 1063625"/>
                  <a:gd name="connsiteY59" fmla="*/ 605453 h 927100"/>
                  <a:gd name="connsiteX60" fmla="*/ 517189 w 1063625"/>
                  <a:gd name="connsiteY60" fmla="*/ 498475 h 927100"/>
                  <a:gd name="connsiteX61" fmla="*/ 397746 w 1063625"/>
                  <a:gd name="connsiteY61" fmla="*/ 276225 h 927100"/>
                  <a:gd name="connsiteX62" fmla="*/ 530544 w 1063625"/>
                  <a:gd name="connsiteY62" fmla="*/ 384270 h 927100"/>
                  <a:gd name="connsiteX63" fmla="*/ 536256 w 1063625"/>
                  <a:gd name="connsiteY63" fmla="*/ 384270 h 927100"/>
                  <a:gd name="connsiteX64" fmla="*/ 669054 w 1063625"/>
                  <a:gd name="connsiteY64" fmla="*/ 276225 h 927100"/>
                  <a:gd name="connsiteX65" fmla="*/ 848975 w 1063625"/>
                  <a:gd name="connsiteY65" fmla="*/ 306790 h 927100"/>
                  <a:gd name="connsiteX66" fmla="*/ 950358 w 1063625"/>
                  <a:gd name="connsiteY66" fmla="*/ 453219 h 927100"/>
                  <a:gd name="connsiteX67" fmla="*/ 940363 w 1063625"/>
                  <a:gd name="connsiteY67" fmla="*/ 466725 h 927100"/>
                  <a:gd name="connsiteX68" fmla="*/ 547680 w 1063625"/>
                  <a:gd name="connsiteY68" fmla="*/ 466725 h 927100"/>
                  <a:gd name="connsiteX69" fmla="*/ 516265 w 1063625"/>
                  <a:gd name="connsiteY69" fmla="*/ 466725 h 927100"/>
                  <a:gd name="connsiteX70" fmla="*/ 126438 w 1063625"/>
                  <a:gd name="connsiteY70" fmla="*/ 466725 h 927100"/>
                  <a:gd name="connsiteX71" fmla="*/ 116442 w 1063625"/>
                  <a:gd name="connsiteY71" fmla="*/ 453219 h 927100"/>
                  <a:gd name="connsiteX72" fmla="*/ 217826 w 1063625"/>
                  <a:gd name="connsiteY72" fmla="*/ 306790 h 927100"/>
                  <a:gd name="connsiteX73" fmla="*/ 397746 w 1063625"/>
                  <a:gd name="connsiteY73" fmla="*/ 276225 h 927100"/>
                  <a:gd name="connsiteX74" fmla="*/ 312738 w 1063625"/>
                  <a:gd name="connsiteY74" fmla="*/ 0 h 927100"/>
                  <a:gd name="connsiteX75" fmla="*/ 331292 w 1063625"/>
                  <a:gd name="connsiteY75" fmla="*/ 5716 h 927100"/>
                  <a:gd name="connsiteX76" fmla="*/ 337714 w 1063625"/>
                  <a:gd name="connsiteY76" fmla="*/ 5002 h 927100"/>
                  <a:gd name="connsiteX77" fmla="*/ 358409 w 1063625"/>
                  <a:gd name="connsiteY77" fmla="*/ 28583 h 927100"/>
                  <a:gd name="connsiteX78" fmla="*/ 363404 w 1063625"/>
                  <a:gd name="connsiteY78" fmla="*/ 34300 h 927100"/>
                  <a:gd name="connsiteX79" fmla="*/ 429769 w 1063625"/>
                  <a:gd name="connsiteY79" fmla="*/ 174357 h 927100"/>
                  <a:gd name="connsiteX80" fmla="*/ 533954 w 1063625"/>
                  <a:gd name="connsiteY80" fmla="*/ 226521 h 927100"/>
                  <a:gd name="connsiteX81" fmla="*/ 638140 w 1063625"/>
                  <a:gd name="connsiteY81" fmla="*/ 174357 h 927100"/>
                  <a:gd name="connsiteX82" fmla="*/ 704504 w 1063625"/>
                  <a:gd name="connsiteY82" fmla="*/ 34300 h 927100"/>
                  <a:gd name="connsiteX83" fmla="*/ 709499 w 1063625"/>
                  <a:gd name="connsiteY83" fmla="*/ 28583 h 927100"/>
                  <a:gd name="connsiteX84" fmla="*/ 715922 w 1063625"/>
                  <a:gd name="connsiteY84" fmla="*/ 24296 h 927100"/>
                  <a:gd name="connsiteX85" fmla="*/ 749461 w 1063625"/>
                  <a:gd name="connsiteY85" fmla="*/ 15006 h 927100"/>
                  <a:gd name="connsiteX86" fmla="*/ 750175 w 1063625"/>
                  <a:gd name="connsiteY86" fmla="*/ 14291 h 927100"/>
                  <a:gd name="connsiteX87" fmla="*/ 750888 w 1063625"/>
                  <a:gd name="connsiteY87" fmla="*/ 14291 h 927100"/>
                  <a:gd name="connsiteX88" fmla="*/ 723771 w 1063625"/>
                  <a:gd name="connsiteY88" fmla="*/ 46447 h 927100"/>
                  <a:gd name="connsiteX89" fmla="*/ 653125 w 1063625"/>
                  <a:gd name="connsiteY89" fmla="*/ 191507 h 927100"/>
                  <a:gd name="connsiteX90" fmla="*/ 644562 w 1063625"/>
                  <a:gd name="connsiteY90" fmla="*/ 197938 h 927100"/>
                  <a:gd name="connsiteX91" fmla="*/ 644562 w 1063625"/>
                  <a:gd name="connsiteY91" fmla="*/ 257248 h 927100"/>
                  <a:gd name="connsiteX92" fmla="*/ 643848 w 1063625"/>
                  <a:gd name="connsiteY92" fmla="*/ 257963 h 927100"/>
                  <a:gd name="connsiteX93" fmla="*/ 621727 w 1063625"/>
                  <a:gd name="connsiteY93" fmla="*/ 279400 h 927100"/>
                  <a:gd name="connsiteX94" fmla="*/ 621727 w 1063625"/>
                  <a:gd name="connsiteY94" fmla="*/ 214373 h 927100"/>
                  <a:gd name="connsiteX95" fmla="*/ 533954 w 1063625"/>
                  <a:gd name="connsiteY95" fmla="*/ 249388 h 927100"/>
                  <a:gd name="connsiteX96" fmla="*/ 446181 w 1063625"/>
                  <a:gd name="connsiteY96" fmla="*/ 214373 h 927100"/>
                  <a:gd name="connsiteX97" fmla="*/ 446181 w 1063625"/>
                  <a:gd name="connsiteY97" fmla="*/ 279400 h 927100"/>
                  <a:gd name="connsiteX98" fmla="*/ 424060 w 1063625"/>
                  <a:gd name="connsiteY98" fmla="*/ 257963 h 927100"/>
                  <a:gd name="connsiteX99" fmla="*/ 423346 w 1063625"/>
                  <a:gd name="connsiteY99" fmla="*/ 257248 h 927100"/>
                  <a:gd name="connsiteX100" fmla="*/ 423346 w 1063625"/>
                  <a:gd name="connsiteY100" fmla="*/ 197938 h 927100"/>
                  <a:gd name="connsiteX101" fmla="*/ 414783 w 1063625"/>
                  <a:gd name="connsiteY101" fmla="*/ 191507 h 927100"/>
                  <a:gd name="connsiteX102" fmla="*/ 344137 w 1063625"/>
                  <a:gd name="connsiteY102" fmla="*/ 46447 h 927100"/>
                  <a:gd name="connsiteX103" fmla="*/ 312738 w 1063625"/>
                  <a:gd name="connsiteY103" fmla="*/ 0 h 927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063625" h="927100">
                    <a:moveTo>
                      <a:pt x="517189" y="498475"/>
                    </a:moveTo>
                    <a:cubicBezTo>
                      <a:pt x="517189" y="498475"/>
                      <a:pt x="517189" y="498475"/>
                      <a:pt x="548577" y="498475"/>
                    </a:cubicBezTo>
                    <a:cubicBezTo>
                      <a:pt x="548577" y="498475"/>
                      <a:pt x="548577" y="498475"/>
                      <a:pt x="548577" y="605453"/>
                    </a:cubicBezTo>
                    <a:cubicBezTo>
                      <a:pt x="548577" y="605453"/>
                      <a:pt x="548577" y="605453"/>
                      <a:pt x="983015" y="605453"/>
                    </a:cubicBezTo>
                    <a:cubicBezTo>
                      <a:pt x="991576" y="605453"/>
                      <a:pt x="998709" y="612585"/>
                      <a:pt x="998709" y="621143"/>
                    </a:cubicBezTo>
                    <a:cubicBezTo>
                      <a:pt x="998709" y="621143"/>
                      <a:pt x="998709" y="621143"/>
                      <a:pt x="998709" y="753796"/>
                    </a:cubicBezTo>
                    <a:cubicBezTo>
                      <a:pt x="1006556" y="753796"/>
                      <a:pt x="1014403" y="753796"/>
                      <a:pt x="1023677" y="753796"/>
                    </a:cubicBezTo>
                    <a:cubicBezTo>
                      <a:pt x="1023677" y="753796"/>
                      <a:pt x="1023677" y="753796"/>
                      <a:pt x="992289" y="785176"/>
                    </a:cubicBezTo>
                    <a:cubicBezTo>
                      <a:pt x="992289" y="785176"/>
                      <a:pt x="992289" y="785176"/>
                      <a:pt x="920953" y="785176"/>
                    </a:cubicBezTo>
                    <a:cubicBezTo>
                      <a:pt x="920953" y="785176"/>
                      <a:pt x="920953" y="785176"/>
                      <a:pt x="920953" y="895720"/>
                    </a:cubicBezTo>
                    <a:cubicBezTo>
                      <a:pt x="920953" y="895720"/>
                      <a:pt x="920953" y="895720"/>
                      <a:pt x="1032237" y="895720"/>
                    </a:cubicBezTo>
                    <a:cubicBezTo>
                      <a:pt x="1032237" y="895720"/>
                      <a:pt x="1032237" y="895720"/>
                      <a:pt x="1032237" y="877890"/>
                    </a:cubicBezTo>
                    <a:cubicBezTo>
                      <a:pt x="1032237" y="877890"/>
                      <a:pt x="1032237" y="877890"/>
                      <a:pt x="1063625" y="846510"/>
                    </a:cubicBezTo>
                    <a:cubicBezTo>
                      <a:pt x="1063625" y="846510"/>
                      <a:pt x="1063625" y="846510"/>
                      <a:pt x="1063625" y="911410"/>
                    </a:cubicBezTo>
                    <a:cubicBezTo>
                      <a:pt x="1063625" y="920681"/>
                      <a:pt x="1056492" y="927100"/>
                      <a:pt x="1047931" y="927100"/>
                    </a:cubicBezTo>
                    <a:cubicBezTo>
                      <a:pt x="1047931" y="927100"/>
                      <a:pt x="1047931" y="927100"/>
                      <a:pt x="905259" y="927100"/>
                    </a:cubicBezTo>
                    <a:cubicBezTo>
                      <a:pt x="896698" y="927100"/>
                      <a:pt x="889565" y="920681"/>
                      <a:pt x="889565" y="911410"/>
                    </a:cubicBezTo>
                    <a:cubicBezTo>
                      <a:pt x="889565" y="911410"/>
                      <a:pt x="889565" y="911410"/>
                      <a:pt x="889565" y="769486"/>
                    </a:cubicBezTo>
                    <a:cubicBezTo>
                      <a:pt x="889565" y="760928"/>
                      <a:pt x="896698" y="753796"/>
                      <a:pt x="905259" y="753796"/>
                    </a:cubicBezTo>
                    <a:cubicBezTo>
                      <a:pt x="905259" y="753796"/>
                      <a:pt x="905259" y="753796"/>
                      <a:pt x="967321" y="753796"/>
                    </a:cubicBezTo>
                    <a:cubicBezTo>
                      <a:pt x="967321" y="753796"/>
                      <a:pt x="967321" y="753796"/>
                      <a:pt x="967321" y="636833"/>
                    </a:cubicBezTo>
                    <a:cubicBezTo>
                      <a:pt x="967321" y="636833"/>
                      <a:pt x="967321" y="636833"/>
                      <a:pt x="548577" y="636833"/>
                    </a:cubicBezTo>
                    <a:cubicBezTo>
                      <a:pt x="548577" y="636833"/>
                      <a:pt x="548577" y="636833"/>
                      <a:pt x="548577" y="753796"/>
                    </a:cubicBezTo>
                    <a:cubicBezTo>
                      <a:pt x="557850" y="753796"/>
                      <a:pt x="568551" y="753796"/>
                      <a:pt x="579965" y="753796"/>
                    </a:cubicBezTo>
                    <a:cubicBezTo>
                      <a:pt x="579965" y="753796"/>
                      <a:pt x="579965" y="753796"/>
                      <a:pt x="548577" y="785176"/>
                    </a:cubicBezTo>
                    <a:cubicBezTo>
                      <a:pt x="548577" y="785176"/>
                      <a:pt x="548577" y="785176"/>
                      <a:pt x="547863" y="785176"/>
                    </a:cubicBezTo>
                    <a:cubicBezTo>
                      <a:pt x="546437" y="792308"/>
                      <a:pt x="540016" y="797300"/>
                      <a:pt x="532883" y="797300"/>
                    </a:cubicBezTo>
                    <a:cubicBezTo>
                      <a:pt x="525036" y="797300"/>
                      <a:pt x="519329" y="792308"/>
                      <a:pt x="517189" y="785176"/>
                    </a:cubicBezTo>
                    <a:cubicBezTo>
                      <a:pt x="507202" y="785176"/>
                      <a:pt x="494361" y="785176"/>
                      <a:pt x="477240" y="785176"/>
                    </a:cubicBezTo>
                    <a:cubicBezTo>
                      <a:pt x="477240" y="785176"/>
                      <a:pt x="477240" y="785176"/>
                      <a:pt x="477240" y="895720"/>
                    </a:cubicBezTo>
                    <a:cubicBezTo>
                      <a:pt x="477240" y="895720"/>
                      <a:pt x="477240" y="895720"/>
                      <a:pt x="588525" y="895720"/>
                    </a:cubicBezTo>
                    <a:cubicBezTo>
                      <a:pt x="588525" y="895720"/>
                      <a:pt x="588525" y="895720"/>
                      <a:pt x="588525" y="877890"/>
                    </a:cubicBezTo>
                    <a:cubicBezTo>
                      <a:pt x="588525" y="877890"/>
                      <a:pt x="588525" y="877890"/>
                      <a:pt x="619913" y="846510"/>
                    </a:cubicBezTo>
                    <a:cubicBezTo>
                      <a:pt x="619913" y="846510"/>
                      <a:pt x="619913" y="846510"/>
                      <a:pt x="619913" y="911410"/>
                    </a:cubicBezTo>
                    <a:cubicBezTo>
                      <a:pt x="619913" y="920681"/>
                      <a:pt x="612779" y="927100"/>
                      <a:pt x="604219" y="927100"/>
                    </a:cubicBezTo>
                    <a:cubicBezTo>
                      <a:pt x="604219" y="927100"/>
                      <a:pt x="604219" y="927100"/>
                      <a:pt x="461546" y="927100"/>
                    </a:cubicBezTo>
                    <a:cubicBezTo>
                      <a:pt x="452986" y="927100"/>
                      <a:pt x="445852" y="920681"/>
                      <a:pt x="445852" y="911410"/>
                    </a:cubicBezTo>
                    <a:cubicBezTo>
                      <a:pt x="445852" y="911410"/>
                      <a:pt x="445852" y="911410"/>
                      <a:pt x="445852" y="769486"/>
                    </a:cubicBezTo>
                    <a:cubicBezTo>
                      <a:pt x="445852" y="760928"/>
                      <a:pt x="452986" y="753796"/>
                      <a:pt x="461546" y="753796"/>
                    </a:cubicBezTo>
                    <a:cubicBezTo>
                      <a:pt x="461546" y="753796"/>
                      <a:pt x="461546" y="753796"/>
                      <a:pt x="517189" y="753796"/>
                    </a:cubicBezTo>
                    <a:cubicBezTo>
                      <a:pt x="517189" y="753796"/>
                      <a:pt x="517189" y="753796"/>
                      <a:pt x="517189" y="636833"/>
                    </a:cubicBezTo>
                    <a:cubicBezTo>
                      <a:pt x="517189" y="636833"/>
                      <a:pt x="517189" y="636833"/>
                      <a:pt x="101298" y="636833"/>
                    </a:cubicBezTo>
                    <a:cubicBezTo>
                      <a:pt x="101298" y="636833"/>
                      <a:pt x="101298" y="636833"/>
                      <a:pt x="101298" y="753796"/>
                    </a:cubicBezTo>
                    <a:cubicBezTo>
                      <a:pt x="111285" y="753796"/>
                      <a:pt x="122699" y="753796"/>
                      <a:pt x="134826" y="753796"/>
                    </a:cubicBezTo>
                    <a:cubicBezTo>
                      <a:pt x="134826" y="753796"/>
                      <a:pt x="134826" y="753796"/>
                      <a:pt x="103438" y="785176"/>
                    </a:cubicBezTo>
                    <a:cubicBezTo>
                      <a:pt x="103438" y="785176"/>
                      <a:pt x="103438" y="785176"/>
                      <a:pt x="31388" y="785176"/>
                    </a:cubicBezTo>
                    <a:cubicBezTo>
                      <a:pt x="31388" y="785176"/>
                      <a:pt x="31388" y="785176"/>
                      <a:pt x="31388" y="895720"/>
                    </a:cubicBezTo>
                    <a:cubicBezTo>
                      <a:pt x="31388" y="895720"/>
                      <a:pt x="31388" y="895720"/>
                      <a:pt x="143386" y="895720"/>
                    </a:cubicBezTo>
                    <a:cubicBezTo>
                      <a:pt x="143386" y="895720"/>
                      <a:pt x="143386" y="895720"/>
                      <a:pt x="143386" y="877890"/>
                    </a:cubicBezTo>
                    <a:cubicBezTo>
                      <a:pt x="143386" y="877890"/>
                      <a:pt x="143386" y="877890"/>
                      <a:pt x="174774" y="846510"/>
                    </a:cubicBezTo>
                    <a:cubicBezTo>
                      <a:pt x="174774" y="846510"/>
                      <a:pt x="174774" y="846510"/>
                      <a:pt x="174774" y="911410"/>
                    </a:cubicBezTo>
                    <a:cubicBezTo>
                      <a:pt x="174774" y="920681"/>
                      <a:pt x="167641" y="927100"/>
                      <a:pt x="159080" y="927100"/>
                    </a:cubicBezTo>
                    <a:cubicBezTo>
                      <a:pt x="159080" y="927100"/>
                      <a:pt x="159080" y="927100"/>
                      <a:pt x="15694" y="927100"/>
                    </a:cubicBezTo>
                    <a:cubicBezTo>
                      <a:pt x="7134" y="927100"/>
                      <a:pt x="0" y="920681"/>
                      <a:pt x="0" y="911410"/>
                    </a:cubicBezTo>
                    <a:cubicBezTo>
                      <a:pt x="0" y="911410"/>
                      <a:pt x="0" y="911410"/>
                      <a:pt x="0" y="769486"/>
                    </a:cubicBezTo>
                    <a:cubicBezTo>
                      <a:pt x="0" y="760928"/>
                      <a:pt x="7134" y="753796"/>
                      <a:pt x="15694" y="753796"/>
                    </a:cubicBezTo>
                    <a:cubicBezTo>
                      <a:pt x="15694" y="753796"/>
                      <a:pt x="15694" y="753796"/>
                      <a:pt x="69910" y="753796"/>
                    </a:cubicBezTo>
                    <a:cubicBezTo>
                      <a:pt x="69910" y="753796"/>
                      <a:pt x="69910" y="753796"/>
                      <a:pt x="69910" y="621143"/>
                    </a:cubicBezTo>
                    <a:cubicBezTo>
                      <a:pt x="69910" y="612585"/>
                      <a:pt x="77044" y="605453"/>
                      <a:pt x="85604" y="605453"/>
                    </a:cubicBezTo>
                    <a:cubicBezTo>
                      <a:pt x="85604" y="605453"/>
                      <a:pt x="85604" y="605453"/>
                      <a:pt x="517189" y="605453"/>
                    </a:cubicBezTo>
                    <a:cubicBezTo>
                      <a:pt x="517189" y="605453"/>
                      <a:pt x="517189" y="605453"/>
                      <a:pt x="517189" y="498475"/>
                    </a:cubicBezTo>
                    <a:close/>
                    <a:moveTo>
                      <a:pt x="397746" y="276225"/>
                    </a:moveTo>
                    <a:cubicBezTo>
                      <a:pt x="397746" y="276225"/>
                      <a:pt x="487706" y="350150"/>
                      <a:pt x="530544" y="384270"/>
                    </a:cubicBezTo>
                    <a:cubicBezTo>
                      <a:pt x="531972" y="385691"/>
                      <a:pt x="534828" y="385691"/>
                      <a:pt x="536256" y="384270"/>
                    </a:cubicBezTo>
                    <a:cubicBezTo>
                      <a:pt x="594088" y="338066"/>
                      <a:pt x="669054" y="276225"/>
                      <a:pt x="669054" y="276225"/>
                    </a:cubicBezTo>
                    <a:cubicBezTo>
                      <a:pt x="669054" y="276225"/>
                      <a:pt x="786145" y="277647"/>
                      <a:pt x="848975" y="306790"/>
                    </a:cubicBezTo>
                    <a:cubicBezTo>
                      <a:pt x="900380" y="329536"/>
                      <a:pt x="937507" y="419100"/>
                      <a:pt x="950358" y="453219"/>
                    </a:cubicBezTo>
                    <a:cubicBezTo>
                      <a:pt x="952500" y="459617"/>
                      <a:pt x="947502" y="466725"/>
                      <a:pt x="940363" y="466725"/>
                    </a:cubicBezTo>
                    <a:cubicBezTo>
                      <a:pt x="940363" y="466725"/>
                      <a:pt x="940363" y="466725"/>
                      <a:pt x="547680" y="466725"/>
                    </a:cubicBezTo>
                    <a:cubicBezTo>
                      <a:pt x="547680" y="466725"/>
                      <a:pt x="547680" y="466725"/>
                      <a:pt x="516265" y="466725"/>
                    </a:cubicBezTo>
                    <a:cubicBezTo>
                      <a:pt x="516265" y="466725"/>
                      <a:pt x="516265" y="466725"/>
                      <a:pt x="126438" y="466725"/>
                    </a:cubicBezTo>
                    <a:cubicBezTo>
                      <a:pt x="119298" y="466725"/>
                      <a:pt x="114300" y="459617"/>
                      <a:pt x="116442" y="453219"/>
                    </a:cubicBezTo>
                    <a:cubicBezTo>
                      <a:pt x="129294" y="419100"/>
                      <a:pt x="166420" y="329536"/>
                      <a:pt x="217826" y="306790"/>
                    </a:cubicBezTo>
                    <a:cubicBezTo>
                      <a:pt x="280655" y="277647"/>
                      <a:pt x="397746" y="276225"/>
                      <a:pt x="397746" y="276225"/>
                    </a:cubicBezTo>
                    <a:close/>
                    <a:moveTo>
                      <a:pt x="312738" y="0"/>
                    </a:moveTo>
                    <a:cubicBezTo>
                      <a:pt x="319161" y="4287"/>
                      <a:pt x="326297" y="5716"/>
                      <a:pt x="331292" y="5716"/>
                    </a:cubicBezTo>
                    <a:cubicBezTo>
                      <a:pt x="332719" y="5716"/>
                      <a:pt x="335573" y="5716"/>
                      <a:pt x="337714" y="5002"/>
                    </a:cubicBezTo>
                    <a:cubicBezTo>
                      <a:pt x="341282" y="13577"/>
                      <a:pt x="346991" y="22866"/>
                      <a:pt x="358409" y="28583"/>
                    </a:cubicBezTo>
                    <a:cubicBezTo>
                      <a:pt x="360549" y="29298"/>
                      <a:pt x="362690" y="31441"/>
                      <a:pt x="363404" y="34300"/>
                    </a:cubicBezTo>
                    <a:cubicBezTo>
                      <a:pt x="381957" y="82176"/>
                      <a:pt x="416924" y="162209"/>
                      <a:pt x="429769" y="174357"/>
                    </a:cubicBezTo>
                    <a:cubicBezTo>
                      <a:pt x="449749" y="191507"/>
                      <a:pt x="504696" y="226521"/>
                      <a:pt x="533954" y="226521"/>
                    </a:cubicBezTo>
                    <a:cubicBezTo>
                      <a:pt x="563212" y="226521"/>
                      <a:pt x="618159" y="191507"/>
                      <a:pt x="638140" y="174357"/>
                    </a:cubicBezTo>
                    <a:cubicBezTo>
                      <a:pt x="650984" y="162209"/>
                      <a:pt x="685237" y="82176"/>
                      <a:pt x="704504" y="34300"/>
                    </a:cubicBezTo>
                    <a:cubicBezTo>
                      <a:pt x="705218" y="31441"/>
                      <a:pt x="707359" y="29298"/>
                      <a:pt x="709499" y="28583"/>
                    </a:cubicBezTo>
                    <a:cubicBezTo>
                      <a:pt x="712354" y="27154"/>
                      <a:pt x="714495" y="25725"/>
                      <a:pt x="715922" y="24296"/>
                    </a:cubicBezTo>
                    <a:cubicBezTo>
                      <a:pt x="728767" y="22866"/>
                      <a:pt x="740898" y="18579"/>
                      <a:pt x="749461" y="15006"/>
                    </a:cubicBezTo>
                    <a:cubicBezTo>
                      <a:pt x="749461" y="15006"/>
                      <a:pt x="749461" y="15006"/>
                      <a:pt x="750175" y="14291"/>
                    </a:cubicBezTo>
                    <a:cubicBezTo>
                      <a:pt x="750888" y="14291"/>
                      <a:pt x="750888" y="14291"/>
                      <a:pt x="750888" y="14291"/>
                    </a:cubicBezTo>
                    <a:cubicBezTo>
                      <a:pt x="746607" y="25010"/>
                      <a:pt x="738043" y="37873"/>
                      <a:pt x="723771" y="46447"/>
                    </a:cubicBezTo>
                    <a:cubicBezTo>
                      <a:pt x="713067" y="75031"/>
                      <a:pt x="673106" y="173642"/>
                      <a:pt x="653125" y="191507"/>
                    </a:cubicBezTo>
                    <a:cubicBezTo>
                      <a:pt x="650271" y="192936"/>
                      <a:pt x="648130" y="195794"/>
                      <a:pt x="644562" y="197938"/>
                    </a:cubicBezTo>
                    <a:cubicBezTo>
                      <a:pt x="644562" y="197938"/>
                      <a:pt x="644562" y="197938"/>
                      <a:pt x="644562" y="257248"/>
                    </a:cubicBezTo>
                    <a:cubicBezTo>
                      <a:pt x="644562" y="257248"/>
                      <a:pt x="644562" y="257248"/>
                      <a:pt x="643848" y="257963"/>
                    </a:cubicBezTo>
                    <a:cubicBezTo>
                      <a:pt x="643135" y="258677"/>
                      <a:pt x="635999" y="268681"/>
                      <a:pt x="621727" y="279400"/>
                    </a:cubicBezTo>
                    <a:cubicBezTo>
                      <a:pt x="621727" y="279400"/>
                      <a:pt x="621727" y="279400"/>
                      <a:pt x="621727" y="214373"/>
                    </a:cubicBezTo>
                    <a:cubicBezTo>
                      <a:pt x="594610" y="231523"/>
                      <a:pt x="559644" y="249388"/>
                      <a:pt x="533954" y="249388"/>
                    </a:cubicBezTo>
                    <a:cubicBezTo>
                      <a:pt x="508264" y="249388"/>
                      <a:pt x="473298" y="231523"/>
                      <a:pt x="446181" y="214373"/>
                    </a:cubicBezTo>
                    <a:cubicBezTo>
                      <a:pt x="446181" y="214373"/>
                      <a:pt x="446181" y="214373"/>
                      <a:pt x="446181" y="279400"/>
                    </a:cubicBezTo>
                    <a:cubicBezTo>
                      <a:pt x="431909" y="268681"/>
                      <a:pt x="424773" y="258677"/>
                      <a:pt x="424060" y="257963"/>
                    </a:cubicBezTo>
                    <a:cubicBezTo>
                      <a:pt x="424060" y="257963"/>
                      <a:pt x="424060" y="257963"/>
                      <a:pt x="423346" y="257248"/>
                    </a:cubicBezTo>
                    <a:cubicBezTo>
                      <a:pt x="423346" y="257248"/>
                      <a:pt x="423346" y="257248"/>
                      <a:pt x="423346" y="197938"/>
                    </a:cubicBezTo>
                    <a:cubicBezTo>
                      <a:pt x="419778" y="195794"/>
                      <a:pt x="416924" y="192936"/>
                      <a:pt x="414783" y="191507"/>
                    </a:cubicBezTo>
                    <a:cubicBezTo>
                      <a:pt x="394802" y="173642"/>
                      <a:pt x="354841" y="75031"/>
                      <a:pt x="344137" y="46447"/>
                    </a:cubicBezTo>
                    <a:cubicBezTo>
                      <a:pt x="323442" y="34300"/>
                      <a:pt x="315593" y="13577"/>
                      <a:pt x="312738" y="0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78" name="Freeform 14">
                <a:extLst>
                  <a:ext uri="{FF2B5EF4-FFF2-40B4-BE49-F238E27FC236}">
                    <a16:creationId xmlns:a16="http://schemas.microsoft.com/office/drawing/2014/main" id="{02A98196-28F7-421E-ADD2-9FF79A0D2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16419" y="2773363"/>
                <a:ext cx="1055999" cy="1212850"/>
              </a:xfrm>
              <a:custGeom>
                <a:avLst/>
                <a:gdLst>
                  <a:gd name="connsiteX0" fmla="*/ 1040246 w 1055999"/>
                  <a:gd name="connsiteY0" fmla="*/ 1079500 h 1212850"/>
                  <a:gd name="connsiteX1" fmla="*/ 1051703 w 1055999"/>
                  <a:gd name="connsiteY1" fmla="*/ 1083779 h 1212850"/>
                  <a:gd name="connsiteX2" fmla="*/ 1051703 w 1055999"/>
                  <a:gd name="connsiteY2" fmla="*/ 1105885 h 1212850"/>
                  <a:gd name="connsiteX3" fmla="*/ 950022 w 1055999"/>
                  <a:gd name="connsiteY3" fmla="*/ 1207858 h 1212850"/>
                  <a:gd name="connsiteX4" fmla="*/ 938565 w 1055999"/>
                  <a:gd name="connsiteY4" fmla="*/ 1212850 h 1212850"/>
                  <a:gd name="connsiteX5" fmla="*/ 927824 w 1055999"/>
                  <a:gd name="connsiteY5" fmla="*/ 1207858 h 1212850"/>
                  <a:gd name="connsiteX6" fmla="*/ 895601 w 1055999"/>
                  <a:gd name="connsiteY6" fmla="*/ 1176482 h 1212850"/>
                  <a:gd name="connsiteX7" fmla="*/ 895601 w 1055999"/>
                  <a:gd name="connsiteY7" fmla="*/ 1153663 h 1212850"/>
                  <a:gd name="connsiteX8" fmla="*/ 906342 w 1055999"/>
                  <a:gd name="connsiteY8" fmla="*/ 1148671 h 1212850"/>
                  <a:gd name="connsiteX9" fmla="*/ 917799 w 1055999"/>
                  <a:gd name="connsiteY9" fmla="*/ 1153663 h 1212850"/>
                  <a:gd name="connsiteX10" fmla="*/ 938565 w 1055999"/>
                  <a:gd name="connsiteY10" fmla="*/ 1175056 h 1212850"/>
                  <a:gd name="connsiteX11" fmla="*/ 1029505 w 1055999"/>
                  <a:gd name="connsiteY11" fmla="*/ 1083779 h 1212850"/>
                  <a:gd name="connsiteX12" fmla="*/ 1040246 w 1055999"/>
                  <a:gd name="connsiteY12" fmla="*/ 1079500 h 1212850"/>
                  <a:gd name="connsiteX13" fmla="*/ 594174 w 1055999"/>
                  <a:gd name="connsiteY13" fmla="*/ 1079500 h 1212850"/>
                  <a:gd name="connsiteX14" fmla="*/ 604905 w 1055999"/>
                  <a:gd name="connsiteY14" fmla="*/ 1083779 h 1212850"/>
                  <a:gd name="connsiteX15" fmla="*/ 604905 w 1055999"/>
                  <a:gd name="connsiteY15" fmla="*/ 1105885 h 1212850"/>
                  <a:gd name="connsiteX16" fmla="*/ 565558 w 1055999"/>
                  <a:gd name="connsiteY16" fmla="*/ 1145819 h 1212850"/>
                  <a:gd name="connsiteX17" fmla="*/ 534796 w 1055999"/>
                  <a:gd name="connsiteY17" fmla="*/ 1177908 h 1212850"/>
                  <a:gd name="connsiteX18" fmla="*/ 504034 w 1055999"/>
                  <a:gd name="connsiteY18" fmla="*/ 1207858 h 1212850"/>
                  <a:gd name="connsiteX19" fmla="*/ 493303 w 1055999"/>
                  <a:gd name="connsiteY19" fmla="*/ 1212850 h 1212850"/>
                  <a:gd name="connsiteX20" fmla="*/ 481857 w 1055999"/>
                  <a:gd name="connsiteY20" fmla="*/ 1207858 h 1212850"/>
                  <a:gd name="connsiteX21" fmla="*/ 449664 w 1055999"/>
                  <a:gd name="connsiteY21" fmla="*/ 1176482 h 1212850"/>
                  <a:gd name="connsiteX22" fmla="*/ 449664 w 1055999"/>
                  <a:gd name="connsiteY22" fmla="*/ 1153663 h 1212850"/>
                  <a:gd name="connsiteX23" fmla="*/ 461110 w 1055999"/>
                  <a:gd name="connsiteY23" fmla="*/ 1148671 h 1212850"/>
                  <a:gd name="connsiteX24" fmla="*/ 471841 w 1055999"/>
                  <a:gd name="connsiteY24" fmla="*/ 1153663 h 1212850"/>
                  <a:gd name="connsiteX25" fmla="*/ 493303 w 1055999"/>
                  <a:gd name="connsiteY25" fmla="*/ 1175056 h 1212850"/>
                  <a:gd name="connsiteX26" fmla="*/ 562697 w 1055999"/>
                  <a:gd name="connsiteY26" fmla="*/ 1103746 h 1212850"/>
                  <a:gd name="connsiteX27" fmla="*/ 582728 w 1055999"/>
                  <a:gd name="connsiteY27" fmla="*/ 1083779 h 1212850"/>
                  <a:gd name="connsiteX28" fmla="*/ 594174 w 1055999"/>
                  <a:gd name="connsiteY28" fmla="*/ 1079500 h 1212850"/>
                  <a:gd name="connsiteX29" fmla="*/ 148803 w 1055999"/>
                  <a:gd name="connsiteY29" fmla="*/ 1079500 h 1212850"/>
                  <a:gd name="connsiteX30" fmla="*/ 158818 w 1055999"/>
                  <a:gd name="connsiteY30" fmla="*/ 1083779 h 1212850"/>
                  <a:gd name="connsiteX31" fmla="*/ 158818 w 1055999"/>
                  <a:gd name="connsiteY31" fmla="*/ 1105885 h 1212850"/>
                  <a:gd name="connsiteX32" fmla="*/ 120187 w 1055999"/>
                  <a:gd name="connsiteY32" fmla="*/ 1145819 h 1212850"/>
                  <a:gd name="connsiteX33" fmla="*/ 88709 w 1055999"/>
                  <a:gd name="connsiteY33" fmla="*/ 1177908 h 1212850"/>
                  <a:gd name="connsiteX34" fmla="*/ 57947 w 1055999"/>
                  <a:gd name="connsiteY34" fmla="*/ 1207858 h 1212850"/>
                  <a:gd name="connsiteX35" fmla="*/ 47931 w 1055999"/>
                  <a:gd name="connsiteY35" fmla="*/ 1212850 h 1212850"/>
                  <a:gd name="connsiteX36" fmla="*/ 36485 w 1055999"/>
                  <a:gd name="connsiteY36" fmla="*/ 1207858 h 1212850"/>
                  <a:gd name="connsiteX37" fmla="*/ 4292 w 1055999"/>
                  <a:gd name="connsiteY37" fmla="*/ 1176482 h 1212850"/>
                  <a:gd name="connsiteX38" fmla="*/ 4292 w 1055999"/>
                  <a:gd name="connsiteY38" fmla="*/ 1153663 h 1212850"/>
                  <a:gd name="connsiteX39" fmla="*/ 15738 w 1055999"/>
                  <a:gd name="connsiteY39" fmla="*/ 1148671 h 1212850"/>
                  <a:gd name="connsiteX40" fmla="*/ 26469 w 1055999"/>
                  <a:gd name="connsiteY40" fmla="*/ 1153663 h 1212850"/>
                  <a:gd name="connsiteX41" fmla="*/ 47931 w 1055999"/>
                  <a:gd name="connsiteY41" fmla="*/ 1175056 h 1212850"/>
                  <a:gd name="connsiteX42" fmla="*/ 117325 w 1055999"/>
                  <a:gd name="connsiteY42" fmla="*/ 1103746 h 1212850"/>
                  <a:gd name="connsiteX43" fmla="*/ 137356 w 1055999"/>
                  <a:gd name="connsiteY43" fmla="*/ 1083779 h 1212850"/>
                  <a:gd name="connsiteX44" fmla="*/ 148803 w 1055999"/>
                  <a:gd name="connsiteY44" fmla="*/ 1079500 h 1212850"/>
                  <a:gd name="connsiteX45" fmla="*/ 478798 w 1055999"/>
                  <a:gd name="connsiteY45" fmla="*/ 0 h 1212850"/>
                  <a:gd name="connsiteX46" fmla="*/ 696375 w 1055999"/>
                  <a:gd name="connsiteY46" fmla="*/ 220584 h 1212850"/>
                  <a:gd name="connsiteX47" fmla="*/ 695662 w 1055999"/>
                  <a:gd name="connsiteY47" fmla="*/ 262702 h 1212850"/>
                  <a:gd name="connsiteX48" fmla="*/ 711356 w 1055999"/>
                  <a:gd name="connsiteY48" fmla="*/ 310531 h 1212850"/>
                  <a:gd name="connsiteX49" fmla="*/ 691382 w 1055999"/>
                  <a:gd name="connsiteY49" fmla="*/ 322667 h 1212850"/>
                  <a:gd name="connsiteX50" fmla="*/ 683535 w 1055999"/>
                  <a:gd name="connsiteY50" fmla="*/ 326236 h 1212850"/>
                  <a:gd name="connsiteX51" fmla="*/ 682108 w 1055999"/>
                  <a:gd name="connsiteY51" fmla="*/ 326950 h 1212850"/>
                  <a:gd name="connsiteX52" fmla="*/ 656427 w 1055999"/>
                  <a:gd name="connsiteY52" fmla="*/ 333375 h 1212850"/>
                  <a:gd name="connsiteX53" fmla="*/ 644299 w 1055999"/>
                  <a:gd name="connsiteY53" fmla="*/ 330519 h 1212850"/>
                  <a:gd name="connsiteX54" fmla="*/ 404607 w 1055999"/>
                  <a:gd name="connsiteY54" fmla="*/ 174897 h 1212850"/>
                  <a:gd name="connsiteX55" fmla="*/ 396760 w 1055999"/>
                  <a:gd name="connsiteY55" fmla="*/ 174183 h 1212850"/>
                  <a:gd name="connsiteX56" fmla="*/ 358238 w 1055999"/>
                  <a:gd name="connsiteY56" fmla="*/ 185605 h 1212850"/>
                  <a:gd name="connsiteX57" fmla="*/ 284761 w 1055999"/>
                  <a:gd name="connsiteY57" fmla="*/ 309103 h 1212850"/>
                  <a:gd name="connsiteX58" fmla="*/ 277627 w 1055999"/>
                  <a:gd name="connsiteY58" fmla="*/ 314814 h 1212850"/>
                  <a:gd name="connsiteX59" fmla="*/ 272634 w 1055999"/>
                  <a:gd name="connsiteY59" fmla="*/ 311959 h 1212850"/>
                  <a:gd name="connsiteX60" fmla="*/ 270493 w 1055999"/>
                  <a:gd name="connsiteY60" fmla="*/ 309103 h 1212850"/>
                  <a:gd name="connsiteX61" fmla="*/ 260506 w 1055999"/>
                  <a:gd name="connsiteY61" fmla="*/ 220584 h 1212850"/>
                  <a:gd name="connsiteX62" fmla="*/ 478798 w 1055999"/>
                  <a:gd name="connsiteY62" fmla="*/ 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1055999" h="1212850">
                    <a:moveTo>
                      <a:pt x="1040246" y="1079500"/>
                    </a:moveTo>
                    <a:cubicBezTo>
                      <a:pt x="1044542" y="1079500"/>
                      <a:pt x="1048122" y="1080926"/>
                      <a:pt x="1051703" y="1083779"/>
                    </a:cubicBezTo>
                    <a:cubicBezTo>
                      <a:pt x="1057431" y="1090197"/>
                      <a:pt x="1057431" y="1100180"/>
                      <a:pt x="1051703" y="1105885"/>
                    </a:cubicBezTo>
                    <a:cubicBezTo>
                      <a:pt x="1051703" y="1105885"/>
                      <a:pt x="1051703" y="1105885"/>
                      <a:pt x="950022" y="1207858"/>
                    </a:cubicBezTo>
                    <a:cubicBezTo>
                      <a:pt x="947157" y="1211424"/>
                      <a:pt x="942861" y="1212850"/>
                      <a:pt x="938565" y="1212850"/>
                    </a:cubicBezTo>
                    <a:cubicBezTo>
                      <a:pt x="934268" y="1212850"/>
                      <a:pt x="930688" y="1211424"/>
                      <a:pt x="927824" y="1207858"/>
                    </a:cubicBezTo>
                    <a:cubicBezTo>
                      <a:pt x="927824" y="1207858"/>
                      <a:pt x="927824" y="1207858"/>
                      <a:pt x="895601" y="1176482"/>
                    </a:cubicBezTo>
                    <a:cubicBezTo>
                      <a:pt x="889156" y="1170064"/>
                      <a:pt x="889156" y="1160081"/>
                      <a:pt x="895601" y="1153663"/>
                    </a:cubicBezTo>
                    <a:cubicBezTo>
                      <a:pt x="898465" y="1150097"/>
                      <a:pt x="902761" y="1148671"/>
                      <a:pt x="906342" y="1148671"/>
                    </a:cubicBezTo>
                    <a:cubicBezTo>
                      <a:pt x="910638" y="1148671"/>
                      <a:pt x="914935" y="1150097"/>
                      <a:pt x="917799" y="1153663"/>
                    </a:cubicBezTo>
                    <a:cubicBezTo>
                      <a:pt x="917799" y="1153663"/>
                      <a:pt x="917799" y="1153663"/>
                      <a:pt x="938565" y="1175056"/>
                    </a:cubicBezTo>
                    <a:cubicBezTo>
                      <a:pt x="938565" y="1175056"/>
                      <a:pt x="938565" y="1175056"/>
                      <a:pt x="1029505" y="1083779"/>
                    </a:cubicBezTo>
                    <a:cubicBezTo>
                      <a:pt x="1032369" y="1080926"/>
                      <a:pt x="1036665" y="1079500"/>
                      <a:pt x="1040246" y="1079500"/>
                    </a:cubicBezTo>
                    <a:close/>
                    <a:moveTo>
                      <a:pt x="594174" y="1079500"/>
                    </a:moveTo>
                    <a:cubicBezTo>
                      <a:pt x="597751" y="1079500"/>
                      <a:pt x="602044" y="1080926"/>
                      <a:pt x="604905" y="1083779"/>
                    </a:cubicBezTo>
                    <a:cubicBezTo>
                      <a:pt x="611344" y="1090197"/>
                      <a:pt x="611344" y="1100180"/>
                      <a:pt x="604905" y="1105885"/>
                    </a:cubicBezTo>
                    <a:cubicBezTo>
                      <a:pt x="604905" y="1105885"/>
                      <a:pt x="604905" y="1105885"/>
                      <a:pt x="565558" y="1145819"/>
                    </a:cubicBezTo>
                    <a:cubicBezTo>
                      <a:pt x="565558" y="1145819"/>
                      <a:pt x="565558" y="1145819"/>
                      <a:pt x="534796" y="1177908"/>
                    </a:cubicBezTo>
                    <a:cubicBezTo>
                      <a:pt x="534796" y="1177908"/>
                      <a:pt x="534796" y="1177908"/>
                      <a:pt x="504034" y="1207858"/>
                    </a:cubicBezTo>
                    <a:cubicBezTo>
                      <a:pt x="501172" y="1211424"/>
                      <a:pt x="497595" y="1212850"/>
                      <a:pt x="493303" y="1212850"/>
                    </a:cubicBezTo>
                    <a:cubicBezTo>
                      <a:pt x="489010" y="1212850"/>
                      <a:pt x="484718" y="1211424"/>
                      <a:pt x="481857" y="1207858"/>
                    </a:cubicBezTo>
                    <a:cubicBezTo>
                      <a:pt x="481857" y="1207858"/>
                      <a:pt x="481857" y="1207858"/>
                      <a:pt x="449664" y="1176482"/>
                    </a:cubicBezTo>
                    <a:cubicBezTo>
                      <a:pt x="444656" y="1170064"/>
                      <a:pt x="444656" y="1160081"/>
                      <a:pt x="449664" y="1153663"/>
                    </a:cubicBezTo>
                    <a:cubicBezTo>
                      <a:pt x="453241" y="1150097"/>
                      <a:pt x="456818" y="1148671"/>
                      <a:pt x="461110" y="1148671"/>
                    </a:cubicBezTo>
                    <a:cubicBezTo>
                      <a:pt x="464687" y="1148671"/>
                      <a:pt x="468979" y="1150097"/>
                      <a:pt x="471841" y="1153663"/>
                    </a:cubicBezTo>
                    <a:cubicBezTo>
                      <a:pt x="471841" y="1153663"/>
                      <a:pt x="471841" y="1153663"/>
                      <a:pt x="493303" y="1175056"/>
                    </a:cubicBezTo>
                    <a:cubicBezTo>
                      <a:pt x="493303" y="1175056"/>
                      <a:pt x="493303" y="1175056"/>
                      <a:pt x="562697" y="1103746"/>
                    </a:cubicBezTo>
                    <a:cubicBezTo>
                      <a:pt x="562697" y="1103746"/>
                      <a:pt x="562697" y="1103746"/>
                      <a:pt x="582728" y="1083779"/>
                    </a:cubicBezTo>
                    <a:cubicBezTo>
                      <a:pt x="585589" y="1080926"/>
                      <a:pt x="589882" y="1079500"/>
                      <a:pt x="594174" y="1079500"/>
                    </a:cubicBezTo>
                    <a:close/>
                    <a:moveTo>
                      <a:pt x="148803" y="1079500"/>
                    </a:moveTo>
                    <a:cubicBezTo>
                      <a:pt x="152380" y="1079500"/>
                      <a:pt x="155957" y="1080926"/>
                      <a:pt x="158818" y="1083779"/>
                    </a:cubicBezTo>
                    <a:cubicBezTo>
                      <a:pt x="165257" y="1090197"/>
                      <a:pt x="165257" y="1100180"/>
                      <a:pt x="158818" y="1105885"/>
                    </a:cubicBezTo>
                    <a:cubicBezTo>
                      <a:pt x="120187" y="1145819"/>
                      <a:pt x="120187" y="1145819"/>
                      <a:pt x="120187" y="1145819"/>
                    </a:cubicBezTo>
                    <a:cubicBezTo>
                      <a:pt x="88709" y="1177908"/>
                      <a:pt x="88709" y="1177908"/>
                      <a:pt x="88709" y="1177908"/>
                    </a:cubicBezTo>
                    <a:cubicBezTo>
                      <a:pt x="57947" y="1207858"/>
                      <a:pt x="57947" y="1207858"/>
                      <a:pt x="57947" y="1207858"/>
                    </a:cubicBezTo>
                    <a:cubicBezTo>
                      <a:pt x="55085" y="1211424"/>
                      <a:pt x="51508" y="1212850"/>
                      <a:pt x="47931" y="1212850"/>
                    </a:cubicBezTo>
                    <a:cubicBezTo>
                      <a:pt x="43639" y="1212850"/>
                      <a:pt x="39347" y="1211424"/>
                      <a:pt x="36485" y="1207858"/>
                    </a:cubicBezTo>
                    <a:cubicBezTo>
                      <a:pt x="4292" y="1176482"/>
                      <a:pt x="4292" y="1176482"/>
                      <a:pt x="4292" y="1176482"/>
                    </a:cubicBezTo>
                    <a:cubicBezTo>
                      <a:pt x="-1431" y="1170064"/>
                      <a:pt x="-1431" y="1160081"/>
                      <a:pt x="4292" y="1153663"/>
                    </a:cubicBezTo>
                    <a:cubicBezTo>
                      <a:pt x="7869" y="1150097"/>
                      <a:pt x="11446" y="1148671"/>
                      <a:pt x="15738" y="1148671"/>
                    </a:cubicBezTo>
                    <a:cubicBezTo>
                      <a:pt x="19315" y="1148671"/>
                      <a:pt x="23608" y="1150097"/>
                      <a:pt x="26469" y="1153663"/>
                    </a:cubicBezTo>
                    <a:cubicBezTo>
                      <a:pt x="47931" y="1175056"/>
                      <a:pt x="47931" y="1175056"/>
                      <a:pt x="47931" y="1175056"/>
                    </a:cubicBezTo>
                    <a:cubicBezTo>
                      <a:pt x="117325" y="1103746"/>
                      <a:pt x="117325" y="1103746"/>
                      <a:pt x="117325" y="1103746"/>
                    </a:cubicBezTo>
                    <a:cubicBezTo>
                      <a:pt x="137356" y="1083779"/>
                      <a:pt x="137356" y="1083779"/>
                      <a:pt x="137356" y="1083779"/>
                    </a:cubicBezTo>
                    <a:cubicBezTo>
                      <a:pt x="140218" y="1080926"/>
                      <a:pt x="144510" y="1079500"/>
                      <a:pt x="148803" y="1079500"/>
                    </a:cubicBezTo>
                    <a:close/>
                    <a:moveTo>
                      <a:pt x="478798" y="0"/>
                    </a:moveTo>
                    <a:cubicBezTo>
                      <a:pt x="601497" y="0"/>
                      <a:pt x="696375" y="99227"/>
                      <a:pt x="696375" y="220584"/>
                    </a:cubicBezTo>
                    <a:cubicBezTo>
                      <a:pt x="696375" y="235575"/>
                      <a:pt x="696375" y="249139"/>
                      <a:pt x="695662" y="262702"/>
                    </a:cubicBezTo>
                    <a:cubicBezTo>
                      <a:pt x="694235" y="274838"/>
                      <a:pt x="698516" y="292685"/>
                      <a:pt x="711356" y="310531"/>
                    </a:cubicBezTo>
                    <a:cubicBezTo>
                      <a:pt x="711356" y="310531"/>
                      <a:pt x="702796" y="316242"/>
                      <a:pt x="691382" y="322667"/>
                    </a:cubicBezTo>
                    <a:cubicBezTo>
                      <a:pt x="689242" y="323381"/>
                      <a:pt x="686388" y="324808"/>
                      <a:pt x="683535" y="326236"/>
                    </a:cubicBezTo>
                    <a:cubicBezTo>
                      <a:pt x="682821" y="326236"/>
                      <a:pt x="682821" y="326236"/>
                      <a:pt x="682108" y="326950"/>
                    </a:cubicBezTo>
                    <a:cubicBezTo>
                      <a:pt x="673548" y="330519"/>
                      <a:pt x="664274" y="332661"/>
                      <a:pt x="656427" y="333375"/>
                    </a:cubicBezTo>
                    <a:cubicBezTo>
                      <a:pt x="652147" y="333375"/>
                      <a:pt x="647866" y="332661"/>
                      <a:pt x="644299" y="330519"/>
                    </a:cubicBezTo>
                    <a:cubicBezTo>
                      <a:pt x="620758" y="317670"/>
                      <a:pt x="528020" y="190602"/>
                      <a:pt x="404607" y="174897"/>
                    </a:cubicBezTo>
                    <a:cubicBezTo>
                      <a:pt x="401754" y="174183"/>
                      <a:pt x="398900" y="174183"/>
                      <a:pt x="396760" y="174183"/>
                    </a:cubicBezTo>
                    <a:cubicBezTo>
                      <a:pt x="383206" y="174183"/>
                      <a:pt x="369652" y="178466"/>
                      <a:pt x="358238" y="185605"/>
                    </a:cubicBezTo>
                    <a:cubicBezTo>
                      <a:pt x="309729" y="218443"/>
                      <a:pt x="298315" y="289115"/>
                      <a:pt x="284761" y="309103"/>
                    </a:cubicBezTo>
                    <a:cubicBezTo>
                      <a:pt x="282621" y="312673"/>
                      <a:pt x="279767" y="314814"/>
                      <a:pt x="277627" y="314814"/>
                    </a:cubicBezTo>
                    <a:cubicBezTo>
                      <a:pt x="276200" y="314814"/>
                      <a:pt x="274060" y="314101"/>
                      <a:pt x="272634" y="311959"/>
                    </a:cubicBezTo>
                    <a:cubicBezTo>
                      <a:pt x="271920" y="311245"/>
                      <a:pt x="271207" y="310531"/>
                      <a:pt x="270493" y="309103"/>
                    </a:cubicBezTo>
                    <a:cubicBezTo>
                      <a:pt x="264073" y="294112"/>
                      <a:pt x="260506" y="246283"/>
                      <a:pt x="260506" y="220584"/>
                    </a:cubicBezTo>
                    <a:cubicBezTo>
                      <a:pt x="260506" y="99227"/>
                      <a:pt x="355384" y="0"/>
                      <a:pt x="478798" y="0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79" name="Oval 178">
            <a:extLst>
              <a:ext uri="{FF2B5EF4-FFF2-40B4-BE49-F238E27FC236}">
                <a16:creationId xmlns:a16="http://schemas.microsoft.com/office/drawing/2014/main" id="{0E914382-DC11-47F3-9A14-7E467AA2DDE3}"/>
              </a:ext>
            </a:extLst>
          </p:cNvPr>
          <p:cNvSpPr/>
          <p:nvPr/>
        </p:nvSpPr>
        <p:spPr>
          <a:xfrm>
            <a:off x="6212292" y="1836752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C4100C93-72ED-4A99-B0AC-CAA1263937BE}"/>
              </a:ext>
            </a:extLst>
          </p:cNvPr>
          <p:cNvGrpSpPr>
            <a:grpSpLocks noChangeAspect="1"/>
          </p:cNvGrpSpPr>
          <p:nvPr/>
        </p:nvGrpSpPr>
        <p:grpSpPr>
          <a:xfrm>
            <a:off x="6421937" y="1836752"/>
            <a:ext cx="548111" cy="548640"/>
            <a:chOff x="5273675" y="2605088"/>
            <a:chExt cx="1644650" cy="1646237"/>
          </a:xfrm>
        </p:grpSpPr>
        <p:sp>
          <p:nvSpPr>
            <p:cNvPr id="181" name="AutoShape 3">
              <a:extLst>
                <a:ext uri="{FF2B5EF4-FFF2-40B4-BE49-F238E27FC236}">
                  <a16:creationId xmlns:a16="http://schemas.microsoft.com/office/drawing/2014/main" id="{4BADF395-9F9A-40CC-BDFF-D19874E2C5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5088"/>
              <a:ext cx="1644650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E6D9B41F-5EEF-41F9-BBF7-23E765FF5210}"/>
                </a:ext>
              </a:extLst>
            </p:cNvPr>
            <p:cNvGrpSpPr/>
            <p:nvPr/>
          </p:nvGrpSpPr>
          <p:grpSpPr>
            <a:xfrm>
              <a:off x="5531036" y="2776581"/>
              <a:ext cx="1129929" cy="1303250"/>
              <a:chOff x="5528729" y="2776624"/>
              <a:chExt cx="1129929" cy="1303250"/>
            </a:xfrm>
          </p:grpSpPr>
          <p:sp>
            <p:nvSpPr>
              <p:cNvPr id="183" name="Freeform 5">
                <a:extLst>
                  <a:ext uri="{FF2B5EF4-FFF2-40B4-BE49-F238E27FC236}">
                    <a16:creationId xmlns:a16="http://schemas.microsoft.com/office/drawing/2014/main" id="{E8E669E6-26C9-4FF3-AEE0-07402844AE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28729" y="2776624"/>
                <a:ext cx="1129929" cy="1303250"/>
              </a:xfrm>
              <a:custGeom>
                <a:avLst/>
                <a:gdLst>
                  <a:gd name="connsiteX0" fmla="*/ 289198 w 1129929"/>
                  <a:gd name="connsiteY0" fmla="*/ 853988 h 1303250"/>
                  <a:gd name="connsiteX1" fmla="*/ 35540 w 1129929"/>
                  <a:gd name="connsiteY1" fmla="*/ 1184870 h 1303250"/>
                  <a:gd name="connsiteX2" fmla="*/ 71981 w 1129929"/>
                  <a:gd name="connsiteY2" fmla="*/ 1245615 h 1303250"/>
                  <a:gd name="connsiteX3" fmla="*/ 119140 w 1129929"/>
                  <a:gd name="connsiteY3" fmla="*/ 1267769 h 1303250"/>
                  <a:gd name="connsiteX4" fmla="*/ 140576 w 1129929"/>
                  <a:gd name="connsiteY4" fmla="*/ 1264911 h 1303250"/>
                  <a:gd name="connsiteX5" fmla="*/ 394234 w 1129929"/>
                  <a:gd name="connsiteY5" fmla="*/ 933314 h 1303250"/>
                  <a:gd name="connsiteX6" fmla="*/ 289198 w 1129929"/>
                  <a:gd name="connsiteY6" fmla="*/ 853988 h 1303250"/>
                  <a:gd name="connsiteX7" fmla="*/ 283534 w 1129929"/>
                  <a:gd name="connsiteY7" fmla="*/ 814143 h 1303250"/>
                  <a:gd name="connsiteX8" fmla="*/ 296390 w 1129929"/>
                  <a:gd name="connsiteY8" fmla="*/ 817004 h 1303250"/>
                  <a:gd name="connsiteX9" fmla="*/ 427812 w 1129929"/>
                  <a:gd name="connsiteY9" fmla="*/ 917828 h 1303250"/>
                  <a:gd name="connsiteX10" fmla="*/ 431383 w 1129929"/>
                  <a:gd name="connsiteY10" fmla="*/ 942141 h 1303250"/>
                  <a:gd name="connsiteX11" fmla="*/ 167825 w 1129929"/>
                  <a:gd name="connsiteY11" fmla="*/ 1285373 h 1303250"/>
                  <a:gd name="connsiteX12" fmla="*/ 128541 w 1129929"/>
                  <a:gd name="connsiteY12" fmla="*/ 1303250 h 1303250"/>
                  <a:gd name="connsiteX13" fmla="*/ 114256 w 1129929"/>
                  <a:gd name="connsiteY13" fmla="*/ 1301820 h 1303250"/>
                  <a:gd name="connsiteX14" fmla="*/ 52117 w 1129929"/>
                  <a:gd name="connsiteY14" fmla="*/ 1273217 h 1303250"/>
                  <a:gd name="connsiteX15" fmla="*/ 8547 w 1129929"/>
                  <a:gd name="connsiteY15" fmla="*/ 1165242 h 1303250"/>
                  <a:gd name="connsiteX16" fmla="*/ 272106 w 1129929"/>
                  <a:gd name="connsiteY16" fmla="*/ 819864 h 1303250"/>
                  <a:gd name="connsiteX17" fmla="*/ 283534 w 1129929"/>
                  <a:gd name="connsiteY17" fmla="*/ 814143 h 1303250"/>
                  <a:gd name="connsiteX18" fmla="*/ 715344 w 1129929"/>
                  <a:gd name="connsiteY18" fmla="*/ 573000 h 1303250"/>
                  <a:gd name="connsiteX19" fmla="*/ 729007 w 1129929"/>
                  <a:gd name="connsiteY19" fmla="*/ 600174 h 1303250"/>
                  <a:gd name="connsiteX20" fmla="*/ 757772 w 1129929"/>
                  <a:gd name="connsiteY20" fmla="*/ 603034 h 1303250"/>
                  <a:gd name="connsiteX21" fmla="*/ 737637 w 1129929"/>
                  <a:gd name="connsiteY21" fmla="*/ 623772 h 1303250"/>
                  <a:gd name="connsiteX22" fmla="*/ 741951 w 1129929"/>
                  <a:gd name="connsiteY22" fmla="*/ 652375 h 1303250"/>
                  <a:gd name="connsiteX23" fmla="*/ 715344 w 1129929"/>
                  <a:gd name="connsiteY23" fmla="*/ 637358 h 1303250"/>
                  <a:gd name="connsiteX24" fmla="*/ 689455 w 1129929"/>
                  <a:gd name="connsiteY24" fmla="*/ 652375 h 1303250"/>
                  <a:gd name="connsiteX25" fmla="*/ 693770 w 1129929"/>
                  <a:gd name="connsiteY25" fmla="*/ 623772 h 1303250"/>
                  <a:gd name="connsiteX26" fmla="*/ 673634 w 1129929"/>
                  <a:gd name="connsiteY26" fmla="*/ 603034 h 1303250"/>
                  <a:gd name="connsiteX27" fmla="*/ 703119 w 1129929"/>
                  <a:gd name="connsiteY27" fmla="*/ 600174 h 1303250"/>
                  <a:gd name="connsiteX28" fmla="*/ 715344 w 1129929"/>
                  <a:gd name="connsiteY28" fmla="*/ 573000 h 1303250"/>
                  <a:gd name="connsiteX29" fmla="*/ 616222 w 1129929"/>
                  <a:gd name="connsiteY29" fmla="*/ 573000 h 1303250"/>
                  <a:gd name="connsiteX30" fmla="*/ 629598 w 1129929"/>
                  <a:gd name="connsiteY30" fmla="*/ 600174 h 1303250"/>
                  <a:gd name="connsiteX31" fmla="*/ 657759 w 1129929"/>
                  <a:gd name="connsiteY31" fmla="*/ 603034 h 1303250"/>
                  <a:gd name="connsiteX32" fmla="*/ 636638 w 1129929"/>
                  <a:gd name="connsiteY32" fmla="*/ 623772 h 1303250"/>
                  <a:gd name="connsiteX33" fmla="*/ 641567 w 1129929"/>
                  <a:gd name="connsiteY33" fmla="*/ 652375 h 1303250"/>
                  <a:gd name="connsiteX34" fmla="*/ 616222 w 1129929"/>
                  <a:gd name="connsiteY34" fmla="*/ 637358 h 1303250"/>
                  <a:gd name="connsiteX35" fmla="*/ 591581 w 1129929"/>
                  <a:gd name="connsiteY35" fmla="*/ 652375 h 1303250"/>
                  <a:gd name="connsiteX36" fmla="*/ 595805 w 1129929"/>
                  <a:gd name="connsiteY36" fmla="*/ 623772 h 1303250"/>
                  <a:gd name="connsiteX37" fmla="*/ 576796 w 1129929"/>
                  <a:gd name="connsiteY37" fmla="*/ 603034 h 1303250"/>
                  <a:gd name="connsiteX38" fmla="*/ 604253 w 1129929"/>
                  <a:gd name="connsiteY38" fmla="*/ 600174 h 1303250"/>
                  <a:gd name="connsiteX39" fmla="*/ 616222 w 1129929"/>
                  <a:gd name="connsiteY39" fmla="*/ 573000 h 1303250"/>
                  <a:gd name="connsiteX40" fmla="*/ 521234 w 1129929"/>
                  <a:gd name="connsiteY40" fmla="*/ 573000 h 1303250"/>
                  <a:gd name="connsiteX41" fmla="*/ 534092 w 1129929"/>
                  <a:gd name="connsiteY41" fmla="*/ 600174 h 1303250"/>
                  <a:gd name="connsiteX42" fmla="*/ 564096 w 1129929"/>
                  <a:gd name="connsiteY42" fmla="*/ 603034 h 1303250"/>
                  <a:gd name="connsiteX43" fmla="*/ 542665 w 1129929"/>
                  <a:gd name="connsiteY43" fmla="*/ 623772 h 1303250"/>
                  <a:gd name="connsiteX44" fmla="*/ 547666 w 1129929"/>
                  <a:gd name="connsiteY44" fmla="*/ 652375 h 1303250"/>
                  <a:gd name="connsiteX45" fmla="*/ 521234 w 1129929"/>
                  <a:gd name="connsiteY45" fmla="*/ 637358 h 1303250"/>
                  <a:gd name="connsiteX46" fmla="*/ 494802 w 1129929"/>
                  <a:gd name="connsiteY46" fmla="*/ 652375 h 1303250"/>
                  <a:gd name="connsiteX47" fmla="*/ 499088 w 1129929"/>
                  <a:gd name="connsiteY47" fmla="*/ 623772 h 1303250"/>
                  <a:gd name="connsiteX48" fmla="*/ 478371 w 1129929"/>
                  <a:gd name="connsiteY48" fmla="*/ 603034 h 1303250"/>
                  <a:gd name="connsiteX49" fmla="*/ 507661 w 1129929"/>
                  <a:gd name="connsiteY49" fmla="*/ 600174 h 1303250"/>
                  <a:gd name="connsiteX50" fmla="*/ 521234 w 1129929"/>
                  <a:gd name="connsiteY50" fmla="*/ 573000 h 1303250"/>
                  <a:gd name="connsiteX51" fmla="*/ 598151 w 1129929"/>
                  <a:gd name="connsiteY51" fmla="*/ 292013 h 1303250"/>
                  <a:gd name="connsiteX52" fmla="*/ 601732 w 1129929"/>
                  <a:gd name="connsiteY52" fmla="*/ 297731 h 1303250"/>
                  <a:gd name="connsiteX53" fmla="*/ 611760 w 1129929"/>
                  <a:gd name="connsiteY53" fmla="*/ 302734 h 1303250"/>
                  <a:gd name="connsiteX54" fmla="*/ 622505 w 1129929"/>
                  <a:gd name="connsiteY54" fmla="*/ 319888 h 1303250"/>
                  <a:gd name="connsiteX55" fmla="*/ 626087 w 1129929"/>
                  <a:gd name="connsiteY55" fmla="*/ 323462 h 1303250"/>
                  <a:gd name="connsiteX56" fmla="*/ 661186 w 1129929"/>
                  <a:gd name="connsiteY56" fmla="*/ 397081 h 1303250"/>
                  <a:gd name="connsiteX57" fmla="*/ 714909 w 1129929"/>
                  <a:gd name="connsiteY57" fmla="*/ 423527 h 1303250"/>
                  <a:gd name="connsiteX58" fmla="*/ 770065 w 1129929"/>
                  <a:gd name="connsiteY58" fmla="*/ 397081 h 1303250"/>
                  <a:gd name="connsiteX59" fmla="*/ 804448 w 1129929"/>
                  <a:gd name="connsiteY59" fmla="*/ 323462 h 1303250"/>
                  <a:gd name="connsiteX60" fmla="*/ 807313 w 1129929"/>
                  <a:gd name="connsiteY60" fmla="*/ 320603 h 1303250"/>
                  <a:gd name="connsiteX61" fmla="*/ 815909 w 1129929"/>
                  <a:gd name="connsiteY61" fmla="*/ 312026 h 1303250"/>
                  <a:gd name="connsiteX62" fmla="*/ 832384 w 1129929"/>
                  <a:gd name="connsiteY62" fmla="*/ 307023 h 1303250"/>
                  <a:gd name="connsiteX63" fmla="*/ 815909 w 1129929"/>
                  <a:gd name="connsiteY63" fmla="*/ 330610 h 1303250"/>
                  <a:gd name="connsiteX64" fmla="*/ 777945 w 1129929"/>
                  <a:gd name="connsiteY64" fmla="*/ 406373 h 1303250"/>
                  <a:gd name="connsiteX65" fmla="*/ 776512 w 1129929"/>
                  <a:gd name="connsiteY65" fmla="*/ 408517 h 1303250"/>
                  <a:gd name="connsiteX66" fmla="*/ 776512 w 1129929"/>
                  <a:gd name="connsiteY66" fmla="*/ 427101 h 1303250"/>
                  <a:gd name="connsiteX67" fmla="*/ 763618 w 1129929"/>
                  <a:gd name="connsiteY67" fmla="*/ 438537 h 1303250"/>
                  <a:gd name="connsiteX68" fmla="*/ 763618 w 1129929"/>
                  <a:gd name="connsiteY68" fmla="*/ 418524 h 1303250"/>
                  <a:gd name="connsiteX69" fmla="*/ 714909 w 1129929"/>
                  <a:gd name="connsiteY69" fmla="*/ 437107 h 1303250"/>
                  <a:gd name="connsiteX70" fmla="*/ 671931 w 1129929"/>
                  <a:gd name="connsiteY70" fmla="*/ 420668 h 1303250"/>
                  <a:gd name="connsiteX71" fmla="*/ 671931 w 1129929"/>
                  <a:gd name="connsiteY71" fmla="*/ 442825 h 1303250"/>
                  <a:gd name="connsiteX72" fmla="*/ 658321 w 1129929"/>
                  <a:gd name="connsiteY72" fmla="*/ 431389 h 1303250"/>
                  <a:gd name="connsiteX73" fmla="*/ 658321 w 1129929"/>
                  <a:gd name="connsiteY73" fmla="*/ 412091 h 1303250"/>
                  <a:gd name="connsiteX74" fmla="*/ 651874 w 1129929"/>
                  <a:gd name="connsiteY74" fmla="*/ 406373 h 1303250"/>
                  <a:gd name="connsiteX75" fmla="*/ 615342 w 1129929"/>
                  <a:gd name="connsiteY75" fmla="*/ 331324 h 1303250"/>
                  <a:gd name="connsiteX76" fmla="*/ 597434 w 1129929"/>
                  <a:gd name="connsiteY76" fmla="*/ 294872 h 1303250"/>
                  <a:gd name="connsiteX77" fmla="*/ 598151 w 1129929"/>
                  <a:gd name="connsiteY77" fmla="*/ 292013 h 1303250"/>
                  <a:gd name="connsiteX78" fmla="*/ 710144 w 1129929"/>
                  <a:gd name="connsiteY78" fmla="*/ 50713 h 1303250"/>
                  <a:gd name="connsiteX79" fmla="*/ 705856 w 1129929"/>
                  <a:gd name="connsiteY79" fmla="*/ 51429 h 1303250"/>
                  <a:gd name="connsiteX80" fmla="*/ 702998 w 1129929"/>
                  <a:gd name="connsiteY80" fmla="*/ 51429 h 1303250"/>
                  <a:gd name="connsiteX81" fmla="*/ 695136 w 1129929"/>
                  <a:gd name="connsiteY81" fmla="*/ 51429 h 1303250"/>
                  <a:gd name="connsiteX82" fmla="*/ 694421 w 1129929"/>
                  <a:gd name="connsiteY82" fmla="*/ 51429 h 1303250"/>
                  <a:gd name="connsiteX83" fmla="*/ 351372 w 1129929"/>
                  <a:gd name="connsiteY83" fmla="*/ 417783 h 1303250"/>
                  <a:gd name="connsiteX84" fmla="*/ 635102 w 1129929"/>
                  <a:gd name="connsiteY84" fmla="*/ 775552 h 1303250"/>
                  <a:gd name="connsiteX85" fmla="*/ 717291 w 1129929"/>
                  <a:gd name="connsiteY85" fmla="*/ 784138 h 1303250"/>
                  <a:gd name="connsiteX86" fmla="*/ 801624 w 1129929"/>
                  <a:gd name="connsiteY86" fmla="*/ 774836 h 1303250"/>
                  <a:gd name="connsiteX87" fmla="*/ 1083210 w 1129929"/>
                  <a:gd name="connsiteY87" fmla="*/ 417783 h 1303250"/>
                  <a:gd name="connsiteX88" fmla="*/ 770893 w 1129929"/>
                  <a:gd name="connsiteY88" fmla="*/ 55006 h 1303250"/>
                  <a:gd name="connsiteX89" fmla="*/ 770178 w 1129929"/>
                  <a:gd name="connsiteY89" fmla="*/ 55006 h 1303250"/>
                  <a:gd name="connsiteX90" fmla="*/ 758743 w 1129929"/>
                  <a:gd name="connsiteY90" fmla="*/ 53575 h 1303250"/>
                  <a:gd name="connsiteX91" fmla="*/ 757314 w 1129929"/>
                  <a:gd name="connsiteY91" fmla="*/ 52860 h 1303250"/>
                  <a:gd name="connsiteX92" fmla="*/ 751596 w 1129929"/>
                  <a:gd name="connsiteY92" fmla="*/ 52860 h 1303250"/>
                  <a:gd name="connsiteX93" fmla="*/ 748023 w 1129929"/>
                  <a:gd name="connsiteY93" fmla="*/ 52144 h 1303250"/>
                  <a:gd name="connsiteX94" fmla="*/ 743735 w 1129929"/>
                  <a:gd name="connsiteY94" fmla="*/ 52144 h 1303250"/>
                  <a:gd name="connsiteX95" fmla="*/ 738017 w 1129929"/>
                  <a:gd name="connsiteY95" fmla="*/ 51429 h 1303250"/>
                  <a:gd name="connsiteX96" fmla="*/ 735873 w 1129929"/>
                  <a:gd name="connsiteY96" fmla="*/ 51429 h 1303250"/>
                  <a:gd name="connsiteX97" fmla="*/ 726582 w 1129929"/>
                  <a:gd name="connsiteY97" fmla="*/ 51429 h 1303250"/>
                  <a:gd name="connsiteX98" fmla="*/ 725153 w 1129929"/>
                  <a:gd name="connsiteY98" fmla="*/ 51429 h 1303250"/>
                  <a:gd name="connsiteX99" fmla="*/ 718006 w 1129929"/>
                  <a:gd name="connsiteY99" fmla="*/ 50713 h 1303250"/>
                  <a:gd name="connsiteX100" fmla="*/ 715147 w 1129929"/>
                  <a:gd name="connsiteY100" fmla="*/ 50713 h 1303250"/>
                  <a:gd name="connsiteX101" fmla="*/ 710144 w 1129929"/>
                  <a:gd name="connsiteY101" fmla="*/ 50713 h 1303250"/>
                  <a:gd name="connsiteX102" fmla="*/ 701396 w 1129929"/>
                  <a:gd name="connsiteY102" fmla="*/ 312 h 1303250"/>
                  <a:gd name="connsiteX103" fmla="*/ 968363 w 1129929"/>
                  <a:gd name="connsiteY103" fmla="*/ 83938 h 1303250"/>
                  <a:gd name="connsiteX104" fmla="*/ 1045455 w 1129929"/>
                  <a:gd name="connsiteY104" fmla="*/ 665036 h 1303250"/>
                  <a:gd name="connsiteX105" fmla="*/ 1032607 w 1129929"/>
                  <a:gd name="connsiteY105" fmla="*/ 681475 h 1303250"/>
                  <a:gd name="connsiteX106" fmla="*/ 1032607 w 1129929"/>
                  <a:gd name="connsiteY106" fmla="*/ 680760 h 1303250"/>
                  <a:gd name="connsiteX107" fmla="*/ 907689 w 1129929"/>
                  <a:gd name="connsiteY107" fmla="*/ 780112 h 1303250"/>
                  <a:gd name="connsiteX108" fmla="*/ 909116 w 1129929"/>
                  <a:gd name="connsiteY108" fmla="*/ 780112 h 1303250"/>
                  <a:gd name="connsiteX109" fmla="*/ 527224 w 1129929"/>
                  <a:gd name="connsiteY109" fmla="*/ 780826 h 1303250"/>
                  <a:gd name="connsiteX110" fmla="*/ 525083 w 1129929"/>
                  <a:gd name="connsiteY110" fmla="*/ 780826 h 1303250"/>
                  <a:gd name="connsiteX111" fmla="*/ 442280 w 1129929"/>
                  <a:gd name="connsiteY111" fmla="*/ 887325 h 1303250"/>
                  <a:gd name="connsiteX112" fmla="*/ 439425 w 1129929"/>
                  <a:gd name="connsiteY112" fmla="*/ 885181 h 1303250"/>
                  <a:gd name="connsiteX113" fmla="*/ 368757 w 1129929"/>
                  <a:gd name="connsiteY113" fmla="*/ 830859 h 1303250"/>
                  <a:gd name="connsiteX114" fmla="*/ 326641 w 1129929"/>
                  <a:gd name="connsiteY114" fmla="*/ 799410 h 1303250"/>
                  <a:gd name="connsiteX115" fmla="*/ 326641 w 1129929"/>
                  <a:gd name="connsiteY115" fmla="*/ 798695 h 1303250"/>
                  <a:gd name="connsiteX116" fmla="*/ 357336 w 1129929"/>
                  <a:gd name="connsiteY116" fmla="*/ 758669 h 1303250"/>
                  <a:gd name="connsiteX117" fmla="*/ 410158 w 1129929"/>
                  <a:gd name="connsiteY117" fmla="*/ 690767 h 1303250"/>
                  <a:gd name="connsiteX118" fmla="*/ 410872 w 1129929"/>
                  <a:gd name="connsiteY118" fmla="*/ 689338 h 1303250"/>
                  <a:gd name="connsiteX119" fmla="*/ 402306 w 1129929"/>
                  <a:gd name="connsiteY119" fmla="*/ 680760 h 1303250"/>
                  <a:gd name="connsiteX120" fmla="*/ 388744 w 1129929"/>
                  <a:gd name="connsiteY120" fmla="*/ 161847 h 1303250"/>
                  <a:gd name="connsiteX121" fmla="*/ 701396 w 1129929"/>
                  <a:gd name="connsiteY121" fmla="*/ 312 h 130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129929" h="1303250">
                    <a:moveTo>
                      <a:pt x="289198" y="853988"/>
                    </a:moveTo>
                    <a:cubicBezTo>
                      <a:pt x="289198" y="853988"/>
                      <a:pt x="289198" y="853988"/>
                      <a:pt x="35540" y="1184870"/>
                    </a:cubicBezTo>
                    <a:cubicBezTo>
                      <a:pt x="29109" y="1193446"/>
                      <a:pt x="40542" y="1222032"/>
                      <a:pt x="71981" y="1245615"/>
                    </a:cubicBezTo>
                    <a:cubicBezTo>
                      <a:pt x="86986" y="1257049"/>
                      <a:pt x="104849" y="1264911"/>
                      <a:pt x="119140" y="1267769"/>
                    </a:cubicBezTo>
                    <a:cubicBezTo>
                      <a:pt x="129143" y="1269913"/>
                      <a:pt x="137718" y="1267769"/>
                      <a:pt x="140576" y="1264911"/>
                    </a:cubicBezTo>
                    <a:cubicBezTo>
                      <a:pt x="140576" y="1264911"/>
                      <a:pt x="140576" y="1264911"/>
                      <a:pt x="394234" y="933314"/>
                    </a:cubicBezTo>
                    <a:cubicBezTo>
                      <a:pt x="394234" y="933314"/>
                      <a:pt x="394234" y="933314"/>
                      <a:pt x="289198" y="853988"/>
                    </a:cubicBezTo>
                    <a:close/>
                    <a:moveTo>
                      <a:pt x="283534" y="814143"/>
                    </a:moveTo>
                    <a:cubicBezTo>
                      <a:pt x="288533" y="812713"/>
                      <a:pt x="292819" y="814858"/>
                      <a:pt x="296390" y="817004"/>
                    </a:cubicBezTo>
                    <a:cubicBezTo>
                      <a:pt x="296390" y="817004"/>
                      <a:pt x="296390" y="817004"/>
                      <a:pt x="427812" y="917828"/>
                    </a:cubicBezTo>
                    <a:cubicBezTo>
                      <a:pt x="435669" y="923549"/>
                      <a:pt x="437097" y="934275"/>
                      <a:pt x="431383" y="942141"/>
                    </a:cubicBezTo>
                    <a:cubicBezTo>
                      <a:pt x="431383" y="942141"/>
                      <a:pt x="431383" y="942141"/>
                      <a:pt x="167825" y="1285373"/>
                    </a:cubicBezTo>
                    <a:cubicBezTo>
                      <a:pt x="159254" y="1296815"/>
                      <a:pt x="145683" y="1303250"/>
                      <a:pt x="128541" y="1303250"/>
                    </a:cubicBezTo>
                    <a:cubicBezTo>
                      <a:pt x="124256" y="1303250"/>
                      <a:pt x="118542" y="1302535"/>
                      <a:pt x="114256" y="1301820"/>
                    </a:cubicBezTo>
                    <a:cubicBezTo>
                      <a:pt x="94257" y="1298960"/>
                      <a:pt x="72116" y="1287519"/>
                      <a:pt x="52117" y="1273217"/>
                    </a:cubicBezTo>
                    <a:cubicBezTo>
                      <a:pt x="5690" y="1238179"/>
                      <a:pt x="-12166" y="1192415"/>
                      <a:pt x="8547" y="1165242"/>
                    </a:cubicBezTo>
                    <a:cubicBezTo>
                      <a:pt x="8547" y="1165242"/>
                      <a:pt x="8547" y="1165242"/>
                      <a:pt x="272106" y="819864"/>
                    </a:cubicBezTo>
                    <a:cubicBezTo>
                      <a:pt x="274963" y="817004"/>
                      <a:pt x="279248" y="814858"/>
                      <a:pt x="283534" y="814143"/>
                    </a:cubicBezTo>
                    <a:close/>
                    <a:moveTo>
                      <a:pt x="715344" y="573000"/>
                    </a:moveTo>
                    <a:cubicBezTo>
                      <a:pt x="715344" y="573000"/>
                      <a:pt x="715344" y="573000"/>
                      <a:pt x="729007" y="600174"/>
                    </a:cubicBezTo>
                    <a:cubicBezTo>
                      <a:pt x="729007" y="600174"/>
                      <a:pt x="729007" y="600174"/>
                      <a:pt x="757772" y="603034"/>
                    </a:cubicBezTo>
                    <a:cubicBezTo>
                      <a:pt x="757772" y="603034"/>
                      <a:pt x="757772" y="603034"/>
                      <a:pt x="737637" y="623772"/>
                    </a:cubicBezTo>
                    <a:cubicBezTo>
                      <a:pt x="737637" y="623772"/>
                      <a:pt x="737637" y="623772"/>
                      <a:pt x="741951" y="652375"/>
                    </a:cubicBezTo>
                    <a:cubicBezTo>
                      <a:pt x="741951" y="652375"/>
                      <a:pt x="741951" y="652375"/>
                      <a:pt x="715344" y="637358"/>
                    </a:cubicBezTo>
                    <a:cubicBezTo>
                      <a:pt x="715344" y="637358"/>
                      <a:pt x="715344" y="637358"/>
                      <a:pt x="689455" y="652375"/>
                    </a:cubicBezTo>
                    <a:cubicBezTo>
                      <a:pt x="689455" y="652375"/>
                      <a:pt x="689455" y="652375"/>
                      <a:pt x="693770" y="623772"/>
                    </a:cubicBezTo>
                    <a:cubicBezTo>
                      <a:pt x="693770" y="623772"/>
                      <a:pt x="693770" y="623772"/>
                      <a:pt x="673634" y="603034"/>
                    </a:cubicBezTo>
                    <a:cubicBezTo>
                      <a:pt x="673634" y="603034"/>
                      <a:pt x="673634" y="603034"/>
                      <a:pt x="703119" y="600174"/>
                    </a:cubicBezTo>
                    <a:cubicBezTo>
                      <a:pt x="703119" y="600174"/>
                      <a:pt x="703119" y="600174"/>
                      <a:pt x="715344" y="573000"/>
                    </a:cubicBezTo>
                    <a:close/>
                    <a:moveTo>
                      <a:pt x="616222" y="573000"/>
                    </a:moveTo>
                    <a:cubicBezTo>
                      <a:pt x="616222" y="573000"/>
                      <a:pt x="616222" y="573000"/>
                      <a:pt x="629598" y="600174"/>
                    </a:cubicBezTo>
                    <a:cubicBezTo>
                      <a:pt x="629598" y="600174"/>
                      <a:pt x="629598" y="600174"/>
                      <a:pt x="657759" y="603034"/>
                    </a:cubicBezTo>
                    <a:cubicBezTo>
                      <a:pt x="657759" y="603034"/>
                      <a:pt x="657759" y="603034"/>
                      <a:pt x="636638" y="623772"/>
                    </a:cubicBezTo>
                    <a:cubicBezTo>
                      <a:pt x="636638" y="623772"/>
                      <a:pt x="636638" y="623772"/>
                      <a:pt x="641567" y="652375"/>
                    </a:cubicBezTo>
                    <a:cubicBezTo>
                      <a:pt x="641567" y="652375"/>
                      <a:pt x="641567" y="652375"/>
                      <a:pt x="616222" y="637358"/>
                    </a:cubicBezTo>
                    <a:cubicBezTo>
                      <a:pt x="616222" y="637358"/>
                      <a:pt x="616222" y="637358"/>
                      <a:pt x="591581" y="652375"/>
                    </a:cubicBezTo>
                    <a:cubicBezTo>
                      <a:pt x="591581" y="652375"/>
                      <a:pt x="591581" y="652375"/>
                      <a:pt x="595805" y="623772"/>
                    </a:cubicBezTo>
                    <a:cubicBezTo>
                      <a:pt x="595805" y="623772"/>
                      <a:pt x="595805" y="623772"/>
                      <a:pt x="576796" y="603034"/>
                    </a:cubicBezTo>
                    <a:cubicBezTo>
                      <a:pt x="576796" y="603034"/>
                      <a:pt x="576796" y="603034"/>
                      <a:pt x="604253" y="600174"/>
                    </a:cubicBezTo>
                    <a:cubicBezTo>
                      <a:pt x="604253" y="600174"/>
                      <a:pt x="604253" y="600174"/>
                      <a:pt x="616222" y="573000"/>
                    </a:cubicBezTo>
                    <a:close/>
                    <a:moveTo>
                      <a:pt x="521234" y="573000"/>
                    </a:moveTo>
                    <a:cubicBezTo>
                      <a:pt x="521234" y="573000"/>
                      <a:pt x="521234" y="573000"/>
                      <a:pt x="534092" y="600174"/>
                    </a:cubicBezTo>
                    <a:cubicBezTo>
                      <a:pt x="534092" y="600174"/>
                      <a:pt x="534092" y="600174"/>
                      <a:pt x="564096" y="603034"/>
                    </a:cubicBezTo>
                    <a:cubicBezTo>
                      <a:pt x="564096" y="603034"/>
                      <a:pt x="564096" y="603034"/>
                      <a:pt x="542665" y="623772"/>
                    </a:cubicBezTo>
                    <a:cubicBezTo>
                      <a:pt x="542665" y="623772"/>
                      <a:pt x="542665" y="623772"/>
                      <a:pt x="547666" y="652375"/>
                    </a:cubicBezTo>
                    <a:cubicBezTo>
                      <a:pt x="547666" y="652375"/>
                      <a:pt x="547666" y="652375"/>
                      <a:pt x="521234" y="637358"/>
                    </a:cubicBezTo>
                    <a:cubicBezTo>
                      <a:pt x="521234" y="637358"/>
                      <a:pt x="521234" y="637358"/>
                      <a:pt x="494802" y="652375"/>
                    </a:cubicBezTo>
                    <a:cubicBezTo>
                      <a:pt x="494802" y="652375"/>
                      <a:pt x="494802" y="652375"/>
                      <a:pt x="499088" y="623772"/>
                    </a:cubicBezTo>
                    <a:cubicBezTo>
                      <a:pt x="499088" y="623772"/>
                      <a:pt x="499088" y="623772"/>
                      <a:pt x="478371" y="603034"/>
                    </a:cubicBezTo>
                    <a:cubicBezTo>
                      <a:pt x="478371" y="603034"/>
                      <a:pt x="478371" y="603034"/>
                      <a:pt x="507661" y="600174"/>
                    </a:cubicBezTo>
                    <a:cubicBezTo>
                      <a:pt x="507661" y="600174"/>
                      <a:pt x="507661" y="600174"/>
                      <a:pt x="521234" y="573000"/>
                    </a:cubicBezTo>
                    <a:close/>
                    <a:moveTo>
                      <a:pt x="598151" y="292013"/>
                    </a:moveTo>
                    <a:cubicBezTo>
                      <a:pt x="598867" y="294157"/>
                      <a:pt x="600299" y="296302"/>
                      <a:pt x="601732" y="297731"/>
                    </a:cubicBezTo>
                    <a:cubicBezTo>
                      <a:pt x="604597" y="302020"/>
                      <a:pt x="609612" y="302734"/>
                      <a:pt x="611760" y="302734"/>
                    </a:cubicBezTo>
                    <a:cubicBezTo>
                      <a:pt x="613193" y="309167"/>
                      <a:pt x="616058" y="317744"/>
                      <a:pt x="622505" y="319888"/>
                    </a:cubicBezTo>
                    <a:cubicBezTo>
                      <a:pt x="623938" y="321318"/>
                      <a:pt x="625370" y="321318"/>
                      <a:pt x="626087" y="323462"/>
                    </a:cubicBezTo>
                    <a:cubicBezTo>
                      <a:pt x="636831" y="350623"/>
                      <a:pt x="654739" y="391363"/>
                      <a:pt x="661186" y="397081"/>
                    </a:cubicBezTo>
                    <a:cubicBezTo>
                      <a:pt x="671931" y="406373"/>
                      <a:pt x="700583" y="423527"/>
                      <a:pt x="714909" y="423527"/>
                    </a:cubicBezTo>
                    <a:cubicBezTo>
                      <a:pt x="730668" y="423527"/>
                      <a:pt x="759321" y="406373"/>
                      <a:pt x="770065" y="397081"/>
                    </a:cubicBezTo>
                    <a:cubicBezTo>
                      <a:pt x="775796" y="391363"/>
                      <a:pt x="793703" y="350623"/>
                      <a:pt x="804448" y="323462"/>
                    </a:cubicBezTo>
                    <a:cubicBezTo>
                      <a:pt x="805164" y="322033"/>
                      <a:pt x="805881" y="321318"/>
                      <a:pt x="807313" y="320603"/>
                    </a:cubicBezTo>
                    <a:cubicBezTo>
                      <a:pt x="811611" y="318459"/>
                      <a:pt x="814476" y="315600"/>
                      <a:pt x="815909" y="312026"/>
                    </a:cubicBezTo>
                    <a:cubicBezTo>
                      <a:pt x="821640" y="311311"/>
                      <a:pt x="827370" y="309167"/>
                      <a:pt x="832384" y="307023"/>
                    </a:cubicBezTo>
                    <a:cubicBezTo>
                      <a:pt x="830952" y="313456"/>
                      <a:pt x="826654" y="324177"/>
                      <a:pt x="815909" y="330610"/>
                    </a:cubicBezTo>
                    <a:cubicBezTo>
                      <a:pt x="809462" y="345619"/>
                      <a:pt x="789406" y="397081"/>
                      <a:pt x="777945" y="406373"/>
                    </a:cubicBezTo>
                    <a:cubicBezTo>
                      <a:pt x="777228" y="407088"/>
                      <a:pt x="777228" y="407802"/>
                      <a:pt x="776512" y="408517"/>
                    </a:cubicBezTo>
                    <a:cubicBezTo>
                      <a:pt x="776512" y="427101"/>
                      <a:pt x="776512" y="427101"/>
                      <a:pt x="776512" y="427101"/>
                    </a:cubicBezTo>
                    <a:cubicBezTo>
                      <a:pt x="774363" y="429245"/>
                      <a:pt x="769349" y="433533"/>
                      <a:pt x="763618" y="438537"/>
                    </a:cubicBezTo>
                    <a:cubicBezTo>
                      <a:pt x="763618" y="418524"/>
                      <a:pt x="763618" y="418524"/>
                      <a:pt x="763618" y="418524"/>
                    </a:cubicBezTo>
                    <a:cubicBezTo>
                      <a:pt x="748576" y="427101"/>
                      <a:pt x="729235" y="437107"/>
                      <a:pt x="714909" y="437107"/>
                    </a:cubicBezTo>
                    <a:cubicBezTo>
                      <a:pt x="703448" y="437107"/>
                      <a:pt x="685540" y="429245"/>
                      <a:pt x="671931" y="420668"/>
                    </a:cubicBezTo>
                    <a:cubicBezTo>
                      <a:pt x="671931" y="442825"/>
                      <a:pt x="671931" y="442825"/>
                      <a:pt x="671931" y="442825"/>
                    </a:cubicBezTo>
                    <a:cubicBezTo>
                      <a:pt x="666916" y="438537"/>
                      <a:pt x="662619" y="434248"/>
                      <a:pt x="658321" y="431389"/>
                    </a:cubicBezTo>
                    <a:cubicBezTo>
                      <a:pt x="658321" y="412091"/>
                      <a:pt x="658321" y="412091"/>
                      <a:pt x="658321" y="412091"/>
                    </a:cubicBezTo>
                    <a:cubicBezTo>
                      <a:pt x="656172" y="409947"/>
                      <a:pt x="654023" y="408517"/>
                      <a:pt x="651874" y="406373"/>
                    </a:cubicBezTo>
                    <a:cubicBezTo>
                      <a:pt x="641846" y="397081"/>
                      <a:pt x="621073" y="346334"/>
                      <a:pt x="615342" y="331324"/>
                    </a:cubicBezTo>
                    <a:cubicBezTo>
                      <a:pt x="600299" y="322747"/>
                      <a:pt x="597434" y="302020"/>
                      <a:pt x="597434" y="294872"/>
                    </a:cubicBezTo>
                    <a:cubicBezTo>
                      <a:pt x="597434" y="293443"/>
                      <a:pt x="597434" y="292728"/>
                      <a:pt x="598151" y="292013"/>
                    </a:cubicBezTo>
                    <a:close/>
                    <a:moveTo>
                      <a:pt x="710144" y="50713"/>
                    </a:moveTo>
                    <a:cubicBezTo>
                      <a:pt x="708715" y="51429"/>
                      <a:pt x="707286" y="51429"/>
                      <a:pt x="705856" y="51429"/>
                    </a:cubicBezTo>
                    <a:cubicBezTo>
                      <a:pt x="704427" y="51429"/>
                      <a:pt x="703712" y="51429"/>
                      <a:pt x="702998" y="51429"/>
                    </a:cubicBezTo>
                    <a:cubicBezTo>
                      <a:pt x="700139" y="51429"/>
                      <a:pt x="697995" y="51429"/>
                      <a:pt x="695136" y="51429"/>
                    </a:cubicBezTo>
                    <a:cubicBezTo>
                      <a:pt x="695136" y="51429"/>
                      <a:pt x="695136" y="51429"/>
                      <a:pt x="694421" y="51429"/>
                    </a:cubicBezTo>
                    <a:cubicBezTo>
                      <a:pt x="502886" y="63593"/>
                      <a:pt x="351372" y="223157"/>
                      <a:pt x="351372" y="417783"/>
                    </a:cubicBezTo>
                    <a:cubicBezTo>
                      <a:pt x="351372" y="591659"/>
                      <a:pt x="472869" y="738344"/>
                      <a:pt x="635102" y="775552"/>
                    </a:cubicBezTo>
                    <a:cubicBezTo>
                      <a:pt x="661546" y="781276"/>
                      <a:pt x="689418" y="784138"/>
                      <a:pt x="717291" y="784138"/>
                    </a:cubicBezTo>
                    <a:cubicBezTo>
                      <a:pt x="746593" y="784138"/>
                      <a:pt x="774466" y="781276"/>
                      <a:pt x="801624" y="774836"/>
                    </a:cubicBezTo>
                    <a:cubicBezTo>
                      <a:pt x="963143" y="736197"/>
                      <a:pt x="1083210" y="590943"/>
                      <a:pt x="1083210" y="417783"/>
                    </a:cubicBezTo>
                    <a:cubicBezTo>
                      <a:pt x="1083210" y="233890"/>
                      <a:pt x="948135" y="80766"/>
                      <a:pt x="770893" y="55006"/>
                    </a:cubicBezTo>
                    <a:cubicBezTo>
                      <a:pt x="770893" y="55006"/>
                      <a:pt x="770893" y="55006"/>
                      <a:pt x="770178" y="55006"/>
                    </a:cubicBezTo>
                    <a:cubicBezTo>
                      <a:pt x="766605" y="54291"/>
                      <a:pt x="763031" y="53575"/>
                      <a:pt x="758743" y="53575"/>
                    </a:cubicBezTo>
                    <a:cubicBezTo>
                      <a:pt x="758743" y="53575"/>
                      <a:pt x="758028" y="53575"/>
                      <a:pt x="757314" y="52860"/>
                    </a:cubicBezTo>
                    <a:cubicBezTo>
                      <a:pt x="755884" y="52860"/>
                      <a:pt x="753740" y="52860"/>
                      <a:pt x="751596" y="52860"/>
                    </a:cubicBezTo>
                    <a:cubicBezTo>
                      <a:pt x="750881" y="52860"/>
                      <a:pt x="749452" y="52144"/>
                      <a:pt x="748023" y="52144"/>
                    </a:cubicBezTo>
                    <a:cubicBezTo>
                      <a:pt x="746593" y="52144"/>
                      <a:pt x="745164" y="52144"/>
                      <a:pt x="743735" y="52144"/>
                    </a:cubicBezTo>
                    <a:cubicBezTo>
                      <a:pt x="742305" y="52144"/>
                      <a:pt x="740161" y="51429"/>
                      <a:pt x="738017" y="51429"/>
                    </a:cubicBezTo>
                    <a:cubicBezTo>
                      <a:pt x="737302" y="51429"/>
                      <a:pt x="736588" y="51429"/>
                      <a:pt x="735873" y="51429"/>
                    </a:cubicBezTo>
                    <a:cubicBezTo>
                      <a:pt x="733014" y="51429"/>
                      <a:pt x="730156" y="51429"/>
                      <a:pt x="726582" y="51429"/>
                    </a:cubicBezTo>
                    <a:cubicBezTo>
                      <a:pt x="726582" y="51429"/>
                      <a:pt x="725867" y="51429"/>
                      <a:pt x="725153" y="51429"/>
                    </a:cubicBezTo>
                    <a:cubicBezTo>
                      <a:pt x="723009" y="50713"/>
                      <a:pt x="720865" y="50713"/>
                      <a:pt x="718006" y="50713"/>
                    </a:cubicBezTo>
                    <a:cubicBezTo>
                      <a:pt x="717291" y="50713"/>
                      <a:pt x="715862" y="50713"/>
                      <a:pt x="715147" y="50713"/>
                    </a:cubicBezTo>
                    <a:cubicBezTo>
                      <a:pt x="713718" y="50713"/>
                      <a:pt x="711574" y="50713"/>
                      <a:pt x="710144" y="50713"/>
                    </a:cubicBezTo>
                    <a:close/>
                    <a:moveTo>
                      <a:pt x="701396" y="312"/>
                    </a:moveTo>
                    <a:cubicBezTo>
                      <a:pt x="794192" y="-3262"/>
                      <a:pt x="889129" y="23899"/>
                      <a:pt x="968363" y="83938"/>
                    </a:cubicBezTo>
                    <a:cubicBezTo>
                      <a:pt x="1148959" y="224031"/>
                      <a:pt x="1183222" y="482773"/>
                      <a:pt x="1045455" y="665036"/>
                    </a:cubicBezTo>
                    <a:cubicBezTo>
                      <a:pt x="1041886" y="670039"/>
                      <a:pt x="1036890" y="675757"/>
                      <a:pt x="1032607" y="681475"/>
                    </a:cubicBezTo>
                    <a:cubicBezTo>
                      <a:pt x="1032607" y="681475"/>
                      <a:pt x="1032607" y="681475"/>
                      <a:pt x="1032607" y="680760"/>
                    </a:cubicBezTo>
                    <a:cubicBezTo>
                      <a:pt x="997630" y="721502"/>
                      <a:pt x="955514" y="755095"/>
                      <a:pt x="907689" y="780112"/>
                    </a:cubicBezTo>
                    <a:cubicBezTo>
                      <a:pt x="907689" y="780112"/>
                      <a:pt x="907689" y="780112"/>
                      <a:pt x="909116" y="780112"/>
                    </a:cubicBezTo>
                    <a:cubicBezTo>
                      <a:pt x="791337" y="841581"/>
                      <a:pt x="647859" y="844440"/>
                      <a:pt x="527224" y="780826"/>
                    </a:cubicBezTo>
                    <a:cubicBezTo>
                      <a:pt x="527224" y="780826"/>
                      <a:pt x="527224" y="780826"/>
                      <a:pt x="525083" y="780826"/>
                    </a:cubicBezTo>
                    <a:cubicBezTo>
                      <a:pt x="521514" y="784400"/>
                      <a:pt x="507951" y="801554"/>
                      <a:pt x="442280" y="887325"/>
                    </a:cubicBezTo>
                    <a:cubicBezTo>
                      <a:pt x="442280" y="887325"/>
                      <a:pt x="442280" y="887325"/>
                      <a:pt x="439425" y="885181"/>
                    </a:cubicBezTo>
                    <a:cubicBezTo>
                      <a:pt x="439425" y="885181"/>
                      <a:pt x="439425" y="885181"/>
                      <a:pt x="368757" y="830859"/>
                    </a:cubicBezTo>
                    <a:cubicBezTo>
                      <a:pt x="368757" y="830859"/>
                      <a:pt x="368757" y="830859"/>
                      <a:pt x="326641" y="799410"/>
                    </a:cubicBezTo>
                    <a:cubicBezTo>
                      <a:pt x="326641" y="799410"/>
                      <a:pt x="326641" y="799410"/>
                      <a:pt x="326641" y="798695"/>
                    </a:cubicBezTo>
                    <a:cubicBezTo>
                      <a:pt x="326641" y="798695"/>
                      <a:pt x="326641" y="798695"/>
                      <a:pt x="357336" y="758669"/>
                    </a:cubicBezTo>
                    <a:cubicBezTo>
                      <a:pt x="357336" y="758669"/>
                      <a:pt x="357336" y="758669"/>
                      <a:pt x="410158" y="690767"/>
                    </a:cubicBezTo>
                    <a:cubicBezTo>
                      <a:pt x="410158" y="690767"/>
                      <a:pt x="410158" y="690767"/>
                      <a:pt x="410872" y="689338"/>
                    </a:cubicBezTo>
                    <a:cubicBezTo>
                      <a:pt x="408017" y="686478"/>
                      <a:pt x="405161" y="683619"/>
                      <a:pt x="402306" y="680760"/>
                    </a:cubicBezTo>
                    <a:cubicBezTo>
                      <a:pt x="278816" y="534950"/>
                      <a:pt x="268822" y="319093"/>
                      <a:pt x="388744" y="161847"/>
                    </a:cubicBezTo>
                    <a:cubicBezTo>
                      <a:pt x="466550" y="60351"/>
                      <a:pt x="582902" y="5315"/>
                      <a:pt x="701396" y="31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184" name="Freeform 6">
                <a:extLst>
                  <a:ext uri="{FF2B5EF4-FFF2-40B4-BE49-F238E27FC236}">
                    <a16:creationId xmlns:a16="http://schemas.microsoft.com/office/drawing/2014/main" id="{12C1C057-F996-4688-BBA5-0483B507E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20378" y="2901949"/>
                <a:ext cx="459797" cy="527050"/>
              </a:xfrm>
              <a:custGeom>
                <a:avLst/>
                <a:gdLst>
                  <a:gd name="connsiteX0" fmla="*/ 418875 w 459797"/>
                  <a:gd name="connsiteY0" fmla="*/ 447675 h 527050"/>
                  <a:gd name="connsiteX1" fmla="*/ 431575 w 459797"/>
                  <a:gd name="connsiteY1" fmla="*/ 474849 h 527050"/>
                  <a:gd name="connsiteX2" fmla="*/ 459797 w 459797"/>
                  <a:gd name="connsiteY2" fmla="*/ 477709 h 527050"/>
                  <a:gd name="connsiteX3" fmla="*/ 439336 w 459797"/>
                  <a:gd name="connsiteY3" fmla="*/ 498447 h 527050"/>
                  <a:gd name="connsiteX4" fmla="*/ 444275 w 459797"/>
                  <a:gd name="connsiteY4" fmla="*/ 527050 h 527050"/>
                  <a:gd name="connsiteX5" fmla="*/ 418875 w 459797"/>
                  <a:gd name="connsiteY5" fmla="*/ 512033 h 527050"/>
                  <a:gd name="connsiteX6" fmla="*/ 392769 w 459797"/>
                  <a:gd name="connsiteY6" fmla="*/ 527050 h 527050"/>
                  <a:gd name="connsiteX7" fmla="*/ 397708 w 459797"/>
                  <a:gd name="connsiteY7" fmla="*/ 498447 h 527050"/>
                  <a:gd name="connsiteX8" fmla="*/ 377247 w 459797"/>
                  <a:gd name="connsiteY8" fmla="*/ 477709 h 527050"/>
                  <a:gd name="connsiteX9" fmla="*/ 406175 w 459797"/>
                  <a:gd name="connsiteY9" fmla="*/ 474849 h 527050"/>
                  <a:gd name="connsiteX10" fmla="*/ 418875 w 459797"/>
                  <a:gd name="connsiteY10" fmla="*/ 447675 h 527050"/>
                  <a:gd name="connsiteX11" fmla="*/ 322126 w 459797"/>
                  <a:gd name="connsiteY11" fmla="*/ 447675 h 527050"/>
                  <a:gd name="connsiteX12" fmla="*/ 335560 w 459797"/>
                  <a:gd name="connsiteY12" fmla="*/ 474849 h 527050"/>
                  <a:gd name="connsiteX13" fmla="*/ 364548 w 459797"/>
                  <a:gd name="connsiteY13" fmla="*/ 477709 h 527050"/>
                  <a:gd name="connsiteX14" fmla="*/ 343337 w 459797"/>
                  <a:gd name="connsiteY14" fmla="*/ 498447 h 527050"/>
                  <a:gd name="connsiteX15" fmla="*/ 348286 w 459797"/>
                  <a:gd name="connsiteY15" fmla="*/ 527050 h 527050"/>
                  <a:gd name="connsiteX16" fmla="*/ 322126 w 459797"/>
                  <a:gd name="connsiteY16" fmla="*/ 512033 h 527050"/>
                  <a:gd name="connsiteX17" fmla="*/ 296672 w 459797"/>
                  <a:gd name="connsiteY17" fmla="*/ 527050 h 527050"/>
                  <a:gd name="connsiteX18" fmla="*/ 300207 w 459797"/>
                  <a:gd name="connsiteY18" fmla="*/ 498447 h 527050"/>
                  <a:gd name="connsiteX19" fmla="*/ 280410 w 459797"/>
                  <a:gd name="connsiteY19" fmla="*/ 477709 h 527050"/>
                  <a:gd name="connsiteX20" fmla="*/ 309399 w 459797"/>
                  <a:gd name="connsiteY20" fmla="*/ 474849 h 527050"/>
                  <a:gd name="connsiteX21" fmla="*/ 322126 w 459797"/>
                  <a:gd name="connsiteY21" fmla="*/ 447675 h 527050"/>
                  <a:gd name="connsiteX22" fmla="*/ 151503 w 459797"/>
                  <a:gd name="connsiteY22" fmla="*/ 307975 h 527050"/>
                  <a:gd name="connsiteX23" fmla="*/ 221475 w 459797"/>
                  <a:gd name="connsiteY23" fmla="*/ 367227 h 527050"/>
                  <a:gd name="connsiteX24" fmla="*/ 224331 w 459797"/>
                  <a:gd name="connsiteY24" fmla="*/ 367227 h 527050"/>
                  <a:gd name="connsiteX25" fmla="*/ 295730 w 459797"/>
                  <a:gd name="connsiteY25" fmla="*/ 307975 h 527050"/>
                  <a:gd name="connsiteX26" fmla="*/ 392120 w 459797"/>
                  <a:gd name="connsiteY26" fmla="*/ 324595 h 527050"/>
                  <a:gd name="connsiteX27" fmla="*/ 445669 w 459797"/>
                  <a:gd name="connsiteY27" fmla="*/ 404802 h 527050"/>
                  <a:gd name="connsiteX28" fmla="*/ 440671 w 459797"/>
                  <a:gd name="connsiteY28" fmla="*/ 412750 h 527050"/>
                  <a:gd name="connsiteX29" fmla="*/ 5848 w 459797"/>
                  <a:gd name="connsiteY29" fmla="*/ 412750 h 527050"/>
                  <a:gd name="connsiteX30" fmla="*/ 136 w 459797"/>
                  <a:gd name="connsiteY30" fmla="*/ 404802 h 527050"/>
                  <a:gd name="connsiteX31" fmla="*/ 55114 w 459797"/>
                  <a:gd name="connsiteY31" fmla="*/ 324595 h 527050"/>
                  <a:gd name="connsiteX32" fmla="*/ 151503 w 459797"/>
                  <a:gd name="connsiteY32" fmla="*/ 307975 h 527050"/>
                  <a:gd name="connsiteX33" fmla="*/ 224462 w 459797"/>
                  <a:gd name="connsiteY33" fmla="*/ 0 h 527050"/>
                  <a:gd name="connsiteX34" fmla="*/ 337666 w 459797"/>
                  <a:gd name="connsiteY34" fmla="*/ 115780 h 527050"/>
                  <a:gd name="connsiteX35" fmla="*/ 336954 w 459797"/>
                  <a:gd name="connsiteY35" fmla="*/ 137935 h 527050"/>
                  <a:gd name="connsiteX36" fmla="*/ 345497 w 459797"/>
                  <a:gd name="connsiteY36" fmla="*/ 162949 h 527050"/>
                  <a:gd name="connsiteX37" fmla="*/ 310611 w 459797"/>
                  <a:gd name="connsiteY37" fmla="*/ 172955 h 527050"/>
                  <a:gd name="connsiteX38" fmla="*/ 173201 w 459797"/>
                  <a:gd name="connsiteY38" fmla="*/ 90765 h 527050"/>
                  <a:gd name="connsiteX39" fmla="*/ 161809 w 459797"/>
                  <a:gd name="connsiteY39" fmla="*/ 97198 h 527050"/>
                  <a:gd name="connsiteX40" fmla="*/ 116955 w 459797"/>
                  <a:gd name="connsiteY40" fmla="*/ 163664 h 527050"/>
                  <a:gd name="connsiteX41" fmla="*/ 110547 w 459797"/>
                  <a:gd name="connsiteY41" fmla="*/ 115780 h 527050"/>
                  <a:gd name="connsiteX42" fmla="*/ 224462 w 459797"/>
                  <a:gd name="connsiteY42" fmla="*/ 0 h 527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459797" h="527050">
                    <a:moveTo>
                      <a:pt x="418875" y="447675"/>
                    </a:moveTo>
                    <a:cubicBezTo>
                      <a:pt x="418875" y="447675"/>
                      <a:pt x="418875" y="447675"/>
                      <a:pt x="431575" y="474849"/>
                    </a:cubicBezTo>
                    <a:cubicBezTo>
                      <a:pt x="431575" y="474849"/>
                      <a:pt x="431575" y="474849"/>
                      <a:pt x="459797" y="477709"/>
                    </a:cubicBezTo>
                    <a:cubicBezTo>
                      <a:pt x="459797" y="477709"/>
                      <a:pt x="459797" y="477709"/>
                      <a:pt x="439336" y="498447"/>
                    </a:cubicBezTo>
                    <a:cubicBezTo>
                      <a:pt x="439336" y="498447"/>
                      <a:pt x="439336" y="498447"/>
                      <a:pt x="444275" y="527050"/>
                    </a:cubicBezTo>
                    <a:cubicBezTo>
                      <a:pt x="444275" y="527050"/>
                      <a:pt x="444275" y="527050"/>
                      <a:pt x="418875" y="512033"/>
                    </a:cubicBezTo>
                    <a:cubicBezTo>
                      <a:pt x="418875" y="512033"/>
                      <a:pt x="418875" y="512033"/>
                      <a:pt x="392769" y="527050"/>
                    </a:cubicBezTo>
                    <a:cubicBezTo>
                      <a:pt x="392769" y="527050"/>
                      <a:pt x="392769" y="527050"/>
                      <a:pt x="397708" y="498447"/>
                    </a:cubicBezTo>
                    <a:cubicBezTo>
                      <a:pt x="397708" y="498447"/>
                      <a:pt x="397708" y="498447"/>
                      <a:pt x="377247" y="477709"/>
                    </a:cubicBezTo>
                    <a:cubicBezTo>
                      <a:pt x="377247" y="477709"/>
                      <a:pt x="377247" y="477709"/>
                      <a:pt x="406175" y="474849"/>
                    </a:cubicBezTo>
                    <a:cubicBezTo>
                      <a:pt x="406175" y="474849"/>
                      <a:pt x="406175" y="474849"/>
                      <a:pt x="418875" y="447675"/>
                    </a:cubicBezTo>
                    <a:close/>
                    <a:moveTo>
                      <a:pt x="322126" y="447675"/>
                    </a:moveTo>
                    <a:cubicBezTo>
                      <a:pt x="322126" y="447675"/>
                      <a:pt x="322126" y="447675"/>
                      <a:pt x="335560" y="474849"/>
                    </a:cubicBezTo>
                    <a:cubicBezTo>
                      <a:pt x="335560" y="474849"/>
                      <a:pt x="335560" y="474849"/>
                      <a:pt x="364548" y="477709"/>
                    </a:cubicBezTo>
                    <a:cubicBezTo>
                      <a:pt x="364548" y="477709"/>
                      <a:pt x="364548" y="477709"/>
                      <a:pt x="343337" y="498447"/>
                    </a:cubicBezTo>
                    <a:cubicBezTo>
                      <a:pt x="343337" y="498447"/>
                      <a:pt x="343337" y="498447"/>
                      <a:pt x="348286" y="527050"/>
                    </a:cubicBezTo>
                    <a:cubicBezTo>
                      <a:pt x="348286" y="527050"/>
                      <a:pt x="348286" y="527050"/>
                      <a:pt x="322126" y="512033"/>
                    </a:cubicBezTo>
                    <a:cubicBezTo>
                      <a:pt x="322126" y="512033"/>
                      <a:pt x="322126" y="512033"/>
                      <a:pt x="296672" y="527050"/>
                    </a:cubicBezTo>
                    <a:cubicBezTo>
                      <a:pt x="296672" y="527050"/>
                      <a:pt x="296672" y="527050"/>
                      <a:pt x="300207" y="498447"/>
                    </a:cubicBezTo>
                    <a:cubicBezTo>
                      <a:pt x="300207" y="498447"/>
                      <a:pt x="300207" y="498447"/>
                      <a:pt x="280410" y="477709"/>
                    </a:cubicBezTo>
                    <a:cubicBezTo>
                      <a:pt x="280410" y="477709"/>
                      <a:pt x="280410" y="477709"/>
                      <a:pt x="309399" y="474849"/>
                    </a:cubicBezTo>
                    <a:cubicBezTo>
                      <a:pt x="309399" y="474849"/>
                      <a:pt x="309399" y="474849"/>
                      <a:pt x="322126" y="447675"/>
                    </a:cubicBezTo>
                    <a:close/>
                    <a:moveTo>
                      <a:pt x="151503" y="307975"/>
                    </a:moveTo>
                    <a:cubicBezTo>
                      <a:pt x="151503" y="307975"/>
                      <a:pt x="199341" y="349163"/>
                      <a:pt x="221475" y="367227"/>
                    </a:cubicBezTo>
                    <a:cubicBezTo>
                      <a:pt x="222189" y="367950"/>
                      <a:pt x="223617" y="367950"/>
                      <a:pt x="224331" y="367227"/>
                    </a:cubicBezTo>
                    <a:cubicBezTo>
                      <a:pt x="255747" y="341937"/>
                      <a:pt x="295730" y="307975"/>
                      <a:pt x="295730" y="307975"/>
                    </a:cubicBezTo>
                    <a:cubicBezTo>
                      <a:pt x="295730" y="307975"/>
                      <a:pt x="358562" y="308698"/>
                      <a:pt x="392120" y="324595"/>
                    </a:cubicBezTo>
                    <a:cubicBezTo>
                      <a:pt x="419251" y="337601"/>
                      <a:pt x="438529" y="386737"/>
                      <a:pt x="445669" y="404802"/>
                    </a:cubicBezTo>
                    <a:cubicBezTo>
                      <a:pt x="447097" y="408415"/>
                      <a:pt x="444241" y="412750"/>
                      <a:pt x="440671" y="412750"/>
                    </a:cubicBezTo>
                    <a:cubicBezTo>
                      <a:pt x="440671" y="412750"/>
                      <a:pt x="440671" y="412750"/>
                      <a:pt x="5848" y="412750"/>
                    </a:cubicBezTo>
                    <a:cubicBezTo>
                      <a:pt x="1564" y="412750"/>
                      <a:pt x="-578" y="408415"/>
                      <a:pt x="136" y="404802"/>
                    </a:cubicBezTo>
                    <a:cubicBezTo>
                      <a:pt x="7276" y="386737"/>
                      <a:pt x="27268" y="337601"/>
                      <a:pt x="55114" y="324595"/>
                    </a:cubicBezTo>
                    <a:cubicBezTo>
                      <a:pt x="88672" y="308698"/>
                      <a:pt x="151503" y="307975"/>
                      <a:pt x="151503" y="307975"/>
                    </a:cubicBezTo>
                    <a:close/>
                    <a:moveTo>
                      <a:pt x="224462" y="0"/>
                    </a:moveTo>
                    <a:cubicBezTo>
                      <a:pt x="289252" y="0"/>
                      <a:pt x="337666" y="51457"/>
                      <a:pt x="337666" y="115780"/>
                    </a:cubicBezTo>
                    <a:cubicBezTo>
                      <a:pt x="337666" y="123641"/>
                      <a:pt x="337666" y="130788"/>
                      <a:pt x="336954" y="137935"/>
                    </a:cubicBezTo>
                    <a:cubicBezTo>
                      <a:pt x="336242" y="143652"/>
                      <a:pt x="338378" y="152943"/>
                      <a:pt x="345497" y="162949"/>
                    </a:cubicBezTo>
                    <a:cubicBezTo>
                      <a:pt x="345497" y="162949"/>
                      <a:pt x="322002" y="179387"/>
                      <a:pt x="310611" y="172955"/>
                    </a:cubicBezTo>
                    <a:cubicBezTo>
                      <a:pt x="298507" y="166522"/>
                      <a:pt x="244398" y="90051"/>
                      <a:pt x="173201" y="90765"/>
                    </a:cubicBezTo>
                    <a:cubicBezTo>
                      <a:pt x="173201" y="90765"/>
                      <a:pt x="164657" y="95054"/>
                      <a:pt x="161809" y="97198"/>
                    </a:cubicBezTo>
                    <a:cubicBezTo>
                      <a:pt x="129770" y="119353"/>
                      <a:pt x="128346" y="173669"/>
                      <a:pt x="116955" y="163664"/>
                    </a:cubicBezTo>
                    <a:cubicBezTo>
                      <a:pt x="112683" y="158661"/>
                      <a:pt x="110547" y="130073"/>
                      <a:pt x="110547" y="115780"/>
                    </a:cubicBezTo>
                    <a:cubicBezTo>
                      <a:pt x="110547" y="51457"/>
                      <a:pt x="160385" y="0"/>
                      <a:pt x="224462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/>
              </a:p>
            </p:txBody>
          </p:sp>
        </p:grpSp>
      </p:grpSp>
      <p:sp>
        <p:nvSpPr>
          <p:cNvPr id="185" name="Oval 184">
            <a:extLst>
              <a:ext uri="{FF2B5EF4-FFF2-40B4-BE49-F238E27FC236}">
                <a16:creationId xmlns:a16="http://schemas.microsoft.com/office/drawing/2014/main" id="{9109755C-684E-4DCF-8D68-3EF02065DFAF}"/>
              </a:ext>
            </a:extLst>
          </p:cNvPr>
          <p:cNvSpPr/>
          <p:nvPr/>
        </p:nvSpPr>
        <p:spPr>
          <a:xfrm>
            <a:off x="8190640" y="1836752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FB6A0E48-A875-452C-AB32-172B5D94C8FC}"/>
              </a:ext>
            </a:extLst>
          </p:cNvPr>
          <p:cNvGrpSpPr>
            <a:grpSpLocks noChangeAspect="1"/>
          </p:cNvGrpSpPr>
          <p:nvPr/>
        </p:nvGrpSpPr>
        <p:grpSpPr>
          <a:xfrm>
            <a:off x="8400275" y="1836752"/>
            <a:ext cx="548131" cy="548640"/>
            <a:chOff x="5273803" y="2606040"/>
            <a:chExt cx="1644396" cy="1645920"/>
          </a:xfrm>
        </p:grpSpPr>
        <p:sp>
          <p:nvSpPr>
            <p:cNvPr id="187" name="AutoShape 38">
              <a:extLst>
                <a:ext uri="{FF2B5EF4-FFF2-40B4-BE49-F238E27FC236}">
                  <a16:creationId xmlns:a16="http://schemas.microsoft.com/office/drawing/2014/main" id="{30BF4EED-09D2-4559-A55F-A8AD0F78C7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F522358F-D148-4E1D-B472-9C78842605EB}"/>
                </a:ext>
              </a:extLst>
            </p:cNvPr>
            <p:cNvGrpSpPr/>
            <p:nvPr/>
          </p:nvGrpSpPr>
          <p:grpSpPr>
            <a:xfrm>
              <a:off x="5377816" y="2865501"/>
              <a:ext cx="1434846" cy="1099185"/>
              <a:chOff x="5377816" y="2865501"/>
              <a:chExt cx="1434846" cy="1099185"/>
            </a:xfrm>
          </p:grpSpPr>
          <p:sp>
            <p:nvSpPr>
              <p:cNvPr id="189" name="Freeform 40">
                <a:extLst>
                  <a:ext uri="{FF2B5EF4-FFF2-40B4-BE49-F238E27FC236}">
                    <a16:creationId xmlns:a16="http://schemas.microsoft.com/office/drawing/2014/main" id="{E6BEB43D-1032-408E-AA02-4AA96F6312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7816" y="2865501"/>
                <a:ext cx="1434846" cy="1099185"/>
              </a:xfrm>
              <a:custGeom>
                <a:avLst/>
                <a:gdLst>
                  <a:gd name="T0" fmla="*/ 169 w 2010"/>
                  <a:gd name="T1" fmla="*/ 1334 h 1539"/>
                  <a:gd name="T2" fmla="*/ 470 w 2010"/>
                  <a:gd name="T3" fmla="*/ 1306 h 1539"/>
                  <a:gd name="T4" fmla="*/ 938 w 2010"/>
                  <a:gd name="T5" fmla="*/ 1306 h 1539"/>
                  <a:gd name="T6" fmla="*/ 637 w 2010"/>
                  <a:gd name="T7" fmla="*/ 1334 h 1539"/>
                  <a:gd name="T8" fmla="*/ 936 w 2010"/>
                  <a:gd name="T9" fmla="*/ 1337 h 1539"/>
                  <a:gd name="T10" fmla="*/ 1072 w 2010"/>
                  <a:gd name="T11" fmla="*/ 1306 h 1539"/>
                  <a:gd name="T12" fmla="*/ 1373 w 2010"/>
                  <a:gd name="T13" fmla="*/ 1334 h 1539"/>
                  <a:gd name="T14" fmla="*/ 1875 w 2010"/>
                  <a:gd name="T15" fmla="*/ 1306 h 1539"/>
                  <a:gd name="T16" fmla="*/ 1573 w 2010"/>
                  <a:gd name="T17" fmla="*/ 1334 h 1539"/>
                  <a:gd name="T18" fmla="*/ 1872 w 2010"/>
                  <a:gd name="T19" fmla="*/ 1337 h 1539"/>
                  <a:gd name="T20" fmla="*/ 468 w 2010"/>
                  <a:gd name="T21" fmla="*/ 948 h 1539"/>
                  <a:gd name="T22" fmla="*/ 138 w 2010"/>
                  <a:gd name="T23" fmla="*/ 948 h 1539"/>
                  <a:gd name="T24" fmla="*/ 938 w 2010"/>
                  <a:gd name="T25" fmla="*/ 917 h 1539"/>
                  <a:gd name="T26" fmla="*/ 637 w 2010"/>
                  <a:gd name="T27" fmla="*/ 945 h 1539"/>
                  <a:gd name="T28" fmla="*/ 936 w 2010"/>
                  <a:gd name="T29" fmla="*/ 948 h 1539"/>
                  <a:gd name="T30" fmla="*/ 1404 w 2010"/>
                  <a:gd name="T31" fmla="*/ 948 h 1539"/>
                  <a:gd name="T32" fmla="*/ 1074 w 2010"/>
                  <a:gd name="T33" fmla="*/ 948 h 1539"/>
                  <a:gd name="T34" fmla="*/ 1875 w 2010"/>
                  <a:gd name="T35" fmla="*/ 917 h 1539"/>
                  <a:gd name="T36" fmla="*/ 1573 w 2010"/>
                  <a:gd name="T37" fmla="*/ 945 h 1539"/>
                  <a:gd name="T38" fmla="*/ 1872 w 2010"/>
                  <a:gd name="T39" fmla="*/ 948 h 1539"/>
                  <a:gd name="T40" fmla="*/ 1999 w 2010"/>
                  <a:gd name="T41" fmla="*/ 1531 h 1539"/>
                  <a:gd name="T42" fmla="*/ 1670 w 2010"/>
                  <a:gd name="T43" fmla="*/ 1531 h 1539"/>
                  <a:gd name="T44" fmla="*/ 343 w 2010"/>
                  <a:gd name="T45" fmla="*/ 1500 h 1539"/>
                  <a:gd name="T46" fmla="*/ 42 w 2010"/>
                  <a:gd name="T47" fmla="*/ 1528 h 1539"/>
                  <a:gd name="T48" fmla="*/ 340 w 2010"/>
                  <a:gd name="T49" fmla="*/ 1531 h 1539"/>
                  <a:gd name="T50" fmla="*/ 1170 w 2010"/>
                  <a:gd name="T51" fmla="*/ 1531 h 1539"/>
                  <a:gd name="T52" fmla="*/ 840 w 2010"/>
                  <a:gd name="T53" fmla="*/ 1531 h 1539"/>
                  <a:gd name="T54" fmla="*/ 758 w 2010"/>
                  <a:gd name="T55" fmla="*/ 1500 h 1539"/>
                  <a:gd name="T56" fmla="*/ 456 w 2010"/>
                  <a:gd name="T57" fmla="*/ 1528 h 1539"/>
                  <a:gd name="T58" fmla="*/ 755 w 2010"/>
                  <a:gd name="T59" fmla="*/ 1531 h 1539"/>
                  <a:gd name="T60" fmla="*/ 1585 w 2010"/>
                  <a:gd name="T61" fmla="*/ 1531 h 1539"/>
                  <a:gd name="T62" fmla="*/ 1255 w 2010"/>
                  <a:gd name="T63" fmla="*/ 1531 h 1539"/>
                  <a:gd name="T64" fmla="*/ 2002 w 2010"/>
                  <a:gd name="T65" fmla="*/ 1111 h 1539"/>
                  <a:gd name="T66" fmla="*/ 1701 w 2010"/>
                  <a:gd name="T67" fmla="*/ 1139 h 1539"/>
                  <a:gd name="T68" fmla="*/ 1999 w 2010"/>
                  <a:gd name="T69" fmla="*/ 1142 h 1539"/>
                  <a:gd name="T70" fmla="*/ 8 w 2010"/>
                  <a:gd name="T71" fmla="*/ 1111 h 1539"/>
                  <a:gd name="T72" fmla="*/ 309 w 2010"/>
                  <a:gd name="T73" fmla="*/ 1139 h 1539"/>
                  <a:gd name="T74" fmla="*/ 1172 w 2010"/>
                  <a:gd name="T75" fmla="*/ 1111 h 1539"/>
                  <a:gd name="T76" fmla="*/ 871 w 2010"/>
                  <a:gd name="T77" fmla="*/ 1139 h 1539"/>
                  <a:gd name="T78" fmla="*/ 1170 w 2010"/>
                  <a:gd name="T79" fmla="*/ 1142 h 1539"/>
                  <a:gd name="T80" fmla="*/ 423 w 2010"/>
                  <a:gd name="T81" fmla="*/ 1111 h 1539"/>
                  <a:gd name="T82" fmla="*/ 724 w 2010"/>
                  <a:gd name="T83" fmla="*/ 1139 h 1539"/>
                  <a:gd name="T84" fmla="*/ 1587 w 2010"/>
                  <a:gd name="T85" fmla="*/ 1111 h 1539"/>
                  <a:gd name="T86" fmla="*/ 1286 w 2010"/>
                  <a:gd name="T87" fmla="*/ 1139 h 1539"/>
                  <a:gd name="T88" fmla="*/ 1585 w 2010"/>
                  <a:gd name="T89" fmla="*/ 1142 h 1539"/>
                  <a:gd name="T90" fmla="*/ 532 w 2010"/>
                  <a:gd name="T91" fmla="*/ 0 h 1539"/>
                  <a:gd name="T92" fmla="*/ 1478 w 2010"/>
                  <a:gd name="T93" fmla="*/ 618 h 1539"/>
                  <a:gd name="T94" fmla="*/ 1456 w 2010"/>
                  <a:gd name="T95" fmla="*/ 574 h 1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10" h="1539">
                    <a:moveTo>
                      <a:pt x="454" y="1342"/>
                    </a:moveTo>
                    <a:cubicBezTo>
                      <a:pt x="447" y="1342"/>
                      <a:pt x="441" y="1339"/>
                      <a:pt x="437" y="1334"/>
                    </a:cubicBezTo>
                    <a:cubicBezTo>
                      <a:pt x="403" y="1294"/>
                      <a:pt x="355" y="1272"/>
                      <a:pt x="303" y="1272"/>
                    </a:cubicBezTo>
                    <a:cubicBezTo>
                      <a:pt x="251" y="1272"/>
                      <a:pt x="202" y="1294"/>
                      <a:pt x="169" y="1334"/>
                    </a:cubicBezTo>
                    <a:cubicBezTo>
                      <a:pt x="161" y="1343"/>
                      <a:pt x="147" y="1344"/>
                      <a:pt x="138" y="1337"/>
                    </a:cubicBezTo>
                    <a:cubicBezTo>
                      <a:pt x="129" y="1329"/>
                      <a:pt x="128" y="1315"/>
                      <a:pt x="135" y="1306"/>
                    </a:cubicBezTo>
                    <a:cubicBezTo>
                      <a:pt x="177" y="1256"/>
                      <a:pt x="238" y="1228"/>
                      <a:pt x="303" y="1228"/>
                    </a:cubicBezTo>
                    <a:cubicBezTo>
                      <a:pt x="368" y="1228"/>
                      <a:pt x="429" y="1256"/>
                      <a:pt x="470" y="1306"/>
                    </a:cubicBezTo>
                    <a:cubicBezTo>
                      <a:pt x="478" y="1315"/>
                      <a:pt x="477" y="1329"/>
                      <a:pt x="468" y="1337"/>
                    </a:cubicBezTo>
                    <a:cubicBezTo>
                      <a:pt x="464" y="1340"/>
                      <a:pt x="458" y="1342"/>
                      <a:pt x="454" y="1342"/>
                    </a:cubicBezTo>
                    <a:close/>
                    <a:moveTo>
                      <a:pt x="936" y="1337"/>
                    </a:moveTo>
                    <a:cubicBezTo>
                      <a:pt x="945" y="1329"/>
                      <a:pt x="946" y="1315"/>
                      <a:pt x="938" y="1306"/>
                    </a:cubicBezTo>
                    <a:cubicBezTo>
                      <a:pt x="897" y="1256"/>
                      <a:pt x="836" y="1228"/>
                      <a:pt x="771" y="1228"/>
                    </a:cubicBezTo>
                    <a:cubicBezTo>
                      <a:pt x="706" y="1228"/>
                      <a:pt x="645" y="1256"/>
                      <a:pt x="603" y="1306"/>
                    </a:cubicBezTo>
                    <a:cubicBezTo>
                      <a:pt x="596" y="1315"/>
                      <a:pt x="597" y="1329"/>
                      <a:pt x="606" y="1337"/>
                    </a:cubicBezTo>
                    <a:cubicBezTo>
                      <a:pt x="615" y="1344"/>
                      <a:pt x="629" y="1343"/>
                      <a:pt x="637" y="1334"/>
                    </a:cubicBezTo>
                    <a:cubicBezTo>
                      <a:pt x="670" y="1294"/>
                      <a:pt x="719" y="1272"/>
                      <a:pt x="771" y="1272"/>
                    </a:cubicBezTo>
                    <a:cubicBezTo>
                      <a:pt x="823" y="1272"/>
                      <a:pt x="871" y="1294"/>
                      <a:pt x="905" y="1334"/>
                    </a:cubicBezTo>
                    <a:cubicBezTo>
                      <a:pt x="909" y="1339"/>
                      <a:pt x="915" y="1342"/>
                      <a:pt x="922" y="1342"/>
                    </a:cubicBezTo>
                    <a:cubicBezTo>
                      <a:pt x="927" y="1342"/>
                      <a:pt x="932" y="1340"/>
                      <a:pt x="936" y="1337"/>
                    </a:cubicBezTo>
                    <a:close/>
                    <a:moveTo>
                      <a:pt x="1404" y="1337"/>
                    </a:moveTo>
                    <a:cubicBezTo>
                      <a:pt x="1413" y="1329"/>
                      <a:pt x="1414" y="1315"/>
                      <a:pt x="1407" y="1306"/>
                    </a:cubicBezTo>
                    <a:cubicBezTo>
                      <a:pt x="1365" y="1256"/>
                      <a:pt x="1304" y="1228"/>
                      <a:pt x="1239" y="1228"/>
                    </a:cubicBezTo>
                    <a:cubicBezTo>
                      <a:pt x="1174" y="1228"/>
                      <a:pt x="1113" y="1256"/>
                      <a:pt x="1072" y="1306"/>
                    </a:cubicBezTo>
                    <a:cubicBezTo>
                      <a:pt x="1064" y="1315"/>
                      <a:pt x="1065" y="1329"/>
                      <a:pt x="1074" y="1337"/>
                    </a:cubicBezTo>
                    <a:cubicBezTo>
                      <a:pt x="1084" y="1344"/>
                      <a:pt x="1097" y="1343"/>
                      <a:pt x="1105" y="1334"/>
                    </a:cubicBezTo>
                    <a:cubicBezTo>
                      <a:pt x="1139" y="1294"/>
                      <a:pt x="1187" y="1272"/>
                      <a:pt x="1239" y="1272"/>
                    </a:cubicBezTo>
                    <a:cubicBezTo>
                      <a:pt x="1291" y="1272"/>
                      <a:pt x="1340" y="1294"/>
                      <a:pt x="1373" y="1334"/>
                    </a:cubicBezTo>
                    <a:cubicBezTo>
                      <a:pt x="1377" y="1339"/>
                      <a:pt x="1383" y="1342"/>
                      <a:pt x="1390" y="1342"/>
                    </a:cubicBezTo>
                    <a:cubicBezTo>
                      <a:pt x="1395" y="1342"/>
                      <a:pt x="1400" y="1340"/>
                      <a:pt x="1404" y="1337"/>
                    </a:cubicBezTo>
                    <a:close/>
                    <a:moveTo>
                      <a:pt x="1872" y="1337"/>
                    </a:moveTo>
                    <a:cubicBezTo>
                      <a:pt x="1881" y="1329"/>
                      <a:pt x="1882" y="1315"/>
                      <a:pt x="1875" y="1306"/>
                    </a:cubicBezTo>
                    <a:cubicBezTo>
                      <a:pt x="1833" y="1256"/>
                      <a:pt x="1772" y="1228"/>
                      <a:pt x="1707" y="1228"/>
                    </a:cubicBezTo>
                    <a:cubicBezTo>
                      <a:pt x="1642" y="1228"/>
                      <a:pt x="1581" y="1256"/>
                      <a:pt x="1540" y="1306"/>
                    </a:cubicBezTo>
                    <a:cubicBezTo>
                      <a:pt x="1532" y="1315"/>
                      <a:pt x="1533" y="1329"/>
                      <a:pt x="1542" y="1337"/>
                    </a:cubicBezTo>
                    <a:cubicBezTo>
                      <a:pt x="1552" y="1344"/>
                      <a:pt x="1566" y="1343"/>
                      <a:pt x="1573" y="1334"/>
                    </a:cubicBezTo>
                    <a:cubicBezTo>
                      <a:pt x="1607" y="1294"/>
                      <a:pt x="1655" y="1272"/>
                      <a:pt x="1707" y="1272"/>
                    </a:cubicBezTo>
                    <a:cubicBezTo>
                      <a:pt x="1759" y="1272"/>
                      <a:pt x="1808" y="1294"/>
                      <a:pt x="1841" y="1334"/>
                    </a:cubicBezTo>
                    <a:cubicBezTo>
                      <a:pt x="1845" y="1339"/>
                      <a:pt x="1852" y="1342"/>
                      <a:pt x="1858" y="1342"/>
                    </a:cubicBezTo>
                    <a:cubicBezTo>
                      <a:pt x="1863" y="1342"/>
                      <a:pt x="1868" y="1340"/>
                      <a:pt x="1872" y="1337"/>
                    </a:cubicBezTo>
                    <a:close/>
                    <a:moveTo>
                      <a:pt x="169" y="945"/>
                    </a:moveTo>
                    <a:cubicBezTo>
                      <a:pt x="202" y="905"/>
                      <a:pt x="251" y="883"/>
                      <a:pt x="303" y="883"/>
                    </a:cubicBezTo>
                    <a:cubicBezTo>
                      <a:pt x="355" y="883"/>
                      <a:pt x="403" y="905"/>
                      <a:pt x="437" y="945"/>
                    </a:cubicBezTo>
                    <a:cubicBezTo>
                      <a:pt x="444" y="954"/>
                      <a:pt x="458" y="955"/>
                      <a:pt x="468" y="948"/>
                    </a:cubicBezTo>
                    <a:cubicBezTo>
                      <a:pt x="477" y="940"/>
                      <a:pt x="478" y="926"/>
                      <a:pt x="470" y="917"/>
                    </a:cubicBezTo>
                    <a:cubicBezTo>
                      <a:pt x="429" y="867"/>
                      <a:pt x="368" y="839"/>
                      <a:pt x="303" y="839"/>
                    </a:cubicBezTo>
                    <a:cubicBezTo>
                      <a:pt x="238" y="839"/>
                      <a:pt x="177" y="867"/>
                      <a:pt x="135" y="917"/>
                    </a:cubicBezTo>
                    <a:cubicBezTo>
                      <a:pt x="128" y="926"/>
                      <a:pt x="129" y="940"/>
                      <a:pt x="138" y="948"/>
                    </a:cubicBezTo>
                    <a:cubicBezTo>
                      <a:pt x="142" y="951"/>
                      <a:pt x="147" y="953"/>
                      <a:pt x="152" y="953"/>
                    </a:cubicBezTo>
                    <a:cubicBezTo>
                      <a:pt x="159" y="953"/>
                      <a:pt x="165" y="950"/>
                      <a:pt x="169" y="945"/>
                    </a:cubicBezTo>
                    <a:close/>
                    <a:moveTo>
                      <a:pt x="936" y="948"/>
                    </a:moveTo>
                    <a:cubicBezTo>
                      <a:pt x="945" y="940"/>
                      <a:pt x="946" y="926"/>
                      <a:pt x="938" y="917"/>
                    </a:cubicBezTo>
                    <a:cubicBezTo>
                      <a:pt x="897" y="867"/>
                      <a:pt x="836" y="839"/>
                      <a:pt x="771" y="839"/>
                    </a:cubicBezTo>
                    <a:cubicBezTo>
                      <a:pt x="706" y="839"/>
                      <a:pt x="645" y="867"/>
                      <a:pt x="603" y="917"/>
                    </a:cubicBezTo>
                    <a:cubicBezTo>
                      <a:pt x="596" y="926"/>
                      <a:pt x="597" y="940"/>
                      <a:pt x="606" y="948"/>
                    </a:cubicBezTo>
                    <a:cubicBezTo>
                      <a:pt x="615" y="955"/>
                      <a:pt x="629" y="954"/>
                      <a:pt x="637" y="945"/>
                    </a:cubicBezTo>
                    <a:cubicBezTo>
                      <a:pt x="670" y="905"/>
                      <a:pt x="719" y="883"/>
                      <a:pt x="771" y="883"/>
                    </a:cubicBezTo>
                    <a:cubicBezTo>
                      <a:pt x="823" y="883"/>
                      <a:pt x="871" y="905"/>
                      <a:pt x="905" y="945"/>
                    </a:cubicBezTo>
                    <a:cubicBezTo>
                      <a:pt x="909" y="950"/>
                      <a:pt x="915" y="953"/>
                      <a:pt x="922" y="953"/>
                    </a:cubicBezTo>
                    <a:cubicBezTo>
                      <a:pt x="927" y="953"/>
                      <a:pt x="932" y="951"/>
                      <a:pt x="936" y="948"/>
                    </a:cubicBezTo>
                    <a:close/>
                    <a:moveTo>
                      <a:pt x="1105" y="945"/>
                    </a:moveTo>
                    <a:cubicBezTo>
                      <a:pt x="1139" y="905"/>
                      <a:pt x="1187" y="883"/>
                      <a:pt x="1239" y="883"/>
                    </a:cubicBezTo>
                    <a:cubicBezTo>
                      <a:pt x="1291" y="883"/>
                      <a:pt x="1340" y="905"/>
                      <a:pt x="1373" y="945"/>
                    </a:cubicBezTo>
                    <a:cubicBezTo>
                      <a:pt x="1381" y="954"/>
                      <a:pt x="1395" y="955"/>
                      <a:pt x="1404" y="948"/>
                    </a:cubicBezTo>
                    <a:cubicBezTo>
                      <a:pt x="1413" y="940"/>
                      <a:pt x="1414" y="926"/>
                      <a:pt x="1407" y="917"/>
                    </a:cubicBezTo>
                    <a:cubicBezTo>
                      <a:pt x="1365" y="867"/>
                      <a:pt x="1304" y="839"/>
                      <a:pt x="1239" y="839"/>
                    </a:cubicBezTo>
                    <a:cubicBezTo>
                      <a:pt x="1174" y="839"/>
                      <a:pt x="1113" y="867"/>
                      <a:pt x="1072" y="917"/>
                    </a:cubicBezTo>
                    <a:cubicBezTo>
                      <a:pt x="1064" y="926"/>
                      <a:pt x="1065" y="940"/>
                      <a:pt x="1074" y="948"/>
                    </a:cubicBezTo>
                    <a:cubicBezTo>
                      <a:pt x="1078" y="951"/>
                      <a:pt x="1083" y="953"/>
                      <a:pt x="1088" y="953"/>
                    </a:cubicBezTo>
                    <a:cubicBezTo>
                      <a:pt x="1095" y="953"/>
                      <a:pt x="1101" y="950"/>
                      <a:pt x="1105" y="945"/>
                    </a:cubicBezTo>
                    <a:close/>
                    <a:moveTo>
                      <a:pt x="1872" y="948"/>
                    </a:moveTo>
                    <a:cubicBezTo>
                      <a:pt x="1881" y="940"/>
                      <a:pt x="1882" y="926"/>
                      <a:pt x="1875" y="917"/>
                    </a:cubicBezTo>
                    <a:cubicBezTo>
                      <a:pt x="1833" y="867"/>
                      <a:pt x="1772" y="839"/>
                      <a:pt x="1707" y="839"/>
                    </a:cubicBezTo>
                    <a:cubicBezTo>
                      <a:pt x="1642" y="839"/>
                      <a:pt x="1581" y="867"/>
                      <a:pt x="1540" y="917"/>
                    </a:cubicBezTo>
                    <a:cubicBezTo>
                      <a:pt x="1532" y="926"/>
                      <a:pt x="1533" y="940"/>
                      <a:pt x="1542" y="948"/>
                    </a:cubicBezTo>
                    <a:cubicBezTo>
                      <a:pt x="1552" y="955"/>
                      <a:pt x="1566" y="954"/>
                      <a:pt x="1573" y="945"/>
                    </a:cubicBezTo>
                    <a:cubicBezTo>
                      <a:pt x="1607" y="905"/>
                      <a:pt x="1655" y="883"/>
                      <a:pt x="1707" y="883"/>
                    </a:cubicBezTo>
                    <a:cubicBezTo>
                      <a:pt x="1759" y="883"/>
                      <a:pt x="1808" y="905"/>
                      <a:pt x="1841" y="945"/>
                    </a:cubicBezTo>
                    <a:cubicBezTo>
                      <a:pt x="1845" y="950"/>
                      <a:pt x="1852" y="953"/>
                      <a:pt x="1858" y="953"/>
                    </a:cubicBezTo>
                    <a:cubicBezTo>
                      <a:pt x="1863" y="953"/>
                      <a:pt x="1868" y="951"/>
                      <a:pt x="1872" y="948"/>
                    </a:cubicBezTo>
                    <a:close/>
                    <a:moveTo>
                      <a:pt x="1701" y="1528"/>
                    </a:moveTo>
                    <a:cubicBezTo>
                      <a:pt x="1734" y="1489"/>
                      <a:pt x="1783" y="1466"/>
                      <a:pt x="1835" y="1466"/>
                    </a:cubicBezTo>
                    <a:cubicBezTo>
                      <a:pt x="1886" y="1466"/>
                      <a:pt x="1935" y="1489"/>
                      <a:pt x="1968" y="1528"/>
                    </a:cubicBezTo>
                    <a:cubicBezTo>
                      <a:pt x="1976" y="1538"/>
                      <a:pt x="1990" y="1539"/>
                      <a:pt x="1999" y="1531"/>
                    </a:cubicBezTo>
                    <a:cubicBezTo>
                      <a:pt x="2009" y="1523"/>
                      <a:pt x="2010" y="1509"/>
                      <a:pt x="2002" y="1500"/>
                    </a:cubicBezTo>
                    <a:cubicBezTo>
                      <a:pt x="1960" y="1451"/>
                      <a:pt x="1899" y="1422"/>
                      <a:pt x="1835" y="1422"/>
                    </a:cubicBezTo>
                    <a:cubicBezTo>
                      <a:pt x="1770" y="1422"/>
                      <a:pt x="1709" y="1451"/>
                      <a:pt x="1667" y="1500"/>
                    </a:cubicBezTo>
                    <a:cubicBezTo>
                      <a:pt x="1659" y="1509"/>
                      <a:pt x="1660" y="1523"/>
                      <a:pt x="1670" y="1531"/>
                    </a:cubicBezTo>
                    <a:cubicBezTo>
                      <a:pt x="1674" y="1535"/>
                      <a:pt x="1679" y="1536"/>
                      <a:pt x="1684" y="1536"/>
                    </a:cubicBezTo>
                    <a:cubicBezTo>
                      <a:pt x="1690" y="1536"/>
                      <a:pt x="1696" y="1534"/>
                      <a:pt x="1701" y="1528"/>
                    </a:cubicBezTo>
                    <a:close/>
                    <a:moveTo>
                      <a:pt x="340" y="1531"/>
                    </a:moveTo>
                    <a:cubicBezTo>
                      <a:pt x="350" y="1523"/>
                      <a:pt x="351" y="1509"/>
                      <a:pt x="343" y="1500"/>
                    </a:cubicBezTo>
                    <a:cubicBezTo>
                      <a:pt x="301" y="1451"/>
                      <a:pt x="240" y="1422"/>
                      <a:pt x="175" y="1422"/>
                    </a:cubicBezTo>
                    <a:cubicBezTo>
                      <a:pt x="111" y="1422"/>
                      <a:pt x="50" y="1451"/>
                      <a:pt x="8" y="1500"/>
                    </a:cubicBezTo>
                    <a:cubicBezTo>
                      <a:pt x="0" y="1509"/>
                      <a:pt x="1" y="1523"/>
                      <a:pt x="11" y="1531"/>
                    </a:cubicBezTo>
                    <a:cubicBezTo>
                      <a:pt x="20" y="1539"/>
                      <a:pt x="34" y="1538"/>
                      <a:pt x="42" y="1528"/>
                    </a:cubicBezTo>
                    <a:cubicBezTo>
                      <a:pt x="75" y="1489"/>
                      <a:pt x="124" y="1466"/>
                      <a:pt x="175" y="1466"/>
                    </a:cubicBezTo>
                    <a:cubicBezTo>
                      <a:pt x="227" y="1466"/>
                      <a:pt x="276" y="1489"/>
                      <a:pt x="309" y="1528"/>
                    </a:cubicBezTo>
                    <a:cubicBezTo>
                      <a:pt x="314" y="1534"/>
                      <a:pt x="320" y="1536"/>
                      <a:pt x="326" y="1536"/>
                    </a:cubicBezTo>
                    <a:cubicBezTo>
                      <a:pt x="331" y="1536"/>
                      <a:pt x="336" y="1535"/>
                      <a:pt x="340" y="1531"/>
                    </a:cubicBezTo>
                    <a:close/>
                    <a:moveTo>
                      <a:pt x="871" y="1528"/>
                    </a:moveTo>
                    <a:cubicBezTo>
                      <a:pt x="905" y="1489"/>
                      <a:pt x="953" y="1466"/>
                      <a:pt x="1005" y="1466"/>
                    </a:cubicBezTo>
                    <a:cubicBezTo>
                      <a:pt x="1057" y="1466"/>
                      <a:pt x="1105" y="1489"/>
                      <a:pt x="1139" y="1528"/>
                    </a:cubicBezTo>
                    <a:cubicBezTo>
                      <a:pt x="1147" y="1538"/>
                      <a:pt x="1160" y="1539"/>
                      <a:pt x="1170" y="1531"/>
                    </a:cubicBezTo>
                    <a:cubicBezTo>
                      <a:pt x="1179" y="1523"/>
                      <a:pt x="1180" y="1509"/>
                      <a:pt x="1172" y="1500"/>
                    </a:cubicBezTo>
                    <a:cubicBezTo>
                      <a:pt x="1131" y="1451"/>
                      <a:pt x="1070" y="1422"/>
                      <a:pt x="1005" y="1422"/>
                    </a:cubicBezTo>
                    <a:cubicBezTo>
                      <a:pt x="940" y="1422"/>
                      <a:pt x="879" y="1451"/>
                      <a:pt x="838" y="1500"/>
                    </a:cubicBezTo>
                    <a:cubicBezTo>
                      <a:pt x="830" y="1509"/>
                      <a:pt x="831" y="1523"/>
                      <a:pt x="840" y="1531"/>
                    </a:cubicBezTo>
                    <a:cubicBezTo>
                      <a:pt x="844" y="1535"/>
                      <a:pt x="849" y="1536"/>
                      <a:pt x="854" y="1536"/>
                    </a:cubicBezTo>
                    <a:cubicBezTo>
                      <a:pt x="861" y="1536"/>
                      <a:pt x="867" y="1534"/>
                      <a:pt x="871" y="1528"/>
                    </a:cubicBezTo>
                    <a:close/>
                    <a:moveTo>
                      <a:pt x="755" y="1531"/>
                    </a:moveTo>
                    <a:cubicBezTo>
                      <a:pt x="764" y="1523"/>
                      <a:pt x="766" y="1509"/>
                      <a:pt x="758" y="1500"/>
                    </a:cubicBezTo>
                    <a:cubicBezTo>
                      <a:pt x="716" y="1451"/>
                      <a:pt x="655" y="1422"/>
                      <a:pt x="590" y="1422"/>
                    </a:cubicBezTo>
                    <a:cubicBezTo>
                      <a:pt x="526" y="1422"/>
                      <a:pt x="464" y="1451"/>
                      <a:pt x="423" y="1500"/>
                    </a:cubicBezTo>
                    <a:cubicBezTo>
                      <a:pt x="415" y="1509"/>
                      <a:pt x="416" y="1523"/>
                      <a:pt x="425" y="1531"/>
                    </a:cubicBezTo>
                    <a:cubicBezTo>
                      <a:pt x="435" y="1539"/>
                      <a:pt x="449" y="1538"/>
                      <a:pt x="456" y="1528"/>
                    </a:cubicBezTo>
                    <a:cubicBezTo>
                      <a:pt x="490" y="1489"/>
                      <a:pt x="539" y="1466"/>
                      <a:pt x="590" y="1466"/>
                    </a:cubicBezTo>
                    <a:cubicBezTo>
                      <a:pt x="642" y="1466"/>
                      <a:pt x="691" y="1489"/>
                      <a:pt x="724" y="1528"/>
                    </a:cubicBezTo>
                    <a:cubicBezTo>
                      <a:pt x="728" y="1534"/>
                      <a:pt x="735" y="1536"/>
                      <a:pt x="741" y="1536"/>
                    </a:cubicBezTo>
                    <a:cubicBezTo>
                      <a:pt x="746" y="1536"/>
                      <a:pt x="751" y="1535"/>
                      <a:pt x="755" y="1531"/>
                    </a:cubicBezTo>
                    <a:close/>
                    <a:moveTo>
                      <a:pt x="1286" y="1528"/>
                    </a:moveTo>
                    <a:cubicBezTo>
                      <a:pt x="1319" y="1489"/>
                      <a:pt x="1368" y="1466"/>
                      <a:pt x="1420" y="1466"/>
                    </a:cubicBezTo>
                    <a:cubicBezTo>
                      <a:pt x="1471" y="1466"/>
                      <a:pt x="1520" y="1489"/>
                      <a:pt x="1554" y="1528"/>
                    </a:cubicBezTo>
                    <a:cubicBezTo>
                      <a:pt x="1561" y="1538"/>
                      <a:pt x="1575" y="1539"/>
                      <a:pt x="1585" y="1531"/>
                    </a:cubicBezTo>
                    <a:cubicBezTo>
                      <a:pt x="1594" y="1523"/>
                      <a:pt x="1595" y="1509"/>
                      <a:pt x="1587" y="1500"/>
                    </a:cubicBezTo>
                    <a:cubicBezTo>
                      <a:pt x="1546" y="1451"/>
                      <a:pt x="1484" y="1422"/>
                      <a:pt x="1420" y="1422"/>
                    </a:cubicBezTo>
                    <a:cubicBezTo>
                      <a:pt x="1355" y="1422"/>
                      <a:pt x="1294" y="1451"/>
                      <a:pt x="1252" y="1500"/>
                    </a:cubicBezTo>
                    <a:cubicBezTo>
                      <a:pt x="1244" y="1509"/>
                      <a:pt x="1246" y="1523"/>
                      <a:pt x="1255" y="1531"/>
                    </a:cubicBezTo>
                    <a:cubicBezTo>
                      <a:pt x="1259" y="1535"/>
                      <a:pt x="1264" y="1536"/>
                      <a:pt x="1269" y="1536"/>
                    </a:cubicBezTo>
                    <a:cubicBezTo>
                      <a:pt x="1275" y="1536"/>
                      <a:pt x="1282" y="1534"/>
                      <a:pt x="1286" y="1528"/>
                    </a:cubicBezTo>
                    <a:close/>
                    <a:moveTo>
                      <a:pt x="1999" y="1142"/>
                    </a:moveTo>
                    <a:cubicBezTo>
                      <a:pt x="2009" y="1134"/>
                      <a:pt x="2010" y="1120"/>
                      <a:pt x="2002" y="1111"/>
                    </a:cubicBezTo>
                    <a:cubicBezTo>
                      <a:pt x="1960" y="1062"/>
                      <a:pt x="1899" y="1033"/>
                      <a:pt x="1835" y="1033"/>
                    </a:cubicBezTo>
                    <a:cubicBezTo>
                      <a:pt x="1770" y="1033"/>
                      <a:pt x="1709" y="1062"/>
                      <a:pt x="1667" y="1111"/>
                    </a:cubicBezTo>
                    <a:cubicBezTo>
                      <a:pt x="1659" y="1120"/>
                      <a:pt x="1660" y="1134"/>
                      <a:pt x="1670" y="1142"/>
                    </a:cubicBezTo>
                    <a:cubicBezTo>
                      <a:pt x="1679" y="1150"/>
                      <a:pt x="1693" y="1149"/>
                      <a:pt x="1701" y="1139"/>
                    </a:cubicBezTo>
                    <a:cubicBezTo>
                      <a:pt x="1734" y="1100"/>
                      <a:pt x="1783" y="1077"/>
                      <a:pt x="1835" y="1077"/>
                    </a:cubicBezTo>
                    <a:cubicBezTo>
                      <a:pt x="1886" y="1077"/>
                      <a:pt x="1935" y="1100"/>
                      <a:pt x="1968" y="1139"/>
                    </a:cubicBezTo>
                    <a:cubicBezTo>
                      <a:pt x="1973" y="1145"/>
                      <a:pt x="1979" y="1147"/>
                      <a:pt x="1985" y="1147"/>
                    </a:cubicBezTo>
                    <a:cubicBezTo>
                      <a:pt x="1990" y="1147"/>
                      <a:pt x="1995" y="1146"/>
                      <a:pt x="1999" y="1142"/>
                    </a:cubicBezTo>
                    <a:close/>
                    <a:moveTo>
                      <a:pt x="340" y="1142"/>
                    </a:moveTo>
                    <a:cubicBezTo>
                      <a:pt x="350" y="1134"/>
                      <a:pt x="351" y="1120"/>
                      <a:pt x="343" y="1111"/>
                    </a:cubicBezTo>
                    <a:cubicBezTo>
                      <a:pt x="301" y="1062"/>
                      <a:pt x="240" y="1033"/>
                      <a:pt x="175" y="1033"/>
                    </a:cubicBezTo>
                    <a:cubicBezTo>
                      <a:pt x="111" y="1033"/>
                      <a:pt x="50" y="1062"/>
                      <a:pt x="8" y="1111"/>
                    </a:cubicBezTo>
                    <a:cubicBezTo>
                      <a:pt x="0" y="1120"/>
                      <a:pt x="1" y="1134"/>
                      <a:pt x="11" y="1142"/>
                    </a:cubicBezTo>
                    <a:cubicBezTo>
                      <a:pt x="20" y="1150"/>
                      <a:pt x="34" y="1149"/>
                      <a:pt x="42" y="1139"/>
                    </a:cubicBezTo>
                    <a:cubicBezTo>
                      <a:pt x="75" y="1100"/>
                      <a:pt x="124" y="1077"/>
                      <a:pt x="175" y="1077"/>
                    </a:cubicBezTo>
                    <a:cubicBezTo>
                      <a:pt x="227" y="1077"/>
                      <a:pt x="276" y="1100"/>
                      <a:pt x="309" y="1139"/>
                    </a:cubicBezTo>
                    <a:cubicBezTo>
                      <a:pt x="314" y="1145"/>
                      <a:pt x="320" y="1147"/>
                      <a:pt x="326" y="1147"/>
                    </a:cubicBezTo>
                    <a:cubicBezTo>
                      <a:pt x="331" y="1147"/>
                      <a:pt x="336" y="1146"/>
                      <a:pt x="340" y="1142"/>
                    </a:cubicBezTo>
                    <a:close/>
                    <a:moveTo>
                      <a:pt x="1170" y="1142"/>
                    </a:moveTo>
                    <a:cubicBezTo>
                      <a:pt x="1179" y="1134"/>
                      <a:pt x="1180" y="1120"/>
                      <a:pt x="1172" y="1111"/>
                    </a:cubicBezTo>
                    <a:cubicBezTo>
                      <a:pt x="1131" y="1062"/>
                      <a:pt x="1070" y="1033"/>
                      <a:pt x="1005" y="1033"/>
                    </a:cubicBezTo>
                    <a:cubicBezTo>
                      <a:pt x="940" y="1033"/>
                      <a:pt x="879" y="1062"/>
                      <a:pt x="838" y="1111"/>
                    </a:cubicBezTo>
                    <a:cubicBezTo>
                      <a:pt x="830" y="1120"/>
                      <a:pt x="831" y="1134"/>
                      <a:pt x="840" y="1142"/>
                    </a:cubicBezTo>
                    <a:cubicBezTo>
                      <a:pt x="850" y="1150"/>
                      <a:pt x="863" y="1149"/>
                      <a:pt x="871" y="1139"/>
                    </a:cubicBezTo>
                    <a:cubicBezTo>
                      <a:pt x="905" y="1100"/>
                      <a:pt x="953" y="1077"/>
                      <a:pt x="1005" y="1077"/>
                    </a:cubicBezTo>
                    <a:cubicBezTo>
                      <a:pt x="1057" y="1077"/>
                      <a:pt x="1105" y="1100"/>
                      <a:pt x="1139" y="1139"/>
                    </a:cubicBezTo>
                    <a:cubicBezTo>
                      <a:pt x="1143" y="1145"/>
                      <a:pt x="1149" y="1147"/>
                      <a:pt x="1156" y="1147"/>
                    </a:cubicBezTo>
                    <a:cubicBezTo>
                      <a:pt x="1161" y="1147"/>
                      <a:pt x="1166" y="1146"/>
                      <a:pt x="1170" y="1142"/>
                    </a:cubicBezTo>
                    <a:close/>
                    <a:moveTo>
                      <a:pt x="755" y="1142"/>
                    </a:moveTo>
                    <a:cubicBezTo>
                      <a:pt x="764" y="1134"/>
                      <a:pt x="766" y="1120"/>
                      <a:pt x="758" y="1111"/>
                    </a:cubicBezTo>
                    <a:cubicBezTo>
                      <a:pt x="716" y="1062"/>
                      <a:pt x="655" y="1033"/>
                      <a:pt x="590" y="1033"/>
                    </a:cubicBezTo>
                    <a:cubicBezTo>
                      <a:pt x="526" y="1033"/>
                      <a:pt x="464" y="1062"/>
                      <a:pt x="423" y="1111"/>
                    </a:cubicBezTo>
                    <a:cubicBezTo>
                      <a:pt x="415" y="1120"/>
                      <a:pt x="416" y="1134"/>
                      <a:pt x="425" y="1142"/>
                    </a:cubicBezTo>
                    <a:cubicBezTo>
                      <a:pt x="435" y="1150"/>
                      <a:pt x="449" y="1149"/>
                      <a:pt x="456" y="1139"/>
                    </a:cubicBezTo>
                    <a:cubicBezTo>
                      <a:pt x="490" y="1100"/>
                      <a:pt x="539" y="1077"/>
                      <a:pt x="590" y="1077"/>
                    </a:cubicBezTo>
                    <a:cubicBezTo>
                      <a:pt x="642" y="1077"/>
                      <a:pt x="691" y="1100"/>
                      <a:pt x="724" y="1139"/>
                    </a:cubicBezTo>
                    <a:cubicBezTo>
                      <a:pt x="728" y="1145"/>
                      <a:pt x="735" y="1147"/>
                      <a:pt x="741" y="1147"/>
                    </a:cubicBezTo>
                    <a:cubicBezTo>
                      <a:pt x="746" y="1147"/>
                      <a:pt x="751" y="1146"/>
                      <a:pt x="755" y="1142"/>
                    </a:cubicBezTo>
                    <a:close/>
                    <a:moveTo>
                      <a:pt x="1585" y="1142"/>
                    </a:moveTo>
                    <a:cubicBezTo>
                      <a:pt x="1594" y="1134"/>
                      <a:pt x="1595" y="1120"/>
                      <a:pt x="1587" y="1111"/>
                    </a:cubicBezTo>
                    <a:cubicBezTo>
                      <a:pt x="1546" y="1062"/>
                      <a:pt x="1485" y="1033"/>
                      <a:pt x="1420" y="1033"/>
                    </a:cubicBezTo>
                    <a:cubicBezTo>
                      <a:pt x="1355" y="1033"/>
                      <a:pt x="1294" y="1062"/>
                      <a:pt x="1252" y="1111"/>
                    </a:cubicBezTo>
                    <a:cubicBezTo>
                      <a:pt x="1244" y="1120"/>
                      <a:pt x="1246" y="1134"/>
                      <a:pt x="1255" y="1142"/>
                    </a:cubicBezTo>
                    <a:cubicBezTo>
                      <a:pt x="1264" y="1150"/>
                      <a:pt x="1278" y="1149"/>
                      <a:pt x="1286" y="1139"/>
                    </a:cubicBezTo>
                    <a:cubicBezTo>
                      <a:pt x="1319" y="1100"/>
                      <a:pt x="1368" y="1077"/>
                      <a:pt x="1420" y="1077"/>
                    </a:cubicBezTo>
                    <a:cubicBezTo>
                      <a:pt x="1471" y="1077"/>
                      <a:pt x="1520" y="1100"/>
                      <a:pt x="1554" y="1139"/>
                    </a:cubicBezTo>
                    <a:cubicBezTo>
                      <a:pt x="1558" y="1145"/>
                      <a:pt x="1564" y="1147"/>
                      <a:pt x="1570" y="1147"/>
                    </a:cubicBezTo>
                    <a:cubicBezTo>
                      <a:pt x="1575" y="1147"/>
                      <a:pt x="1580" y="1146"/>
                      <a:pt x="1585" y="1142"/>
                    </a:cubicBezTo>
                    <a:close/>
                    <a:moveTo>
                      <a:pt x="1500" y="596"/>
                    </a:moveTo>
                    <a:cubicBezTo>
                      <a:pt x="1500" y="22"/>
                      <a:pt x="1500" y="22"/>
                      <a:pt x="1500" y="22"/>
                    </a:cubicBezTo>
                    <a:cubicBezTo>
                      <a:pt x="1500" y="10"/>
                      <a:pt x="1490" y="0"/>
                      <a:pt x="1478" y="0"/>
                    </a:cubicBezTo>
                    <a:cubicBezTo>
                      <a:pt x="532" y="0"/>
                      <a:pt x="532" y="0"/>
                      <a:pt x="532" y="0"/>
                    </a:cubicBezTo>
                    <a:cubicBezTo>
                      <a:pt x="520" y="0"/>
                      <a:pt x="510" y="10"/>
                      <a:pt x="510" y="22"/>
                    </a:cubicBezTo>
                    <a:cubicBezTo>
                      <a:pt x="510" y="596"/>
                      <a:pt x="510" y="596"/>
                      <a:pt x="510" y="596"/>
                    </a:cubicBezTo>
                    <a:cubicBezTo>
                      <a:pt x="510" y="609"/>
                      <a:pt x="520" y="618"/>
                      <a:pt x="532" y="618"/>
                    </a:cubicBezTo>
                    <a:cubicBezTo>
                      <a:pt x="1478" y="618"/>
                      <a:pt x="1478" y="618"/>
                      <a:pt x="1478" y="618"/>
                    </a:cubicBezTo>
                    <a:cubicBezTo>
                      <a:pt x="1490" y="618"/>
                      <a:pt x="1500" y="609"/>
                      <a:pt x="1500" y="596"/>
                    </a:cubicBezTo>
                    <a:close/>
                    <a:moveTo>
                      <a:pt x="554" y="44"/>
                    </a:moveTo>
                    <a:cubicBezTo>
                      <a:pt x="1456" y="44"/>
                      <a:pt x="1456" y="44"/>
                      <a:pt x="1456" y="44"/>
                    </a:cubicBezTo>
                    <a:cubicBezTo>
                      <a:pt x="1456" y="574"/>
                      <a:pt x="1456" y="574"/>
                      <a:pt x="1456" y="574"/>
                    </a:cubicBezTo>
                    <a:cubicBezTo>
                      <a:pt x="554" y="574"/>
                      <a:pt x="554" y="574"/>
                      <a:pt x="554" y="574"/>
                    </a:cubicBezTo>
                    <a:lnTo>
                      <a:pt x="554" y="4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41">
                <a:extLst>
                  <a:ext uri="{FF2B5EF4-FFF2-40B4-BE49-F238E27FC236}">
                    <a16:creationId xmlns:a16="http://schemas.microsoft.com/office/drawing/2014/main" id="{6A5C6F8D-6A5A-48F1-9978-6843261B8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1107" y="2926080"/>
                <a:ext cx="588264" cy="320802"/>
              </a:xfrm>
              <a:custGeom>
                <a:avLst/>
                <a:gdLst>
                  <a:gd name="T0" fmla="*/ 814 w 824"/>
                  <a:gd name="T1" fmla="*/ 0 h 449"/>
                  <a:gd name="T2" fmla="*/ 10 w 824"/>
                  <a:gd name="T3" fmla="*/ 0 h 449"/>
                  <a:gd name="T4" fmla="*/ 0 w 824"/>
                  <a:gd name="T5" fmla="*/ 10 h 449"/>
                  <a:gd name="T6" fmla="*/ 0 w 824"/>
                  <a:gd name="T7" fmla="*/ 439 h 449"/>
                  <a:gd name="T8" fmla="*/ 10 w 824"/>
                  <a:gd name="T9" fmla="*/ 449 h 449"/>
                  <a:gd name="T10" fmla="*/ 814 w 824"/>
                  <a:gd name="T11" fmla="*/ 449 h 449"/>
                  <a:gd name="T12" fmla="*/ 824 w 824"/>
                  <a:gd name="T13" fmla="*/ 439 h 449"/>
                  <a:gd name="T14" fmla="*/ 824 w 824"/>
                  <a:gd name="T15" fmla="*/ 10 h 449"/>
                  <a:gd name="T16" fmla="*/ 814 w 824"/>
                  <a:gd name="T17" fmla="*/ 0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24" h="449">
                    <a:moveTo>
                      <a:pt x="814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439"/>
                      <a:pt x="0" y="439"/>
                      <a:pt x="0" y="439"/>
                    </a:cubicBezTo>
                    <a:cubicBezTo>
                      <a:pt x="0" y="444"/>
                      <a:pt x="4" y="449"/>
                      <a:pt x="10" y="449"/>
                    </a:cubicBezTo>
                    <a:cubicBezTo>
                      <a:pt x="814" y="449"/>
                      <a:pt x="814" y="449"/>
                      <a:pt x="814" y="449"/>
                    </a:cubicBezTo>
                    <a:cubicBezTo>
                      <a:pt x="820" y="449"/>
                      <a:pt x="824" y="444"/>
                      <a:pt x="824" y="439"/>
                    </a:cubicBezTo>
                    <a:cubicBezTo>
                      <a:pt x="824" y="10"/>
                      <a:pt x="824" y="10"/>
                      <a:pt x="824" y="10"/>
                    </a:cubicBezTo>
                    <a:cubicBezTo>
                      <a:pt x="824" y="4"/>
                      <a:pt x="820" y="0"/>
                      <a:pt x="814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91" name="Oval 190">
            <a:extLst>
              <a:ext uri="{FF2B5EF4-FFF2-40B4-BE49-F238E27FC236}">
                <a16:creationId xmlns:a16="http://schemas.microsoft.com/office/drawing/2014/main" id="{1396BB33-D18C-4A0B-915B-A8F30E864ADE}"/>
              </a:ext>
            </a:extLst>
          </p:cNvPr>
          <p:cNvSpPr/>
          <p:nvPr/>
        </p:nvSpPr>
        <p:spPr>
          <a:xfrm>
            <a:off x="10168989" y="1836752"/>
            <a:ext cx="967402" cy="967402"/>
          </a:xfrm>
          <a:prstGeom prst="ellipse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8A513B04-5E69-4115-8179-204A4E063CAB}"/>
              </a:ext>
            </a:extLst>
          </p:cNvPr>
          <p:cNvGrpSpPr>
            <a:grpSpLocks noChangeAspect="1"/>
          </p:cNvGrpSpPr>
          <p:nvPr/>
        </p:nvGrpSpPr>
        <p:grpSpPr>
          <a:xfrm>
            <a:off x="10378370" y="1836752"/>
            <a:ext cx="548131" cy="548640"/>
            <a:chOff x="5273803" y="2606040"/>
            <a:chExt cx="1644396" cy="1645920"/>
          </a:xfrm>
        </p:grpSpPr>
        <p:sp>
          <p:nvSpPr>
            <p:cNvPr id="234" name="AutoShape 18">
              <a:extLst>
                <a:ext uri="{FF2B5EF4-FFF2-40B4-BE49-F238E27FC236}">
                  <a16:creationId xmlns:a16="http://schemas.microsoft.com/office/drawing/2014/main" id="{CBA28CFA-031F-442A-A085-E1D5536601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803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37F12DC9-BFCD-4B65-8CDA-7469344F4277}"/>
                </a:ext>
              </a:extLst>
            </p:cNvPr>
            <p:cNvGrpSpPr/>
            <p:nvPr/>
          </p:nvGrpSpPr>
          <p:grpSpPr>
            <a:xfrm>
              <a:off x="5336668" y="2770251"/>
              <a:ext cx="1515999" cy="1311783"/>
              <a:chOff x="5336668" y="2770251"/>
              <a:chExt cx="1515999" cy="1311783"/>
            </a:xfrm>
          </p:grpSpPr>
          <p:sp>
            <p:nvSpPr>
              <p:cNvPr id="236" name="Freeform 20">
                <a:extLst>
                  <a:ext uri="{FF2B5EF4-FFF2-40B4-BE49-F238E27FC236}">
                    <a16:creationId xmlns:a16="http://schemas.microsoft.com/office/drawing/2014/main" id="{675F48FE-5A6A-4632-8B0B-EAEDB7C82C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36668" y="2770251"/>
                <a:ext cx="1515999" cy="1311783"/>
              </a:xfrm>
              <a:custGeom>
                <a:avLst/>
                <a:gdLst>
                  <a:gd name="T0" fmla="*/ 227 w 2124"/>
                  <a:gd name="T1" fmla="*/ 496 h 1836"/>
                  <a:gd name="T2" fmla="*/ 528 w 2124"/>
                  <a:gd name="T3" fmla="*/ 467 h 1836"/>
                  <a:gd name="T4" fmla="*/ 996 w 2124"/>
                  <a:gd name="T5" fmla="*/ 467 h 1836"/>
                  <a:gd name="T6" fmla="*/ 695 w 2124"/>
                  <a:gd name="T7" fmla="*/ 496 h 1836"/>
                  <a:gd name="T8" fmla="*/ 994 w 2124"/>
                  <a:gd name="T9" fmla="*/ 498 h 1836"/>
                  <a:gd name="T10" fmla="*/ 1130 w 2124"/>
                  <a:gd name="T11" fmla="*/ 467 h 1836"/>
                  <a:gd name="T12" fmla="*/ 1431 w 2124"/>
                  <a:gd name="T13" fmla="*/ 496 h 1836"/>
                  <a:gd name="T14" fmla="*/ 1933 w 2124"/>
                  <a:gd name="T15" fmla="*/ 467 h 1836"/>
                  <a:gd name="T16" fmla="*/ 1631 w 2124"/>
                  <a:gd name="T17" fmla="*/ 496 h 1836"/>
                  <a:gd name="T18" fmla="*/ 1930 w 2124"/>
                  <a:gd name="T19" fmla="*/ 498 h 1836"/>
                  <a:gd name="T20" fmla="*/ 427 w 2124"/>
                  <a:gd name="T21" fmla="*/ 273 h 1836"/>
                  <a:gd name="T22" fmla="*/ 729 w 2124"/>
                  <a:gd name="T23" fmla="*/ 301 h 1836"/>
                  <a:gd name="T24" fmla="*/ 1230 w 2124"/>
                  <a:gd name="T25" fmla="*/ 273 h 1836"/>
                  <a:gd name="T26" fmla="*/ 929 w 2124"/>
                  <a:gd name="T27" fmla="*/ 301 h 1836"/>
                  <a:gd name="T28" fmla="*/ 1228 w 2124"/>
                  <a:gd name="T29" fmla="*/ 304 h 1836"/>
                  <a:gd name="T30" fmla="*/ 1364 w 2124"/>
                  <a:gd name="T31" fmla="*/ 273 h 1836"/>
                  <a:gd name="T32" fmla="*/ 1665 w 2124"/>
                  <a:gd name="T33" fmla="*/ 301 h 1836"/>
                  <a:gd name="T34" fmla="*/ 996 w 2124"/>
                  <a:gd name="T35" fmla="*/ 78 h 1836"/>
                  <a:gd name="T36" fmla="*/ 695 w 2124"/>
                  <a:gd name="T37" fmla="*/ 107 h 1836"/>
                  <a:gd name="T38" fmla="*/ 994 w 2124"/>
                  <a:gd name="T39" fmla="*/ 109 h 1836"/>
                  <a:gd name="T40" fmla="*/ 1130 w 2124"/>
                  <a:gd name="T41" fmla="*/ 78 h 1836"/>
                  <a:gd name="T42" fmla="*/ 1431 w 2124"/>
                  <a:gd name="T43" fmla="*/ 107 h 1836"/>
                  <a:gd name="T44" fmla="*/ 1893 w 2124"/>
                  <a:gd name="T45" fmla="*/ 584 h 1836"/>
                  <a:gd name="T46" fmla="*/ 1893 w 2124"/>
                  <a:gd name="T47" fmla="*/ 628 h 1836"/>
                  <a:gd name="T48" fmla="*/ 2060 w 2124"/>
                  <a:gd name="T49" fmla="*/ 662 h 1836"/>
                  <a:gd name="T50" fmla="*/ 69 w 2124"/>
                  <a:gd name="T51" fmla="*/ 693 h 1836"/>
                  <a:gd name="T52" fmla="*/ 377 w 2124"/>
                  <a:gd name="T53" fmla="*/ 638 h 1836"/>
                  <a:gd name="T54" fmla="*/ 1533 w 2124"/>
                  <a:gd name="T55" fmla="*/ 1602 h 1836"/>
                  <a:gd name="T56" fmla="*/ 1155 w 2124"/>
                  <a:gd name="T57" fmla="*/ 1543 h 1836"/>
                  <a:gd name="T58" fmla="*/ 2102 w 2124"/>
                  <a:gd name="T59" fmla="*/ 1836 h 1836"/>
                  <a:gd name="T60" fmla="*/ 1191 w 2124"/>
                  <a:gd name="T61" fmla="*/ 1811 h 1836"/>
                  <a:gd name="T62" fmla="*/ 787 w 2124"/>
                  <a:gd name="T63" fmla="*/ 1449 h 1836"/>
                  <a:gd name="T64" fmla="*/ 404 w 2124"/>
                  <a:gd name="T65" fmla="*/ 1449 h 1836"/>
                  <a:gd name="T66" fmla="*/ 0 w 2124"/>
                  <a:gd name="T67" fmla="*/ 1814 h 1836"/>
                  <a:gd name="T68" fmla="*/ 1191 w 2124"/>
                  <a:gd name="T69" fmla="*/ 1811 h 1836"/>
                  <a:gd name="T70" fmla="*/ 896 w 2124"/>
                  <a:gd name="T71" fmla="*/ 662 h 1836"/>
                  <a:gd name="T72" fmla="*/ 1197 w 2124"/>
                  <a:gd name="T73" fmla="*/ 690 h 1836"/>
                  <a:gd name="T74" fmla="*/ 1356 w 2124"/>
                  <a:gd name="T75" fmla="*/ 1362 h 1836"/>
                  <a:gd name="T76" fmla="*/ 1407 w 2124"/>
                  <a:gd name="T77" fmla="*/ 1450 h 1836"/>
                  <a:gd name="T78" fmla="*/ 1649 w 2124"/>
                  <a:gd name="T79" fmla="*/ 1450 h 1836"/>
                  <a:gd name="T80" fmla="*/ 1701 w 2124"/>
                  <a:gd name="T81" fmla="*/ 1362 h 1836"/>
                  <a:gd name="T82" fmla="*/ 1796 w 2124"/>
                  <a:gd name="T83" fmla="*/ 1101 h 1836"/>
                  <a:gd name="T84" fmla="*/ 1528 w 2124"/>
                  <a:gd name="T85" fmla="*/ 1401 h 1836"/>
                  <a:gd name="T86" fmla="*/ 1261 w 2124"/>
                  <a:gd name="T87" fmla="*/ 1101 h 1836"/>
                  <a:gd name="T88" fmla="*/ 322 w 2124"/>
                  <a:gd name="T89" fmla="*/ 1157 h 1836"/>
                  <a:gd name="T90" fmla="*/ 440 w 2124"/>
                  <a:gd name="T91" fmla="*/ 1423 h 1836"/>
                  <a:gd name="T92" fmla="*/ 717 w 2124"/>
                  <a:gd name="T93" fmla="*/ 1399 h 1836"/>
                  <a:gd name="T94" fmla="*/ 761 w 2124"/>
                  <a:gd name="T95" fmla="*/ 1367 h 1836"/>
                  <a:gd name="T96" fmla="*/ 916 w 2124"/>
                  <a:gd name="T97" fmla="*/ 1076 h 1836"/>
                  <a:gd name="T98" fmla="*/ 738 w 2124"/>
                  <a:gd name="T99" fmla="*/ 1329 h 1836"/>
                  <a:gd name="T100" fmla="*/ 350 w 2124"/>
                  <a:gd name="T101" fmla="*/ 1122 h 1836"/>
                  <a:gd name="T102" fmla="*/ 322 w 2124"/>
                  <a:gd name="T103" fmla="*/ 1157 h 18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24" h="1836">
                    <a:moveTo>
                      <a:pt x="512" y="503"/>
                    </a:moveTo>
                    <a:cubicBezTo>
                      <a:pt x="505" y="503"/>
                      <a:pt x="499" y="501"/>
                      <a:pt x="495" y="496"/>
                    </a:cubicBezTo>
                    <a:cubicBezTo>
                      <a:pt x="461" y="456"/>
                      <a:pt x="413" y="433"/>
                      <a:pt x="361" y="433"/>
                    </a:cubicBezTo>
                    <a:cubicBezTo>
                      <a:pt x="309" y="433"/>
                      <a:pt x="260" y="456"/>
                      <a:pt x="227" y="496"/>
                    </a:cubicBezTo>
                    <a:cubicBezTo>
                      <a:pt x="219" y="505"/>
                      <a:pt x="205" y="506"/>
                      <a:pt x="196" y="498"/>
                    </a:cubicBezTo>
                    <a:cubicBezTo>
                      <a:pt x="187" y="491"/>
                      <a:pt x="186" y="477"/>
                      <a:pt x="193" y="467"/>
                    </a:cubicBezTo>
                    <a:cubicBezTo>
                      <a:pt x="235" y="418"/>
                      <a:pt x="296" y="389"/>
                      <a:pt x="361" y="389"/>
                    </a:cubicBezTo>
                    <a:cubicBezTo>
                      <a:pt x="426" y="389"/>
                      <a:pt x="487" y="418"/>
                      <a:pt x="528" y="467"/>
                    </a:cubicBezTo>
                    <a:cubicBezTo>
                      <a:pt x="536" y="477"/>
                      <a:pt x="535" y="491"/>
                      <a:pt x="526" y="498"/>
                    </a:cubicBezTo>
                    <a:cubicBezTo>
                      <a:pt x="522" y="502"/>
                      <a:pt x="516" y="503"/>
                      <a:pt x="512" y="503"/>
                    </a:cubicBezTo>
                    <a:close/>
                    <a:moveTo>
                      <a:pt x="994" y="498"/>
                    </a:moveTo>
                    <a:cubicBezTo>
                      <a:pt x="1003" y="491"/>
                      <a:pt x="1004" y="477"/>
                      <a:pt x="996" y="467"/>
                    </a:cubicBezTo>
                    <a:cubicBezTo>
                      <a:pt x="955" y="418"/>
                      <a:pt x="894" y="389"/>
                      <a:pt x="829" y="389"/>
                    </a:cubicBezTo>
                    <a:cubicBezTo>
                      <a:pt x="764" y="389"/>
                      <a:pt x="703" y="418"/>
                      <a:pt x="661" y="467"/>
                    </a:cubicBezTo>
                    <a:cubicBezTo>
                      <a:pt x="654" y="477"/>
                      <a:pt x="655" y="491"/>
                      <a:pt x="664" y="498"/>
                    </a:cubicBezTo>
                    <a:cubicBezTo>
                      <a:pt x="673" y="506"/>
                      <a:pt x="687" y="505"/>
                      <a:pt x="695" y="496"/>
                    </a:cubicBezTo>
                    <a:cubicBezTo>
                      <a:pt x="728" y="456"/>
                      <a:pt x="777" y="433"/>
                      <a:pt x="829" y="433"/>
                    </a:cubicBezTo>
                    <a:cubicBezTo>
                      <a:pt x="881" y="433"/>
                      <a:pt x="929" y="456"/>
                      <a:pt x="963" y="496"/>
                    </a:cubicBezTo>
                    <a:cubicBezTo>
                      <a:pt x="967" y="501"/>
                      <a:pt x="973" y="503"/>
                      <a:pt x="980" y="503"/>
                    </a:cubicBezTo>
                    <a:cubicBezTo>
                      <a:pt x="985" y="503"/>
                      <a:pt x="990" y="502"/>
                      <a:pt x="994" y="498"/>
                    </a:cubicBezTo>
                    <a:close/>
                    <a:moveTo>
                      <a:pt x="1462" y="498"/>
                    </a:moveTo>
                    <a:cubicBezTo>
                      <a:pt x="1471" y="491"/>
                      <a:pt x="1472" y="477"/>
                      <a:pt x="1465" y="467"/>
                    </a:cubicBezTo>
                    <a:cubicBezTo>
                      <a:pt x="1423" y="418"/>
                      <a:pt x="1362" y="389"/>
                      <a:pt x="1297" y="389"/>
                    </a:cubicBezTo>
                    <a:cubicBezTo>
                      <a:pt x="1232" y="389"/>
                      <a:pt x="1171" y="418"/>
                      <a:pt x="1130" y="467"/>
                    </a:cubicBezTo>
                    <a:cubicBezTo>
                      <a:pt x="1122" y="477"/>
                      <a:pt x="1123" y="491"/>
                      <a:pt x="1132" y="498"/>
                    </a:cubicBezTo>
                    <a:cubicBezTo>
                      <a:pt x="1142" y="506"/>
                      <a:pt x="1155" y="505"/>
                      <a:pt x="1163" y="496"/>
                    </a:cubicBezTo>
                    <a:cubicBezTo>
                      <a:pt x="1197" y="456"/>
                      <a:pt x="1245" y="433"/>
                      <a:pt x="1297" y="433"/>
                    </a:cubicBezTo>
                    <a:cubicBezTo>
                      <a:pt x="1349" y="433"/>
                      <a:pt x="1398" y="456"/>
                      <a:pt x="1431" y="496"/>
                    </a:cubicBezTo>
                    <a:cubicBezTo>
                      <a:pt x="1435" y="501"/>
                      <a:pt x="1441" y="503"/>
                      <a:pt x="1448" y="503"/>
                    </a:cubicBezTo>
                    <a:cubicBezTo>
                      <a:pt x="1453" y="503"/>
                      <a:pt x="1458" y="502"/>
                      <a:pt x="1462" y="498"/>
                    </a:cubicBezTo>
                    <a:close/>
                    <a:moveTo>
                      <a:pt x="1930" y="498"/>
                    </a:moveTo>
                    <a:cubicBezTo>
                      <a:pt x="1939" y="491"/>
                      <a:pt x="1940" y="477"/>
                      <a:pt x="1933" y="467"/>
                    </a:cubicBezTo>
                    <a:cubicBezTo>
                      <a:pt x="1891" y="418"/>
                      <a:pt x="1830" y="389"/>
                      <a:pt x="1765" y="389"/>
                    </a:cubicBezTo>
                    <a:cubicBezTo>
                      <a:pt x="1700" y="389"/>
                      <a:pt x="1639" y="418"/>
                      <a:pt x="1598" y="467"/>
                    </a:cubicBezTo>
                    <a:cubicBezTo>
                      <a:pt x="1590" y="477"/>
                      <a:pt x="1591" y="491"/>
                      <a:pt x="1600" y="498"/>
                    </a:cubicBezTo>
                    <a:cubicBezTo>
                      <a:pt x="1610" y="506"/>
                      <a:pt x="1624" y="505"/>
                      <a:pt x="1631" y="496"/>
                    </a:cubicBezTo>
                    <a:cubicBezTo>
                      <a:pt x="1665" y="456"/>
                      <a:pt x="1713" y="433"/>
                      <a:pt x="1765" y="433"/>
                    </a:cubicBezTo>
                    <a:cubicBezTo>
                      <a:pt x="1817" y="433"/>
                      <a:pt x="1866" y="456"/>
                      <a:pt x="1899" y="496"/>
                    </a:cubicBezTo>
                    <a:cubicBezTo>
                      <a:pt x="1903" y="501"/>
                      <a:pt x="1910" y="503"/>
                      <a:pt x="1916" y="503"/>
                    </a:cubicBezTo>
                    <a:cubicBezTo>
                      <a:pt x="1921" y="503"/>
                      <a:pt x="1926" y="502"/>
                      <a:pt x="1930" y="498"/>
                    </a:cubicBezTo>
                    <a:close/>
                    <a:moveTo>
                      <a:pt x="760" y="304"/>
                    </a:moveTo>
                    <a:cubicBezTo>
                      <a:pt x="769" y="296"/>
                      <a:pt x="770" y="282"/>
                      <a:pt x="762" y="273"/>
                    </a:cubicBezTo>
                    <a:cubicBezTo>
                      <a:pt x="721" y="223"/>
                      <a:pt x="660" y="195"/>
                      <a:pt x="595" y="195"/>
                    </a:cubicBezTo>
                    <a:cubicBezTo>
                      <a:pt x="530" y="195"/>
                      <a:pt x="469" y="223"/>
                      <a:pt x="427" y="273"/>
                    </a:cubicBezTo>
                    <a:cubicBezTo>
                      <a:pt x="420" y="282"/>
                      <a:pt x="421" y="296"/>
                      <a:pt x="430" y="304"/>
                    </a:cubicBezTo>
                    <a:cubicBezTo>
                      <a:pt x="439" y="312"/>
                      <a:pt x="453" y="310"/>
                      <a:pt x="461" y="301"/>
                    </a:cubicBezTo>
                    <a:cubicBezTo>
                      <a:pt x="494" y="262"/>
                      <a:pt x="543" y="239"/>
                      <a:pt x="595" y="239"/>
                    </a:cubicBezTo>
                    <a:cubicBezTo>
                      <a:pt x="647" y="239"/>
                      <a:pt x="695" y="262"/>
                      <a:pt x="729" y="301"/>
                    </a:cubicBezTo>
                    <a:cubicBezTo>
                      <a:pt x="733" y="306"/>
                      <a:pt x="739" y="309"/>
                      <a:pt x="746" y="309"/>
                    </a:cubicBezTo>
                    <a:cubicBezTo>
                      <a:pt x="751" y="309"/>
                      <a:pt x="756" y="307"/>
                      <a:pt x="760" y="304"/>
                    </a:cubicBezTo>
                    <a:close/>
                    <a:moveTo>
                      <a:pt x="1228" y="304"/>
                    </a:moveTo>
                    <a:cubicBezTo>
                      <a:pt x="1237" y="296"/>
                      <a:pt x="1238" y="282"/>
                      <a:pt x="1230" y="273"/>
                    </a:cubicBezTo>
                    <a:cubicBezTo>
                      <a:pt x="1189" y="223"/>
                      <a:pt x="1128" y="195"/>
                      <a:pt x="1063" y="195"/>
                    </a:cubicBezTo>
                    <a:cubicBezTo>
                      <a:pt x="998" y="195"/>
                      <a:pt x="937" y="223"/>
                      <a:pt x="896" y="273"/>
                    </a:cubicBezTo>
                    <a:cubicBezTo>
                      <a:pt x="888" y="282"/>
                      <a:pt x="889" y="296"/>
                      <a:pt x="898" y="304"/>
                    </a:cubicBezTo>
                    <a:cubicBezTo>
                      <a:pt x="908" y="312"/>
                      <a:pt x="921" y="310"/>
                      <a:pt x="929" y="301"/>
                    </a:cubicBezTo>
                    <a:cubicBezTo>
                      <a:pt x="963" y="262"/>
                      <a:pt x="1011" y="239"/>
                      <a:pt x="1063" y="239"/>
                    </a:cubicBezTo>
                    <a:cubicBezTo>
                      <a:pt x="1115" y="239"/>
                      <a:pt x="1163" y="262"/>
                      <a:pt x="1197" y="301"/>
                    </a:cubicBezTo>
                    <a:cubicBezTo>
                      <a:pt x="1201" y="306"/>
                      <a:pt x="1207" y="309"/>
                      <a:pt x="1214" y="309"/>
                    </a:cubicBezTo>
                    <a:cubicBezTo>
                      <a:pt x="1219" y="309"/>
                      <a:pt x="1224" y="307"/>
                      <a:pt x="1228" y="304"/>
                    </a:cubicBezTo>
                    <a:close/>
                    <a:moveTo>
                      <a:pt x="1696" y="304"/>
                    </a:moveTo>
                    <a:cubicBezTo>
                      <a:pt x="1705" y="296"/>
                      <a:pt x="1706" y="282"/>
                      <a:pt x="1699" y="273"/>
                    </a:cubicBezTo>
                    <a:cubicBezTo>
                      <a:pt x="1657" y="223"/>
                      <a:pt x="1596" y="195"/>
                      <a:pt x="1531" y="195"/>
                    </a:cubicBezTo>
                    <a:cubicBezTo>
                      <a:pt x="1466" y="195"/>
                      <a:pt x="1405" y="223"/>
                      <a:pt x="1364" y="273"/>
                    </a:cubicBezTo>
                    <a:cubicBezTo>
                      <a:pt x="1356" y="282"/>
                      <a:pt x="1357" y="296"/>
                      <a:pt x="1366" y="304"/>
                    </a:cubicBezTo>
                    <a:cubicBezTo>
                      <a:pt x="1376" y="312"/>
                      <a:pt x="1389" y="310"/>
                      <a:pt x="1397" y="301"/>
                    </a:cubicBezTo>
                    <a:cubicBezTo>
                      <a:pt x="1431" y="262"/>
                      <a:pt x="1479" y="239"/>
                      <a:pt x="1531" y="239"/>
                    </a:cubicBezTo>
                    <a:cubicBezTo>
                      <a:pt x="1583" y="239"/>
                      <a:pt x="1632" y="262"/>
                      <a:pt x="1665" y="301"/>
                    </a:cubicBezTo>
                    <a:cubicBezTo>
                      <a:pt x="1669" y="306"/>
                      <a:pt x="1675" y="309"/>
                      <a:pt x="1682" y="309"/>
                    </a:cubicBezTo>
                    <a:cubicBezTo>
                      <a:pt x="1687" y="309"/>
                      <a:pt x="1692" y="307"/>
                      <a:pt x="1696" y="304"/>
                    </a:cubicBezTo>
                    <a:close/>
                    <a:moveTo>
                      <a:pt x="994" y="109"/>
                    </a:moveTo>
                    <a:cubicBezTo>
                      <a:pt x="1003" y="101"/>
                      <a:pt x="1004" y="88"/>
                      <a:pt x="996" y="78"/>
                    </a:cubicBezTo>
                    <a:cubicBezTo>
                      <a:pt x="955" y="29"/>
                      <a:pt x="894" y="0"/>
                      <a:pt x="829" y="0"/>
                    </a:cubicBezTo>
                    <a:cubicBezTo>
                      <a:pt x="764" y="0"/>
                      <a:pt x="703" y="29"/>
                      <a:pt x="661" y="78"/>
                    </a:cubicBezTo>
                    <a:cubicBezTo>
                      <a:pt x="654" y="88"/>
                      <a:pt x="655" y="101"/>
                      <a:pt x="664" y="109"/>
                    </a:cubicBezTo>
                    <a:cubicBezTo>
                      <a:pt x="673" y="117"/>
                      <a:pt x="687" y="116"/>
                      <a:pt x="695" y="107"/>
                    </a:cubicBezTo>
                    <a:cubicBezTo>
                      <a:pt x="728" y="67"/>
                      <a:pt x="777" y="44"/>
                      <a:pt x="829" y="44"/>
                    </a:cubicBezTo>
                    <a:cubicBezTo>
                      <a:pt x="881" y="44"/>
                      <a:pt x="929" y="67"/>
                      <a:pt x="963" y="107"/>
                    </a:cubicBezTo>
                    <a:cubicBezTo>
                      <a:pt x="967" y="112"/>
                      <a:pt x="973" y="114"/>
                      <a:pt x="980" y="114"/>
                    </a:cubicBezTo>
                    <a:cubicBezTo>
                      <a:pt x="985" y="114"/>
                      <a:pt x="990" y="113"/>
                      <a:pt x="994" y="109"/>
                    </a:cubicBezTo>
                    <a:close/>
                    <a:moveTo>
                      <a:pt x="1462" y="109"/>
                    </a:moveTo>
                    <a:cubicBezTo>
                      <a:pt x="1471" y="101"/>
                      <a:pt x="1472" y="88"/>
                      <a:pt x="1465" y="78"/>
                    </a:cubicBezTo>
                    <a:cubicBezTo>
                      <a:pt x="1423" y="29"/>
                      <a:pt x="1362" y="0"/>
                      <a:pt x="1297" y="0"/>
                    </a:cubicBezTo>
                    <a:cubicBezTo>
                      <a:pt x="1232" y="0"/>
                      <a:pt x="1171" y="29"/>
                      <a:pt x="1130" y="78"/>
                    </a:cubicBezTo>
                    <a:cubicBezTo>
                      <a:pt x="1122" y="88"/>
                      <a:pt x="1123" y="101"/>
                      <a:pt x="1132" y="109"/>
                    </a:cubicBezTo>
                    <a:cubicBezTo>
                      <a:pt x="1142" y="117"/>
                      <a:pt x="1155" y="116"/>
                      <a:pt x="1163" y="107"/>
                    </a:cubicBezTo>
                    <a:cubicBezTo>
                      <a:pt x="1197" y="67"/>
                      <a:pt x="1245" y="44"/>
                      <a:pt x="1297" y="44"/>
                    </a:cubicBezTo>
                    <a:cubicBezTo>
                      <a:pt x="1349" y="44"/>
                      <a:pt x="1398" y="67"/>
                      <a:pt x="1431" y="107"/>
                    </a:cubicBezTo>
                    <a:cubicBezTo>
                      <a:pt x="1435" y="112"/>
                      <a:pt x="1441" y="114"/>
                      <a:pt x="1448" y="114"/>
                    </a:cubicBezTo>
                    <a:cubicBezTo>
                      <a:pt x="1453" y="114"/>
                      <a:pt x="1458" y="113"/>
                      <a:pt x="1462" y="109"/>
                    </a:cubicBezTo>
                    <a:close/>
                    <a:moveTo>
                      <a:pt x="2060" y="662"/>
                    </a:moveTo>
                    <a:cubicBezTo>
                      <a:pt x="2018" y="612"/>
                      <a:pt x="1957" y="584"/>
                      <a:pt x="1893" y="584"/>
                    </a:cubicBezTo>
                    <a:cubicBezTo>
                      <a:pt x="1839" y="584"/>
                      <a:pt x="1788" y="603"/>
                      <a:pt x="1749" y="638"/>
                    </a:cubicBezTo>
                    <a:cubicBezTo>
                      <a:pt x="1760" y="647"/>
                      <a:pt x="1771" y="657"/>
                      <a:pt x="1781" y="667"/>
                    </a:cubicBezTo>
                    <a:cubicBezTo>
                      <a:pt x="1781" y="667"/>
                      <a:pt x="1781" y="668"/>
                      <a:pt x="1781" y="668"/>
                    </a:cubicBezTo>
                    <a:cubicBezTo>
                      <a:pt x="1813" y="642"/>
                      <a:pt x="1852" y="628"/>
                      <a:pt x="1893" y="628"/>
                    </a:cubicBezTo>
                    <a:cubicBezTo>
                      <a:pt x="1944" y="628"/>
                      <a:pt x="1993" y="651"/>
                      <a:pt x="2026" y="690"/>
                    </a:cubicBezTo>
                    <a:cubicBezTo>
                      <a:pt x="2031" y="695"/>
                      <a:pt x="2037" y="698"/>
                      <a:pt x="2043" y="698"/>
                    </a:cubicBezTo>
                    <a:cubicBezTo>
                      <a:pt x="2048" y="698"/>
                      <a:pt x="2053" y="696"/>
                      <a:pt x="2057" y="693"/>
                    </a:cubicBezTo>
                    <a:cubicBezTo>
                      <a:pt x="2067" y="685"/>
                      <a:pt x="2068" y="671"/>
                      <a:pt x="2060" y="662"/>
                    </a:cubicBezTo>
                    <a:close/>
                    <a:moveTo>
                      <a:pt x="377" y="638"/>
                    </a:moveTo>
                    <a:cubicBezTo>
                      <a:pt x="338" y="603"/>
                      <a:pt x="287" y="584"/>
                      <a:pt x="233" y="584"/>
                    </a:cubicBezTo>
                    <a:cubicBezTo>
                      <a:pt x="169" y="584"/>
                      <a:pt x="108" y="612"/>
                      <a:pt x="66" y="662"/>
                    </a:cubicBezTo>
                    <a:cubicBezTo>
                      <a:pt x="58" y="671"/>
                      <a:pt x="59" y="685"/>
                      <a:pt x="69" y="693"/>
                    </a:cubicBezTo>
                    <a:cubicBezTo>
                      <a:pt x="78" y="701"/>
                      <a:pt x="92" y="699"/>
                      <a:pt x="100" y="690"/>
                    </a:cubicBezTo>
                    <a:cubicBezTo>
                      <a:pt x="133" y="651"/>
                      <a:pt x="182" y="628"/>
                      <a:pt x="233" y="628"/>
                    </a:cubicBezTo>
                    <a:cubicBezTo>
                      <a:pt x="274" y="628"/>
                      <a:pt x="313" y="642"/>
                      <a:pt x="344" y="667"/>
                    </a:cubicBezTo>
                    <a:cubicBezTo>
                      <a:pt x="355" y="657"/>
                      <a:pt x="366" y="647"/>
                      <a:pt x="377" y="638"/>
                    </a:cubicBezTo>
                    <a:close/>
                    <a:moveTo>
                      <a:pt x="2052" y="1567"/>
                    </a:moveTo>
                    <a:cubicBezTo>
                      <a:pt x="2030" y="1534"/>
                      <a:pt x="2004" y="1506"/>
                      <a:pt x="1974" y="1492"/>
                    </a:cubicBezTo>
                    <a:cubicBezTo>
                      <a:pt x="1885" y="1451"/>
                      <a:pt x="1720" y="1449"/>
                      <a:pt x="1720" y="1449"/>
                    </a:cubicBezTo>
                    <a:cubicBezTo>
                      <a:pt x="1720" y="1449"/>
                      <a:pt x="1614" y="1537"/>
                      <a:pt x="1533" y="1602"/>
                    </a:cubicBezTo>
                    <a:cubicBezTo>
                      <a:pt x="1530" y="1604"/>
                      <a:pt x="1527" y="1604"/>
                      <a:pt x="1524" y="1602"/>
                    </a:cubicBezTo>
                    <a:cubicBezTo>
                      <a:pt x="1464" y="1555"/>
                      <a:pt x="1337" y="1449"/>
                      <a:pt x="1337" y="1449"/>
                    </a:cubicBezTo>
                    <a:cubicBezTo>
                      <a:pt x="1337" y="1449"/>
                      <a:pt x="1197" y="1451"/>
                      <a:pt x="1105" y="1483"/>
                    </a:cubicBezTo>
                    <a:cubicBezTo>
                      <a:pt x="1123" y="1499"/>
                      <a:pt x="1139" y="1519"/>
                      <a:pt x="1155" y="1543"/>
                    </a:cubicBezTo>
                    <a:cubicBezTo>
                      <a:pt x="1208" y="1621"/>
                      <a:pt x="1235" y="1714"/>
                      <a:pt x="1235" y="1811"/>
                    </a:cubicBezTo>
                    <a:cubicBezTo>
                      <a:pt x="1235" y="1814"/>
                      <a:pt x="1235" y="1814"/>
                      <a:pt x="1235" y="1814"/>
                    </a:cubicBezTo>
                    <a:cubicBezTo>
                      <a:pt x="1235" y="1821"/>
                      <a:pt x="1234" y="1829"/>
                      <a:pt x="1231" y="1836"/>
                    </a:cubicBezTo>
                    <a:cubicBezTo>
                      <a:pt x="2102" y="1836"/>
                      <a:pt x="2102" y="1836"/>
                      <a:pt x="2102" y="1836"/>
                    </a:cubicBezTo>
                    <a:cubicBezTo>
                      <a:pt x="2114" y="1836"/>
                      <a:pt x="2124" y="1826"/>
                      <a:pt x="2124" y="1814"/>
                    </a:cubicBezTo>
                    <a:cubicBezTo>
                      <a:pt x="2124" y="1811"/>
                      <a:pt x="2124" y="1811"/>
                      <a:pt x="2124" y="1811"/>
                    </a:cubicBezTo>
                    <a:cubicBezTo>
                      <a:pt x="2124" y="1724"/>
                      <a:pt x="2100" y="1639"/>
                      <a:pt x="2052" y="1567"/>
                    </a:cubicBezTo>
                    <a:close/>
                    <a:moveTo>
                      <a:pt x="1191" y="1811"/>
                    </a:moveTo>
                    <a:cubicBezTo>
                      <a:pt x="1191" y="1724"/>
                      <a:pt x="1167" y="1639"/>
                      <a:pt x="1119" y="1567"/>
                    </a:cubicBezTo>
                    <a:cubicBezTo>
                      <a:pt x="1097" y="1534"/>
                      <a:pt x="1071" y="1506"/>
                      <a:pt x="1042" y="1492"/>
                    </a:cubicBezTo>
                    <a:cubicBezTo>
                      <a:pt x="952" y="1451"/>
                      <a:pt x="787" y="1449"/>
                      <a:pt x="787" y="1449"/>
                    </a:cubicBezTo>
                    <a:cubicBezTo>
                      <a:pt x="787" y="1449"/>
                      <a:pt x="787" y="1449"/>
                      <a:pt x="787" y="1449"/>
                    </a:cubicBezTo>
                    <a:cubicBezTo>
                      <a:pt x="787" y="1449"/>
                      <a:pt x="722" y="1541"/>
                      <a:pt x="592" y="1541"/>
                    </a:cubicBezTo>
                    <a:cubicBezTo>
                      <a:pt x="599" y="1541"/>
                      <a:pt x="599" y="1541"/>
                      <a:pt x="599" y="1541"/>
                    </a:cubicBezTo>
                    <a:cubicBezTo>
                      <a:pt x="469" y="1541"/>
                      <a:pt x="404" y="1449"/>
                      <a:pt x="404" y="1449"/>
                    </a:cubicBezTo>
                    <a:cubicBezTo>
                      <a:pt x="404" y="1449"/>
                      <a:pt x="404" y="1449"/>
                      <a:pt x="404" y="1449"/>
                    </a:cubicBezTo>
                    <a:cubicBezTo>
                      <a:pt x="404" y="1449"/>
                      <a:pt x="239" y="1451"/>
                      <a:pt x="150" y="1492"/>
                    </a:cubicBezTo>
                    <a:cubicBezTo>
                      <a:pt x="120" y="1506"/>
                      <a:pt x="94" y="1534"/>
                      <a:pt x="72" y="1567"/>
                    </a:cubicBezTo>
                    <a:cubicBezTo>
                      <a:pt x="24" y="1639"/>
                      <a:pt x="0" y="1724"/>
                      <a:pt x="0" y="1811"/>
                    </a:cubicBezTo>
                    <a:cubicBezTo>
                      <a:pt x="0" y="1814"/>
                      <a:pt x="0" y="1814"/>
                      <a:pt x="0" y="1814"/>
                    </a:cubicBezTo>
                    <a:cubicBezTo>
                      <a:pt x="0" y="1826"/>
                      <a:pt x="10" y="1836"/>
                      <a:pt x="22" y="1836"/>
                    </a:cubicBezTo>
                    <a:cubicBezTo>
                      <a:pt x="1169" y="1836"/>
                      <a:pt x="1169" y="1836"/>
                      <a:pt x="1169" y="1836"/>
                    </a:cubicBezTo>
                    <a:cubicBezTo>
                      <a:pt x="1181" y="1836"/>
                      <a:pt x="1191" y="1826"/>
                      <a:pt x="1191" y="1814"/>
                    </a:cubicBezTo>
                    <a:lnTo>
                      <a:pt x="1191" y="1811"/>
                    </a:lnTo>
                    <a:close/>
                    <a:moveTo>
                      <a:pt x="1228" y="693"/>
                    </a:moveTo>
                    <a:cubicBezTo>
                      <a:pt x="1237" y="685"/>
                      <a:pt x="1238" y="671"/>
                      <a:pt x="1230" y="662"/>
                    </a:cubicBezTo>
                    <a:cubicBezTo>
                      <a:pt x="1189" y="612"/>
                      <a:pt x="1128" y="584"/>
                      <a:pt x="1063" y="584"/>
                    </a:cubicBezTo>
                    <a:cubicBezTo>
                      <a:pt x="998" y="584"/>
                      <a:pt x="937" y="612"/>
                      <a:pt x="896" y="662"/>
                    </a:cubicBezTo>
                    <a:cubicBezTo>
                      <a:pt x="888" y="671"/>
                      <a:pt x="889" y="685"/>
                      <a:pt x="898" y="693"/>
                    </a:cubicBezTo>
                    <a:cubicBezTo>
                      <a:pt x="908" y="701"/>
                      <a:pt x="921" y="699"/>
                      <a:pt x="929" y="690"/>
                    </a:cubicBezTo>
                    <a:cubicBezTo>
                      <a:pt x="963" y="651"/>
                      <a:pt x="1011" y="628"/>
                      <a:pt x="1063" y="628"/>
                    </a:cubicBezTo>
                    <a:cubicBezTo>
                      <a:pt x="1115" y="628"/>
                      <a:pt x="1163" y="651"/>
                      <a:pt x="1197" y="690"/>
                    </a:cubicBezTo>
                    <a:cubicBezTo>
                      <a:pt x="1201" y="695"/>
                      <a:pt x="1207" y="698"/>
                      <a:pt x="1214" y="698"/>
                    </a:cubicBezTo>
                    <a:cubicBezTo>
                      <a:pt x="1219" y="698"/>
                      <a:pt x="1224" y="696"/>
                      <a:pt x="1228" y="693"/>
                    </a:cubicBezTo>
                    <a:close/>
                    <a:moveTo>
                      <a:pt x="1255" y="1157"/>
                    </a:moveTo>
                    <a:cubicBezTo>
                      <a:pt x="1275" y="1207"/>
                      <a:pt x="1328" y="1336"/>
                      <a:pt x="1356" y="1362"/>
                    </a:cubicBezTo>
                    <a:cubicBezTo>
                      <a:pt x="1358" y="1363"/>
                      <a:pt x="1361" y="1365"/>
                      <a:pt x="1363" y="1367"/>
                    </a:cubicBezTo>
                    <a:cubicBezTo>
                      <a:pt x="1363" y="1414"/>
                      <a:pt x="1363" y="1414"/>
                      <a:pt x="1363" y="1414"/>
                    </a:cubicBezTo>
                    <a:cubicBezTo>
                      <a:pt x="1365" y="1415"/>
                      <a:pt x="1365" y="1415"/>
                      <a:pt x="1365" y="1415"/>
                    </a:cubicBezTo>
                    <a:cubicBezTo>
                      <a:pt x="1365" y="1416"/>
                      <a:pt x="1383" y="1430"/>
                      <a:pt x="1407" y="1450"/>
                    </a:cubicBezTo>
                    <a:cubicBezTo>
                      <a:pt x="1407" y="1399"/>
                      <a:pt x="1407" y="1399"/>
                      <a:pt x="1407" y="1399"/>
                    </a:cubicBezTo>
                    <a:cubicBezTo>
                      <a:pt x="1444" y="1422"/>
                      <a:pt x="1492" y="1445"/>
                      <a:pt x="1528" y="1445"/>
                    </a:cubicBezTo>
                    <a:cubicBezTo>
                      <a:pt x="1565" y="1445"/>
                      <a:pt x="1613" y="1422"/>
                      <a:pt x="1649" y="1399"/>
                    </a:cubicBezTo>
                    <a:cubicBezTo>
                      <a:pt x="1649" y="1450"/>
                      <a:pt x="1649" y="1450"/>
                      <a:pt x="1649" y="1450"/>
                    </a:cubicBezTo>
                    <a:cubicBezTo>
                      <a:pt x="1675" y="1430"/>
                      <a:pt x="1692" y="1415"/>
                      <a:pt x="1692" y="1415"/>
                    </a:cubicBezTo>
                    <a:cubicBezTo>
                      <a:pt x="1693" y="1414"/>
                      <a:pt x="1693" y="1414"/>
                      <a:pt x="1693" y="1414"/>
                    </a:cubicBezTo>
                    <a:cubicBezTo>
                      <a:pt x="1693" y="1368"/>
                      <a:pt x="1693" y="1368"/>
                      <a:pt x="1693" y="1368"/>
                    </a:cubicBezTo>
                    <a:cubicBezTo>
                      <a:pt x="1696" y="1365"/>
                      <a:pt x="1699" y="1363"/>
                      <a:pt x="1701" y="1362"/>
                    </a:cubicBezTo>
                    <a:cubicBezTo>
                      <a:pt x="1729" y="1336"/>
                      <a:pt x="1782" y="1207"/>
                      <a:pt x="1802" y="1157"/>
                    </a:cubicBezTo>
                    <a:cubicBezTo>
                      <a:pt x="1837" y="1135"/>
                      <a:pt x="1846" y="1097"/>
                      <a:pt x="1849" y="1081"/>
                    </a:cubicBezTo>
                    <a:cubicBezTo>
                      <a:pt x="1849" y="1079"/>
                      <a:pt x="1849" y="1078"/>
                      <a:pt x="1849" y="1076"/>
                    </a:cubicBezTo>
                    <a:cubicBezTo>
                      <a:pt x="1796" y="1101"/>
                      <a:pt x="1796" y="1101"/>
                      <a:pt x="1796" y="1101"/>
                    </a:cubicBezTo>
                    <a:cubicBezTo>
                      <a:pt x="1791" y="1109"/>
                      <a:pt x="1784" y="1117"/>
                      <a:pt x="1774" y="1122"/>
                    </a:cubicBezTo>
                    <a:cubicBezTo>
                      <a:pt x="1769" y="1124"/>
                      <a:pt x="1766" y="1129"/>
                      <a:pt x="1764" y="1134"/>
                    </a:cubicBezTo>
                    <a:cubicBezTo>
                      <a:pt x="1731" y="1217"/>
                      <a:pt x="1687" y="1315"/>
                      <a:pt x="1671" y="1329"/>
                    </a:cubicBezTo>
                    <a:cubicBezTo>
                      <a:pt x="1644" y="1353"/>
                      <a:pt x="1568" y="1401"/>
                      <a:pt x="1528" y="1401"/>
                    </a:cubicBezTo>
                    <a:cubicBezTo>
                      <a:pt x="1489" y="1401"/>
                      <a:pt x="1413" y="1353"/>
                      <a:pt x="1385" y="1329"/>
                    </a:cubicBezTo>
                    <a:cubicBezTo>
                      <a:pt x="1370" y="1315"/>
                      <a:pt x="1326" y="1217"/>
                      <a:pt x="1293" y="1134"/>
                    </a:cubicBezTo>
                    <a:cubicBezTo>
                      <a:pt x="1291" y="1129"/>
                      <a:pt x="1287" y="1124"/>
                      <a:pt x="1283" y="1122"/>
                    </a:cubicBezTo>
                    <a:cubicBezTo>
                      <a:pt x="1273" y="1117"/>
                      <a:pt x="1266" y="1109"/>
                      <a:pt x="1261" y="1101"/>
                    </a:cubicBezTo>
                    <a:cubicBezTo>
                      <a:pt x="1208" y="1076"/>
                      <a:pt x="1208" y="1076"/>
                      <a:pt x="1208" y="1076"/>
                    </a:cubicBezTo>
                    <a:cubicBezTo>
                      <a:pt x="1208" y="1078"/>
                      <a:pt x="1208" y="1080"/>
                      <a:pt x="1208" y="1083"/>
                    </a:cubicBezTo>
                    <a:cubicBezTo>
                      <a:pt x="1212" y="1102"/>
                      <a:pt x="1222" y="1136"/>
                      <a:pt x="1255" y="1157"/>
                    </a:cubicBezTo>
                    <a:close/>
                    <a:moveTo>
                      <a:pt x="322" y="1157"/>
                    </a:moveTo>
                    <a:cubicBezTo>
                      <a:pt x="342" y="1207"/>
                      <a:pt x="395" y="1336"/>
                      <a:pt x="423" y="1362"/>
                    </a:cubicBezTo>
                    <a:cubicBezTo>
                      <a:pt x="425" y="1363"/>
                      <a:pt x="428" y="1365"/>
                      <a:pt x="431" y="1368"/>
                    </a:cubicBezTo>
                    <a:cubicBezTo>
                      <a:pt x="431" y="1411"/>
                      <a:pt x="431" y="1411"/>
                      <a:pt x="431" y="1411"/>
                    </a:cubicBezTo>
                    <a:cubicBezTo>
                      <a:pt x="440" y="1423"/>
                      <a:pt x="440" y="1423"/>
                      <a:pt x="440" y="1423"/>
                    </a:cubicBezTo>
                    <a:cubicBezTo>
                      <a:pt x="441" y="1425"/>
                      <a:pt x="452" y="1440"/>
                      <a:pt x="475" y="1457"/>
                    </a:cubicBezTo>
                    <a:cubicBezTo>
                      <a:pt x="475" y="1399"/>
                      <a:pt x="475" y="1399"/>
                      <a:pt x="475" y="1399"/>
                    </a:cubicBezTo>
                    <a:cubicBezTo>
                      <a:pt x="511" y="1422"/>
                      <a:pt x="559" y="1445"/>
                      <a:pt x="595" y="1445"/>
                    </a:cubicBezTo>
                    <a:cubicBezTo>
                      <a:pt x="632" y="1445"/>
                      <a:pt x="680" y="1422"/>
                      <a:pt x="717" y="1399"/>
                    </a:cubicBezTo>
                    <a:cubicBezTo>
                      <a:pt x="717" y="1457"/>
                      <a:pt x="717" y="1457"/>
                      <a:pt x="717" y="1457"/>
                    </a:cubicBezTo>
                    <a:cubicBezTo>
                      <a:pt x="740" y="1440"/>
                      <a:pt x="751" y="1424"/>
                      <a:pt x="751" y="1423"/>
                    </a:cubicBezTo>
                    <a:cubicBezTo>
                      <a:pt x="761" y="1411"/>
                      <a:pt x="761" y="1411"/>
                      <a:pt x="761" y="1411"/>
                    </a:cubicBezTo>
                    <a:cubicBezTo>
                      <a:pt x="761" y="1367"/>
                      <a:pt x="761" y="1367"/>
                      <a:pt x="761" y="1367"/>
                    </a:cubicBezTo>
                    <a:cubicBezTo>
                      <a:pt x="763" y="1365"/>
                      <a:pt x="766" y="1363"/>
                      <a:pt x="768" y="1362"/>
                    </a:cubicBezTo>
                    <a:cubicBezTo>
                      <a:pt x="796" y="1336"/>
                      <a:pt x="849" y="1207"/>
                      <a:pt x="869" y="1157"/>
                    </a:cubicBezTo>
                    <a:cubicBezTo>
                      <a:pt x="904" y="1135"/>
                      <a:pt x="913" y="1097"/>
                      <a:pt x="916" y="1081"/>
                    </a:cubicBezTo>
                    <a:cubicBezTo>
                      <a:pt x="916" y="1079"/>
                      <a:pt x="916" y="1078"/>
                      <a:pt x="916" y="1076"/>
                    </a:cubicBezTo>
                    <a:cubicBezTo>
                      <a:pt x="863" y="1101"/>
                      <a:pt x="863" y="1101"/>
                      <a:pt x="863" y="1101"/>
                    </a:cubicBezTo>
                    <a:cubicBezTo>
                      <a:pt x="858" y="1109"/>
                      <a:pt x="851" y="1117"/>
                      <a:pt x="841" y="1122"/>
                    </a:cubicBezTo>
                    <a:cubicBezTo>
                      <a:pt x="836" y="1124"/>
                      <a:pt x="833" y="1129"/>
                      <a:pt x="831" y="1134"/>
                    </a:cubicBezTo>
                    <a:cubicBezTo>
                      <a:pt x="798" y="1217"/>
                      <a:pt x="754" y="1315"/>
                      <a:pt x="738" y="1329"/>
                    </a:cubicBezTo>
                    <a:cubicBezTo>
                      <a:pt x="711" y="1353"/>
                      <a:pt x="635" y="1401"/>
                      <a:pt x="595" y="1401"/>
                    </a:cubicBezTo>
                    <a:cubicBezTo>
                      <a:pt x="556" y="1401"/>
                      <a:pt x="480" y="1353"/>
                      <a:pt x="452" y="1329"/>
                    </a:cubicBezTo>
                    <a:cubicBezTo>
                      <a:pt x="437" y="1315"/>
                      <a:pt x="393" y="1217"/>
                      <a:pt x="360" y="1134"/>
                    </a:cubicBezTo>
                    <a:cubicBezTo>
                      <a:pt x="358" y="1129"/>
                      <a:pt x="354" y="1124"/>
                      <a:pt x="350" y="1122"/>
                    </a:cubicBezTo>
                    <a:cubicBezTo>
                      <a:pt x="339" y="1117"/>
                      <a:pt x="333" y="1109"/>
                      <a:pt x="328" y="1101"/>
                    </a:cubicBezTo>
                    <a:cubicBezTo>
                      <a:pt x="275" y="1076"/>
                      <a:pt x="275" y="1076"/>
                      <a:pt x="275" y="1076"/>
                    </a:cubicBezTo>
                    <a:cubicBezTo>
                      <a:pt x="275" y="1078"/>
                      <a:pt x="275" y="1080"/>
                      <a:pt x="275" y="1083"/>
                    </a:cubicBezTo>
                    <a:cubicBezTo>
                      <a:pt x="279" y="1102"/>
                      <a:pt x="289" y="1136"/>
                      <a:pt x="322" y="1157"/>
                    </a:cubicBezTo>
                    <a:close/>
                  </a:path>
                </a:pathLst>
              </a:custGeom>
              <a:solidFill>
                <a:srgbClr val="0010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Freeform 21">
                <a:extLst>
                  <a:ext uri="{FF2B5EF4-FFF2-40B4-BE49-F238E27FC236}">
                    <a16:creationId xmlns:a16="http://schemas.microsoft.com/office/drawing/2014/main" id="{70CF4F84-F730-48A7-86AC-2DBDD43CFB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0884" y="3203448"/>
                <a:ext cx="1150239" cy="575691"/>
              </a:xfrm>
              <a:custGeom>
                <a:avLst/>
                <a:gdLst>
                  <a:gd name="T0" fmla="*/ 1542 w 1612"/>
                  <a:gd name="T1" fmla="*/ 422 h 806"/>
                  <a:gd name="T2" fmla="*/ 1542 w 1612"/>
                  <a:gd name="T3" fmla="*/ 421 h 806"/>
                  <a:gd name="T4" fmla="*/ 1508 w 1612"/>
                  <a:gd name="T5" fmla="*/ 469 h 806"/>
                  <a:gd name="T6" fmla="*/ 1505 w 1612"/>
                  <a:gd name="T7" fmla="*/ 470 h 806"/>
                  <a:gd name="T8" fmla="*/ 1485 w 1612"/>
                  <a:gd name="T9" fmla="*/ 470 h 806"/>
                  <a:gd name="T10" fmla="*/ 1483 w 1612"/>
                  <a:gd name="T11" fmla="*/ 470 h 806"/>
                  <a:gd name="T12" fmla="*/ 1074 w 1612"/>
                  <a:gd name="T13" fmla="*/ 253 h 806"/>
                  <a:gd name="T14" fmla="*/ 1070 w 1612"/>
                  <a:gd name="T15" fmla="*/ 253 h 806"/>
                  <a:gd name="T16" fmla="*/ 949 w 1612"/>
                  <a:gd name="T17" fmla="*/ 445 h 806"/>
                  <a:gd name="T18" fmla="*/ 949 w 1612"/>
                  <a:gd name="T19" fmla="*/ 444 h 806"/>
                  <a:gd name="T20" fmla="*/ 932 w 1612"/>
                  <a:gd name="T21" fmla="*/ 315 h 806"/>
                  <a:gd name="T22" fmla="*/ 1242 w 1612"/>
                  <a:gd name="T23" fmla="*/ 0 h 806"/>
                  <a:gd name="T24" fmla="*/ 1553 w 1612"/>
                  <a:gd name="T25" fmla="*/ 315 h 806"/>
                  <a:gd name="T26" fmla="*/ 1542 w 1612"/>
                  <a:gd name="T27" fmla="*/ 422 h 806"/>
                  <a:gd name="T28" fmla="*/ 619 w 1612"/>
                  <a:gd name="T29" fmla="*/ 317 h 806"/>
                  <a:gd name="T30" fmla="*/ 310 w 1612"/>
                  <a:gd name="T31" fmla="*/ 0 h 806"/>
                  <a:gd name="T32" fmla="*/ 0 w 1612"/>
                  <a:gd name="T33" fmla="*/ 317 h 806"/>
                  <a:gd name="T34" fmla="*/ 12 w 1612"/>
                  <a:gd name="T35" fmla="*/ 427 h 806"/>
                  <a:gd name="T36" fmla="*/ 12 w 1612"/>
                  <a:gd name="T37" fmla="*/ 428 h 806"/>
                  <a:gd name="T38" fmla="*/ 43 w 1612"/>
                  <a:gd name="T39" fmla="*/ 467 h 806"/>
                  <a:gd name="T40" fmla="*/ 64 w 1612"/>
                  <a:gd name="T41" fmla="*/ 469 h 806"/>
                  <a:gd name="T42" fmla="*/ 140 w 1612"/>
                  <a:gd name="T43" fmla="*/ 254 h 806"/>
                  <a:gd name="T44" fmla="*/ 547 w 1612"/>
                  <a:gd name="T45" fmla="*/ 240 h 806"/>
                  <a:gd name="T46" fmla="*/ 550 w 1612"/>
                  <a:gd name="T47" fmla="*/ 473 h 806"/>
                  <a:gd name="T48" fmla="*/ 573 w 1612"/>
                  <a:gd name="T49" fmla="*/ 473 h 806"/>
                  <a:gd name="T50" fmla="*/ 608 w 1612"/>
                  <a:gd name="T51" fmla="*/ 424 h 806"/>
                  <a:gd name="T52" fmla="*/ 608 w 1612"/>
                  <a:gd name="T53" fmla="*/ 424 h 806"/>
                  <a:gd name="T54" fmla="*/ 619 w 1612"/>
                  <a:gd name="T55" fmla="*/ 317 h 806"/>
                  <a:gd name="T56" fmla="*/ 1033 w 1612"/>
                  <a:gd name="T57" fmla="*/ 780 h 806"/>
                  <a:gd name="T58" fmla="*/ 946 w 1612"/>
                  <a:gd name="T59" fmla="*/ 612 h 806"/>
                  <a:gd name="T60" fmla="*/ 872 w 1612"/>
                  <a:gd name="T61" fmla="*/ 756 h 806"/>
                  <a:gd name="T62" fmla="*/ 949 w 1612"/>
                  <a:gd name="T63" fmla="*/ 806 h 806"/>
                  <a:gd name="T64" fmla="*/ 1033 w 1612"/>
                  <a:gd name="T65" fmla="*/ 799 h 806"/>
                  <a:gd name="T66" fmla="*/ 1033 w 1612"/>
                  <a:gd name="T67" fmla="*/ 780 h 806"/>
                  <a:gd name="T68" fmla="*/ 1538 w 1612"/>
                  <a:gd name="T69" fmla="*/ 613 h 806"/>
                  <a:gd name="T70" fmla="*/ 1451 w 1612"/>
                  <a:gd name="T71" fmla="*/ 781 h 806"/>
                  <a:gd name="T72" fmla="*/ 1451 w 1612"/>
                  <a:gd name="T73" fmla="*/ 799 h 806"/>
                  <a:gd name="T74" fmla="*/ 1536 w 1612"/>
                  <a:gd name="T75" fmla="*/ 806 h 806"/>
                  <a:gd name="T76" fmla="*/ 1612 w 1612"/>
                  <a:gd name="T77" fmla="*/ 756 h 806"/>
                  <a:gd name="T78" fmla="*/ 1538 w 1612"/>
                  <a:gd name="T79" fmla="*/ 613 h 8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12" h="806">
                    <a:moveTo>
                      <a:pt x="1542" y="422"/>
                    </a:moveTo>
                    <a:cubicBezTo>
                      <a:pt x="1542" y="422"/>
                      <a:pt x="1542" y="421"/>
                      <a:pt x="1542" y="421"/>
                    </a:cubicBezTo>
                    <a:cubicBezTo>
                      <a:pt x="1541" y="422"/>
                      <a:pt x="1536" y="437"/>
                      <a:pt x="1508" y="469"/>
                    </a:cubicBezTo>
                    <a:cubicBezTo>
                      <a:pt x="1507" y="470"/>
                      <a:pt x="1506" y="470"/>
                      <a:pt x="1505" y="470"/>
                    </a:cubicBezTo>
                    <a:cubicBezTo>
                      <a:pt x="1485" y="470"/>
                      <a:pt x="1485" y="470"/>
                      <a:pt x="1485" y="470"/>
                    </a:cubicBezTo>
                    <a:cubicBezTo>
                      <a:pt x="1484" y="470"/>
                      <a:pt x="1484" y="470"/>
                      <a:pt x="1483" y="470"/>
                    </a:cubicBezTo>
                    <a:cubicBezTo>
                      <a:pt x="1074" y="253"/>
                      <a:pt x="1074" y="253"/>
                      <a:pt x="1074" y="253"/>
                    </a:cubicBezTo>
                    <a:cubicBezTo>
                      <a:pt x="1073" y="253"/>
                      <a:pt x="1071" y="253"/>
                      <a:pt x="1070" y="253"/>
                    </a:cubicBezTo>
                    <a:cubicBezTo>
                      <a:pt x="979" y="283"/>
                      <a:pt x="980" y="472"/>
                      <a:pt x="949" y="445"/>
                    </a:cubicBezTo>
                    <a:cubicBezTo>
                      <a:pt x="949" y="444"/>
                      <a:pt x="949" y="444"/>
                      <a:pt x="949" y="444"/>
                    </a:cubicBezTo>
                    <a:cubicBezTo>
                      <a:pt x="936" y="410"/>
                      <a:pt x="932" y="354"/>
                      <a:pt x="932" y="315"/>
                    </a:cubicBezTo>
                    <a:cubicBezTo>
                      <a:pt x="932" y="141"/>
                      <a:pt x="1067" y="0"/>
                      <a:pt x="1242" y="0"/>
                    </a:cubicBezTo>
                    <a:cubicBezTo>
                      <a:pt x="1418" y="0"/>
                      <a:pt x="1553" y="141"/>
                      <a:pt x="1553" y="315"/>
                    </a:cubicBezTo>
                    <a:cubicBezTo>
                      <a:pt x="1553" y="353"/>
                      <a:pt x="1554" y="389"/>
                      <a:pt x="1542" y="422"/>
                    </a:cubicBezTo>
                    <a:close/>
                    <a:moveTo>
                      <a:pt x="619" y="317"/>
                    </a:moveTo>
                    <a:cubicBezTo>
                      <a:pt x="619" y="142"/>
                      <a:pt x="485" y="0"/>
                      <a:pt x="310" y="0"/>
                    </a:cubicBezTo>
                    <a:cubicBezTo>
                      <a:pt x="134" y="0"/>
                      <a:pt x="0" y="142"/>
                      <a:pt x="0" y="317"/>
                    </a:cubicBezTo>
                    <a:cubicBezTo>
                      <a:pt x="0" y="356"/>
                      <a:pt x="0" y="393"/>
                      <a:pt x="12" y="427"/>
                    </a:cubicBezTo>
                    <a:cubicBezTo>
                      <a:pt x="12" y="428"/>
                      <a:pt x="12" y="428"/>
                      <a:pt x="12" y="428"/>
                    </a:cubicBezTo>
                    <a:cubicBezTo>
                      <a:pt x="43" y="456"/>
                      <a:pt x="43" y="467"/>
                      <a:pt x="43" y="467"/>
                    </a:cubicBezTo>
                    <a:cubicBezTo>
                      <a:pt x="64" y="469"/>
                      <a:pt x="64" y="469"/>
                      <a:pt x="64" y="469"/>
                    </a:cubicBezTo>
                    <a:cubicBezTo>
                      <a:pt x="64" y="469"/>
                      <a:pt x="47" y="283"/>
                      <a:pt x="140" y="254"/>
                    </a:cubicBezTo>
                    <a:cubicBezTo>
                      <a:pt x="140" y="254"/>
                      <a:pt x="512" y="418"/>
                      <a:pt x="547" y="240"/>
                    </a:cubicBezTo>
                    <a:cubicBezTo>
                      <a:pt x="550" y="462"/>
                      <a:pt x="550" y="473"/>
                      <a:pt x="550" y="473"/>
                    </a:cubicBezTo>
                    <a:cubicBezTo>
                      <a:pt x="573" y="473"/>
                      <a:pt x="573" y="473"/>
                      <a:pt x="573" y="473"/>
                    </a:cubicBezTo>
                    <a:cubicBezTo>
                      <a:pt x="602" y="440"/>
                      <a:pt x="607" y="424"/>
                      <a:pt x="608" y="424"/>
                    </a:cubicBezTo>
                    <a:cubicBezTo>
                      <a:pt x="608" y="424"/>
                      <a:pt x="608" y="424"/>
                      <a:pt x="608" y="424"/>
                    </a:cubicBezTo>
                    <a:cubicBezTo>
                      <a:pt x="620" y="391"/>
                      <a:pt x="619" y="355"/>
                      <a:pt x="619" y="317"/>
                    </a:cubicBezTo>
                    <a:close/>
                    <a:moveTo>
                      <a:pt x="1033" y="780"/>
                    </a:moveTo>
                    <a:cubicBezTo>
                      <a:pt x="1011" y="755"/>
                      <a:pt x="982" y="699"/>
                      <a:pt x="946" y="612"/>
                    </a:cubicBezTo>
                    <a:cubicBezTo>
                      <a:pt x="943" y="671"/>
                      <a:pt x="933" y="750"/>
                      <a:pt x="872" y="756"/>
                    </a:cubicBezTo>
                    <a:cubicBezTo>
                      <a:pt x="899" y="783"/>
                      <a:pt x="925" y="798"/>
                      <a:pt x="949" y="806"/>
                    </a:cubicBezTo>
                    <a:cubicBezTo>
                      <a:pt x="984" y="802"/>
                      <a:pt x="1015" y="800"/>
                      <a:pt x="1033" y="799"/>
                    </a:cubicBezTo>
                    <a:lnTo>
                      <a:pt x="1033" y="780"/>
                    </a:lnTo>
                    <a:close/>
                    <a:moveTo>
                      <a:pt x="1538" y="613"/>
                    </a:moveTo>
                    <a:cubicBezTo>
                      <a:pt x="1502" y="699"/>
                      <a:pt x="1473" y="755"/>
                      <a:pt x="1451" y="781"/>
                    </a:cubicBezTo>
                    <a:cubicBezTo>
                      <a:pt x="1451" y="799"/>
                      <a:pt x="1451" y="799"/>
                      <a:pt x="1451" y="799"/>
                    </a:cubicBezTo>
                    <a:cubicBezTo>
                      <a:pt x="1469" y="800"/>
                      <a:pt x="1501" y="802"/>
                      <a:pt x="1536" y="806"/>
                    </a:cubicBezTo>
                    <a:cubicBezTo>
                      <a:pt x="1560" y="798"/>
                      <a:pt x="1586" y="783"/>
                      <a:pt x="1612" y="756"/>
                    </a:cubicBezTo>
                    <a:cubicBezTo>
                      <a:pt x="1552" y="750"/>
                      <a:pt x="1542" y="672"/>
                      <a:pt x="1538" y="613"/>
                    </a:cubicBezTo>
                    <a:close/>
                  </a:path>
                </a:pathLst>
              </a:custGeom>
              <a:solidFill>
                <a:srgbClr val="00269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97" name="Rectangle: Top Corners Rounded 196">
            <a:extLst>
              <a:ext uri="{FF2B5EF4-FFF2-40B4-BE49-F238E27FC236}">
                <a16:creationId xmlns:a16="http://schemas.microsoft.com/office/drawing/2014/main" id="{1D6500AE-4834-428B-BFFE-81B51618C07B}"/>
              </a:ext>
            </a:extLst>
          </p:cNvPr>
          <p:cNvSpPr/>
          <p:nvPr/>
        </p:nvSpPr>
        <p:spPr>
          <a:xfrm>
            <a:off x="1810203" y="2371763"/>
            <a:ext cx="1858190" cy="733647"/>
          </a:xfrm>
          <a:prstGeom prst="round2SameRect">
            <a:avLst>
              <a:gd name="adj1" fmla="val 29227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Employers needed to be referred per Market Maker monthly</a:t>
            </a:r>
          </a:p>
        </p:txBody>
      </p:sp>
      <p:sp>
        <p:nvSpPr>
          <p:cNvPr id="198" name="Rectangle: Top Corners Rounded 197">
            <a:extLst>
              <a:ext uri="{FF2B5EF4-FFF2-40B4-BE49-F238E27FC236}">
                <a16:creationId xmlns:a16="http://schemas.microsoft.com/office/drawing/2014/main" id="{6B9F3F19-AB63-4E22-9A9D-726D694E5F35}"/>
              </a:ext>
            </a:extLst>
          </p:cNvPr>
          <p:cNvSpPr/>
          <p:nvPr/>
        </p:nvSpPr>
        <p:spPr>
          <a:xfrm>
            <a:off x="3788550" y="2371763"/>
            <a:ext cx="1858190" cy="733647"/>
          </a:xfrm>
          <a:prstGeom prst="round2SameRect">
            <a:avLst>
              <a:gd name="adj1" fmla="val 29227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Employers referred per Market Maker in each year of funding</a:t>
            </a:r>
          </a:p>
        </p:txBody>
      </p:sp>
      <p:sp>
        <p:nvSpPr>
          <p:cNvPr id="199" name="Rectangle: Top Corners Rounded 198">
            <a:extLst>
              <a:ext uri="{FF2B5EF4-FFF2-40B4-BE49-F238E27FC236}">
                <a16:creationId xmlns:a16="http://schemas.microsoft.com/office/drawing/2014/main" id="{FFF09C95-460F-49EE-83CC-7DF9C01AB675}"/>
              </a:ext>
            </a:extLst>
          </p:cNvPr>
          <p:cNvSpPr/>
          <p:nvPr/>
        </p:nvSpPr>
        <p:spPr>
          <a:xfrm>
            <a:off x="5766898" y="2371763"/>
            <a:ext cx="1858190" cy="733647"/>
          </a:xfrm>
          <a:prstGeom prst="round2SameRect">
            <a:avLst>
              <a:gd name="adj1" fmla="val 29227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Employers referred per Market Maker</a:t>
            </a:r>
          </a:p>
        </p:txBody>
      </p:sp>
      <p:sp>
        <p:nvSpPr>
          <p:cNvPr id="200" name="Rectangle: Top Corners Rounded 199">
            <a:extLst>
              <a:ext uri="{FF2B5EF4-FFF2-40B4-BE49-F238E27FC236}">
                <a16:creationId xmlns:a16="http://schemas.microsoft.com/office/drawing/2014/main" id="{9C2BC72A-601A-4E7B-B802-A0CF70C91D6C}"/>
              </a:ext>
            </a:extLst>
          </p:cNvPr>
          <p:cNvSpPr/>
          <p:nvPr/>
        </p:nvSpPr>
        <p:spPr>
          <a:xfrm>
            <a:off x="7745245" y="2371763"/>
            <a:ext cx="1858190" cy="733647"/>
          </a:xfrm>
          <a:prstGeom prst="round2SameRect">
            <a:avLst>
              <a:gd name="adj1" fmla="val 30711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Total employers needed to be referred</a:t>
            </a:r>
          </a:p>
        </p:txBody>
      </p:sp>
      <p:sp>
        <p:nvSpPr>
          <p:cNvPr id="201" name="Rectangle: Top Corners Rounded 200">
            <a:extLst>
              <a:ext uri="{FF2B5EF4-FFF2-40B4-BE49-F238E27FC236}">
                <a16:creationId xmlns:a16="http://schemas.microsoft.com/office/drawing/2014/main" id="{8864164C-00B5-4BE7-AEBB-2A2CF7F1FED4}"/>
              </a:ext>
            </a:extLst>
          </p:cNvPr>
          <p:cNvSpPr/>
          <p:nvPr/>
        </p:nvSpPr>
        <p:spPr>
          <a:xfrm>
            <a:off x="9723594" y="2371763"/>
            <a:ext cx="1858190" cy="733647"/>
          </a:xfrm>
          <a:prstGeom prst="round2SameRect">
            <a:avLst>
              <a:gd name="adj1" fmla="val 30711"/>
              <a:gd name="adj2" fmla="val 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Total expected trainees placed</a:t>
            </a:r>
          </a:p>
        </p:txBody>
      </p: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456D9D74-CF51-4071-80F1-DB730EFEB2A4}"/>
              </a:ext>
            </a:extLst>
          </p:cNvPr>
          <p:cNvCxnSpPr>
            <a:cxnSpLocks/>
            <a:endCxn id="145" idx="3"/>
          </p:cNvCxnSpPr>
          <p:nvPr/>
        </p:nvCxnSpPr>
        <p:spPr>
          <a:xfrm>
            <a:off x="1490211" y="4043350"/>
            <a:ext cx="491220" cy="403521"/>
          </a:xfrm>
          <a:prstGeom prst="bentConnector3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or: Elbow 202">
            <a:extLst>
              <a:ext uri="{FF2B5EF4-FFF2-40B4-BE49-F238E27FC236}">
                <a16:creationId xmlns:a16="http://schemas.microsoft.com/office/drawing/2014/main" id="{62E203D6-C378-4FBB-B58A-E49D4AA00DDB}"/>
              </a:ext>
            </a:extLst>
          </p:cNvPr>
          <p:cNvCxnSpPr>
            <a:cxnSpLocks/>
            <a:endCxn id="144" idx="3"/>
          </p:cNvCxnSpPr>
          <p:nvPr/>
        </p:nvCxnSpPr>
        <p:spPr>
          <a:xfrm flipV="1">
            <a:off x="1490211" y="3594857"/>
            <a:ext cx="491220" cy="448493"/>
          </a:xfrm>
          <a:prstGeom prst="bentConnector3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82F047E0-B26B-4FAB-A216-6A6C68D6DEA0}"/>
              </a:ext>
            </a:extLst>
          </p:cNvPr>
          <p:cNvGrpSpPr/>
          <p:nvPr/>
        </p:nvGrpSpPr>
        <p:grpSpPr>
          <a:xfrm>
            <a:off x="1630665" y="3916051"/>
            <a:ext cx="210312" cy="209624"/>
            <a:chOff x="1197007" y="3821055"/>
            <a:chExt cx="199450" cy="209624"/>
          </a:xfrm>
        </p:grpSpPr>
        <p:sp>
          <p:nvSpPr>
            <p:cNvPr id="205" name="Oval 12">
              <a:extLst>
                <a:ext uri="{FF2B5EF4-FFF2-40B4-BE49-F238E27FC236}">
                  <a16:creationId xmlns:a16="http://schemas.microsoft.com/office/drawing/2014/main" id="{BC00A09C-8742-4248-9164-332E47C28B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7007" y="3821055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6" name="Freeform 13">
              <a:extLst>
                <a:ext uri="{FF2B5EF4-FFF2-40B4-BE49-F238E27FC236}">
                  <a16:creationId xmlns:a16="http://schemas.microsoft.com/office/drawing/2014/main" id="{B2D782F0-6DC1-4CEF-A120-742200B713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2763" y="3874075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35B1E429-75D1-4267-8793-A137E31BD599}"/>
              </a:ext>
            </a:extLst>
          </p:cNvPr>
          <p:cNvGrpSpPr/>
          <p:nvPr/>
        </p:nvGrpSpPr>
        <p:grpSpPr>
          <a:xfrm>
            <a:off x="3623316" y="3490044"/>
            <a:ext cx="210312" cy="209624"/>
            <a:chOff x="3147638" y="3602816"/>
            <a:chExt cx="199450" cy="209624"/>
          </a:xfrm>
        </p:grpSpPr>
        <p:sp>
          <p:nvSpPr>
            <p:cNvPr id="208" name="Oval 12">
              <a:extLst>
                <a:ext uri="{FF2B5EF4-FFF2-40B4-BE49-F238E27FC236}">
                  <a16:creationId xmlns:a16="http://schemas.microsoft.com/office/drawing/2014/main" id="{A6ED6776-D3FF-4CAB-8646-868FECD817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7638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9" name="Freeform 13">
              <a:extLst>
                <a:ext uri="{FF2B5EF4-FFF2-40B4-BE49-F238E27FC236}">
                  <a16:creationId xmlns:a16="http://schemas.microsoft.com/office/drawing/2014/main" id="{4A147D48-A522-4E60-A5DB-48AD86E7D2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3394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86C0F5F8-1D80-4B9A-AD50-C18480AB742A}"/>
              </a:ext>
            </a:extLst>
          </p:cNvPr>
          <p:cNvGrpSpPr/>
          <p:nvPr/>
        </p:nvGrpSpPr>
        <p:grpSpPr>
          <a:xfrm>
            <a:off x="5601664" y="3490044"/>
            <a:ext cx="210312" cy="209624"/>
            <a:chOff x="5077101" y="3602816"/>
            <a:chExt cx="199450" cy="209624"/>
          </a:xfrm>
        </p:grpSpPr>
        <p:sp>
          <p:nvSpPr>
            <p:cNvPr id="211" name="Oval 12">
              <a:extLst>
                <a:ext uri="{FF2B5EF4-FFF2-40B4-BE49-F238E27FC236}">
                  <a16:creationId xmlns:a16="http://schemas.microsoft.com/office/drawing/2014/main" id="{FCB7D8A0-E851-41B7-B9C5-D0044BB7E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7101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2" name="Freeform 13">
              <a:extLst>
                <a:ext uri="{FF2B5EF4-FFF2-40B4-BE49-F238E27FC236}">
                  <a16:creationId xmlns:a16="http://schemas.microsoft.com/office/drawing/2014/main" id="{40A34F4D-4F40-4B82-BE2B-E8E8FAB629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857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FE4DCD11-9A00-43F3-B442-9DCA8991526F}"/>
              </a:ext>
            </a:extLst>
          </p:cNvPr>
          <p:cNvGrpSpPr/>
          <p:nvPr/>
        </p:nvGrpSpPr>
        <p:grpSpPr>
          <a:xfrm>
            <a:off x="5861804" y="3257561"/>
            <a:ext cx="210312" cy="209624"/>
            <a:chOff x="6000383" y="3514638"/>
            <a:chExt cx="209624" cy="209624"/>
          </a:xfrm>
        </p:grpSpPr>
        <p:sp>
          <p:nvSpPr>
            <p:cNvPr id="214" name="Oval 14">
              <a:extLst>
                <a:ext uri="{FF2B5EF4-FFF2-40B4-BE49-F238E27FC236}">
                  <a16:creationId xmlns:a16="http://schemas.microsoft.com/office/drawing/2014/main" id="{2F60FEED-EA25-4BF9-95A1-60D0B9D7B9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383" y="3514638"/>
              <a:ext cx="209624" cy="209624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15" name="Freeform 15">
              <a:extLst>
                <a:ext uri="{FF2B5EF4-FFF2-40B4-BE49-F238E27FC236}">
                  <a16:creationId xmlns:a16="http://schemas.microsoft.com/office/drawing/2014/main" id="{6243B18E-A6CF-47E8-AC46-82147DC41D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4157" y="3560879"/>
              <a:ext cx="122075" cy="11714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216" name="Group 215">
            <a:extLst>
              <a:ext uri="{FF2B5EF4-FFF2-40B4-BE49-F238E27FC236}">
                <a16:creationId xmlns:a16="http://schemas.microsoft.com/office/drawing/2014/main" id="{81F112CC-1683-4C72-B439-39BDA839847F}"/>
              </a:ext>
            </a:extLst>
          </p:cNvPr>
          <p:cNvGrpSpPr/>
          <p:nvPr/>
        </p:nvGrpSpPr>
        <p:grpSpPr>
          <a:xfrm>
            <a:off x="7840152" y="3257561"/>
            <a:ext cx="210312" cy="209624"/>
            <a:chOff x="6000383" y="3514638"/>
            <a:chExt cx="209624" cy="209624"/>
          </a:xfrm>
        </p:grpSpPr>
        <p:sp>
          <p:nvSpPr>
            <p:cNvPr id="217" name="Oval 14">
              <a:extLst>
                <a:ext uri="{FF2B5EF4-FFF2-40B4-BE49-F238E27FC236}">
                  <a16:creationId xmlns:a16="http://schemas.microsoft.com/office/drawing/2014/main" id="{9599EDE0-2DDD-45F3-A548-E696497275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383" y="3514638"/>
              <a:ext cx="209624" cy="209624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18" name="Freeform 15">
              <a:extLst>
                <a:ext uri="{FF2B5EF4-FFF2-40B4-BE49-F238E27FC236}">
                  <a16:creationId xmlns:a16="http://schemas.microsoft.com/office/drawing/2014/main" id="{8CBA1FAD-2243-49BF-A869-5DF9D01DC8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4157" y="3560879"/>
              <a:ext cx="122075" cy="11714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219" name="Group 218">
            <a:extLst>
              <a:ext uri="{FF2B5EF4-FFF2-40B4-BE49-F238E27FC236}">
                <a16:creationId xmlns:a16="http://schemas.microsoft.com/office/drawing/2014/main" id="{66A9F630-97C3-44E9-A460-A6B6443DE2B5}"/>
              </a:ext>
            </a:extLst>
          </p:cNvPr>
          <p:cNvGrpSpPr/>
          <p:nvPr/>
        </p:nvGrpSpPr>
        <p:grpSpPr>
          <a:xfrm>
            <a:off x="1905109" y="3257561"/>
            <a:ext cx="210312" cy="209624"/>
            <a:chOff x="6000383" y="3514638"/>
            <a:chExt cx="209624" cy="209624"/>
          </a:xfrm>
        </p:grpSpPr>
        <p:sp>
          <p:nvSpPr>
            <p:cNvPr id="220" name="Oval 14">
              <a:extLst>
                <a:ext uri="{FF2B5EF4-FFF2-40B4-BE49-F238E27FC236}">
                  <a16:creationId xmlns:a16="http://schemas.microsoft.com/office/drawing/2014/main" id="{81821D33-171D-4177-A07F-4AE2C71062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00383" y="3514638"/>
              <a:ext cx="209624" cy="209624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221" name="Freeform 15">
              <a:extLst>
                <a:ext uri="{FF2B5EF4-FFF2-40B4-BE49-F238E27FC236}">
                  <a16:creationId xmlns:a16="http://schemas.microsoft.com/office/drawing/2014/main" id="{070EF071-28B1-45BE-918F-09AB1C3320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4157" y="3560879"/>
              <a:ext cx="122075" cy="117142"/>
            </a:xfrm>
            <a:custGeom>
              <a:avLst/>
              <a:gdLst>
                <a:gd name="T0" fmla="*/ 704 w 736"/>
                <a:gd name="T1" fmla="*/ 250 h 709"/>
                <a:gd name="T2" fmla="*/ 496 w 736"/>
                <a:gd name="T3" fmla="*/ 218 h 709"/>
                <a:gd name="T4" fmla="*/ 392 w 736"/>
                <a:gd name="T5" fmla="*/ 24 h 709"/>
                <a:gd name="T6" fmla="*/ 336 w 736"/>
                <a:gd name="T7" fmla="*/ 24 h 709"/>
                <a:gd name="T8" fmla="*/ 240 w 736"/>
                <a:gd name="T9" fmla="*/ 218 h 709"/>
                <a:gd name="T10" fmla="*/ 24 w 736"/>
                <a:gd name="T11" fmla="*/ 242 h 709"/>
                <a:gd name="T12" fmla="*/ 0 w 736"/>
                <a:gd name="T13" fmla="*/ 266 h 709"/>
                <a:gd name="T14" fmla="*/ 8 w 736"/>
                <a:gd name="T15" fmla="*/ 290 h 709"/>
                <a:gd name="T16" fmla="*/ 168 w 736"/>
                <a:gd name="T17" fmla="*/ 451 h 709"/>
                <a:gd name="T18" fmla="*/ 128 w 736"/>
                <a:gd name="T19" fmla="*/ 661 h 709"/>
                <a:gd name="T20" fmla="*/ 144 w 736"/>
                <a:gd name="T21" fmla="*/ 693 h 709"/>
                <a:gd name="T22" fmla="*/ 176 w 736"/>
                <a:gd name="T23" fmla="*/ 701 h 709"/>
                <a:gd name="T24" fmla="*/ 360 w 736"/>
                <a:gd name="T25" fmla="*/ 597 h 709"/>
                <a:gd name="T26" fmla="*/ 552 w 736"/>
                <a:gd name="T27" fmla="*/ 709 h 709"/>
                <a:gd name="T28" fmla="*/ 568 w 736"/>
                <a:gd name="T29" fmla="*/ 709 h 709"/>
                <a:gd name="T30" fmla="*/ 584 w 736"/>
                <a:gd name="T31" fmla="*/ 709 h 709"/>
                <a:gd name="T32" fmla="*/ 600 w 736"/>
                <a:gd name="T33" fmla="*/ 677 h 709"/>
                <a:gd name="T34" fmla="*/ 568 w 736"/>
                <a:gd name="T35" fmla="*/ 451 h 709"/>
                <a:gd name="T36" fmla="*/ 720 w 736"/>
                <a:gd name="T37" fmla="*/ 306 h 709"/>
                <a:gd name="T38" fmla="*/ 728 w 736"/>
                <a:gd name="T39" fmla="*/ 274 h 709"/>
                <a:gd name="T40" fmla="*/ 704 w 736"/>
                <a:gd name="T41" fmla="*/ 250 h 709"/>
                <a:gd name="T42" fmla="*/ 512 w 736"/>
                <a:gd name="T43" fmla="*/ 419 h 709"/>
                <a:gd name="T44" fmla="*/ 504 w 736"/>
                <a:gd name="T45" fmla="*/ 443 h 709"/>
                <a:gd name="T46" fmla="*/ 528 w 736"/>
                <a:gd name="T47" fmla="*/ 621 h 709"/>
                <a:gd name="T48" fmla="*/ 384 w 736"/>
                <a:gd name="T49" fmla="*/ 532 h 709"/>
                <a:gd name="T50" fmla="*/ 360 w 736"/>
                <a:gd name="T51" fmla="*/ 532 h 709"/>
                <a:gd name="T52" fmla="*/ 352 w 736"/>
                <a:gd name="T53" fmla="*/ 532 h 709"/>
                <a:gd name="T54" fmla="*/ 208 w 736"/>
                <a:gd name="T55" fmla="*/ 613 h 709"/>
                <a:gd name="T56" fmla="*/ 232 w 736"/>
                <a:gd name="T57" fmla="*/ 443 h 709"/>
                <a:gd name="T58" fmla="*/ 224 w 736"/>
                <a:gd name="T59" fmla="*/ 419 h 709"/>
                <a:gd name="T60" fmla="*/ 104 w 736"/>
                <a:gd name="T61" fmla="*/ 298 h 709"/>
                <a:gd name="T62" fmla="*/ 264 w 736"/>
                <a:gd name="T63" fmla="*/ 282 h 709"/>
                <a:gd name="T64" fmla="*/ 288 w 736"/>
                <a:gd name="T65" fmla="*/ 266 h 709"/>
                <a:gd name="T66" fmla="*/ 360 w 736"/>
                <a:gd name="T67" fmla="*/ 105 h 709"/>
                <a:gd name="T68" fmla="*/ 440 w 736"/>
                <a:gd name="T69" fmla="*/ 266 h 709"/>
                <a:gd name="T70" fmla="*/ 464 w 736"/>
                <a:gd name="T71" fmla="*/ 282 h 709"/>
                <a:gd name="T72" fmla="*/ 632 w 736"/>
                <a:gd name="T73" fmla="*/ 306 h 709"/>
                <a:gd name="T74" fmla="*/ 512 w 736"/>
                <a:gd name="T75" fmla="*/ 419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6" h="709">
                  <a:moveTo>
                    <a:pt x="704" y="250"/>
                  </a:moveTo>
                  <a:cubicBezTo>
                    <a:pt x="704" y="250"/>
                    <a:pt x="704" y="250"/>
                    <a:pt x="496" y="218"/>
                  </a:cubicBezTo>
                  <a:cubicBezTo>
                    <a:pt x="496" y="218"/>
                    <a:pt x="496" y="218"/>
                    <a:pt x="392" y="24"/>
                  </a:cubicBezTo>
                  <a:cubicBezTo>
                    <a:pt x="384" y="0"/>
                    <a:pt x="352" y="0"/>
                    <a:pt x="336" y="24"/>
                  </a:cubicBezTo>
                  <a:cubicBezTo>
                    <a:pt x="336" y="24"/>
                    <a:pt x="336" y="24"/>
                    <a:pt x="240" y="218"/>
                  </a:cubicBezTo>
                  <a:cubicBezTo>
                    <a:pt x="240" y="218"/>
                    <a:pt x="240" y="218"/>
                    <a:pt x="24" y="242"/>
                  </a:cubicBezTo>
                  <a:cubicBezTo>
                    <a:pt x="16" y="242"/>
                    <a:pt x="8" y="250"/>
                    <a:pt x="0" y="266"/>
                  </a:cubicBezTo>
                  <a:cubicBezTo>
                    <a:pt x="0" y="274"/>
                    <a:pt x="0" y="290"/>
                    <a:pt x="8" y="290"/>
                  </a:cubicBezTo>
                  <a:cubicBezTo>
                    <a:pt x="8" y="290"/>
                    <a:pt x="8" y="290"/>
                    <a:pt x="168" y="451"/>
                  </a:cubicBezTo>
                  <a:cubicBezTo>
                    <a:pt x="168" y="451"/>
                    <a:pt x="168" y="451"/>
                    <a:pt x="128" y="661"/>
                  </a:cubicBezTo>
                  <a:cubicBezTo>
                    <a:pt x="128" y="677"/>
                    <a:pt x="136" y="685"/>
                    <a:pt x="144" y="693"/>
                  </a:cubicBezTo>
                  <a:cubicBezTo>
                    <a:pt x="160" y="701"/>
                    <a:pt x="168" y="701"/>
                    <a:pt x="176" y="701"/>
                  </a:cubicBezTo>
                  <a:cubicBezTo>
                    <a:pt x="176" y="701"/>
                    <a:pt x="176" y="701"/>
                    <a:pt x="360" y="597"/>
                  </a:cubicBezTo>
                  <a:cubicBezTo>
                    <a:pt x="360" y="597"/>
                    <a:pt x="360" y="597"/>
                    <a:pt x="552" y="709"/>
                  </a:cubicBezTo>
                  <a:cubicBezTo>
                    <a:pt x="560" y="709"/>
                    <a:pt x="560" y="709"/>
                    <a:pt x="568" y="709"/>
                  </a:cubicBezTo>
                  <a:cubicBezTo>
                    <a:pt x="576" y="709"/>
                    <a:pt x="584" y="709"/>
                    <a:pt x="584" y="709"/>
                  </a:cubicBezTo>
                  <a:cubicBezTo>
                    <a:pt x="600" y="701"/>
                    <a:pt x="600" y="685"/>
                    <a:pt x="600" y="677"/>
                  </a:cubicBezTo>
                  <a:cubicBezTo>
                    <a:pt x="600" y="677"/>
                    <a:pt x="600" y="677"/>
                    <a:pt x="568" y="451"/>
                  </a:cubicBezTo>
                  <a:cubicBezTo>
                    <a:pt x="568" y="451"/>
                    <a:pt x="568" y="451"/>
                    <a:pt x="720" y="306"/>
                  </a:cubicBezTo>
                  <a:cubicBezTo>
                    <a:pt x="728" y="298"/>
                    <a:pt x="736" y="290"/>
                    <a:pt x="728" y="274"/>
                  </a:cubicBezTo>
                  <a:cubicBezTo>
                    <a:pt x="728" y="266"/>
                    <a:pt x="712" y="250"/>
                    <a:pt x="704" y="250"/>
                  </a:cubicBezTo>
                  <a:close/>
                  <a:moveTo>
                    <a:pt x="512" y="419"/>
                  </a:moveTo>
                  <a:cubicBezTo>
                    <a:pt x="504" y="419"/>
                    <a:pt x="504" y="435"/>
                    <a:pt x="504" y="443"/>
                  </a:cubicBezTo>
                  <a:cubicBezTo>
                    <a:pt x="504" y="443"/>
                    <a:pt x="504" y="443"/>
                    <a:pt x="528" y="621"/>
                  </a:cubicBezTo>
                  <a:cubicBezTo>
                    <a:pt x="528" y="621"/>
                    <a:pt x="528" y="621"/>
                    <a:pt x="384" y="532"/>
                  </a:cubicBezTo>
                  <a:cubicBezTo>
                    <a:pt x="376" y="532"/>
                    <a:pt x="376" y="532"/>
                    <a:pt x="360" y="532"/>
                  </a:cubicBezTo>
                  <a:cubicBezTo>
                    <a:pt x="352" y="532"/>
                    <a:pt x="352" y="532"/>
                    <a:pt x="352" y="532"/>
                  </a:cubicBezTo>
                  <a:cubicBezTo>
                    <a:pt x="352" y="532"/>
                    <a:pt x="352" y="532"/>
                    <a:pt x="208" y="613"/>
                  </a:cubicBezTo>
                  <a:cubicBezTo>
                    <a:pt x="208" y="613"/>
                    <a:pt x="208" y="613"/>
                    <a:pt x="232" y="443"/>
                  </a:cubicBezTo>
                  <a:cubicBezTo>
                    <a:pt x="232" y="435"/>
                    <a:pt x="224" y="419"/>
                    <a:pt x="224" y="419"/>
                  </a:cubicBezTo>
                  <a:cubicBezTo>
                    <a:pt x="224" y="419"/>
                    <a:pt x="224" y="419"/>
                    <a:pt x="104" y="298"/>
                  </a:cubicBezTo>
                  <a:cubicBezTo>
                    <a:pt x="104" y="298"/>
                    <a:pt x="104" y="298"/>
                    <a:pt x="264" y="282"/>
                  </a:cubicBezTo>
                  <a:cubicBezTo>
                    <a:pt x="272" y="282"/>
                    <a:pt x="280" y="274"/>
                    <a:pt x="288" y="266"/>
                  </a:cubicBezTo>
                  <a:cubicBezTo>
                    <a:pt x="288" y="266"/>
                    <a:pt x="288" y="266"/>
                    <a:pt x="360" y="105"/>
                  </a:cubicBezTo>
                  <a:cubicBezTo>
                    <a:pt x="360" y="105"/>
                    <a:pt x="360" y="105"/>
                    <a:pt x="440" y="266"/>
                  </a:cubicBezTo>
                  <a:cubicBezTo>
                    <a:pt x="448" y="274"/>
                    <a:pt x="456" y="282"/>
                    <a:pt x="464" y="282"/>
                  </a:cubicBezTo>
                  <a:cubicBezTo>
                    <a:pt x="464" y="282"/>
                    <a:pt x="464" y="282"/>
                    <a:pt x="632" y="306"/>
                  </a:cubicBezTo>
                  <a:cubicBezTo>
                    <a:pt x="632" y="306"/>
                    <a:pt x="632" y="306"/>
                    <a:pt x="512" y="4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238" name="Group 237">
            <a:extLst>
              <a:ext uri="{FF2B5EF4-FFF2-40B4-BE49-F238E27FC236}">
                <a16:creationId xmlns:a16="http://schemas.microsoft.com/office/drawing/2014/main" id="{D110DE55-CD8B-4FFB-B56E-19990BA0E947}"/>
              </a:ext>
            </a:extLst>
          </p:cNvPr>
          <p:cNvGrpSpPr/>
          <p:nvPr/>
        </p:nvGrpSpPr>
        <p:grpSpPr>
          <a:xfrm>
            <a:off x="7580355" y="3490044"/>
            <a:ext cx="210312" cy="209624"/>
            <a:chOff x="5077101" y="3602816"/>
            <a:chExt cx="199450" cy="209624"/>
          </a:xfrm>
        </p:grpSpPr>
        <p:sp>
          <p:nvSpPr>
            <p:cNvPr id="239" name="Oval 12">
              <a:extLst>
                <a:ext uri="{FF2B5EF4-FFF2-40B4-BE49-F238E27FC236}">
                  <a16:creationId xmlns:a16="http://schemas.microsoft.com/office/drawing/2014/main" id="{1E8F3CBB-1DEB-43C8-8AA2-55283C2FEF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7101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0" name="Freeform 13">
              <a:extLst>
                <a:ext uri="{FF2B5EF4-FFF2-40B4-BE49-F238E27FC236}">
                  <a16:creationId xmlns:a16="http://schemas.microsoft.com/office/drawing/2014/main" id="{37BBF359-682B-4FBA-828F-6C0179E618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857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AAA037D7-43EB-4769-A843-FDC05DCB0F88}"/>
              </a:ext>
            </a:extLst>
          </p:cNvPr>
          <p:cNvGrpSpPr/>
          <p:nvPr/>
        </p:nvGrpSpPr>
        <p:grpSpPr>
          <a:xfrm>
            <a:off x="9558359" y="3490044"/>
            <a:ext cx="210312" cy="209624"/>
            <a:chOff x="5077101" y="3602816"/>
            <a:chExt cx="199450" cy="209624"/>
          </a:xfrm>
        </p:grpSpPr>
        <p:sp>
          <p:nvSpPr>
            <p:cNvPr id="226" name="Oval 12">
              <a:extLst>
                <a:ext uri="{FF2B5EF4-FFF2-40B4-BE49-F238E27FC236}">
                  <a16:creationId xmlns:a16="http://schemas.microsoft.com/office/drawing/2014/main" id="{F3858212-4DA1-4126-B77E-B9C5DD7091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77101" y="3602816"/>
              <a:ext cx="199450" cy="2096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7" name="Freeform 13">
              <a:extLst>
                <a:ext uri="{FF2B5EF4-FFF2-40B4-BE49-F238E27FC236}">
                  <a16:creationId xmlns:a16="http://schemas.microsoft.com/office/drawing/2014/main" id="{6A2F6762-A6ED-4FF2-822B-70DCA20B03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22857" y="3655838"/>
              <a:ext cx="107938" cy="104812"/>
            </a:xfrm>
            <a:custGeom>
              <a:avLst/>
              <a:gdLst>
                <a:gd name="T0" fmla="*/ 0 w 682"/>
                <a:gd name="T1" fmla="*/ 280 h 627"/>
                <a:gd name="T2" fmla="*/ 682 w 682"/>
                <a:gd name="T3" fmla="*/ 280 h 627"/>
                <a:gd name="T4" fmla="*/ 682 w 682"/>
                <a:gd name="T5" fmla="*/ 347 h 627"/>
                <a:gd name="T6" fmla="*/ 0 w 682"/>
                <a:gd name="T7" fmla="*/ 347 h 627"/>
                <a:gd name="T8" fmla="*/ 0 w 682"/>
                <a:gd name="T9" fmla="*/ 280 h 627"/>
                <a:gd name="T10" fmla="*/ 327 w 682"/>
                <a:gd name="T11" fmla="*/ 491 h 627"/>
                <a:gd name="T12" fmla="*/ 245 w 682"/>
                <a:gd name="T13" fmla="*/ 559 h 627"/>
                <a:gd name="T14" fmla="*/ 327 w 682"/>
                <a:gd name="T15" fmla="*/ 627 h 627"/>
                <a:gd name="T16" fmla="*/ 409 w 682"/>
                <a:gd name="T17" fmla="*/ 559 h 627"/>
                <a:gd name="T18" fmla="*/ 327 w 682"/>
                <a:gd name="T19" fmla="*/ 491 h 627"/>
                <a:gd name="T20" fmla="*/ 327 w 682"/>
                <a:gd name="T21" fmla="*/ 136 h 627"/>
                <a:gd name="T22" fmla="*/ 409 w 682"/>
                <a:gd name="T23" fmla="*/ 68 h 627"/>
                <a:gd name="T24" fmla="*/ 327 w 682"/>
                <a:gd name="T25" fmla="*/ 0 h 627"/>
                <a:gd name="T26" fmla="*/ 245 w 682"/>
                <a:gd name="T27" fmla="*/ 68 h 627"/>
                <a:gd name="T28" fmla="*/ 327 w 682"/>
                <a:gd name="T29" fmla="*/ 136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2" h="627">
                  <a:moveTo>
                    <a:pt x="0" y="280"/>
                  </a:moveTo>
                  <a:cubicBezTo>
                    <a:pt x="682" y="280"/>
                    <a:pt x="682" y="280"/>
                    <a:pt x="682" y="280"/>
                  </a:cubicBezTo>
                  <a:cubicBezTo>
                    <a:pt x="682" y="347"/>
                    <a:pt x="682" y="347"/>
                    <a:pt x="682" y="347"/>
                  </a:cubicBezTo>
                  <a:cubicBezTo>
                    <a:pt x="0" y="347"/>
                    <a:pt x="0" y="347"/>
                    <a:pt x="0" y="347"/>
                  </a:cubicBezTo>
                  <a:lnTo>
                    <a:pt x="0" y="280"/>
                  </a:lnTo>
                  <a:close/>
                  <a:moveTo>
                    <a:pt x="327" y="491"/>
                  </a:moveTo>
                  <a:cubicBezTo>
                    <a:pt x="282" y="491"/>
                    <a:pt x="245" y="521"/>
                    <a:pt x="245" y="559"/>
                  </a:cubicBezTo>
                  <a:cubicBezTo>
                    <a:pt x="245" y="597"/>
                    <a:pt x="282" y="627"/>
                    <a:pt x="327" y="627"/>
                  </a:cubicBezTo>
                  <a:cubicBezTo>
                    <a:pt x="372" y="627"/>
                    <a:pt x="409" y="597"/>
                    <a:pt x="409" y="559"/>
                  </a:cubicBezTo>
                  <a:cubicBezTo>
                    <a:pt x="409" y="521"/>
                    <a:pt x="372" y="491"/>
                    <a:pt x="327" y="491"/>
                  </a:cubicBezTo>
                  <a:close/>
                  <a:moveTo>
                    <a:pt x="327" y="136"/>
                  </a:moveTo>
                  <a:cubicBezTo>
                    <a:pt x="372" y="136"/>
                    <a:pt x="409" y="106"/>
                    <a:pt x="409" y="68"/>
                  </a:cubicBezTo>
                  <a:cubicBezTo>
                    <a:pt x="409" y="30"/>
                    <a:pt x="372" y="0"/>
                    <a:pt x="327" y="0"/>
                  </a:cubicBezTo>
                  <a:cubicBezTo>
                    <a:pt x="282" y="0"/>
                    <a:pt x="245" y="30"/>
                    <a:pt x="245" y="68"/>
                  </a:cubicBezTo>
                  <a:cubicBezTo>
                    <a:pt x="245" y="106"/>
                    <a:pt x="282" y="136"/>
                    <a:pt x="327" y="13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49E2FC9-4E54-44FE-82CD-1F97D681FC73}"/>
              </a:ext>
            </a:extLst>
          </p:cNvPr>
          <p:cNvSpPr/>
          <p:nvPr/>
        </p:nvSpPr>
        <p:spPr>
          <a:xfrm rot="5400000">
            <a:off x="953588" y="4445647"/>
            <a:ext cx="45720" cy="1027525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C8F1DFA5-993C-43E3-9673-46D224F4AE42}"/>
              </a:ext>
            </a:extLst>
          </p:cNvPr>
          <p:cNvSpPr/>
          <p:nvPr/>
        </p:nvSpPr>
        <p:spPr>
          <a:xfrm rot="5400000">
            <a:off x="953588" y="2572055"/>
            <a:ext cx="45720" cy="1027525"/>
          </a:xfrm>
          <a:prstGeom prst="rect">
            <a:avLst/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00F5A98D-6320-4A47-BBEB-3697FD04F984}"/>
              </a:ext>
            </a:extLst>
          </p:cNvPr>
          <p:cNvSpPr/>
          <p:nvPr/>
        </p:nvSpPr>
        <p:spPr>
          <a:xfrm rot="5400000">
            <a:off x="662162" y="2267312"/>
            <a:ext cx="628572" cy="10275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>
                <a:solidFill>
                  <a:srgbClr val="00269E"/>
                </a:solidFill>
              </a:rPr>
              <a:t>Steps to estimate: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515825A-0758-4E64-AD67-C2EC5820ABD3}"/>
              </a:ext>
            </a:extLst>
          </p:cNvPr>
          <p:cNvSpPr/>
          <p:nvPr/>
        </p:nvSpPr>
        <p:spPr>
          <a:xfrm rot="5400000">
            <a:off x="271502" y="3519538"/>
            <a:ext cx="1409892" cy="1027525"/>
          </a:xfrm>
          <a:prstGeom prst="rect">
            <a:avLst/>
          </a:prstGeom>
          <a:solidFill>
            <a:srgbClr val="FFFFFF"/>
          </a:solidFill>
          <a:ln w="28575" cap="rnd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4-7 employers monthly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AF74BAE-7931-467B-88A1-860B188E4A48}"/>
              </a:ext>
            </a:extLst>
          </p:cNvPr>
          <p:cNvSpPr/>
          <p:nvPr/>
        </p:nvSpPr>
        <p:spPr>
          <a:xfrm rot="5400000">
            <a:off x="878254" y="4547027"/>
            <a:ext cx="288590" cy="12162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00" b="1">
                <a:solidFill>
                  <a:schemeClr val="tx1"/>
                </a:solidFill>
              </a:rPr>
              <a:t>Assumptions:</a:t>
            </a:r>
          </a:p>
        </p:txBody>
      </p:sp>
      <p:sp>
        <p:nvSpPr>
          <p:cNvPr id="101" name="Isosceles Triangle 100">
            <a:extLst>
              <a:ext uri="{FF2B5EF4-FFF2-40B4-BE49-F238E27FC236}">
                <a16:creationId xmlns:a16="http://schemas.microsoft.com/office/drawing/2014/main" id="{6E48F3C8-93B9-4096-8F00-DDC37E48F3EC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212573F6-5F5E-416D-9D9F-29AE93F4FCF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94720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4B0C60-90C3-4B11-9088-5944CB0D0A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312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4B0C60-90C3-4B11-9088-5944CB0D0A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24364D6-0FA9-4E28-86EE-C0AAF7297E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racking employer interactions in MOSES</a:t>
            </a: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12EF3918-E6CD-45FE-B9F6-C7841F9A43F7}"/>
              </a:ext>
            </a:extLst>
          </p:cNvPr>
          <p:cNvSpPr/>
          <p:nvPr/>
        </p:nvSpPr>
        <p:spPr>
          <a:xfrm rot="5400000">
            <a:off x="-21268" y="21268"/>
            <a:ext cx="609696" cy="567159"/>
          </a:xfrm>
          <a:prstGeom prst="triangle">
            <a:avLst>
              <a:gd name="adj" fmla="val 0"/>
            </a:avLst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69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20">
            <a:extLst>
              <a:ext uri="{FF2B5EF4-FFF2-40B4-BE49-F238E27FC236}">
                <a16:creationId xmlns:a16="http://schemas.microsoft.com/office/drawing/2014/main" id="{73199237-7870-49FA-9959-E97D2744621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00269E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FFFFFF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25427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A36D57-FBB1-483E-BDD5-04CB4177D8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438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A36D57-FBB1-483E-BDD5-04CB4177D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45FCAD-2DEC-448F-9B6B-9C947FFEE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rket Maker MOSES Train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A667F9-58EB-4F88-9AD1-DE9AD93E9A9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96713" y="6357938"/>
            <a:ext cx="395287" cy="365125"/>
          </a:xfrm>
          <a:prstGeom prst="rect">
            <a:avLst/>
          </a:prstGeom>
        </p:spPr>
        <p:txBody>
          <a:bodyPr/>
          <a:lstStyle/>
          <a:p>
            <a:fld id="{941BE8DD-6BA1-AD43-8321-0CEB068BCC7D}" type="slidenum">
              <a:rPr lang="en-US" smtClean="0">
                <a:sym typeface="+mn-lt"/>
              </a:rPr>
              <a:pPr/>
              <a:t>89</a:t>
            </a:fld>
            <a:endParaRPr lang="en-US">
              <a:sym typeface="+mn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FEBB27-E69D-4E21-8960-044D3A5843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12" name="ee4pContent1">
            <a:extLst>
              <a:ext uri="{FF2B5EF4-FFF2-40B4-BE49-F238E27FC236}">
                <a16:creationId xmlns:a16="http://schemas.microsoft.com/office/drawing/2014/main" id="{615078D0-C921-4BCC-ACEF-E30E8BC4D4F9}"/>
              </a:ext>
            </a:extLst>
          </p:cNvPr>
          <p:cNvSpPr txBox="1"/>
          <p:nvPr/>
        </p:nvSpPr>
        <p:spPr>
          <a:xfrm>
            <a:off x="447674" y="1398642"/>
            <a:ext cx="7344181" cy="481054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sp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pPr marL="0" indent="0" algn="l" rtl="0" eaLnBrk="1" latinLnBrk="0" hangingPunct="1">
              <a:lnSpc>
                <a:spcPct val="110000"/>
              </a:lnSpc>
            </a:pP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Logging into MOSES</a:t>
            </a:r>
          </a:p>
          <a:p>
            <a:pPr marL="0" indent="0" algn="l" rtl="0" eaLnBrk="1" latinLnBrk="0" hangingPunct="1">
              <a:lnSpc>
                <a:spcPct val="110000"/>
              </a:lnSpc>
            </a:pPr>
            <a:endParaRPr lang="en-US" sz="1600" i="0" kern="1200" spc="0" baseline="0" dirty="0">
              <a:ln>
                <a:noFill/>
              </a:ln>
              <a:solidFill>
                <a:schemeClr val="tx1"/>
              </a:solidFill>
              <a:effectLst/>
              <a:sym typeface="+mn-lt"/>
            </a:endParaRPr>
          </a:p>
          <a:p>
            <a:pPr marL="0" indent="0" algn="l" rtl="0" eaLnBrk="1" latinLnBrk="0" hangingPunct="1">
              <a:lnSpc>
                <a:spcPct val="110000"/>
              </a:lnSpc>
            </a:pP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Switching Career Centers</a:t>
            </a:r>
            <a:b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</a:b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0" indent="0" algn="l" rtl="0" eaLnBrk="1" latinLnBrk="0" hangingPunct="1">
              <a:lnSpc>
                <a:spcPct val="110000"/>
              </a:lnSpc>
            </a:pP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Search for Employer Record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Find the Employer, Switch Career Centers if necessary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Using the Advanced Search to find Employer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Business Service Rep (</a:t>
            </a:r>
            <a:r>
              <a:rPr lang="en-US" sz="1600" kern="1200" dirty="0" err="1">
                <a:solidFill>
                  <a:schemeClr val="tx1"/>
                </a:solidFill>
                <a:effectLst/>
                <a:sym typeface="+mn-lt"/>
              </a:rPr>
              <a:t>BSR</a:t>
            </a:r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) works with you to add new employer if needed</a:t>
            </a:r>
            <a:b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</a:b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0" indent="0" algn="l" rtl="0" eaLnBrk="1" latinLnBrk="0" hangingPunct="1">
              <a:lnSpc>
                <a:spcPct val="110000"/>
              </a:lnSpc>
            </a:pP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Overview of MOSES Employer Record</a:t>
            </a:r>
            <a:b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</a:b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0" indent="0" algn="l" rtl="0" eaLnBrk="1" latinLnBrk="0" hangingPunct="1">
              <a:lnSpc>
                <a:spcPct val="110000"/>
              </a:lnSpc>
            </a:pP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Employer Enrollment into the </a:t>
            </a:r>
            <a:r>
              <a:rPr lang="en-US" sz="1600" i="0" kern="1200" spc="0" baseline="0" dirty="0" err="1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FutureSkills</a:t>
            </a: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 Program*</a:t>
            </a:r>
            <a:b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</a:b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0" indent="0" algn="l" rtl="0" eaLnBrk="1" latinLnBrk="0" hangingPunct="1">
              <a:lnSpc>
                <a:spcPct val="110000"/>
              </a:lnSpc>
            </a:pPr>
            <a:r>
              <a:rPr lang="en-US" sz="1600" i="0" kern="1200" spc="0" baseline="0" dirty="0">
                <a:ln>
                  <a:noFill/>
                </a:ln>
                <a:solidFill>
                  <a:schemeClr val="tx1"/>
                </a:solidFill>
                <a:effectLst/>
                <a:sym typeface="+mn-lt"/>
              </a:rPr>
              <a:t>Adding Services to the Employer Record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Lead service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Qualified Lead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Referral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  <a:p>
            <a:pPr marL="432000" lvl="1" indent="-288000"/>
            <a:r>
              <a:rPr lang="en-US" sz="1600" kern="1200" dirty="0">
                <a:solidFill>
                  <a:schemeClr val="tx1"/>
                </a:solidFill>
                <a:effectLst/>
                <a:sym typeface="+mn-lt"/>
              </a:rPr>
              <a:t>Outcome</a:t>
            </a:r>
            <a:endParaRPr lang="en-US" sz="1800" dirty="0"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1D081C5E-F77A-40DD-B107-827602C570D8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id="{495100FA-BCD6-42FB-8B72-82E85137A0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7897B7-7E12-4364-83BA-5A459D9E9434}"/>
              </a:ext>
            </a:extLst>
          </p:cNvPr>
          <p:cNvSpPr txBox="1"/>
          <p:nvPr/>
        </p:nvSpPr>
        <p:spPr>
          <a:xfrm>
            <a:off x="4975611" y="5747525"/>
            <a:ext cx="6821102" cy="461665"/>
          </a:xfrm>
          <a:prstGeom prst="rect">
            <a:avLst/>
          </a:prstGeom>
          <a:noFill/>
          <a:ln w="9525" cap="rnd" cmpd="sng" algn="ctr">
            <a:solidFill>
              <a:srgbClr val="A6A6A6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dirty="0">
                <a:solidFill>
                  <a:srgbClr val="6E6F73"/>
                </a:solidFill>
              </a:rPr>
              <a:t>*</a:t>
            </a:r>
            <a:r>
              <a:rPr lang="en-US" sz="1200" dirty="0" err="1">
                <a:solidFill>
                  <a:srgbClr val="6E6F73"/>
                </a:solidFill>
              </a:rPr>
              <a:t>FutureSkills</a:t>
            </a:r>
            <a:r>
              <a:rPr lang="en-US" sz="1200" dirty="0">
                <a:solidFill>
                  <a:srgbClr val="6E6F73"/>
                </a:solidFill>
              </a:rPr>
              <a:t> unifies a range of Massachusetts workforce development programs for employers and training partners and provides employers with access to a pipeline of trained workers </a:t>
            </a:r>
          </a:p>
        </p:txBody>
      </p:sp>
    </p:spTree>
    <p:extLst>
      <p:ext uri="{BB962C8B-B14F-4D97-AF65-F5344CB8AC3E}">
        <p14:creationId xmlns:p14="http://schemas.microsoft.com/office/powerpoint/2010/main" val="1188491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0A7B05-D0F5-4A5D-AB1E-96FA1CED09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60A7B05-D0F5-4A5D-AB1E-96FA1CED0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8">
            <a:extLst>
              <a:ext uri="{FF2B5EF4-FFF2-40B4-BE49-F238E27FC236}">
                <a16:creationId xmlns:a16="http://schemas.microsoft.com/office/drawing/2014/main" id="{1993D10F-E852-4E6D-8D6E-2EFFA32318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6" y="606288"/>
            <a:ext cx="6380242" cy="498598"/>
          </a:xfrm>
        </p:spPr>
        <p:txBody>
          <a:bodyPr vert="horz"/>
          <a:lstStyle/>
          <a:p>
            <a:r>
              <a:rPr lang="en-US" sz="1800"/>
              <a:t>Market Makers are new regional roles that will help employers connect to training pipelines</a:t>
            </a:r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BE89A5FF-246A-44F9-8A7C-A02BC8FC608D}"/>
              </a:ext>
            </a:extLst>
          </p:cNvPr>
          <p:cNvSpPr/>
          <p:nvPr/>
        </p:nvSpPr>
        <p:spPr>
          <a:xfrm>
            <a:off x="7293936" y="2231666"/>
            <a:ext cx="4269414" cy="3014119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30480DB5-90BD-4A12-870D-03C84B441EE0}"/>
              </a:ext>
            </a:extLst>
          </p:cNvPr>
          <p:cNvGrpSpPr/>
          <p:nvPr/>
        </p:nvGrpSpPr>
        <p:grpSpPr>
          <a:xfrm>
            <a:off x="7408111" y="2608567"/>
            <a:ext cx="4041064" cy="2516728"/>
            <a:chOff x="7383037" y="2496602"/>
            <a:chExt cx="4041064" cy="251672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F5854879-AF89-462C-BFEC-199ADB8F2401}"/>
                </a:ext>
              </a:extLst>
            </p:cNvPr>
            <p:cNvGrpSpPr/>
            <p:nvPr/>
          </p:nvGrpSpPr>
          <p:grpSpPr>
            <a:xfrm>
              <a:off x="7383037" y="2497408"/>
              <a:ext cx="4041064" cy="2515922"/>
              <a:chOff x="7409753" y="2410713"/>
              <a:chExt cx="4319562" cy="2689312"/>
            </a:xfrm>
          </p:grpSpPr>
          <p:sp>
            <p:nvSpPr>
              <p:cNvPr id="51" name="Freeform 5">
                <a:extLst>
                  <a:ext uri="{FF2B5EF4-FFF2-40B4-BE49-F238E27FC236}">
                    <a16:creationId xmlns:a16="http://schemas.microsoft.com/office/drawing/2014/main" id="{C7FAE217-5FFD-4B28-97CD-A4927D92ABA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48291" y="3359363"/>
                <a:ext cx="660362" cy="1119260"/>
              </a:xfrm>
              <a:custGeom>
                <a:avLst/>
                <a:gdLst>
                  <a:gd name="T0" fmla="*/ 2141 w 2694"/>
                  <a:gd name="T1" fmla="*/ 2053 h 4564"/>
                  <a:gd name="T2" fmla="*/ 867 w 2694"/>
                  <a:gd name="T3" fmla="*/ 208 h 4564"/>
                  <a:gd name="T4" fmla="*/ 670 w 2694"/>
                  <a:gd name="T5" fmla="*/ 124 h 4564"/>
                  <a:gd name="T6" fmla="*/ 675 w 2694"/>
                  <a:gd name="T7" fmla="*/ 123 h 4564"/>
                  <a:gd name="T8" fmla="*/ 1190 w 2694"/>
                  <a:gd name="T9" fmla="*/ 4562 h 4564"/>
                  <a:gd name="T10" fmla="*/ 1270 w 2694"/>
                  <a:gd name="T11" fmla="*/ 4537 h 4564"/>
                  <a:gd name="T12" fmla="*/ 1277 w 2694"/>
                  <a:gd name="T13" fmla="*/ 4424 h 4564"/>
                  <a:gd name="T14" fmla="*/ 1361 w 2694"/>
                  <a:gd name="T15" fmla="*/ 4375 h 4564"/>
                  <a:gd name="T16" fmla="*/ 1491 w 2694"/>
                  <a:gd name="T17" fmla="*/ 4446 h 4564"/>
                  <a:gd name="T18" fmla="*/ 1548 w 2694"/>
                  <a:gd name="T19" fmla="*/ 4367 h 4564"/>
                  <a:gd name="T20" fmla="*/ 1547 w 2694"/>
                  <a:gd name="T21" fmla="*/ 4181 h 4564"/>
                  <a:gd name="T22" fmla="*/ 1521 w 2694"/>
                  <a:gd name="T23" fmla="*/ 3977 h 4564"/>
                  <a:gd name="T24" fmla="*/ 1609 w 2694"/>
                  <a:gd name="T25" fmla="*/ 4056 h 4564"/>
                  <a:gd name="T26" fmla="*/ 1634 w 2694"/>
                  <a:gd name="T27" fmla="*/ 4114 h 4564"/>
                  <a:gd name="T28" fmla="*/ 1745 w 2694"/>
                  <a:gd name="T29" fmla="*/ 4107 h 4564"/>
                  <a:gd name="T30" fmla="*/ 1768 w 2694"/>
                  <a:gd name="T31" fmla="*/ 3998 h 4564"/>
                  <a:gd name="T32" fmla="*/ 1610 w 2694"/>
                  <a:gd name="T33" fmla="*/ 3825 h 4564"/>
                  <a:gd name="T34" fmla="*/ 1706 w 2694"/>
                  <a:gd name="T35" fmla="*/ 3890 h 4564"/>
                  <a:gd name="T36" fmla="*/ 1771 w 2694"/>
                  <a:gd name="T37" fmla="*/ 3795 h 4564"/>
                  <a:gd name="T38" fmla="*/ 1807 w 2694"/>
                  <a:gd name="T39" fmla="*/ 3777 h 4564"/>
                  <a:gd name="T40" fmla="*/ 1934 w 2694"/>
                  <a:gd name="T41" fmla="*/ 3887 h 4564"/>
                  <a:gd name="T42" fmla="*/ 1985 w 2694"/>
                  <a:gd name="T43" fmla="*/ 4065 h 4564"/>
                  <a:gd name="T44" fmla="*/ 2095 w 2694"/>
                  <a:gd name="T45" fmla="*/ 3898 h 4564"/>
                  <a:gd name="T46" fmla="*/ 2007 w 2694"/>
                  <a:gd name="T47" fmla="*/ 3831 h 4564"/>
                  <a:gd name="T48" fmla="*/ 2079 w 2694"/>
                  <a:gd name="T49" fmla="*/ 3797 h 4564"/>
                  <a:gd name="T50" fmla="*/ 2185 w 2694"/>
                  <a:gd name="T51" fmla="*/ 3758 h 4564"/>
                  <a:gd name="T52" fmla="*/ 2214 w 2694"/>
                  <a:gd name="T53" fmla="*/ 3640 h 4564"/>
                  <a:gd name="T54" fmla="*/ 2528 w 2694"/>
                  <a:gd name="T55" fmla="*/ 3484 h 4564"/>
                  <a:gd name="T56" fmla="*/ 2687 w 2694"/>
                  <a:gd name="T57" fmla="*/ 3029 h 4564"/>
                  <a:gd name="T58" fmla="*/ 2629 w 2694"/>
                  <a:gd name="T59" fmla="*/ 2749 h 4564"/>
                  <a:gd name="T60" fmla="*/ 2609 w 2694"/>
                  <a:gd name="T61" fmla="*/ 2554 h 4564"/>
                  <a:gd name="T62" fmla="*/ 2312 w 2694"/>
                  <a:gd name="T63" fmla="*/ 2447 h 4564"/>
                  <a:gd name="T64" fmla="*/ 2104 w 2694"/>
                  <a:gd name="T65" fmla="*/ 2269 h 4564"/>
                  <a:gd name="T66" fmla="*/ 2067 w 2694"/>
                  <a:gd name="T67" fmla="*/ 2383 h 4564"/>
                  <a:gd name="T68" fmla="*/ 1844 w 2694"/>
                  <a:gd name="T69" fmla="*/ 2086 h 4564"/>
                  <a:gd name="T70" fmla="*/ 1901 w 2694"/>
                  <a:gd name="T71" fmla="*/ 1984 h 4564"/>
                  <a:gd name="T72" fmla="*/ 1957 w 2694"/>
                  <a:gd name="T73" fmla="*/ 1939 h 4564"/>
                  <a:gd name="T74" fmla="*/ 2081 w 2694"/>
                  <a:gd name="T75" fmla="*/ 1765 h 4564"/>
                  <a:gd name="T76" fmla="*/ 2110 w 2694"/>
                  <a:gd name="T77" fmla="*/ 1754 h 4564"/>
                  <a:gd name="T78" fmla="*/ 2138 w 2694"/>
                  <a:gd name="T79" fmla="*/ 2102 h 4564"/>
                  <a:gd name="T80" fmla="*/ 2326 w 2694"/>
                  <a:gd name="T81" fmla="*/ 2052 h 4564"/>
                  <a:gd name="T82" fmla="*/ 2111 w 2694"/>
                  <a:gd name="T83" fmla="*/ 1550 h 4564"/>
                  <a:gd name="T84" fmla="*/ 1891 w 2694"/>
                  <a:gd name="T85" fmla="*/ 1164 h 4564"/>
                  <a:gd name="T86" fmla="*/ 1799 w 2694"/>
                  <a:gd name="T87" fmla="*/ 1028 h 4564"/>
                  <a:gd name="T88" fmla="*/ 1710 w 2694"/>
                  <a:gd name="T89" fmla="*/ 1040 h 4564"/>
                  <a:gd name="T90" fmla="*/ 1504 w 2694"/>
                  <a:gd name="T91" fmla="*/ 1044 h 4564"/>
                  <a:gd name="T92" fmla="*/ 1626 w 2694"/>
                  <a:gd name="T93" fmla="*/ 912 h 4564"/>
                  <a:gd name="T94" fmla="*/ 1764 w 2694"/>
                  <a:gd name="T95" fmla="*/ 940 h 4564"/>
                  <a:gd name="T96" fmla="*/ 1724 w 2694"/>
                  <a:gd name="T97" fmla="*/ 803 h 4564"/>
                  <a:gd name="T98" fmla="*/ 1737 w 2694"/>
                  <a:gd name="T99" fmla="*/ 689 h 4564"/>
                  <a:gd name="T100" fmla="*/ 1483 w 2694"/>
                  <a:gd name="T101" fmla="*/ 404 h 4564"/>
                  <a:gd name="T102" fmla="*/ 1307 w 2694"/>
                  <a:gd name="T103" fmla="*/ 693 h 4564"/>
                  <a:gd name="T104" fmla="*/ 1127 w 2694"/>
                  <a:gd name="T105" fmla="*/ 483 h 4564"/>
                  <a:gd name="T106" fmla="*/ 1092 w 2694"/>
                  <a:gd name="T107" fmla="*/ 282 h 4564"/>
                  <a:gd name="T108" fmla="*/ 864 w 2694"/>
                  <a:gd name="T109" fmla="*/ 28 h 4564"/>
                  <a:gd name="T110" fmla="*/ 824 w 2694"/>
                  <a:gd name="T111" fmla="*/ 72 h 4564"/>
                  <a:gd name="T112" fmla="*/ 953 w 2694"/>
                  <a:gd name="T113" fmla="*/ 198 h 4564"/>
                  <a:gd name="T114" fmla="*/ 1024 w 2694"/>
                  <a:gd name="T115" fmla="*/ 278 h 4564"/>
                  <a:gd name="T116" fmla="*/ 940 w 2694"/>
                  <a:gd name="T117" fmla="*/ 271 h 4564"/>
                  <a:gd name="T118" fmla="*/ 891 w 2694"/>
                  <a:gd name="T119" fmla="*/ 399 h 4564"/>
                  <a:gd name="T120" fmla="*/ 778 w 2694"/>
                  <a:gd name="T121" fmla="*/ 362 h 4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94" h="4564">
                    <a:moveTo>
                      <a:pt x="2158" y="2025"/>
                    </a:moveTo>
                    <a:lnTo>
                      <a:pt x="2158" y="2011"/>
                    </a:lnTo>
                    <a:lnTo>
                      <a:pt x="2158" y="2002"/>
                    </a:lnTo>
                    <a:lnTo>
                      <a:pt x="2158" y="1997"/>
                    </a:lnTo>
                    <a:lnTo>
                      <a:pt x="2157" y="1992"/>
                    </a:lnTo>
                    <a:lnTo>
                      <a:pt x="2157" y="1990"/>
                    </a:lnTo>
                    <a:lnTo>
                      <a:pt x="2154" y="1987"/>
                    </a:lnTo>
                    <a:lnTo>
                      <a:pt x="2151" y="1986"/>
                    </a:lnTo>
                    <a:lnTo>
                      <a:pt x="2148" y="1986"/>
                    </a:lnTo>
                    <a:lnTo>
                      <a:pt x="2145" y="1987"/>
                    </a:lnTo>
                    <a:lnTo>
                      <a:pt x="2140" y="1990"/>
                    </a:lnTo>
                    <a:lnTo>
                      <a:pt x="2137" y="1993"/>
                    </a:lnTo>
                    <a:lnTo>
                      <a:pt x="2134" y="1998"/>
                    </a:lnTo>
                    <a:lnTo>
                      <a:pt x="2133" y="2003"/>
                    </a:lnTo>
                    <a:lnTo>
                      <a:pt x="2131" y="2012"/>
                    </a:lnTo>
                    <a:lnTo>
                      <a:pt x="2127" y="2022"/>
                    </a:lnTo>
                    <a:lnTo>
                      <a:pt x="2125" y="2026"/>
                    </a:lnTo>
                    <a:lnTo>
                      <a:pt x="2124" y="2033"/>
                    </a:lnTo>
                    <a:lnTo>
                      <a:pt x="2121" y="2039"/>
                    </a:lnTo>
                    <a:lnTo>
                      <a:pt x="2121" y="2045"/>
                    </a:lnTo>
                    <a:lnTo>
                      <a:pt x="2122" y="2049"/>
                    </a:lnTo>
                    <a:lnTo>
                      <a:pt x="2125" y="2051"/>
                    </a:lnTo>
                    <a:lnTo>
                      <a:pt x="2129" y="2053"/>
                    </a:lnTo>
                    <a:lnTo>
                      <a:pt x="2133" y="2055"/>
                    </a:lnTo>
                    <a:lnTo>
                      <a:pt x="2138" y="2055"/>
                    </a:lnTo>
                    <a:lnTo>
                      <a:pt x="2141" y="2053"/>
                    </a:lnTo>
                    <a:lnTo>
                      <a:pt x="2149" y="2043"/>
                    </a:lnTo>
                    <a:lnTo>
                      <a:pt x="2155" y="2030"/>
                    </a:lnTo>
                    <a:lnTo>
                      <a:pt x="2158" y="2025"/>
                    </a:lnTo>
                    <a:close/>
                    <a:moveTo>
                      <a:pt x="864" y="198"/>
                    </a:moveTo>
                    <a:lnTo>
                      <a:pt x="864" y="198"/>
                    </a:lnTo>
                    <a:lnTo>
                      <a:pt x="863" y="198"/>
                    </a:lnTo>
                    <a:lnTo>
                      <a:pt x="860" y="196"/>
                    </a:lnTo>
                    <a:lnTo>
                      <a:pt x="857" y="195"/>
                    </a:lnTo>
                    <a:lnTo>
                      <a:pt x="851" y="192"/>
                    </a:lnTo>
                    <a:lnTo>
                      <a:pt x="844" y="190"/>
                    </a:lnTo>
                    <a:lnTo>
                      <a:pt x="840" y="190"/>
                    </a:lnTo>
                    <a:lnTo>
                      <a:pt x="836" y="190"/>
                    </a:lnTo>
                    <a:lnTo>
                      <a:pt x="833" y="191"/>
                    </a:lnTo>
                    <a:lnTo>
                      <a:pt x="830" y="195"/>
                    </a:lnTo>
                    <a:lnTo>
                      <a:pt x="830" y="196"/>
                    </a:lnTo>
                    <a:lnTo>
                      <a:pt x="833" y="201"/>
                    </a:lnTo>
                    <a:lnTo>
                      <a:pt x="838" y="203"/>
                    </a:lnTo>
                    <a:lnTo>
                      <a:pt x="841" y="205"/>
                    </a:lnTo>
                    <a:lnTo>
                      <a:pt x="845" y="208"/>
                    </a:lnTo>
                    <a:lnTo>
                      <a:pt x="847" y="209"/>
                    </a:lnTo>
                    <a:lnTo>
                      <a:pt x="851" y="210"/>
                    </a:lnTo>
                    <a:lnTo>
                      <a:pt x="856" y="211"/>
                    </a:lnTo>
                    <a:lnTo>
                      <a:pt x="860" y="212"/>
                    </a:lnTo>
                    <a:lnTo>
                      <a:pt x="863" y="212"/>
                    </a:lnTo>
                    <a:lnTo>
                      <a:pt x="865" y="210"/>
                    </a:lnTo>
                    <a:lnTo>
                      <a:pt x="867" y="208"/>
                    </a:lnTo>
                    <a:lnTo>
                      <a:pt x="867" y="205"/>
                    </a:lnTo>
                    <a:lnTo>
                      <a:pt x="864" y="198"/>
                    </a:lnTo>
                    <a:close/>
                    <a:moveTo>
                      <a:pt x="692" y="100"/>
                    </a:moveTo>
                    <a:lnTo>
                      <a:pt x="696" y="97"/>
                    </a:lnTo>
                    <a:lnTo>
                      <a:pt x="700" y="94"/>
                    </a:lnTo>
                    <a:lnTo>
                      <a:pt x="711" y="86"/>
                    </a:lnTo>
                    <a:lnTo>
                      <a:pt x="722" y="76"/>
                    </a:lnTo>
                    <a:lnTo>
                      <a:pt x="720" y="76"/>
                    </a:lnTo>
                    <a:lnTo>
                      <a:pt x="719" y="74"/>
                    </a:lnTo>
                    <a:lnTo>
                      <a:pt x="712" y="70"/>
                    </a:lnTo>
                    <a:lnTo>
                      <a:pt x="703" y="65"/>
                    </a:lnTo>
                    <a:lnTo>
                      <a:pt x="697" y="61"/>
                    </a:lnTo>
                    <a:lnTo>
                      <a:pt x="693" y="60"/>
                    </a:lnTo>
                    <a:lnTo>
                      <a:pt x="690" y="59"/>
                    </a:lnTo>
                    <a:lnTo>
                      <a:pt x="684" y="60"/>
                    </a:lnTo>
                    <a:lnTo>
                      <a:pt x="682" y="61"/>
                    </a:lnTo>
                    <a:lnTo>
                      <a:pt x="682" y="64"/>
                    </a:lnTo>
                    <a:lnTo>
                      <a:pt x="680" y="78"/>
                    </a:lnTo>
                    <a:lnTo>
                      <a:pt x="680" y="92"/>
                    </a:lnTo>
                    <a:lnTo>
                      <a:pt x="678" y="105"/>
                    </a:lnTo>
                    <a:lnTo>
                      <a:pt x="676" y="118"/>
                    </a:lnTo>
                    <a:lnTo>
                      <a:pt x="675" y="119"/>
                    </a:lnTo>
                    <a:lnTo>
                      <a:pt x="675" y="120"/>
                    </a:lnTo>
                    <a:lnTo>
                      <a:pt x="673" y="122"/>
                    </a:lnTo>
                    <a:lnTo>
                      <a:pt x="672" y="123"/>
                    </a:lnTo>
                    <a:lnTo>
                      <a:pt x="670" y="124"/>
                    </a:lnTo>
                    <a:lnTo>
                      <a:pt x="669" y="126"/>
                    </a:lnTo>
                    <a:lnTo>
                      <a:pt x="665" y="129"/>
                    </a:lnTo>
                    <a:lnTo>
                      <a:pt x="660" y="130"/>
                    </a:lnTo>
                    <a:lnTo>
                      <a:pt x="656" y="130"/>
                    </a:lnTo>
                    <a:lnTo>
                      <a:pt x="644" y="131"/>
                    </a:lnTo>
                    <a:lnTo>
                      <a:pt x="636" y="131"/>
                    </a:lnTo>
                    <a:lnTo>
                      <a:pt x="629" y="131"/>
                    </a:lnTo>
                    <a:lnTo>
                      <a:pt x="619" y="130"/>
                    </a:lnTo>
                    <a:lnTo>
                      <a:pt x="615" y="130"/>
                    </a:lnTo>
                    <a:lnTo>
                      <a:pt x="610" y="131"/>
                    </a:lnTo>
                    <a:lnTo>
                      <a:pt x="608" y="132"/>
                    </a:lnTo>
                    <a:lnTo>
                      <a:pt x="605" y="135"/>
                    </a:lnTo>
                    <a:lnTo>
                      <a:pt x="604" y="137"/>
                    </a:lnTo>
                    <a:lnTo>
                      <a:pt x="604" y="139"/>
                    </a:lnTo>
                    <a:lnTo>
                      <a:pt x="605" y="142"/>
                    </a:lnTo>
                    <a:lnTo>
                      <a:pt x="606" y="143"/>
                    </a:lnTo>
                    <a:lnTo>
                      <a:pt x="612" y="146"/>
                    </a:lnTo>
                    <a:lnTo>
                      <a:pt x="618" y="149"/>
                    </a:lnTo>
                    <a:lnTo>
                      <a:pt x="631" y="150"/>
                    </a:lnTo>
                    <a:lnTo>
                      <a:pt x="642" y="150"/>
                    </a:lnTo>
                    <a:lnTo>
                      <a:pt x="647" y="149"/>
                    </a:lnTo>
                    <a:lnTo>
                      <a:pt x="653" y="146"/>
                    </a:lnTo>
                    <a:lnTo>
                      <a:pt x="659" y="144"/>
                    </a:lnTo>
                    <a:lnTo>
                      <a:pt x="663" y="139"/>
                    </a:lnTo>
                    <a:lnTo>
                      <a:pt x="669" y="131"/>
                    </a:lnTo>
                    <a:lnTo>
                      <a:pt x="675" y="123"/>
                    </a:lnTo>
                    <a:lnTo>
                      <a:pt x="678" y="117"/>
                    </a:lnTo>
                    <a:lnTo>
                      <a:pt x="680" y="111"/>
                    </a:lnTo>
                    <a:lnTo>
                      <a:pt x="682" y="111"/>
                    </a:lnTo>
                    <a:lnTo>
                      <a:pt x="682" y="110"/>
                    </a:lnTo>
                    <a:lnTo>
                      <a:pt x="692" y="100"/>
                    </a:lnTo>
                    <a:close/>
                    <a:moveTo>
                      <a:pt x="729" y="556"/>
                    </a:moveTo>
                    <a:lnTo>
                      <a:pt x="786" y="612"/>
                    </a:lnTo>
                    <a:lnTo>
                      <a:pt x="760" y="1020"/>
                    </a:lnTo>
                    <a:lnTo>
                      <a:pt x="0" y="1429"/>
                    </a:lnTo>
                    <a:lnTo>
                      <a:pt x="0" y="1429"/>
                    </a:lnTo>
                    <a:lnTo>
                      <a:pt x="135" y="2290"/>
                    </a:lnTo>
                    <a:lnTo>
                      <a:pt x="387" y="2518"/>
                    </a:lnTo>
                    <a:lnTo>
                      <a:pt x="495" y="2843"/>
                    </a:lnTo>
                    <a:lnTo>
                      <a:pt x="519" y="2993"/>
                    </a:lnTo>
                    <a:lnTo>
                      <a:pt x="214" y="3289"/>
                    </a:lnTo>
                    <a:lnTo>
                      <a:pt x="314" y="3404"/>
                    </a:lnTo>
                    <a:lnTo>
                      <a:pt x="256" y="3533"/>
                    </a:lnTo>
                    <a:lnTo>
                      <a:pt x="773" y="3458"/>
                    </a:lnTo>
                    <a:lnTo>
                      <a:pt x="845" y="3663"/>
                    </a:lnTo>
                    <a:lnTo>
                      <a:pt x="962" y="3666"/>
                    </a:lnTo>
                    <a:lnTo>
                      <a:pt x="1163" y="4452"/>
                    </a:lnTo>
                    <a:lnTo>
                      <a:pt x="1166" y="4556"/>
                    </a:lnTo>
                    <a:lnTo>
                      <a:pt x="1166" y="4556"/>
                    </a:lnTo>
                    <a:lnTo>
                      <a:pt x="1174" y="4559"/>
                    </a:lnTo>
                    <a:lnTo>
                      <a:pt x="1182" y="4560"/>
                    </a:lnTo>
                    <a:lnTo>
                      <a:pt x="1190" y="4562"/>
                    </a:lnTo>
                    <a:lnTo>
                      <a:pt x="1198" y="4560"/>
                    </a:lnTo>
                    <a:lnTo>
                      <a:pt x="1205" y="4557"/>
                    </a:lnTo>
                    <a:lnTo>
                      <a:pt x="1210" y="4552"/>
                    </a:lnTo>
                    <a:lnTo>
                      <a:pt x="1215" y="4544"/>
                    </a:lnTo>
                    <a:lnTo>
                      <a:pt x="1219" y="4533"/>
                    </a:lnTo>
                    <a:lnTo>
                      <a:pt x="1236" y="4549"/>
                    </a:lnTo>
                    <a:lnTo>
                      <a:pt x="1252" y="4564"/>
                    </a:lnTo>
                    <a:lnTo>
                      <a:pt x="1252" y="4559"/>
                    </a:lnTo>
                    <a:lnTo>
                      <a:pt x="1252" y="4554"/>
                    </a:lnTo>
                    <a:lnTo>
                      <a:pt x="1252" y="4550"/>
                    </a:lnTo>
                    <a:lnTo>
                      <a:pt x="1250" y="4545"/>
                    </a:lnTo>
                    <a:lnTo>
                      <a:pt x="1247" y="4537"/>
                    </a:lnTo>
                    <a:lnTo>
                      <a:pt x="1242" y="4529"/>
                    </a:lnTo>
                    <a:lnTo>
                      <a:pt x="1236" y="4521"/>
                    </a:lnTo>
                    <a:lnTo>
                      <a:pt x="1233" y="4513"/>
                    </a:lnTo>
                    <a:lnTo>
                      <a:pt x="1229" y="4505"/>
                    </a:lnTo>
                    <a:lnTo>
                      <a:pt x="1228" y="4497"/>
                    </a:lnTo>
                    <a:lnTo>
                      <a:pt x="1243" y="4500"/>
                    </a:lnTo>
                    <a:lnTo>
                      <a:pt x="1247" y="4500"/>
                    </a:lnTo>
                    <a:lnTo>
                      <a:pt x="1247" y="4499"/>
                    </a:lnTo>
                    <a:lnTo>
                      <a:pt x="1248" y="4497"/>
                    </a:lnTo>
                    <a:lnTo>
                      <a:pt x="1252" y="4494"/>
                    </a:lnTo>
                    <a:lnTo>
                      <a:pt x="1259" y="4492"/>
                    </a:lnTo>
                    <a:lnTo>
                      <a:pt x="1259" y="4509"/>
                    </a:lnTo>
                    <a:lnTo>
                      <a:pt x="1260" y="4524"/>
                    </a:lnTo>
                    <a:lnTo>
                      <a:pt x="1270" y="4537"/>
                    </a:lnTo>
                    <a:lnTo>
                      <a:pt x="1282" y="4549"/>
                    </a:lnTo>
                    <a:lnTo>
                      <a:pt x="1284" y="4551"/>
                    </a:lnTo>
                    <a:lnTo>
                      <a:pt x="1288" y="4553"/>
                    </a:lnTo>
                    <a:lnTo>
                      <a:pt x="1290" y="4554"/>
                    </a:lnTo>
                    <a:lnTo>
                      <a:pt x="1294" y="4556"/>
                    </a:lnTo>
                    <a:lnTo>
                      <a:pt x="1302" y="4556"/>
                    </a:lnTo>
                    <a:lnTo>
                      <a:pt x="1312" y="4554"/>
                    </a:lnTo>
                    <a:lnTo>
                      <a:pt x="1320" y="4551"/>
                    </a:lnTo>
                    <a:lnTo>
                      <a:pt x="1327" y="4547"/>
                    </a:lnTo>
                    <a:lnTo>
                      <a:pt x="1333" y="4542"/>
                    </a:lnTo>
                    <a:lnTo>
                      <a:pt x="1337" y="4536"/>
                    </a:lnTo>
                    <a:lnTo>
                      <a:pt x="1340" y="4525"/>
                    </a:lnTo>
                    <a:lnTo>
                      <a:pt x="1342" y="4516"/>
                    </a:lnTo>
                    <a:lnTo>
                      <a:pt x="1342" y="4505"/>
                    </a:lnTo>
                    <a:lnTo>
                      <a:pt x="1342" y="4496"/>
                    </a:lnTo>
                    <a:lnTo>
                      <a:pt x="1340" y="4486"/>
                    </a:lnTo>
                    <a:lnTo>
                      <a:pt x="1337" y="4478"/>
                    </a:lnTo>
                    <a:lnTo>
                      <a:pt x="1334" y="4470"/>
                    </a:lnTo>
                    <a:lnTo>
                      <a:pt x="1329" y="4461"/>
                    </a:lnTo>
                    <a:lnTo>
                      <a:pt x="1324" y="4454"/>
                    </a:lnTo>
                    <a:lnTo>
                      <a:pt x="1317" y="4447"/>
                    </a:lnTo>
                    <a:lnTo>
                      <a:pt x="1312" y="4441"/>
                    </a:lnTo>
                    <a:lnTo>
                      <a:pt x="1303" y="4435"/>
                    </a:lnTo>
                    <a:lnTo>
                      <a:pt x="1295" y="4431"/>
                    </a:lnTo>
                    <a:lnTo>
                      <a:pt x="1287" y="4427"/>
                    </a:lnTo>
                    <a:lnTo>
                      <a:pt x="1277" y="4424"/>
                    </a:lnTo>
                    <a:lnTo>
                      <a:pt x="1268" y="4420"/>
                    </a:lnTo>
                    <a:lnTo>
                      <a:pt x="1263" y="4419"/>
                    </a:lnTo>
                    <a:lnTo>
                      <a:pt x="1259" y="4415"/>
                    </a:lnTo>
                    <a:lnTo>
                      <a:pt x="1254" y="4412"/>
                    </a:lnTo>
                    <a:lnTo>
                      <a:pt x="1250" y="4407"/>
                    </a:lnTo>
                    <a:lnTo>
                      <a:pt x="1243" y="4395"/>
                    </a:lnTo>
                    <a:lnTo>
                      <a:pt x="1240" y="4384"/>
                    </a:lnTo>
                    <a:lnTo>
                      <a:pt x="1237" y="4378"/>
                    </a:lnTo>
                    <a:lnTo>
                      <a:pt x="1237" y="4372"/>
                    </a:lnTo>
                    <a:lnTo>
                      <a:pt x="1236" y="4366"/>
                    </a:lnTo>
                    <a:lnTo>
                      <a:pt x="1237" y="4361"/>
                    </a:lnTo>
                    <a:lnTo>
                      <a:pt x="1239" y="4358"/>
                    </a:lnTo>
                    <a:lnTo>
                      <a:pt x="1240" y="4354"/>
                    </a:lnTo>
                    <a:lnTo>
                      <a:pt x="1243" y="4353"/>
                    </a:lnTo>
                    <a:lnTo>
                      <a:pt x="1247" y="4352"/>
                    </a:lnTo>
                    <a:lnTo>
                      <a:pt x="1279" y="4348"/>
                    </a:lnTo>
                    <a:lnTo>
                      <a:pt x="1303" y="4345"/>
                    </a:lnTo>
                    <a:lnTo>
                      <a:pt x="1309" y="4345"/>
                    </a:lnTo>
                    <a:lnTo>
                      <a:pt x="1315" y="4345"/>
                    </a:lnTo>
                    <a:lnTo>
                      <a:pt x="1321" y="4346"/>
                    </a:lnTo>
                    <a:lnTo>
                      <a:pt x="1327" y="4348"/>
                    </a:lnTo>
                    <a:lnTo>
                      <a:pt x="1333" y="4352"/>
                    </a:lnTo>
                    <a:lnTo>
                      <a:pt x="1340" y="4356"/>
                    </a:lnTo>
                    <a:lnTo>
                      <a:pt x="1348" y="4362"/>
                    </a:lnTo>
                    <a:lnTo>
                      <a:pt x="1356" y="4371"/>
                    </a:lnTo>
                    <a:lnTo>
                      <a:pt x="1361" y="4375"/>
                    </a:lnTo>
                    <a:lnTo>
                      <a:pt x="1366" y="4379"/>
                    </a:lnTo>
                    <a:lnTo>
                      <a:pt x="1369" y="4381"/>
                    </a:lnTo>
                    <a:lnTo>
                      <a:pt x="1374" y="4382"/>
                    </a:lnTo>
                    <a:lnTo>
                      <a:pt x="1381" y="4382"/>
                    </a:lnTo>
                    <a:lnTo>
                      <a:pt x="1388" y="4380"/>
                    </a:lnTo>
                    <a:lnTo>
                      <a:pt x="1395" y="4378"/>
                    </a:lnTo>
                    <a:lnTo>
                      <a:pt x="1403" y="4375"/>
                    </a:lnTo>
                    <a:lnTo>
                      <a:pt x="1407" y="4374"/>
                    </a:lnTo>
                    <a:lnTo>
                      <a:pt x="1411" y="4374"/>
                    </a:lnTo>
                    <a:lnTo>
                      <a:pt x="1417" y="4374"/>
                    </a:lnTo>
                    <a:lnTo>
                      <a:pt x="1423" y="4374"/>
                    </a:lnTo>
                    <a:lnTo>
                      <a:pt x="1449" y="4375"/>
                    </a:lnTo>
                    <a:lnTo>
                      <a:pt x="1470" y="4375"/>
                    </a:lnTo>
                    <a:lnTo>
                      <a:pt x="1475" y="4375"/>
                    </a:lnTo>
                    <a:lnTo>
                      <a:pt x="1478" y="4377"/>
                    </a:lnTo>
                    <a:lnTo>
                      <a:pt x="1482" y="4379"/>
                    </a:lnTo>
                    <a:lnTo>
                      <a:pt x="1484" y="4381"/>
                    </a:lnTo>
                    <a:lnTo>
                      <a:pt x="1487" y="4385"/>
                    </a:lnTo>
                    <a:lnTo>
                      <a:pt x="1488" y="4391"/>
                    </a:lnTo>
                    <a:lnTo>
                      <a:pt x="1489" y="4397"/>
                    </a:lnTo>
                    <a:lnTo>
                      <a:pt x="1489" y="4405"/>
                    </a:lnTo>
                    <a:lnTo>
                      <a:pt x="1488" y="4413"/>
                    </a:lnTo>
                    <a:lnTo>
                      <a:pt x="1487" y="4431"/>
                    </a:lnTo>
                    <a:lnTo>
                      <a:pt x="1488" y="4439"/>
                    </a:lnTo>
                    <a:lnTo>
                      <a:pt x="1490" y="4445"/>
                    </a:lnTo>
                    <a:lnTo>
                      <a:pt x="1491" y="4446"/>
                    </a:lnTo>
                    <a:lnTo>
                      <a:pt x="1494" y="4447"/>
                    </a:lnTo>
                    <a:lnTo>
                      <a:pt x="1497" y="4447"/>
                    </a:lnTo>
                    <a:lnTo>
                      <a:pt x="1501" y="4446"/>
                    </a:lnTo>
                    <a:lnTo>
                      <a:pt x="1503" y="4444"/>
                    </a:lnTo>
                    <a:lnTo>
                      <a:pt x="1505" y="4441"/>
                    </a:lnTo>
                    <a:lnTo>
                      <a:pt x="1508" y="4439"/>
                    </a:lnTo>
                    <a:lnTo>
                      <a:pt x="1509" y="4437"/>
                    </a:lnTo>
                    <a:lnTo>
                      <a:pt x="1509" y="4431"/>
                    </a:lnTo>
                    <a:lnTo>
                      <a:pt x="1508" y="4425"/>
                    </a:lnTo>
                    <a:lnTo>
                      <a:pt x="1504" y="4414"/>
                    </a:lnTo>
                    <a:lnTo>
                      <a:pt x="1502" y="4406"/>
                    </a:lnTo>
                    <a:lnTo>
                      <a:pt x="1509" y="4404"/>
                    </a:lnTo>
                    <a:lnTo>
                      <a:pt x="1518" y="4401"/>
                    </a:lnTo>
                    <a:lnTo>
                      <a:pt x="1523" y="4399"/>
                    </a:lnTo>
                    <a:lnTo>
                      <a:pt x="1527" y="4398"/>
                    </a:lnTo>
                    <a:lnTo>
                      <a:pt x="1529" y="4394"/>
                    </a:lnTo>
                    <a:lnTo>
                      <a:pt x="1530" y="4391"/>
                    </a:lnTo>
                    <a:lnTo>
                      <a:pt x="1530" y="4385"/>
                    </a:lnTo>
                    <a:lnTo>
                      <a:pt x="1530" y="4379"/>
                    </a:lnTo>
                    <a:lnTo>
                      <a:pt x="1531" y="4377"/>
                    </a:lnTo>
                    <a:lnTo>
                      <a:pt x="1534" y="4375"/>
                    </a:lnTo>
                    <a:lnTo>
                      <a:pt x="1536" y="4374"/>
                    </a:lnTo>
                    <a:lnTo>
                      <a:pt x="1540" y="4373"/>
                    </a:lnTo>
                    <a:lnTo>
                      <a:pt x="1543" y="4372"/>
                    </a:lnTo>
                    <a:lnTo>
                      <a:pt x="1545" y="4371"/>
                    </a:lnTo>
                    <a:lnTo>
                      <a:pt x="1548" y="4367"/>
                    </a:lnTo>
                    <a:lnTo>
                      <a:pt x="1549" y="4364"/>
                    </a:lnTo>
                    <a:lnTo>
                      <a:pt x="1550" y="4354"/>
                    </a:lnTo>
                    <a:lnTo>
                      <a:pt x="1550" y="4344"/>
                    </a:lnTo>
                    <a:lnTo>
                      <a:pt x="1548" y="4322"/>
                    </a:lnTo>
                    <a:lnTo>
                      <a:pt x="1544" y="4308"/>
                    </a:lnTo>
                    <a:lnTo>
                      <a:pt x="1538" y="4296"/>
                    </a:lnTo>
                    <a:lnTo>
                      <a:pt x="1534" y="4287"/>
                    </a:lnTo>
                    <a:lnTo>
                      <a:pt x="1532" y="4282"/>
                    </a:lnTo>
                    <a:lnTo>
                      <a:pt x="1534" y="4279"/>
                    </a:lnTo>
                    <a:lnTo>
                      <a:pt x="1536" y="4276"/>
                    </a:lnTo>
                    <a:lnTo>
                      <a:pt x="1542" y="4274"/>
                    </a:lnTo>
                    <a:lnTo>
                      <a:pt x="1540" y="4266"/>
                    </a:lnTo>
                    <a:lnTo>
                      <a:pt x="1536" y="4256"/>
                    </a:lnTo>
                    <a:lnTo>
                      <a:pt x="1531" y="4246"/>
                    </a:lnTo>
                    <a:lnTo>
                      <a:pt x="1525" y="4234"/>
                    </a:lnTo>
                    <a:lnTo>
                      <a:pt x="1521" y="4222"/>
                    </a:lnTo>
                    <a:lnTo>
                      <a:pt x="1516" y="4210"/>
                    </a:lnTo>
                    <a:lnTo>
                      <a:pt x="1512" y="4201"/>
                    </a:lnTo>
                    <a:lnTo>
                      <a:pt x="1510" y="4191"/>
                    </a:lnTo>
                    <a:lnTo>
                      <a:pt x="1522" y="4190"/>
                    </a:lnTo>
                    <a:lnTo>
                      <a:pt x="1529" y="4187"/>
                    </a:lnTo>
                    <a:lnTo>
                      <a:pt x="1535" y="4184"/>
                    </a:lnTo>
                    <a:lnTo>
                      <a:pt x="1540" y="4181"/>
                    </a:lnTo>
                    <a:lnTo>
                      <a:pt x="1542" y="4181"/>
                    </a:lnTo>
                    <a:lnTo>
                      <a:pt x="1544" y="4181"/>
                    </a:lnTo>
                    <a:lnTo>
                      <a:pt x="1547" y="4181"/>
                    </a:lnTo>
                    <a:lnTo>
                      <a:pt x="1550" y="4182"/>
                    </a:lnTo>
                    <a:lnTo>
                      <a:pt x="1557" y="4188"/>
                    </a:lnTo>
                    <a:lnTo>
                      <a:pt x="1568" y="4200"/>
                    </a:lnTo>
                    <a:lnTo>
                      <a:pt x="1617" y="4253"/>
                    </a:lnTo>
                    <a:lnTo>
                      <a:pt x="1616" y="4243"/>
                    </a:lnTo>
                    <a:lnTo>
                      <a:pt x="1615" y="4235"/>
                    </a:lnTo>
                    <a:lnTo>
                      <a:pt x="1611" y="4226"/>
                    </a:lnTo>
                    <a:lnTo>
                      <a:pt x="1609" y="4217"/>
                    </a:lnTo>
                    <a:lnTo>
                      <a:pt x="1601" y="4201"/>
                    </a:lnTo>
                    <a:lnTo>
                      <a:pt x="1594" y="4183"/>
                    </a:lnTo>
                    <a:lnTo>
                      <a:pt x="1569" y="4123"/>
                    </a:lnTo>
                    <a:lnTo>
                      <a:pt x="1567" y="4117"/>
                    </a:lnTo>
                    <a:lnTo>
                      <a:pt x="1565" y="4110"/>
                    </a:lnTo>
                    <a:lnTo>
                      <a:pt x="1565" y="4104"/>
                    </a:lnTo>
                    <a:lnTo>
                      <a:pt x="1565" y="4097"/>
                    </a:lnTo>
                    <a:lnTo>
                      <a:pt x="1567" y="4091"/>
                    </a:lnTo>
                    <a:lnTo>
                      <a:pt x="1565" y="4084"/>
                    </a:lnTo>
                    <a:lnTo>
                      <a:pt x="1564" y="4078"/>
                    </a:lnTo>
                    <a:lnTo>
                      <a:pt x="1562" y="4071"/>
                    </a:lnTo>
                    <a:lnTo>
                      <a:pt x="1557" y="4062"/>
                    </a:lnTo>
                    <a:lnTo>
                      <a:pt x="1549" y="4045"/>
                    </a:lnTo>
                    <a:lnTo>
                      <a:pt x="1538" y="4025"/>
                    </a:lnTo>
                    <a:lnTo>
                      <a:pt x="1529" y="4003"/>
                    </a:lnTo>
                    <a:lnTo>
                      <a:pt x="1525" y="3993"/>
                    </a:lnTo>
                    <a:lnTo>
                      <a:pt x="1522" y="3984"/>
                    </a:lnTo>
                    <a:lnTo>
                      <a:pt x="1521" y="3977"/>
                    </a:lnTo>
                    <a:lnTo>
                      <a:pt x="1521" y="3971"/>
                    </a:lnTo>
                    <a:lnTo>
                      <a:pt x="1522" y="3970"/>
                    </a:lnTo>
                    <a:lnTo>
                      <a:pt x="1523" y="3968"/>
                    </a:lnTo>
                    <a:lnTo>
                      <a:pt x="1525" y="3968"/>
                    </a:lnTo>
                    <a:lnTo>
                      <a:pt x="1528" y="3968"/>
                    </a:lnTo>
                    <a:lnTo>
                      <a:pt x="1535" y="3970"/>
                    </a:lnTo>
                    <a:lnTo>
                      <a:pt x="1544" y="3976"/>
                    </a:lnTo>
                    <a:lnTo>
                      <a:pt x="1550" y="3980"/>
                    </a:lnTo>
                    <a:lnTo>
                      <a:pt x="1554" y="3982"/>
                    </a:lnTo>
                    <a:lnTo>
                      <a:pt x="1557" y="3982"/>
                    </a:lnTo>
                    <a:lnTo>
                      <a:pt x="1558" y="3980"/>
                    </a:lnTo>
                    <a:lnTo>
                      <a:pt x="1559" y="3978"/>
                    </a:lnTo>
                    <a:lnTo>
                      <a:pt x="1561" y="3976"/>
                    </a:lnTo>
                    <a:lnTo>
                      <a:pt x="1562" y="3973"/>
                    </a:lnTo>
                    <a:lnTo>
                      <a:pt x="1565" y="3973"/>
                    </a:lnTo>
                    <a:lnTo>
                      <a:pt x="1564" y="3989"/>
                    </a:lnTo>
                    <a:lnTo>
                      <a:pt x="1564" y="4002"/>
                    </a:lnTo>
                    <a:lnTo>
                      <a:pt x="1565" y="4009"/>
                    </a:lnTo>
                    <a:lnTo>
                      <a:pt x="1569" y="4015"/>
                    </a:lnTo>
                    <a:lnTo>
                      <a:pt x="1575" y="4021"/>
                    </a:lnTo>
                    <a:lnTo>
                      <a:pt x="1582" y="4026"/>
                    </a:lnTo>
                    <a:lnTo>
                      <a:pt x="1590" y="4032"/>
                    </a:lnTo>
                    <a:lnTo>
                      <a:pt x="1597" y="4041"/>
                    </a:lnTo>
                    <a:lnTo>
                      <a:pt x="1602" y="4048"/>
                    </a:lnTo>
                    <a:lnTo>
                      <a:pt x="1606" y="4054"/>
                    </a:lnTo>
                    <a:lnTo>
                      <a:pt x="1609" y="4056"/>
                    </a:lnTo>
                    <a:lnTo>
                      <a:pt x="1610" y="4057"/>
                    </a:lnTo>
                    <a:lnTo>
                      <a:pt x="1612" y="4057"/>
                    </a:lnTo>
                    <a:lnTo>
                      <a:pt x="1614" y="4056"/>
                    </a:lnTo>
                    <a:lnTo>
                      <a:pt x="1617" y="4050"/>
                    </a:lnTo>
                    <a:lnTo>
                      <a:pt x="1621" y="4038"/>
                    </a:lnTo>
                    <a:lnTo>
                      <a:pt x="1625" y="4038"/>
                    </a:lnTo>
                    <a:lnTo>
                      <a:pt x="1630" y="4042"/>
                    </a:lnTo>
                    <a:lnTo>
                      <a:pt x="1634" y="4045"/>
                    </a:lnTo>
                    <a:lnTo>
                      <a:pt x="1638" y="4050"/>
                    </a:lnTo>
                    <a:lnTo>
                      <a:pt x="1646" y="4062"/>
                    </a:lnTo>
                    <a:lnTo>
                      <a:pt x="1656" y="4076"/>
                    </a:lnTo>
                    <a:lnTo>
                      <a:pt x="1665" y="4091"/>
                    </a:lnTo>
                    <a:lnTo>
                      <a:pt x="1675" y="4104"/>
                    </a:lnTo>
                    <a:lnTo>
                      <a:pt x="1679" y="4110"/>
                    </a:lnTo>
                    <a:lnTo>
                      <a:pt x="1684" y="4115"/>
                    </a:lnTo>
                    <a:lnTo>
                      <a:pt x="1689" y="4118"/>
                    </a:lnTo>
                    <a:lnTo>
                      <a:pt x="1693" y="4120"/>
                    </a:lnTo>
                    <a:lnTo>
                      <a:pt x="1693" y="4122"/>
                    </a:lnTo>
                    <a:lnTo>
                      <a:pt x="1691" y="4123"/>
                    </a:lnTo>
                    <a:lnTo>
                      <a:pt x="1689" y="4124"/>
                    </a:lnTo>
                    <a:lnTo>
                      <a:pt x="1685" y="4124"/>
                    </a:lnTo>
                    <a:lnTo>
                      <a:pt x="1676" y="4123"/>
                    </a:lnTo>
                    <a:lnTo>
                      <a:pt x="1665" y="4121"/>
                    </a:lnTo>
                    <a:lnTo>
                      <a:pt x="1645" y="4114"/>
                    </a:lnTo>
                    <a:lnTo>
                      <a:pt x="1634" y="4110"/>
                    </a:lnTo>
                    <a:lnTo>
                      <a:pt x="1634" y="4114"/>
                    </a:lnTo>
                    <a:lnTo>
                      <a:pt x="1636" y="4117"/>
                    </a:lnTo>
                    <a:lnTo>
                      <a:pt x="1638" y="4120"/>
                    </a:lnTo>
                    <a:lnTo>
                      <a:pt x="1642" y="4123"/>
                    </a:lnTo>
                    <a:lnTo>
                      <a:pt x="1651" y="4128"/>
                    </a:lnTo>
                    <a:lnTo>
                      <a:pt x="1662" y="4133"/>
                    </a:lnTo>
                    <a:lnTo>
                      <a:pt x="1672" y="4137"/>
                    </a:lnTo>
                    <a:lnTo>
                      <a:pt x="1682" y="4142"/>
                    </a:lnTo>
                    <a:lnTo>
                      <a:pt x="1686" y="4144"/>
                    </a:lnTo>
                    <a:lnTo>
                      <a:pt x="1690" y="4148"/>
                    </a:lnTo>
                    <a:lnTo>
                      <a:pt x="1692" y="4150"/>
                    </a:lnTo>
                    <a:lnTo>
                      <a:pt x="1693" y="4153"/>
                    </a:lnTo>
                    <a:lnTo>
                      <a:pt x="1704" y="4168"/>
                    </a:lnTo>
                    <a:lnTo>
                      <a:pt x="1724" y="4190"/>
                    </a:lnTo>
                    <a:lnTo>
                      <a:pt x="1735" y="4201"/>
                    </a:lnTo>
                    <a:lnTo>
                      <a:pt x="1744" y="4209"/>
                    </a:lnTo>
                    <a:lnTo>
                      <a:pt x="1748" y="4212"/>
                    </a:lnTo>
                    <a:lnTo>
                      <a:pt x="1750" y="4213"/>
                    </a:lnTo>
                    <a:lnTo>
                      <a:pt x="1752" y="4213"/>
                    </a:lnTo>
                    <a:lnTo>
                      <a:pt x="1753" y="4212"/>
                    </a:lnTo>
                    <a:lnTo>
                      <a:pt x="1753" y="4200"/>
                    </a:lnTo>
                    <a:lnTo>
                      <a:pt x="1753" y="4183"/>
                    </a:lnTo>
                    <a:lnTo>
                      <a:pt x="1753" y="4166"/>
                    </a:lnTo>
                    <a:lnTo>
                      <a:pt x="1752" y="4147"/>
                    </a:lnTo>
                    <a:lnTo>
                      <a:pt x="1750" y="4129"/>
                    </a:lnTo>
                    <a:lnTo>
                      <a:pt x="1748" y="4113"/>
                    </a:lnTo>
                    <a:lnTo>
                      <a:pt x="1745" y="4107"/>
                    </a:lnTo>
                    <a:lnTo>
                      <a:pt x="1744" y="4102"/>
                    </a:lnTo>
                    <a:lnTo>
                      <a:pt x="1742" y="4098"/>
                    </a:lnTo>
                    <a:lnTo>
                      <a:pt x="1739" y="4096"/>
                    </a:lnTo>
                    <a:lnTo>
                      <a:pt x="1736" y="4092"/>
                    </a:lnTo>
                    <a:lnTo>
                      <a:pt x="1731" y="4089"/>
                    </a:lnTo>
                    <a:lnTo>
                      <a:pt x="1726" y="4084"/>
                    </a:lnTo>
                    <a:lnTo>
                      <a:pt x="1722" y="4078"/>
                    </a:lnTo>
                    <a:lnTo>
                      <a:pt x="1713" y="4065"/>
                    </a:lnTo>
                    <a:lnTo>
                      <a:pt x="1706" y="4052"/>
                    </a:lnTo>
                    <a:lnTo>
                      <a:pt x="1701" y="4039"/>
                    </a:lnTo>
                    <a:lnTo>
                      <a:pt x="1696" y="4029"/>
                    </a:lnTo>
                    <a:lnTo>
                      <a:pt x="1696" y="4025"/>
                    </a:lnTo>
                    <a:lnTo>
                      <a:pt x="1695" y="4022"/>
                    </a:lnTo>
                    <a:lnTo>
                      <a:pt x="1696" y="4021"/>
                    </a:lnTo>
                    <a:lnTo>
                      <a:pt x="1697" y="4021"/>
                    </a:lnTo>
                    <a:lnTo>
                      <a:pt x="1711" y="4028"/>
                    </a:lnTo>
                    <a:lnTo>
                      <a:pt x="1733" y="4037"/>
                    </a:lnTo>
                    <a:lnTo>
                      <a:pt x="1744" y="4041"/>
                    </a:lnTo>
                    <a:lnTo>
                      <a:pt x="1753" y="4043"/>
                    </a:lnTo>
                    <a:lnTo>
                      <a:pt x="1758" y="4042"/>
                    </a:lnTo>
                    <a:lnTo>
                      <a:pt x="1760" y="4041"/>
                    </a:lnTo>
                    <a:lnTo>
                      <a:pt x="1763" y="4038"/>
                    </a:lnTo>
                    <a:lnTo>
                      <a:pt x="1765" y="4035"/>
                    </a:lnTo>
                    <a:lnTo>
                      <a:pt x="1769" y="4017"/>
                    </a:lnTo>
                    <a:lnTo>
                      <a:pt x="1769" y="4004"/>
                    </a:lnTo>
                    <a:lnTo>
                      <a:pt x="1768" y="3998"/>
                    </a:lnTo>
                    <a:lnTo>
                      <a:pt x="1764" y="3992"/>
                    </a:lnTo>
                    <a:lnTo>
                      <a:pt x="1759" y="3988"/>
                    </a:lnTo>
                    <a:lnTo>
                      <a:pt x="1751" y="3982"/>
                    </a:lnTo>
                    <a:lnTo>
                      <a:pt x="1744" y="3977"/>
                    </a:lnTo>
                    <a:lnTo>
                      <a:pt x="1736" y="3970"/>
                    </a:lnTo>
                    <a:lnTo>
                      <a:pt x="1728" y="3962"/>
                    </a:lnTo>
                    <a:lnTo>
                      <a:pt x="1719" y="3953"/>
                    </a:lnTo>
                    <a:lnTo>
                      <a:pt x="1712" y="3945"/>
                    </a:lnTo>
                    <a:lnTo>
                      <a:pt x="1706" y="3936"/>
                    </a:lnTo>
                    <a:lnTo>
                      <a:pt x="1701" y="3926"/>
                    </a:lnTo>
                    <a:lnTo>
                      <a:pt x="1697" y="3919"/>
                    </a:lnTo>
                    <a:lnTo>
                      <a:pt x="1695" y="3913"/>
                    </a:lnTo>
                    <a:lnTo>
                      <a:pt x="1691" y="3909"/>
                    </a:lnTo>
                    <a:lnTo>
                      <a:pt x="1686" y="3905"/>
                    </a:lnTo>
                    <a:lnTo>
                      <a:pt x="1683" y="3902"/>
                    </a:lnTo>
                    <a:lnTo>
                      <a:pt x="1672" y="3896"/>
                    </a:lnTo>
                    <a:lnTo>
                      <a:pt x="1662" y="3892"/>
                    </a:lnTo>
                    <a:lnTo>
                      <a:pt x="1650" y="3887"/>
                    </a:lnTo>
                    <a:lnTo>
                      <a:pt x="1639" y="3883"/>
                    </a:lnTo>
                    <a:lnTo>
                      <a:pt x="1634" y="3879"/>
                    </a:lnTo>
                    <a:lnTo>
                      <a:pt x="1629" y="3876"/>
                    </a:lnTo>
                    <a:lnTo>
                      <a:pt x="1624" y="3871"/>
                    </a:lnTo>
                    <a:lnTo>
                      <a:pt x="1619" y="3866"/>
                    </a:lnTo>
                    <a:lnTo>
                      <a:pt x="1616" y="3858"/>
                    </a:lnTo>
                    <a:lnTo>
                      <a:pt x="1614" y="3844"/>
                    </a:lnTo>
                    <a:lnTo>
                      <a:pt x="1610" y="3825"/>
                    </a:lnTo>
                    <a:lnTo>
                      <a:pt x="1609" y="3805"/>
                    </a:lnTo>
                    <a:lnTo>
                      <a:pt x="1608" y="3786"/>
                    </a:lnTo>
                    <a:lnTo>
                      <a:pt x="1609" y="3770"/>
                    </a:lnTo>
                    <a:lnTo>
                      <a:pt x="1610" y="3762"/>
                    </a:lnTo>
                    <a:lnTo>
                      <a:pt x="1611" y="3757"/>
                    </a:lnTo>
                    <a:lnTo>
                      <a:pt x="1614" y="3753"/>
                    </a:lnTo>
                    <a:lnTo>
                      <a:pt x="1616" y="3751"/>
                    </a:lnTo>
                    <a:lnTo>
                      <a:pt x="1617" y="3773"/>
                    </a:lnTo>
                    <a:lnTo>
                      <a:pt x="1618" y="3808"/>
                    </a:lnTo>
                    <a:lnTo>
                      <a:pt x="1619" y="3818"/>
                    </a:lnTo>
                    <a:lnTo>
                      <a:pt x="1621" y="3826"/>
                    </a:lnTo>
                    <a:lnTo>
                      <a:pt x="1623" y="3834"/>
                    </a:lnTo>
                    <a:lnTo>
                      <a:pt x="1625" y="3840"/>
                    </a:lnTo>
                    <a:lnTo>
                      <a:pt x="1628" y="3846"/>
                    </a:lnTo>
                    <a:lnTo>
                      <a:pt x="1632" y="3848"/>
                    </a:lnTo>
                    <a:lnTo>
                      <a:pt x="1634" y="3850"/>
                    </a:lnTo>
                    <a:lnTo>
                      <a:pt x="1636" y="3850"/>
                    </a:lnTo>
                    <a:lnTo>
                      <a:pt x="1638" y="3850"/>
                    </a:lnTo>
                    <a:lnTo>
                      <a:pt x="1642" y="3848"/>
                    </a:lnTo>
                    <a:lnTo>
                      <a:pt x="1644" y="3848"/>
                    </a:lnTo>
                    <a:lnTo>
                      <a:pt x="1649" y="3850"/>
                    </a:lnTo>
                    <a:lnTo>
                      <a:pt x="1655" y="3852"/>
                    </a:lnTo>
                    <a:lnTo>
                      <a:pt x="1661" y="3857"/>
                    </a:lnTo>
                    <a:lnTo>
                      <a:pt x="1675" y="3866"/>
                    </a:lnTo>
                    <a:lnTo>
                      <a:pt x="1691" y="3878"/>
                    </a:lnTo>
                    <a:lnTo>
                      <a:pt x="1706" y="3890"/>
                    </a:lnTo>
                    <a:lnTo>
                      <a:pt x="1719" y="3897"/>
                    </a:lnTo>
                    <a:lnTo>
                      <a:pt x="1725" y="3899"/>
                    </a:lnTo>
                    <a:lnTo>
                      <a:pt x="1730" y="3899"/>
                    </a:lnTo>
                    <a:lnTo>
                      <a:pt x="1732" y="3898"/>
                    </a:lnTo>
                    <a:lnTo>
                      <a:pt x="1733" y="3897"/>
                    </a:lnTo>
                    <a:lnTo>
                      <a:pt x="1736" y="3896"/>
                    </a:lnTo>
                    <a:lnTo>
                      <a:pt x="1736" y="3893"/>
                    </a:lnTo>
                    <a:lnTo>
                      <a:pt x="1737" y="3887"/>
                    </a:lnTo>
                    <a:lnTo>
                      <a:pt x="1737" y="3881"/>
                    </a:lnTo>
                    <a:lnTo>
                      <a:pt x="1736" y="3877"/>
                    </a:lnTo>
                    <a:lnTo>
                      <a:pt x="1733" y="3871"/>
                    </a:lnTo>
                    <a:lnTo>
                      <a:pt x="1728" y="3861"/>
                    </a:lnTo>
                    <a:lnTo>
                      <a:pt x="1718" y="3852"/>
                    </a:lnTo>
                    <a:lnTo>
                      <a:pt x="1710" y="3844"/>
                    </a:lnTo>
                    <a:lnTo>
                      <a:pt x="1702" y="3836"/>
                    </a:lnTo>
                    <a:lnTo>
                      <a:pt x="1698" y="3832"/>
                    </a:lnTo>
                    <a:lnTo>
                      <a:pt x="1696" y="3827"/>
                    </a:lnTo>
                    <a:lnTo>
                      <a:pt x="1693" y="3824"/>
                    </a:lnTo>
                    <a:lnTo>
                      <a:pt x="1693" y="3819"/>
                    </a:lnTo>
                    <a:lnTo>
                      <a:pt x="1716" y="3815"/>
                    </a:lnTo>
                    <a:lnTo>
                      <a:pt x="1737" y="3812"/>
                    </a:lnTo>
                    <a:lnTo>
                      <a:pt x="1748" y="3810"/>
                    </a:lnTo>
                    <a:lnTo>
                      <a:pt x="1757" y="3806"/>
                    </a:lnTo>
                    <a:lnTo>
                      <a:pt x="1762" y="3803"/>
                    </a:lnTo>
                    <a:lnTo>
                      <a:pt x="1766" y="3799"/>
                    </a:lnTo>
                    <a:lnTo>
                      <a:pt x="1771" y="3795"/>
                    </a:lnTo>
                    <a:lnTo>
                      <a:pt x="1776" y="3790"/>
                    </a:lnTo>
                    <a:lnTo>
                      <a:pt x="1784" y="3779"/>
                    </a:lnTo>
                    <a:lnTo>
                      <a:pt x="1790" y="3767"/>
                    </a:lnTo>
                    <a:lnTo>
                      <a:pt x="1795" y="3755"/>
                    </a:lnTo>
                    <a:lnTo>
                      <a:pt x="1798" y="3744"/>
                    </a:lnTo>
                    <a:lnTo>
                      <a:pt x="1800" y="3731"/>
                    </a:lnTo>
                    <a:lnTo>
                      <a:pt x="1802" y="3718"/>
                    </a:lnTo>
                    <a:lnTo>
                      <a:pt x="1803" y="3705"/>
                    </a:lnTo>
                    <a:lnTo>
                      <a:pt x="1803" y="3691"/>
                    </a:lnTo>
                    <a:lnTo>
                      <a:pt x="1805" y="3693"/>
                    </a:lnTo>
                    <a:lnTo>
                      <a:pt x="1810" y="3698"/>
                    </a:lnTo>
                    <a:lnTo>
                      <a:pt x="1816" y="3706"/>
                    </a:lnTo>
                    <a:lnTo>
                      <a:pt x="1822" y="3715"/>
                    </a:lnTo>
                    <a:lnTo>
                      <a:pt x="1826" y="3726"/>
                    </a:lnTo>
                    <a:lnTo>
                      <a:pt x="1829" y="3735"/>
                    </a:lnTo>
                    <a:lnTo>
                      <a:pt x="1830" y="3739"/>
                    </a:lnTo>
                    <a:lnTo>
                      <a:pt x="1829" y="3742"/>
                    </a:lnTo>
                    <a:lnTo>
                      <a:pt x="1827" y="3745"/>
                    </a:lnTo>
                    <a:lnTo>
                      <a:pt x="1825" y="3747"/>
                    </a:lnTo>
                    <a:lnTo>
                      <a:pt x="1815" y="3754"/>
                    </a:lnTo>
                    <a:lnTo>
                      <a:pt x="1807" y="3759"/>
                    </a:lnTo>
                    <a:lnTo>
                      <a:pt x="1806" y="3762"/>
                    </a:lnTo>
                    <a:lnTo>
                      <a:pt x="1805" y="3765"/>
                    </a:lnTo>
                    <a:lnTo>
                      <a:pt x="1805" y="3767"/>
                    </a:lnTo>
                    <a:lnTo>
                      <a:pt x="1806" y="3771"/>
                    </a:lnTo>
                    <a:lnTo>
                      <a:pt x="1807" y="3777"/>
                    </a:lnTo>
                    <a:lnTo>
                      <a:pt x="1809" y="3782"/>
                    </a:lnTo>
                    <a:lnTo>
                      <a:pt x="1809" y="3786"/>
                    </a:lnTo>
                    <a:lnTo>
                      <a:pt x="1809" y="3790"/>
                    </a:lnTo>
                    <a:lnTo>
                      <a:pt x="1807" y="3794"/>
                    </a:lnTo>
                    <a:lnTo>
                      <a:pt x="1806" y="3799"/>
                    </a:lnTo>
                    <a:lnTo>
                      <a:pt x="1802" y="3808"/>
                    </a:lnTo>
                    <a:lnTo>
                      <a:pt x="1797" y="3819"/>
                    </a:lnTo>
                    <a:lnTo>
                      <a:pt x="1795" y="3824"/>
                    </a:lnTo>
                    <a:lnTo>
                      <a:pt x="1793" y="3830"/>
                    </a:lnTo>
                    <a:lnTo>
                      <a:pt x="1793" y="3834"/>
                    </a:lnTo>
                    <a:lnTo>
                      <a:pt x="1795" y="3841"/>
                    </a:lnTo>
                    <a:lnTo>
                      <a:pt x="1798" y="3848"/>
                    </a:lnTo>
                    <a:lnTo>
                      <a:pt x="1803" y="3856"/>
                    </a:lnTo>
                    <a:lnTo>
                      <a:pt x="1810" y="3863"/>
                    </a:lnTo>
                    <a:lnTo>
                      <a:pt x="1819" y="3869"/>
                    </a:lnTo>
                    <a:lnTo>
                      <a:pt x="1830" y="3876"/>
                    </a:lnTo>
                    <a:lnTo>
                      <a:pt x="1842" y="3880"/>
                    </a:lnTo>
                    <a:lnTo>
                      <a:pt x="1853" y="3886"/>
                    </a:lnTo>
                    <a:lnTo>
                      <a:pt x="1866" y="3890"/>
                    </a:lnTo>
                    <a:lnTo>
                      <a:pt x="1879" y="3893"/>
                    </a:lnTo>
                    <a:lnTo>
                      <a:pt x="1892" y="3896"/>
                    </a:lnTo>
                    <a:lnTo>
                      <a:pt x="1903" y="3896"/>
                    </a:lnTo>
                    <a:lnTo>
                      <a:pt x="1914" y="3896"/>
                    </a:lnTo>
                    <a:lnTo>
                      <a:pt x="1924" y="3893"/>
                    </a:lnTo>
                    <a:lnTo>
                      <a:pt x="1931" y="3890"/>
                    </a:lnTo>
                    <a:lnTo>
                      <a:pt x="1934" y="3887"/>
                    </a:lnTo>
                    <a:lnTo>
                      <a:pt x="1937" y="3885"/>
                    </a:lnTo>
                    <a:lnTo>
                      <a:pt x="1939" y="3881"/>
                    </a:lnTo>
                    <a:lnTo>
                      <a:pt x="1940" y="3878"/>
                    </a:lnTo>
                    <a:lnTo>
                      <a:pt x="1943" y="3878"/>
                    </a:lnTo>
                    <a:lnTo>
                      <a:pt x="1946" y="3879"/>
                    </a:lnTo>
                    <a:lnTo>
                      <a:pt x="1950" y="3881"/>
                    </a:lnTo>
                    <a:lnTo>
                      <a:pt x="1953" y="3885"/>
                    </a:lnTo>
                    <a:lnTo>
                      <a:pt x="1960" y="3892"/>
                    </a:lnTo>
                    <a:lnTo>
                      <a:pt x="1967" y="3900"/>
                    </a:lnTo>
                    <a:lnTo>
                      <a:pt x="1980" y="3919"/>
                    </a:lnTo>
                    <a:lnTo>
                      <a:pt x="1988" y="3933"/>
                    </a:lnTo>
                    <a:lnTo>
                      <a:pt x="1996" y="3944"/>
                    </a:lnTo>
                    <a:lnTo>
                      <a:pt x="2003" y="3952"/>
                    </a:lnTo>
                    <a:lnTo>
                      <a:pt x="2010" y="3957"/>
                    </a:lnTo>
                    <a:lnTo>
                      <a:pt x="2018" y="3960"/>
                    </a:lnTo>
                    <a:lnTo>
                      <a:pt x="2025" y="3962"/>
                    </a:lnTo>
                    <a:lnTo>
                      <a:pt x="2033" y="3963"/>
                    </a:lnTo>
                    <a:lnTo>
                      <a:pt x="2043" y="3963"/>
                    </a:lnTo>
                    <a:lnTo>
                      <a:pt x="2052" y="3963"/>
                    </a:lnTo>
                    <a:lnTo>
                      <a:pt x="2051" y="3972"/>
                    </a:lnTo>
                    <a:lnTo>
                      <a:pt x="2048" y="3980"/>
                    </a:lnTo>
                    <a:lnTo>
                      <a:pt x="2044" y="3991"/>
                    </a:lnTo>
                    <a:lnTo>
                      <a:pt x="2037" y="4001"/>
                    </a:lnTo>
                    <a:lnTo>
                      <a:pt x="2021" y="4022"/>
                    </a:lnTo>
                    <a:lnTo>
                      <a:pt x="2004" y="4044"/>
                    </a:lnTo>
                    <a:lnTo>
                      <a:pt x="1985" y="4065"/>
                    </a:lnTo>
                    <a:lnTo>
                      <a:pt x="1970" y="4087"/>
                    </a:lnTo>
                    <a:lnTo>
                      <a:pt x="1963" y="4096"/>
                    </a:lnTo>
                    <a:lnTo>
                      <a:pt x="1958" y="4107"/>
                    </a:lnTo>
                    <a:lnTo>
                      <a:pt x="1956" y="4115"/>
                    </a:lnTo>
                    <a:lnTo>
                      <a:pt x="1954" y="4124"/>
                    </a:lnTo>
                    <a:lnTo>
                      <a:pt x="1959" y="4122"/>
                    </a:lnTo>
                    <a:lnTo>
                      <a:pt x="1966" y="4116"/>
                    </a:lnTo>
                    <a:lnTo>
                      <a:pt x="1974" y="4108"/>
                    </a:lnTo>
                    <a:lnTo>
                      <a:pt x="1984" y="4098"/>
                    </a:lnTo>
                    <a:lnTo>
                      <a:pt x="2004" y="4074"/>
                    </a:lnTo>
                    <a:lnTo>
                      <a:pt x="2025" y="4044"/>
                    </a:lnTo>
                    <a:lnTo>
                      <a:pt x="2046" y="4015"/>
                    </a:lnTo>
                    <a:lnTo>
                      <a:pt x="2064" y="3988"/>
                    </a:lnTo>
                    <a:lnTo>
                      <a:pt x="2077" y="3965"/>
                    </a:lnTo>
                    <a:lnTo>
                      <a:pt x="2084" y="3951"/>
                    </a:lnTo>
                    <a:lnTo>
                      <a:pt x="2079" y="3935"/>
                    </a:lnTo>
                    <a:lnTo>
                      <a:pt x="2068" y="3913"/>
                    </a:lnTo>
                    <a:lnTo>
                      <a:pt x="2065" y="3903"/>
                    </a:lnTo>
                    <a:lnTo>
                      <a:pt x="2062" y="3894"/>
                    </a:lnTo>
                    <a:lnTo>
                      <a:pt x="2062" y="3892"/>
                    </a:lnTo>
                    <a:lnTo>
                      <a:pt x="2064" y="3890"/>
                    </a:lnTo>
                    <a:lnTo>
                      <a:pt x="2066" y="3889"/>
                    </a:lnTo>
                    <a:lnTo>
                      <a:pt x="2068" y="3890"/>
                    </a:lnTo>
                    <a:lnTo>
                      <a:pt x="2078" y="3892"/>
                    </a:lnTo>
                    <a:lnTo>
                      <a:pt x="2086" y="3894"/>
                    </a:lnTo>
                    <a:lnTo>
                      <a:pt x="2095" y="3898"/>
                    </a:lnTo>
                    <a:lnTo>
                      <a:pt x="2105" y="3902"/>
                    </a:lnTo>
                    <a:lnTo>
                      <a:pt x="2110" y="3903"/>
                    </a:lnTo>
                    <a:lnTo>
                      <a:pt x="2113" y="3904"/>
                    </a:lnTo>
                    <a:lnTo>
                      <a:pt x="2114" y="3904"/>
                    </a:lnTo>
                    <a:lnTo>
                      <a:pt x="2114" y="3903"/>
                    </a:lnTo>
                    <a:lnTo>
                      <a:pt x="2113" y="3898"/>
                    </a:lnTo>
                    <a:lnTo>
                      <a:pt x="2112" y="3891"/>
                    </a:lnTo>
                    <a:lnTo>
                      <a:pt x="2111" y="3885"/>
                    </a:lnTo>
                    <a:lnTo>
                      <a:pt x="2111" y="3880"/>
                    </a:lnTo>
                    <a:lnTo>
                      <a:pt x="2108" y="3876"/>
                    </a:lnTo>
                    <a:lnTo>
                      <a:pt x="2106" y="3872"/>
                    </a:lnTo>
                    <a:lnTo>
                      <a:pt x="2104" y="3869"/>
                    </a:lnTo>
                    <a:lnTo>
                      <a:pt x="2099" y="3866"/>
                    </a:lnTo>
                    <a:lnTo>
                      <a:pt x="2095" y="3864"/>
                    </a:lnTo>
                    <a:lnTo>
                      <a:pt x="2090" y="3861"/>
                    </a:lnTo>
                    <a:lnTo>
                      <a:pt x="2082" y="3858"/>
                    </a:lnTo>
                    <a:lnTo>
                      <a:pt x="2075" y="3853"/>
                    </a:lnTo>
                    <a:lnTo>
                      <a:pt x="2070" y="3847"/>
                    </a:lnTo>
                    <a:lnTo>
                      <a:pt x="2064" y="3841"/>
                    </a:lnTo>
                    <a:lnTo>
                      <a:pt x="2058" y="3836"/>
                    </a:lnTo>
                    <a:lnTo>
                      <a:pt x="2052" y="3831"/>
                    </a:lnTo>
                    <a:lnTo>
                      <a:pt x="2046" y="3828"/>
                    </a:lnTo>
                    <a:lnTo>
                      <a:pt x="2040" y="3827"/>
                    </a:lnTo>
                    <a:lnTo>
                      <a:pt x="2028" y="3828"/>
                    </a:lnTo>
                    <a:lnTo>
                      <a:pt x="2014" y="3831"/>
                    </a:lnTo>
                    <a:lnTo>
                      <a:pt x="2007" y="3831"/>
                    </a:lnTo>
                    <a:lnTo>
                      <a:pt x="2001" y="3831"/>
                    </a:lnTo>
                    <a:lnTo>
                      <a:pt x="1996" y="3828"/>
                    </a:lnTo>
                    <a:lnTo>
                      <a:pt x="1993" y="3825"/>
                    </a:lnTo>
                    <a:lnTo>
                      <a:pt x="1988" y="3817"/>
                    </a:lnTo>
                    <a:lnTo>
                      <a:pt x="1984" y="3803"/>
                    </a:lnTo>
                    <a:lnTo>
                      <a:pt x="1981" y="3795"/>
                    </a:lnTo>
                    <a:lnTo>
                      <a:pt x="1981" y="3791"/>
                    </a:lnTo>
                    <a:lnTo>
                      <a:pt x="1981" y="3788"/>
                    </a:lnTo>
                    <a:lnTo>
                      <a:pt x="1981" y="3787"/>
                    </a:lnTo>
                    <a:lnTo>
                      <a:pt x="1983" y="3787"/>
                    </a:lnTo>
                    <a:lnTo>
                      <a:pt x="1984" y="3787"/>
                    </a:lnTo>
                    <a:lnTo>
                      <a:pt x="1993" y="3794"/>
                    </a:lnTo>
                    <a:lnTo>
                      <a:pt x="1999" y="3801"/>
                    </a:lnTo>
                    <a:lnTo>
                      <a:pt x="2001" y="3804"/>
                    </a:lnTo>
                    <a:lnTo>
                      <a:pt x="2005" y="3806"/>
                    </a:lnTo>
                    <a:lnTo>
                      <a:pt x="2011" y="3808"/>
                    </a:lnTo>
                    <a:lnTo>
                      <a:pt x="2017" y="3808"/>
                    </a:lnTo>
                    <a:lnTo>
                      <a:pt x="2023" y="3807"/>
                    </a:lnTo>
                    <a:lnTo>
                      <a:pt x="2028" y="3803"/>
                    </a:lnTo>
                    <a:lnTo>
                      <a:pt x="2032" y="3800"/>
                    </a:lnTo>
                    <a:lnTo>
                      <a:pt x="2037" y="3798"/>
                    </a:lnTo>
                    <a:lnTo>
                      <a:pt x="2041" y="3795"/>
                    </a:lnTo>
                    <a:lnTo>
                      <a:pt x="2047" y="3795"/>
                    </a:lnTo>
                    <a:lnTo>
                      <a:pt x="2062" y="3795"/>
                    </a:lnTo>
                    <a:lnTo>
                      <a:pt x="2073" y="3795"/>
                    </a:lnTo>
                    <a:lnTo>
                      <a:pt x="2079" y="3797"/>
                    </a:lnTo>
                    <a:lnTo>
                      <a:pt x="2084" y="3799"/>
                    </a:lnTo>
                    <a:lnTo>
                      <a:pt x="2090" y="3804"/>
                    </a:lnTo>
                    <a:lnTo>
                      <a:pt x="2095" y="3808"/>
                    </a:lnTo>
                    <a:lnTo>
                      <a:pt x="2106" y="3821"/>
                    </a:lnTo>
                    <a:lnTo>
                      <a:pt x="2119" y="3837"/>
                    </a:lnTo>
                    <a:lnTo>
                      <a:pt x="2122" y="3839"/>
                    </a:lnTo>
                    <a:lnTo>
                      <a:pt x="2126" y="3841"/>
                    </a:lnTo>
                    <a:lnTo>
                      <a:pt x="2128" y="3843"/>
                    </a:lnTo>
                    <a:lnTo>
                      <a:pt x="2132" y="3843"/>
                    </a:lnTo>
                    <a:lnTo>
                      <a:pt x="2134" y="3843"/>
                    </a:lnTo>
                    <a:lnTo>
                      <a:pt x="2138" y="3840"/>
                    </a:lnTo>
                    <a:lnTo>
                      <a:pt x="2140" y="3837"/>
                    </a:lnTo>
                    <a:lnTo>
                      <a:pt x="2142" y="3831"/>
                    </a:lnTo>
                    <a:lnTo>
                      <a:pt x="2146" y="3817"/>
                    </a:lnTo>
                    <a:lnTo>
                      <a:pt x="2147" y="3805"/>
                    </a:lnTo>
                    <a:lnTo>
                      <a:pt x="2147" y="3797"/>
                    </a:lnTo>
                    <a:lnTo>
                      <a:pt x="2147" y="3790"/>
                    </a:lnTo>
                    <a:lnTo>
                      <a:pt x="2148" y="3786"/>
                    </a:lnTo>
                    <a:lnTo>
                      <a:pt x="2149" y="3784"/>
                    </a:lnTo>
                    <a:lnTo>
                      <a:pt x="2152" y="3781"/>
                    </a:lnTo>
                    <a:lnTo>
                      <a:pt x="2154" y="3779"/>
                    </a:lnTo>
                    <a:lnTo>
                      <a:pt x="2162" y="3773"/>
                    </a:lnTo>
                    <a:lnTo>
                      <a:pt x="2176" y="3767"/>
                    </a:lnTo>
                    <a:lnTo>
                      <a:pt x="2182" y="3765"/>
                    </a:lnTo>
                    <a:lnTo>
                      <a:pt x="2185" y="3761"/>
                    </a:lnTo>
                    <a:lnTo>
                      <a:pt x="2185" y="3758"/>
                    </a:lnTo>
                    <a:lnTo>
                      <a:pt x="2184" y="3755"/>
                    </a:lnTo>
                    <a:lnTo>
                      <a:pt x="2182" y="3752"/>
                    </a:lnTo>
                    <a:lnTo>
                      <a:pt x="2182" y="3751"/>
                    </a:lnTo>
                    <a:lnTo>
                      <a:pt x="2184" y="3749"/>
                    </a:lnTo>
                    <a:lnTo>
                      <a:pt x="2187" y="3748"/>
                    </a:lnTo>
                    <a:lnTo>
                      <a:pt x="2191" y="3749"/>
                    </a:lnTo>
                    <a:lnTo>
                      <a:pt x="2196" y="3749"/>
                    </a:lnTo>
                    <a:lnTo>
                      <a:pt x="2198" y="3749"/>
                    </a:lnTo>
                    <a:lnTo>
                      <a:pt x="2200" y="3749"/>
                    </a:lnTo>
                    <a:lnTo>
                      <a:pt x="2201" y="3749"/>
                    </a:lnTo>
                    <a:lnTo>
                      <a:pt x="2202" y="3748"/>
                    </a:lnTo>
                    <a:lnTo>
                      <a:pt x="2201" y="3738"/>
                    </a:lnTo>
                    <a:lnTo>
                      <a:pt x="2199" y="3728"/>
                    </a:lnTo>
                    <a:lnTo>
                      <a:pt x="2195" y="3720"/>
                    </a:lnTo>
                    <a:lnTo>
                      <a:pt x="2191" y="3711"/>
                    </a:lnTo>
                    <a:lnTo>
                      <a:pt x="2186" y="3700"/>
                    </a:lnTo>
                    <a:lnTo>
                      <a:pt x="2184" y="3687"/>
                    </a:lnTo>
                    <a:lnTo>
                      <a:pt x="2182" y="3674"/>
                    </a:lnTo>
                    <a:lnTo>
                      <a:pt x="2180" y="3661"/>
                    </a:lnTo>
                    <a:lnTo>
                      <a:pt x="2181" y="3658"/>
                    </a:lnTo>
                    <a:lnTo>
                      <a:pt x="2184" y="3654"/>
                    </a:lnTo>
                    <a:lnTo>
                      <a:pt x="2187" y="3650"/>
                    </a:lnTo>
                    <a:lnTo>
                      <a:pt x="2193" y="3647"/>
                    </a:lnTo>
                    <a:lnTo>
                      <a:pt x="2199" y="3645"/>
                    </a:lnTo>
                    <a:lnTo>
                      <a:pt x="2206" y="3642"/>
                    </a:lnTo>
                    <a:lnTo>
                      <a:pt x="2214" y="3640"/>
                    </a:lnTo>
                    <a:lnTo>
                      <a:pt x="2222" y="3639"/>
                    </a:lnTo>
                    <a:lnTo>
                      <a:pt x="2231" y="3639"/>
                    </a:lnTo>
                    <a:lnTo>
                      <a:pt x="2239" y="3640"/>
                    </a:lnTo>
                    <a:lnTo>
                      <a:pt x="2246" y="3641"/>
                    </a:lnTo>
                    <a:lnTo>
                      <a:pt x="2253" y="3645"/>
                    </a:lnTo>
                    <a:lnTo>
                      <a:pt x="2258" y="3649"/>
                    </a:lnTo>
                    <a:lnTo>
                      <a:pt x="2262" y="3654"/>
                    </a:lnTo>
                    <a:lnTo>
                      <a:pt x="2266" y="3662"/>
                    </a:lnTo>
                    <a:lnTo>
                      <a:pt x="2266" y="3671"/>
                    </a:lnTo>
                    <a:lnTo>
                      <a:pt x="2272" y="3667"/>
                    </a:lnTo>
                    <a:lnTo>
                      <a:pt x="2276" y="3661"/>
                    </a:lnTo>
                    <a:lnTo>
                      <a:pt x="2281" y="3653"/>
                    </a:lnTo>
                    <a:lnTo>
                      <a:pt x="2285" y="3645"/>
                    </a:lnTo>
                    <a:lnTo>
                      <a:pt x="2292" y="3629"/>
                    </a:lnTo>
                    <a:lnTo>
                      <a:pt x="2294" y="3622"/>
                    </a:lnTo>
                    <a:lnTo>
                      <a:pt x="2294" y="3622"/>
                    </a:lnTo>
                    <a:lnTo>
                      <a:pt x="2435" y="3544"/>
                    </a:lnTo>
                    <a:lnTo>
                      <a:pt x="2439" y="3543"/>
                    </a:lnTo>
                    <a:lnTo>
                      <a:pt x="2442" y="3541"/>
                    </a:lnTo>
                    <a:lnTo>
                      <a:pt x="2455" y="3535"/>
                    </a:lnTo>
                    <a:lnTo>
                      <a:pt x="2468" y="3528"/>
                    </a:lnTo>
                    <a:lnTo>
                      <a:pt x="2481" y="3521"/>
                    </a:lnTo>
                    <a:lnTo>
                      <a:pt x="2493" y="3513"/>
                    </a:lnTo>
                    <a:lnTo>
                      <a:pt x="2506" y="3503"/>
                    </a:lnTo>
                    <a:lnTo>
                      <a:pt x="2516" y="3494"/>
                    </a:lnTo>
                    <a:lnTo>
                      <a:pt x="2528" y="3484"/>
                    </a:lnTo>
                    <a:lnTo>
                      <a:pt x="2537" y="3474"/>
                    </a:lnTo>
                    <a:lnTo>
                      <a:pt x="2585" y="3424"/>
                    </a:lnTo>
                    <a:lnTo>
                      <a:pt x="2651" y="3344"/>
                    </a:lnTo>
                    <a:lnTo>
                      <a:pt x="2651" y="3344"/>
                    </a:lnTo>
                    <a:lnTo>
                      <a:pt x="2638" y="3319"/>
                    </a:lnTo>
                    <a:lnTo>
                      <a:pt x="2628" y="3296"/>
                    </a:lnTo>
                    <a:lnTo>
                      <a:pt x="2623" y="3286"/>
                    </a:lnTo>
                    <a:lnTo>
                      <a:pt x="2621" y="3276"/>
                    </a:lnTo>
                    <a:lnTo>
                      <a:pt x="2618" y="3267"/>
                    </a:lnTo>
                    <a:lnTo>
                      <a:pt x="2617" y="3259"/>
                    </a:lnTo>
                    <a:lnTo>
                      <a:pt x="2617" y="3241"/>
                    </a:lnTo>
                    <a:lnTo>
                      <a:pt x="2616" y="3227"/>
                    </a:lnTo>
                    <a:lnTo>
                      <a:pt x="2617" y="3216"/>
                    </a:lnTo>
                    <a:lnTo>
                      <a:pt x="2618" y="3206"/>
                    </a:lnTo>
                    <a:lnTo>
                      <a:pt x="2621" y="3198"/>
                    </a:lnTo>
                    <a:lnTo>
                      <a:pt x="2625" y="3187"/>
                    </a:lnTo>
                    <a:lnTo>
                      <a:pt x="2631" y="3175"/>
                    </a:lnTo>
                    <a:lnTo>
                      <a:pt x="2640" y="3160"/>
                    </a:lnTo>
                    <a:lnTo>
                      <a:pt x="2650" y="3141"/>
                    </a:lnTo>
                    <a:lnTo>
                      <a:pt x="2657" y="3126"/>
                    </a:lnTo>
                    <a:lnTo>
                      <a:pt x="2662" y="3109"/>
                    </a:lnTo>
                    <a:lnTo>
                      <a:pt x="2667" y="3089"/>
                    </a:lnTo>
                    <a:lnTo>
                      <a:pt x="2671" y="3074"/>
                    </a:lnTo>
                    <a:lnTo>
                      <a:pt x="2678" y="3051"/>
                    </a:lnTo>
                    <a:lnTo>
                      <a:pt x="2683" y="3039"/>
                    </a:lnTo>
                    <a:lnTo>
                      <a:pt x="2687" y="3029"/>
                    </a:lnTo>
                    <a:lnTo>
                      <a:pt x="2691" y="3022"/>
                    </a:lnTo>
                    <a:lnTo>
                      <a:pt x="2694" y="3019"/>
                    </a:lnTo>
                    <a:lnTo>
                      <a:pt x="2694" y="3006"/>
                    </a:lnTo>
                    <a:lnTo>
                      <a:pt x="2691" y="2992"/>
                    </a:lnTo>
                    <a:lnTo>
                      <a:pt x="2689" y="2985"/>
                    </a:lnTo>
                    <a:lnTo>
                      <a:pt x="2685" y="2979"/>
                    </a:lnTo>
                    <a:lnTo>
                      <a:pt x="2683" y="2976"/>
                    </a:lnTo>
                    <a:lnTo>
                      <a:pt x="2679" y="2974"/>
                    </a:lnTo>
                    <a:lnTo>
                      <a:pt x="2677" y="2972"/>
                    </a:lnTo>
                    <a:lnTo>
                      <a:pt x="2672" y="2970"/>
                    </a:lnTo>
                    <a:lnTo>
                      <a:pt x="2670" y="2947"/>
                    </a:lnTo>
                    <a:lnTo>
                      <a:pt x="2669" y="2922"/>
                    </a:lnTo>
                    <a:lnTo>
                      <a:pt x="2669" y="2897"/>
                    </a:lnTo>
                    <a:lnTo>
                      <a:pt x="2667" y="2873"/>
                    </a:lnTo>
                    <a:lnTo>
                      <a:pt x="2665" y="2854"/>
                    </a:lnTo>
                    <a:lnTo>
                      <a:pt x="2667" y="2828"/>
                    </a:lnTo>
                    <a:lnTo>
                      <a:pt x="2667" y="2816"/>
                    </a:lnTo>
                    <a:lnTo>
                      <a:pt x="2667" y="2804"/>
                    </a:lnTo>
                    <a:lnTo>
                      <a:pt x="2667" y="2795"/>
                    </a:lnTo>
                    <a:lnTo>
                      <a:pt x="2665" y="2789"/>
                    </a:lnTo>
                    <a:lnTo>
                      <a:pt x="2662" y="2783"/>
                    </a:lnTo>
                    <a:lnTo>
                      <a:pt x="2658" y="2778"/>
                    </a:lnTo>
                    <a:lnTo>
                      <a:pt x="2655" y="2772"/>
                    </a:lnTo>
                    <a:lnTo>
                      <a:pt x="2650" y="2768"/>
                    </a:lnTo>
                    <a:lnTo>
                      <a:pt x="2640" y="2757"/>
                    </a:lnTo>
                    <a:lnTo>
                      <a:pt x="2629" y="2749"/>
                    </a:lnTo>
                    <a:lnTo>
                      <a:pt x="2622" y="2739"/>
                    </a:lnTo>
                    <a:lnTo>
                      <a:pt x="2615" y="2731"/>
                    </a:lnTo>
                    <a:lnTo>
                      <a:pt x="2610" y="2723"/>
                    </a:lnTo>
                    <a:lnTo>
                      <a:pt x="2605" y="2715"/>
                    </a:lnTo>
                    <a:lnTo>
                      <a:pt x="2597" y="2697"/>
                    </a:lnTo>
                    <a:lnTo>
                      <a:pt x="2590" y="2677"/>
                    </a:lnTo>
                    <a:lnTo>
                      <a:pt x="2588" y="2665"/>
                    </a:lnTo>
                    <a:lnTo>
                      <a:pt x="2587" y="2653"/>
                    </a:lnTo>
                    <a:lnTo>
                      <a:pt x="2588" y="2640"/>
                    </a:lnTo>
                    <a:lnTo>
                      <a:pt x="2593" y="2629"/>
                    </a:lnTo>
                    <a:lnTo>
                      <a:pt x="2595" y="2623"/>
                    </a:lnTo>
                    <a:lnTo>
                      <a:pt x="2598" y="2617"/>
                    </a:lnTo>
                    <a:lnTo>
                      <a:pt x="2602" y="2612"/>
                    </a:lnTo>
                    <a:lnTo>
                      <a:pt x="2607" y="2609"/>
                    </a:lnTo>
                    <a:lnTo>
                      <a:pt x="2611" y="2605"/>
                    </a:lnTo>
                    <a:lnTo>
                      <a:pt x="2617" y="2603"/>
                    </a:lnTo>
                    <a:lnTo>
                      <a:pt x="2623" y="2601"/>
                    </a:lnTo>
                    <a:lnTo>
                      <a:pt x="2629" y="2600"/>
                    </a:lnTo>
                    <a:lnTo>
                      <a:pt x="2630" y="2591"/>
                    </a:lnTo>
                    <a:lnTo>
                      <a:pt x="2629" y="2576"/>
                    </a:lnTo>
                    <a:lnTo>
                      <a:pt x="2629" y="2568"/>
                    </a:lnTo>
                    <a:lnTo>
                      <a:pt x="2629" y="2563"/>
                    </a:lnTo>
                    <a:lnTo>
                      <a:pt x="2630" y="2558"/>
                    </a:lnTo>
                    <a:lnTo>
                      <a:pt x="2631" y="2555"/>
                    </a:lnTo>
                    <a:lnTo>
                      <a:pt x="2631" y="2553"/>
                    </a:lnTo>
                    <a:lnTo>
                      <a:pt x="2609" y="2554"/>
                    </a:lnTo>
                    <a:lnTo>
                      <a:pt x="2590" y="2553"/>
                    </a:lnTo>
                    <a:lnTo>
                      <a:pt x="2581" y="2551"/>
                    </a:lnTo>
                    <a:lnTo>
                      <a:pt x="2573" y="2546"/>
                    </a:lnTo>
                    <a:lnTo>
                      <a:pt x="2564" y="2539"/>
                    </a:lnTo>
                    <a:lnTo>
                      <a:pt x="2555" y="2528"/>
                    </a:lnTo>
                    <a:lnTo>
                      <a:pt x="2482" y="2468"/>
                    </a:lnTo>
                    <a:lnTo>
                      <a:pt x="2467" y="2456"/>
                    </a:lnTo>
                    <a:lnTo>
                      <a:pt x="2454" y="2447"/>
                    </a:lnTo>
                    <a:lnTo>
                      <a:pt x="2447" y="2442"/>
                    </a:lnTo>
                    <a:lnTo>
                      <a:pt x="2441" y="2436"/>
                    </a:lnTo>
                    <a:lnTo>
                      <a:pt x="2435" y="2429"/>
                    </a:lnTo>
                    <a:lnTo>
                      <a:pt x="2429" y="2422"/>
                    </a:lnTo>
                    <a:lnTo>
                      <a:pt x="2423" y="2414"/>
                    </a:lnTo>
                    <a:lnTo>
                      <a:pt x="2417" y="2407"/>
                    </a:lnTo>
                    <a:lnTo>
                      <a:pt x="2410" y="2402"/>
                    </a:lnTo>
                    <a:lnTo>
                      <a:pt x="2404" y="2400"/>
                    </a:lnTo>
                    <a:lnTo>
                      <a:pt x="2399" y="2398"/>
                    </a:lnTo>
                    <a:lnTo>
                      <a:pt x="2393" y="2398"/>
                    </a:lnTo>
                    <a:lnTo>
                      <a:pt x="2387" y="2398"/>
                    </a:lnTo>
                    <a:lnTo>
                      <a:pt x="2380" y="2400"/>
                    </a:lnTo>
                    <a:lnTo>
                      <a:pt x="2368" y="2406"/>
                    </a:lnTo>
                    <a:lnTo>
                      <a:pt x="2355" y="2414"/>
                    </a:lnTo>
                    <a:lnTo>
                      <a:pt x="2342" y="2425"/>
                    </a:lnTo>
                    <a:lnTo>
                      <a:pt x="2328" y="2435"/>
                    </a:lnTo>
                    <a:lnTo>
                      <a:pt x="2320" y="2441"/>
                    </a:lnTo>
                    <a:lnTo>
                      <a:pt x="2312" y="2447"/>
                    </a:lnTo>
                    <a:lnTo>
                      <a:pt x="2303" y="2452"/>
                    </a:lnTo>
                    <a:lnTo>
                      <a:pt x="2295" y="2455"/>
                    </a:lnTo>
                    <a:lnTo>
                      <a:pt x="2288" y="2458"/>
                    </a:lnTo>
                    <a:lnTo>
                      <a:pt x="2280" y="2460"/>
                    </a:lnTo>
                    <a:lnTo>
                      <a:pt x="2272" y="2461"/>
                    </a:lnTo>
                    <a:lnTo>
                      <a:pt x="2265" y="2461"/>
                    </a:lnTo>
                    <a:lnTo>
                      <a:pt x="2256" y="2461"/>
                    </a:lnTo>
                    <a:lnTo>
                      <a:pt x="2249" y="2461"/>
                    </a:lnTo>
                    <a:lnTo>
                      <a:pt x="2242" y="2459"/>
                    </a:lnTo>
                    <a:lnTo>
                      <a:pt x="2235" y="2458"/>
                    </a:lnTo>
                    <a:lnTo>
                      <a:pt x="2221" y="2452"/>
                    </a:lnTo>
                    <a:lnTo>
                      <a:pt x="2208" y="2444"/>
                    </a:lnTo>
                    <a:lnTo>
                      <a:pt x="2196" y="2434"/>
                    </a:lnTo>
                    <a:lnTo>
                      <a:pt x="2185" y="2422"/>
                    </a:lnTo>
                    <a:lnTo>
                      <a:pt x="2174" y="2409"/>
                    </a:lnTo>
                    <a:lnTo>
                      <a:pt x="2165" y="2395"/>
                    </a:lnTo>
                    <a:lnTo>
                      <a:pt x="2157" y="2380"/>
                    </a:lnTo>
                    <a:lnTo>
                      <a:pt x="2149" y="2363"/>
                    </a:lnTo>
                    <a:lnTo>
                      <a:pt x="2142" y="2347"/>
                    </a:lnTo>
                    <a:lnTo>
                      <a:pt x="2138" y="2330"/>
                    </a:lnTo>
                    <a:lnTo>
                      <a:pt x="2135" y="2322"/>
                    </a:lnTo>
                    <a:lnTo>
                      <a:pt x="2133" y="2314"/>
                    </a:lnTo>
                    <a:lnTo>
                      <a:pt x="2128" y="2307"/>
                    </a:lnTo>
                    <a:lnTo>
                      <a:pt x="2124" y="2299"/>
                    </a:lnTo>
                    <a:lnTo>
                      <a:pt x="2114" y="2283"/>
                    </a:lnTo>
                    <a:lnTo>
                      <a:pt x="2104" y="2269"/>
                    </a:lnTo>
                    <a:lnTo>
                      <a:pt x="2093" y="2254"/>
                    </a:lnTo>
                    <a:lnTo>
                      <a:pt x="2082" y="2240"/>
                    </a:lnTo>
                    <a:lnTo>
                      <a:pt x="2079" y="2233"/>
                    </a:lnTo>
                    <a:lnTo>
                      <a:pt x="2075" y="2224"/>
                    </a:lnTo>
                    <a:lnTo>
                      <a:pt x="2072" y="2217"/>
                    </a:lnTo>
                    <a:lnTo>
                      <a:pt x="2071" y="2210"/>
                    </a:lnTo>
                    <a:lnTo>
                      <a:pt x="2066" y="2207"/>
                    </a:lnTo>
                    <a:lnTo>
                      <a:pt x="2062" y="2202"/>
                    </a:lnTo>
                    <a:lnTo>
                      <a:pt x="2061" y="2202"/>
                    </a:lnTo>
                    <a:lnTo>
                      <a:pt x="2062" y="2214"/>
                    </a:lnTo>
                    <a:lnTo>
                      <a:pt x="2068" y="2229"/>
                    </a:lnTo>
                    <a:lnTo>
                      <a:pt x="2077" y="2247"/>
                    </a:lnTo>
                    <a:lnTo>
                      <a:pt x="2086" y="2266"/>
                    </a:lnTo>
                    <a:lnTo>
                      <a:pt x="2106" y="2301"/>
                    </a:lnTo>
                    <a:lnTo>
                      <a:pt x="2120" y="2327"/>
                    </a:lnTo>
                    <a:lnTo>
                      <a:pt x="2182" y="2434"/>
                    </a:lnTo>
                    <a:lnTo>
                      <a:pt x="2180" y="2433"/>
                    </a:lnTo>
                    <a:lnTo>
                      <a:pt x="2178" y="2432"/>
                    </a:lnTo>
                    <a:lnTo>
                      <a:pt x="2166" y="2431"/>
                    </a:lnTo>
                    <a:lnTo>
                      <a:pt x="2154" y="2428"/>
                    </a:lnTo>
                    <a:lnTo>
                      <a:pt x="2141" y="2423"/>
                    </a:lnTo>
                    <a:lnTo>
                      <a:pt x="2127" y="2418"/>
                    </a:lnTo>
                    <a:lnTo>
                      <a:pt x="2112" y="2411"/>
                    </a:lnTo>
                    <a:lnTo>
                      <a:pt x="2098" y="2402"/>
                    </a:lnTo>
                    <a:lnTo>
                      <a:pt x="2082" y="2394"/>
                    </a:lnTo>
                    <a:lnTo>
                      <a:pt x="2067" y="2383"/>
                    </a:lnTo>
                    <a:lnTo>
                      <a:pt x="2053" y="2374"/>
                    </a:lnTo>
                    <a:lnTo>
                      <a:pt x="2039" y="2363"/>
                    </a:lnTo>
                    <a:lnTo>
                      <a:pt x="2026" y="2352"/>
                    </a:lnTo>
                    <a:lnTo>
                      <a:pt x="2013" y="2341"/>
                    </a:lnTo>
                    <a:lnTo>
                      <a:pt x="2003" y="2330"/>
                    </a:lnTo>
                    <a:lnTo>
                      <a:pt x="1993" y="2320"/>
                    </a:lnTo>
                    <a:lnTo>
                      <a:pt x="1986" y="2309"/>
                    </a:lnTo>
                    <a:lnTo>
                      <a:pt x="1980" y="2300"/>
                    </a:lnTo>
                    <a:lnTo>
                      <a:pt x="1971" y="2279"/>
                    </a:lnTo>
                    <a:lnTo>
                      <a:pt x="1960" y="2254"/>
                    </a:lnTo>
                    <a:lnTo>
                      <a:pt x="1953" y="2241"/>
                    </a:lnTo>
                    <a:lnTo>
                      <a:pt x="1947" y="2229"/>
                    </a:lnTo>
                    <a:lnTo>
                      <a:pt x="1940" y="2220"/>
                    </a:lnTo>
                    <a:lnTo>
                      <a:pt x="1933" y="2213"/>
                    </a:lnTo>
                    <a:lnTo>
                      <a:pt x="1911" y="2202"/>
                    </a:lnTo>
                    <a:lnTo>
                      <a:pt x="1886" y="2192"/>
                    </a:lnTo>
                    <a:lnTo>
                      <a:pt x="1874" y="2187"/>
                    </a:lnTo>
                    <a:lnTo>
                      <a:pt x="1864" y="2180"/>
                    </a:lnTo>
                    <a:lnTo>
                      <a:pt x="1860" y="2175"/>
                    </a:lnTo>
                    <a:lnTo>
                      <a:pt x="1856" y="2170"/>
                    </a:lnTo>
                    <a:lnTo>
                      <a:pt x="1853" y="2165"/>
                    </a:lnTo>
                    <a:lnTo>
                      <a:pt x="1851" y="2158"/>
                    </a:lnTo>
                    <a:lnTo>
                      <a:pt x="1850" y="2138"/>
                    </a:lnTo>
                    <a:lnTo>
                      <a:pt x="1849" y="2111"/>
                    </a:lnTo>
                    <a:lnTo>
                      <a:pt x="1847" y="2098"/>
                    </a:lnTo>
                    <a:lnTo>
                      <a:pt x="1844" y="2086"/>
                    </a:lnTo>
                    <a:lnTo>
                      <a:pt x="1842" y="2083"/>
                    </a:lnTo>
                    <a:lnTo>
                      <a:pt x="1839" y="2079"/>
                    </a:lnTo>
                    <a:lnTo>
                      <a:pt x="1836" y="2077"/>
                    </a:lnTo>
                    <a:lnTo>
                      <a:pt x="1831" y="2076"/>
                    </a:lnTo>
                    <a:lnTo>
                      <a:pt x="1822" y="2076"/>
                    </a:lnTo>
                    <a:lnTo>
                      <a:pt x="1815" y="2078"/>
                    </a:lnTo>
                    <a:lnTo>
                      <a:pt x="1809" y="2080"/>
                    </a:lnTo>
                    <a:lnTo>
                      <a:pt x="1804" y="2084"/>
                    </a:lnTo>
                    <a:lnTo>
                      <a:pt x="1799" y="2089"/>
                    </a:lnTo>
                    <a:lnTo>
                      <a:pt x="1795" y="2092"/>
                    </a:lnTo>
                    <a:lnTo>
                      <a:pt x="1789" y="2096"/>
                    </a:lnTo>
                    <a:lnTo>
                      <a:pt x="1783" y="2098"/>
                    </a:lnTo>
                    <a:lnTo>
                      <a:pt x="1786" y="2035"/>
                    </a:lnTo>
                    <a:lnTo>
                      <a:pt x="1787" y="2031"/>
                    </a:lnTo>
                    <a:lnTo>
                      <a:pt x="1790" y="2027"/>
                    </a:lnTo>
                    <a:lnTo>
                      <a:pt x="1792" y="2024"/>
                    </a:lnTo>
                    <a:lnTo>
                      <a:pt x="1796" y="2020"/>
                    </a:lnTo>
                    <a:lnTo>
                      <a:pt x="1805" y="2014"/>
                    </a:lnTo>
                    <a:lnTo>
                      <a:pt x="1816" y="2010"/>
                    </a:lnTo>
                    <a:lnTo>
                      <a:pt x="1826" y="2005"/>
                    </a:lnTo>
                    <a:lnTo>
                      <a:pt x="1838" y="2000"/>
                    </a:lnTo>
                    <a:lnTo>
                      <a:pt x="1847" y="1996"/>
                    </a:lnTo>
                    <a:lnTo>
                      <a:pt x="1854" y="1990"/>
                    </a:lnTo>
                    <a:lnTo>
                      <a:pt x="1893" y="1951"/>
                    </a:lnTo>
                    <a:lnTo>
                      <a:pt x="1897" y="1967"/>
                    </a:lnTo>
                    <a:lnTo>
                      <a:pt x="1901" y="1984"/>
                    </a:lnTo>
                    <a:lnTo>
                      <a:pt x="1906" y="2000"/>
                    </a:lnTo>
                    <a:lnTo>
                      <a:pt x="1913" y="2013"/>
                    </a:lnTo>
                    <a:lnTo>
                      <a:pt x="1917" y="2019"/>
                    </a:lnTo>
                    <a:lnTo>
                      <a:pt x="1921" y="2025"/>
                    </a:lnTo>
                    <a:lnTo>
                      <a:pt x="1926" y="2029"/>
                    </a:lnTo>
                    <a:lnTo>
                      <a:pt x="1932" y="2032"/>
                    </a:lnTo>
                    <a:lnTo>
                      <a:pt x="1938" y="2035"/>
                    </a:lnTo>
                    <a:lnTo>
                      <a:pt x="1945" y="2036"/>
                    </a:lnTo>
                    <a:lnTo>
                      <a:pt x="1953" y="2036"/>
                    </a:lnTo>
                    <a:lnTo>
                      <a:pt x="1961" y="2033"/>
                    </a:lnTo>
                    <a:lnTo>
                      <a:pt x="1970" y="2031"/>
                    </a:lnTo>
                    <a:lnTo>
                      <a:pt x="1977" y="2027"/>
                    </a:lnTo>
                    <a:lnTo>
                      <a:pt x="1983" y="2023"/>
                    </a:lnTo>
                    <a:lnTo>
                      <a:pt x="1986" y="2018"/>
                    </a:lnTo>
                    <a:lnTo>
                      <a:pt x="1990" y="2012"/>
                    </a:lnTo>
                    <a:lnTo>
                      <a:pt x="1992" y="2005"/>
                    </a:lnTo>
                    <a:lnTo>
                      <a:pt x="1993" y="1999"/>
                    </a:lnTo>
                    <a:lnTo>
                      <a:pt x="1993" y="1991"/>
                    </a:lnTo>
                    <a:lnTo>
                      <a:pt x="1993" y="1977"/>
                    </a:lnTo>
                    <a:lnTo>
                      <a:pt x="1990" y="1961"/>
                    </a:lnTo>
                    <a:lnTo>
                      <a:pt x="1986" y="1946"/>
                    </a:lnTo>
                    <a:lnTo>
                      <a:pt x="1984" y="1933"/>
                    </a:lnTo>
                    <a:lnTo>
                      <a:pt x="1972" y="1946"/>
                    </a:lnTo>
                    <a:lnTo>
                      <a:pt x="1958" y="1959"/>
                    </a:lnTo>
                    <a:lnTo>
                      <a:pt x="1957" y="1950"/>
                    </a:lnTo>
                    <a:lnTo>
                      <a:pt x="1957" y="1939"/>
                    </a:lnTo>
                    <a:lnTo>
                      <a:pt x="1958" y="1930"/>
                    </a:lnTo>
                    <a:lnTo>
                      <a:pt x="1961" y="1919"/>
                    </a:lnTo>
                    <a:lnTo>
                      <a:pt x="1968" y="1900"/>
                    </a:lnTo>
                    <a:lnTo>
                      <a:pt x="1978" y="1882"/>
                    </a:lnTo>
                    <a:lnTo>
                      <a:pt x="1983" y="1872"/>
                    </a:lnTo>
                    <a:lnTo>
                      <a:pt x="1985" y="1859"/>
                    </a:lnTo>
                    <a:lnTo>
                      <a:pt x="1987" y="1844"/>
                    </a:lnTo>
                    <a:lnTo>
                      <a:pt x="1987" y="1829"/>
                    </a:lnTo>
                    <a:lnTo>
                      <a:pt x="1986" y="1799"/>
                    </a:lnTo>
                    <a:lnTo>
                      <a:pt x="1986" y="1772"/>
                    </a:lnTo>
                    <a:lnTo>
                      <a:pt x="1986" y="1769"/>
                    </a:lnTo>
                    <a:lnTo>
                      <a:pt x="1987" y="1767"/>
                    </a:lnTo>
                    <a:lnTo>
                      <a:pt x="1988" y="1766"/>
                    </a:lnTo>
                    <a:lnTo>
                      <a:pt x="1991" y="1766"/>
                    </a:lnTo>
                    <a:lnTo>
                      <a:pt x="1997" y="1768"/>
                    </a:lnTo>
                    <a:lnTo>
                      <a:pt x="2005" y="1772"/>
                    </a:lnTo>
                    <a:lnTo>
                      <a:pt x="2020" y="1781"/>
                    </a:lnTo>
                    <a:lnTo>
                      <a:pt x="2032" y="1787"/>
                    </a:lnTo>
                    <a:lnTo>
                      <a:pt x="2040" y="1787"/>
                    </a:lnTo>
                    <a:lnTo>
                      <a:pt x="2048" y="1787"/>
                    </a:lnTo>
                    <a:lnTo>
                      <a:pt x="2057" y="1785"/>
                    </a:lnTo>
                    <a:lnTo>
                      <a:pt x="2065" y="1781"/>
                    </a:lnTo>
                    <a:lnTo>
                      <a:pt x="2072" y="1778"/>
                    </a:lnTo>
                    <a:lnTo>
                      <a:pt x="2078" y="1772"/>
                    </a:lnTo>
                    <a:lnTo>
                      <a:pt x="2080" y="1768"/>
                    </a:lnTo>
                    <a:lnTo>
                      <a:pt x="2081" y="1765"/>
                    </a:lnTo>
                    <a:lnTo>
                      <a:pt x="2082" y="1761"/>
                    </a:lnTo>
                    <a:lnTo>
                      <a:pt x="2084" y="1756"/>
                    </a:lnTo>
                    <a:lnTo>
                      <a:pt x="2060" y="1752"/>
                    </a:lnTo>
                    <a:lnTo>
                      <a:pt x="2027" y="1742"/>
                    </a:lnTo>
                    <a:lnTo>
                      <a:pt x="2011" y="1736"/>
                    </a:lnTo>
                    <a:lnTo>
                      <a:pt x="1997" y="1730"/>
                    </a:lnTo>
                    <a:lnTo>
                      <a:pt x="1992" y="1727"/>
                    </a:lnTo>
                    <a:lnTo>
                      <a:pt x="1987" y="1723"/>
                    </a:lnTo>
                    <a:lnTo>
                      <a:pt x="1985" y="1719"/>
                    </a:lnTo>
                    <a:lnTo>
                      <a:pt x="1984" y="1715"/>
                    </a:lnTo>
                    <a:lnTo>
                      <a:pt x="1999" y="1710"/>
                    </a:lnTo>
                    <a:lnTo>
                      <a:pt x="2012" y="1705"/>
                    </a:lnTo>
                    <a:lnTo>
                      <a:pt x="2024" y="1697"/>
                    </a:lnTo>
                    <a:lnTo>
                      <a:pt x="2035" y="1693"/>
                    </a:lnTo>
                    <a:lnTo>
                      <a:pt x="2041" y="1690"/>
                    </a:lnTo>
                    <a:lnTo>
                      <a:pt x="2046" y="1690"/>
                    </a:lnTo>
                    <a:lnTo>
                      <a:pt x="2052" y="1689"/>
                    </a:lnTo>
                    <a:lnTo>
                      <a:pt x="2058" y="1690"/>
                    </a:lnTo>
                    <a:lnTo>
                      <a:pt x="2064" y="1693"/>
                    </a:lnTo>
                    <a:lnTo>
                      <a:pt x="2071" y="1696"/>
                    </a:lnTo>
                    <a:lnTo>
                      <a:pt x="2078" y="1701"/>
                    </a:lnTo>
                    <a:lnTo>
                      <a:pt x="2085" y="1708"/>
                    </a:lnTo>
                    <a:lnTo>
                      <a:pt x="2092" y="1716"/>
                    </a:lnTo>
                    <a:lnTo>
                      <a:pt x="2098" y="1727"/>
                    </a:lnTo>
                    <a:lnTo>
                      <a:pt x="2104" y="1740"/>
                    </a:lnTo>
                    <a:lnTo>
                      <a:pt x="2110" y="1754"/>
                    </a:lnTo>
                    <a:lnTo>
                      <a:pt x="2115" y="1769"/>
                    </a:lnTo>
                    <a:lnTo>
                      <a:pt x="2121" y="1783"/>
                    </a:lnTo>
                    <a:lnTo>
                      <a:pt x="2128" y="1796"/>
                    </a:lnTo>
                    <a:lnTo>
                      <a:pt x="2135" y="1808"/>
                    </a:lnTo>
                    <a:lnTo>
                      <a:pt x="2164" y="1849"/>
                    </a:lnTo>
                    <a:lnTo>
                      <a:pt x="2192" y="1892"/>
                    </a:lnTo>
                    <a:lnTo>
                      <a:pt x="2207" y="1913"/>
                    </a:lnTo>
                    <a:lnTo>
                      <a:pt x="2222" y="1933"/>
                    </a:lnTo>
                    <a:lnTo>
                      <a:pt x="2239" y="1953"/>
                    </a:lnTo>
                    <a:lnTo>
                      <a:pt x="2255" y="1972"/>
                    </a:lnTo>
                    <a:lnTo>
                      <a:pt x="2262" y="1980"/>
                    </a:lnTo>
                    <a:lnTo>
                      <a:pt x="2267" y="1987"/>
                    </a:lnTo>
                    <a:lnTo>
                      <a:pt x="2269" y="1994"/>
                    </a:lnTo>
                    <a:lnTo>
                      <a:pt x="2271" y="2000"/>
                    </a:lnTo>
                    <a:lnTo>
                      <a:pt x="2268" y="2005"/>
                    </a:lnTo>
                    <a:lnTo>
                      <a:pt x="2265" y="2010"/>
                    </a:lnTo>
                    <a:lnTo>
                      <a:pt x="2260" y="2014"/>
                    </a:lnTo>
                    <a:lnTo>
                      <a:pt x="2255" y="2018"/>
                    </a:lnTo>
                    <a:lnTo>
                      <a:pt x="2225" y="2032"/>
                    </a:lnTo>
                    <a:lnTo>
                      <a:pt x="2194" y="2045"/>
                    </a:lnTo>
                    <a:lnTo>
                      <a:pt x="2181" y="2056"/>
                    </a:lnTo>
                    <a:lnTo>
                      <a:pt x="2161" y="2073"/>
                    </a:lnTo>
                    <a:lnTo>
                      <a:pt x="2152" y="2083"/>
                    </a:lnTo>
                    <a:lnTo>
                      <a:pt x="2145" y="2091"/>
                    </a:lnTo>
                    <a:lnTo>
                      <a:pt x="2139" y="2098"/>
                    </a:lnTo>
                    <a:lnTo>
                      <a:pt x="2138" y="2102"/>
                    </a:lnTo>
                    <a:lnTo>
                      <a:pt x="2141" y="2108"/>
                    </a:lnTo>
                    <a:lnTo>
                      <a:pt x="2145" y="2112"/>
                    </a:lnTo>
                    <a:lnTo>
                      <a:pt x="2148" y="2115"/>
                    </a:lnTo>
                    <a:lnTo>
                      <a:pt x="2152" y="2116"/>
                    </a:lnTo>
                    <a:lnTo>
                      <a:pt x="2157" y="2116"/>
                    </a:lnTo>
                    <a:lnTo>
                      <a:pt x="2161" y="2115"/>
                    </a:lnTo>
                    <a:lnTo>
                      <a:pt x="2166" y="2114"/>
                    </a:lnTo>
                    <a:lnTo>
                      <a:pt x="2172" y="2110"/>
                    </a:lnTo>
                    <a:lnTo>
                      <a:pt x="2181" y="2103"/>
                    </a:lnTo>
                    <a:lnTo>
                      <a:pt x="2189" y="2095"/>
                    </a:lnTo>
                    <a:lnTo>
                      <a:pt x="2198" y="2088"/>
                    </a:lnTo>
                    <a:lnTo>
                      <a:pt x="2202" y="2082"/>
                    </a:lnTo>
                    <a:lnTo>
                      <a:pt x="2215" y="2063"/>
                    </a:lnTo>
                    <a:lnTo>
                      <a:pt x="2229" y="2042"/>
                    </a:lnTo>
                    <a:lnTo>
                      <a:pt x="2233" y="2038"/>
                    </a:lnTo>
                    <a:lnTo>
                      <a:pt x="2238" y="2033"/>
                    </a:lnTo>
                    <a:lnTo>
                      <a:pt x="2242" y="2030"/>
                    </a:lnTo>
                    <a:lnTo>
                      <a:pt x="2247" y="2027"/>
                    </a:lnTo>
                    <a:lnTo>
                      <a:pt x="2253" y="2026"/>
                    </a:lnTo>
                    <a:lnTo>
                      <a:pt x="2259" y="2025"/>
                    </a:lnTo>
                    <a:lnTo>
                      <a:pt x="2265" y="2026"/>
                    </a:lnTo>
                    <a:lnTo>
                      <a:pt x="2272" y="2029"/>
                    </a:lnTo>
                    <a:lnTo>
                      <a:pt x="2300" y="2042"/>
                    </a:lnTo>
                    <a:lnTo>
                      <a:pt x="2321" y="2052"/>
                    </a:lnTo>
                    <a:lnTo>
                      <a:pt x="2325" y="2052"/>
                    </a:lnTo>
                    <a:lnTo>
                      <a:pt x="2326" y="2052"/>
                    </a:lnTo>
                    <a:lnTo>
                      <a:pt x="2327" y="2051"/>
                    </a:lnTo>
                    <a:lnTo>
                      <a:pt x="2327" y="2047"/>
                    </a:lnTo>
                    <a:lnTo>
                      <a:pt x="2321" y="2037"/>
                    </a:lnTo>
                    <a:lnTo>
                      <a:pt x="2309" y="2018"/>
                    </a:lnTo>
                    <a:lnTo>
                      <a:pt x="2269" y="1959"/>
                    </a:lnTo>
                    <a:lnTo>
                      <a:pt x="2253" y="1937"/>
                    </a:lnTo>
                    <a:lnTo>
                      <a:pt x="2238" y="1912"/>
                    </a:lnTo>
                    <a:lnTo>
                      <a:pt x="2221" y="1888"/>
                    </a:lnTo>
                    <a:lnTo>
                      <a:pt x="2205" y="1865"/>
                    </a:lnTo>
                    <a:lnTo>
                      <a:pt x="2137" y="1779"/>
                    </a:lnTo>
                    <a:lnTo>
                      <a:pt x="2131" y="1771"/>
                    </a:lnTo>
                    <a:lnTo>
                      <a:pt x="2126" y="1761"/>
                    </a:lnTo>
                    <a:lnTo>
                      <a:pt x="2120" y="1750"/>
                    </a:lnTo>
                    <a:lnTo>
                      <a:pt x="2115" y="1738"/>
                    </a:lnTo>
                    <a:lnTo>
                      <a:pt x="2106" y="1709"/>
                    </a:lnTo>
                    <a:lnTo>
                      <a:pt x="2098" y="1679"/>
                    </a:lnTo>
                    <a:lnTo>
                      <a:pt x="2094" y="1663"/>
                    </a:lnTo>
                    <a:lnTo>
                      <a:pt x="2092" y="1648"/>
                    </a:lnTo>
                    <a:lnTo>
                      <a:pt x="2091" y="1634"/>
                    </a:lnTo>
                    <a:lnTo>
                      <a:pt x="2090" y="1618"/>
                    </a:lnTo>
                    <a:lnTo>
                      <a:pt x="2090" y="1606"/>
                    </a:lnTo>
                    <a:lnTo>
                      <a:pt x="2090" y="1594"/>
                    </a:lnTo>
                    <a:lnTo>
                      <a:pt x="2092" y="1582"/>
                    </a:lnTo>
                    <a:lnTo>
                      <a:pt x="2095" y="1574"/>
                    </a:lnTo>
                    <a:lnTo>
                      <a:pt x="2101" y="1563"/>
                    </a:lnTo>
                    <a:lnTo>
                      <a:pt x="2111" y="1550"/>
                    </a:lnTo>
                    <a:lnTo>
                      <a:pt x="2120" y="1538"/>
                    </a:lnTo>
                    <a:lnTo>
                      <a:pt x="2125" y="1530"/>
                    </a:lnTo>
                    <a:lnTo>
                      <a:pt x="2129" y="1528"/>
                    </a:lnTo>
                    <a:lnTo>
                      <a:pt x="2134" y="1525"/>
                    </a:lnTo>
                    <a:lnTo>
                      <a:pt x="2137" y="1522"/>
                    </a:lnTo>
                    <a:lnTo>
                      <a:pt x="2139" y="1518"/>
                    </a:lnTo>
                    <a:lnTo>
                      <a:pt x="2140" y="1515"/>
                    </a:lnTo>
                    <a:lnTo>
                      <a:pt x="2140" y="1510"/>
                    </a:lnTo>
                    <a:lnTo>
                      <a:pt x="2139" y="1505"/>
                    </a:lnTo>
                    <a:lnTo>
                      <a:pt x="2138" y="1499"/>
                    </a:lnTo>
                    <a:lnTo>
                      <a:pt x="2132" y="1488"/>
                    </a:lnTo>
                    <a:lnTo>
                      <a:pt x="2124" y="1475"/>
                    </a:lnTo>
                    <a:lnTo>
                      <a:pt x="2114" y="1461"/>
                    </a:lnTo>
                    <a:lnTo>
                      <a:pt x="2102" y="1446"/>
                    </a:lnTo>
                    <a:lnTo>
                      <a:pt x="2078" y="1419"/>
                    </a:lnTo>
                    <a:lnTo>
                      <a:pt x="2053" y="1395"/>
                    </a:lnTo>
                    <a:lnTo>
                      <a:pt x="2034" y="1376"/>
                    </a:lnTo>
                    <a:lnTo>
                      <a:pt x="2024" y="1366"/>
                    </a:lnTo>
                    <a:lnTo>
                      <a:pt x="1954" y="1263"/>
                    </a:lnTo>
                    <a:lnTo>
                      <a:pt x="1940" y="1240"/>
                    </a:lnTo>
                    <a:lnTo>
                      <a:pt x="1927" y="1217"/>
                    </a:lnTo>
                    <a:lnTo>
                      <a:pt x="1920" y="1205"/>
                    </a:lnTo>
                    <a:lnTo>
                      <a:pt x="1913" y="1193"/>
                    </a:lnTo>
                    <a:lnTo>
                      <a:pt x="1906" y="1182"/>
                    </a:lnTo>
                    <a:lnTo>
                      <a:pt x="1898" y="1172"/>
                    </a:lnTo>
                    <a:lnTo>
                      <a:pt x="1891" y="1164"/>
                    </a:lnTo>
                    <a:lnTo>
                      <a:pt x="1885" y="1155"/>
                    </a:lnTo>
                    <a:lnTo>
                      <a:pt x="1879" y="1146"/>
                    </a:lnTo>
                    <a:lnTo>
                      <a:pt x="1874" y="1136"/>
                    </a:lnTo>
                    <a:lnTo>
                      <a:pt x="1864" y="1115"/>
                    </a:lnTo>
                    <a:lnTo>
                      <a:pt x="1854" y="1093"/>
                    </a:lnTo>
                    <a:lnTo>
                      <a:pt x="1845" y="1070"/>
                    </a:lnTo>
                    <a:lnTo>
                      <a:pt x="1836" y="1049"/>
                    </a:lnTo>
                    <a:lnTo>
                      <a:pt x="1827" y="1028"/>
                    </a:lnTo>
                    <a:lnTo>
                      <a:pt x="1817" y="1009"/>
                    </a:lnTo>
                    <a:lnTo>
                      <a:pt x="1813" y="1002"/>
                    </a:lnTo>
                    <a:lnTo>
                      <a:pt x="1809" y="998"/>
                    </a:lnTo>
                    <a:lnTo>
                      <a:pt x="1804" y="996"/>
                    </a:lnTo>
                    <a:lnTo>
                      <a:pt x="1798" y="995"/>
                    </a:lnTo>
                    <a:lnTo>
                      <a:pt x="1793" y="996"/>
                    </a:lnTo>
                    <a:lnTo>
                      <a:pt x="1789" y="998"/>
                    </a:lnTo>
                    <a:lnTo>
                      <a:pt x="1784" y="1002"/>
                    </a:lnTo>
                    <a:lnTo>
                      <a:pt x="1780" y="1006"/>
                    </a:lnTo>
                    <a:lnTo>
                      <a:pt x="1772" y="1015"/>
                    </a:lnTo>
                    <a:lnTo>
                      <a:pt x="1766" y="1023"/>
                    </a:lnTo>
                    <a:lnTo>
                      <a:pt x="1763" y="1030"/>
                    </a:lnTo>
                    <a:lnTo>
                      <a:pt x="1763" y="1033"/>
                    </a:lnTo>
                    <a:lnTo>
                      <a:pt x="1771" y="1031"/>
                    </a:lnTo>
                    <a:lnTo>
                      <a:pt x="1784" y="1029"/>
                    </a:lnTo>
                    <a:lnTo>
                      <a:pt x="1790" y="1028"/>
                    </a:lnTo>
                    <a:lnTo>
                      <a:pt x="1795" y="1028"/>
                    </a:lnTo>
                    <a:lnTo>
                      <a:pt x="1799" y="1028"/>
                    </a:lnTo>
                    <a:lnTo>
                      <a:pt x="1802" y="1029"/>
                    </a:lnTo>
                    <a:lnTo>
                      <a:pt x="1812" y="1041"/>
                    </a:lnTo>
                    <a:lnTo>
                      <a:pt x="1819" y="1053"/>
                    </a:lnTo>
                    <a:lnTo>
                      <a:pt x="1826" y="1064"/>
                    </a:lnTo>
                    <a:lnTo>
                      <a:pt x="1833" y="1080"/>
                    </a:lnTo>
                    <a:lnTo>
                      <a:pt x="1842" y="1095"/>
                    </a:lnTo>
                    <a:lnTo>
                      <a:pt x="1850" y="1113"/>
                    </a:lnTo>
                    <a:lnTo>
                      <a:pt x="1852" y="1121"/>
                    </a:lnTo>
                    <a:lnTo>
                      <a:pt x="1852" y="1128"/>
                    </a:lnTo>
                    <a:lnTo>
                      <a:pt x="1851" y="1131"/>
                    </a:lnTo>
                    <a:lnTo>
                      <a:pt x="1850" y="1132"/>
                    </a:lnTo>
                    <a:lnTo>
                      <a:pt x="1846" y="1132"/>
                    </a:lnTo>
                    <a:lnTo>
                      <a:pt x="1843" y="1132"/>
                    </a:lnTo>
                    <a:lnTo>
                      <a:pt x="1800" y="1122"/>
                    </a:lnTo>
                    <a:lnTo>
                      <a:pt x="1791" y="1120"/>
                    </a:lnTo>
                    <a:lnTo>
                      <a:pt x="1780" y="1115"/>
                    </a:lnTo>
                    <a:lnTo>
                      <a:pt x="1769" y="1109"/>
                    </a:lnTo>
                    <a:lnTo>
                      <a:pt x="1756" y="1103"/>
                    </a:lnTo>
                    <a:lnTo>
                      <a:pt x="1731" y="1090"/>
                    </a:lnTo>
                    <a:lnTo>
                      <a:pt x="1710" y="1080"/>
                    </a:lnTo>
                    <a:lnTo>
                      <a:pt x="1704" y="1075"/>
                    </a:lnTo>
                    <a:lnTo>
                      <a:pt x="1701" y="1070"/>
                    </a:lnTo>
                    <a:lnTo>
                      <a:pt x="1698" y="1066"/>
                    </a:lnTo>
                    <a:lnTo>
                      <a:pt x="1699" y="1061"/>
                    </a:lnTo>
                    <a:lnTo>
                      <a:pt x="1704" y="1050"/>
                    </a:lnTo>
                    <a:lnTo>
                      <a:pt x="1710" y="1040"/>
                    </a:lnTo>
                    <a:lnTo>
                      <a:pt x="1713" y="1034"/>
                    </a:lnTo>
                    <a:lnTo>
                      <a:pt x="1716" y="1029"/>
                    </a:lnTo>
                    <a:lnTo>
                      <a:pt x="1717" y="1024"/>
                    </a:lnTo>
                    <a:lnTo>
                      <a:pt x="1717" y="1021"/>
                    </a:lnTo>
                    <a:lnTo>
                      <a:pt x="1715" y="1017"/>
                    </a:lnTo>
                    <a:lnTo>
                      <a:pt x="1710" y="1014"/>
                    </a:lnTo>
                    <a:lnTo>
                      <a:pt x="1702" y="1011"/>
                    </a:lnTo>
                    <a:lnTo>
                      <a:pt x="1690" y="1010"/>
                    </a:lnTo>
                    <a:lnTo>
                      <a:pt x="1683" y="1008"/>
                    </a:lnTo>
                    <a:lnTo>
                      <a:pt x="1676" y="1006"/>
                    </a:lnTo>
                    <a:lnTo>
                      <a:pt x="1670" y="1002"/>
                    </a:lnTo>
                    <a:lnTo>
                      <a:pt x="1664" y="998"/>
                    </a:lnTo>
                    <a:lnTo>
                      <a:pt x="1658" y="996"/>
                    </a:lnTo>
                    <a:lnTo>
                      <a:pt x="1651" y="994"/>
                    </a:lnTo>
                    <a:lnTo>
                      <a:pt x="1645" y="993"/>
                    </a:lnTo>
                    <a:lnTo>
                      <a:pt x="1637" y="994"/>
                    </a:lnTo>
                    <a:lnTo>
                      <a:pt x="1623" y="996"/>
                    </a:lnTo>
                    <a:lnTo>
                      <a:pt x="1605" y="1000"/>
                    </a:lnTo>
                    <a:lnTo>
                      <a:pt x="1588" y="1003"/>
                    </a:lnTo>
                    <a:lnTo>
                      <a:pt x="1576" y="1008"/>
                    </a:lnTo>
                    <a:lnTo>
                      <a:pt x="1559" y="1020"/>
                    </a:lnTo>
                    <a:lnTo>
                      <a:pt x="1543" y="1031"/>
                    </a:lnTo>
                    <a:lnTo>
                      <a:pt x="1535" y="1037"/>
                    </a:lnTo>
                    <a:lnTo>
                      <a:pt x="1525" y="1041"/>
                    </a:lnTo>
                    <a:lnTo>
                      <a:pt x="1516" y="1043"/>
                    </a:lnTo>
                    <a:lnTo>
                      <a:pt x="1504" y="1044"/>
                    </a:lnTo>
                    <a:lnTo>
                      <a:pt x="1498" y="1044"/>
                    </a:lnTo>
                    <a:lnTo>
                      <a:pt x="1495" y="1043"/>
                    </a:lnTo>
                    <a:lnTo>
                      <a:pt x="1498" y="1036"/>
                    </a:lnTo>
                    <a:lnTo>
                      <a:pt x="1503" y="1030"/>
                    </a:lnTo>
                    <a:lnTo>
                      <a:pt x="1508" y="1026"/>
                    </a:lnTo>
                    <a:lnTo>
                      <a:pt x="1512" y="1022"/>
                    </a:lnTo>
                    <a:lnTo>
                      <a:pt x="1524" y="1016"/>
                    </a:lnTo>
                    <a:lnTo>
                      <a:pt x="1537" y="1009"/>
                    </a:lnTo>
                    <a:lnTo>
                      <a:pt x="1592" y="977"/>
                    </a:lnTo>
                    <a:lnTo>
                      <a:pt x="1605" y="974"/>
                    </a:lnTo>
                    <a:lnTo>
                      <a:pt x="1623" y="967"/>
                    </a:lnTo>
                    <a:lnTo>
                      <a:pt x="1628" y="965"/>
                    </a:lnTo>
                    <a:lnTo>
                      <a:pt x="1631" y="963"/>
                    </a:lnTo>
                    <a:lnTo>
                      <a:pt x="1635" y="960"/>
                    </a:lnTo>
                    <a:lnTo>
                      <a:pt x="1636" y="957"/>
                    </a:lnTo>
                    <a:lnTo>
                      <a:pt x="1637" y="954"/>
                    </a:lnTo>
                    <a:lnTo>
                      <a:pt x="1637" y="950"/>
                    </a:lnTo>
                    <a:lnTo>
                      <a:pt x="1635" y="947"/>
                    </a:lnTo>
                    <a:lnTo>
                      <a:pt x="1631" y="943"/>
                    </a:lnTo>
                    <a:lnTo>
                      <a:pt x="1617" y="930"/>
                    </a:lnTo>
                    <a:lnTo>
                      <a:pt x="1609" y="924"/>
                    </a:lnTo>
                    <a:lnTo>
                      <a:pt x="1609" y="923"/>
                    </a:lnTo>
                    <a:lnTo>
                      <a:pt x="1610" y="922"/>
                    </a:lnTo>
                    <a:lnTo>
                      <a:pt x="1612" y="920"/>
                    </a:lnTo>
                    <a:lnTo>
                      <a:pt x="1616" y="918"/>
                    </a:lnTo>
                    <a:lnTo>
                      <a:pt x="1626" y="912"/>
                    </a:lnTo>
                    <a:lnTo>
                      <a:pt x="1643" y="904"/>
                    </a:lnTo>
                    <a:lnTo>
                      <a:pt x="1646" y="904"/>
                    </a:lnTo>
                    <a:lnTo>
                      <a:pt x="1654" y="907"/>
                    </a:lnTo>
                    <a:lnTo>
                      <a:pt x="1663" y="910"/>
                    </a:lnTo>
                    <a:lnTo>
                      <a:pt x="1673" y="915"/>
                    </a:lnTo>
                    <a:lnTo>
                      <a:pt x="1684" y="920"/>
                    </a:lnTo>
                    <a:lnTo>
                      <a:pt x="1696" y="923"/>
                    </a:lnTo>
                    <a:lnTo>
                      <a:pt x="1702" y="923"/>
                    </a:lnTo>
                    <a:lnTo>
                      <a:pt x="1706" y="924"/>
                    </a:lnTo>
                    <a:lnTo>
                      <a:pt x="1712" y="924"/>
                    </a:lnTo>
                    <a:lnTo>
                      <a:pt x="1717" y="923"/>
                    </a:lnTo>
                    <a:lnTo>
                      <a:pt x="1722" y="922"/>
                    </a:lnTo>
                    <a:lnTo>
                      <a:pt x="1726" y="921"/>
                    </a:lnTo>
                    <a:lnTo>
                      <a:pt x="1731" y="922"/>
                    </a:lnTo>
                    <a:lnTo>
                      <a:pt x="1735" y="923"/>
                    </a:lnTo>
                    <a:lnTo>
                      <a:pt x="1738" y="924"/>
                    </a:lnTo>
                    <a:lnTo>
                      <a:pt x="1742" y="928"/>
                    </a:lnTo>
                    <a:lnTo>
                      <a:pt x="1745" y="930"/>
                    </a:lnTo>
                    <a:lnTo>
                      <a:pt x="1748" y="934"/>
                    </a:lnTo>
                    <a:lnTo>
                      <a:pt x="1752" y="943"/>
                    </a:lnTo>
                    <a:lnTo>
                      <a:pt x="1755" y="954"/>
                    </a:lnTo>
                    <a:lnTo>
                      <a:pt x="1756" y="965"/>
                    </a:lnTo>
                    <a:lnTo>
                      <a:pt x="1757" y="977"/>
                    </a:lnTo>
                    <a:lnTo>
                      <a:pt x="1759" y="965"/>
                    </a:lnTo>
                    <a:lnTo>
                      <a:pt x="1762" y="953"/>
                    </a:lnTo>
                    <a:lnTo>
                      <a:pt x="1764" y="940"/>
                    </a:lnTo>
                    <a:lnTo>
                      <a:pt x="1764" y="927"/>
                    </a:lnTo>
                    <a:lnTo>
                      <a:pt x="1764" y="912"/>
                    </a:lnTo>
                    <a:lnTo>
                      <a:pt x="1763" y="899"/>
                    </a:lnTo>
                    <a:lnTo>
                      <a:pt x="1759" y="887"/>
                    </a:lnTo>
                    <a:lnTo>
                      <a:pt x="1755" y="875"/>
                    </a:lnTo>
                    <a:lnTo>
                      <a:pt x="1748" y="861"/>
                    </a:lnTo>
                    <a:lnTo>
                      <a:pt x="1743" y="850"/>
                    </a:lnTo>
                    <a:lnTo>
                      <a:pt x="1740" y="842"/>
                    </a:lnTo>
                    <a:lnTo>
                      <a:pt x="1740" y="835"/>
                    </a:lnTo>
                    <a:lnTo>
                      <a:pt x="1743" y="821"/>
                    </a:lnTo>
                    <a:lnTo>
                      <a:pt x="1750" y="799"/>
                    </a:lnTo>
                    <a:lnTo>
                      <a:pt x="1755" y="782"/>
                    </a:lnTo>
                    <a:lnTo>
                      <a:pt x="1758" y="756"/>
                    </a:lnTo>
                    <a:lnTo>
                      <a:pt x="1758" y="744"/>
                    </a:lnTo>
                    <a:lnTo>
                      <a:pt x="1757" y="738"/>
                    </a:lnTo>
                    <a:lnTo>
                      <a:pt x="1755" y="737"/>
                    </a:lnTo>
                    <a:lnTo>
                      <a:pt x="1752" y="738"/>
                    </a:lnTo>
                    <a:lnTo>
                      <a:pt x="1750" y="740"/>
                    </a:lnTo>
                    <a:lnTo>
                      <a:pt x="1745" y="746"/>
                    </a:lnTo>
                    <a:lnTo>
                      <a:pt x="1739" y="758"/>
                    </a:lnTo>
                    <a:lnTo>
                      <a:pt x="1733" y="775"/>
                    </a:lnTo>
                    <a:lnTo>
                      <a:pt x="1728" y="791"/>
                    </a:lnTo>
                    <a:lnTo>
                      <a:pt x="1725" y="805"/>
                    </a:lnTo>
                    <a:lnTo>
                      <a:pt x="1724" y="811"/>
                    </a:lnTo>
                    <a:lnTo>
                      <a:pt x="1724" y="810"/>
                    </a:lnTo>
                    <a:lnTo>
                      <a:pt x="1724" y="803"/>
                    </a:lnTo>
                    <a:lnTo>
                      <a:pt x="1723" y="793"/>
                    </a:lnTo>
                    <a:lnTo>
                      <a:pt x="1724" y="771"/>
                    </a:lnTo>
                    <a:lnTo>
                      <a:pt x="1724" y="757"/>
                    </a:lnTo>
                    <a:lnTo>
                      <a:pt x="1720" y="756"/>
                    </a:lnTo>
                    <a:lnTo>
                      <a:pt x="1718" y="755"/>
                    </a:lnTo>
                    <a:lnTo>
                      <a:pt x="1717" y="752"/>
                    </a:lnTo>
                    <a:lnTo>
                      <a:pt x="1716" y="750"/>
                    </a:lnTo>
                    <a:lnTo>
                      <a:pt x="1716" y="744"/>
                    </a:lnTo>
                    <a:lnTo>
                      <a:pt x="1717" y="738"/>
                    </a:lnTo>
                    <a:lnTo>
                      <a:pt x="1720" y="725"/>
                    </a:lnTo>
                    <a:lnTo>
                      <a:pt x="1723" y="714"/>
                    </a:lnTo>
                    <a:lnTo>
                      <a:pt x="1723" y="710"/>
                    </a:lnTo>
                    <a:lnTo>
                      <a:pt x="1724" y="706"/>
                    </a:lnTo>
                    <a:lnTo>
                      <a:pt x="1726" y="704"/>
                    </a:lnTo>
                    <a:lnTo>
                      <a:pt x="1728" y="703"/>
                    </a:lnTo>
                    <a:lnTo>
                      <a:pt x="1733" y="701"/>
                    </a:lnTo>
                    <a:lnTo>
                      <a:pt x="1740" y="704"/>
                    </a:lnTo>
                    <a:lnTo>
                      <a:pt x="1755" y="710"/>
                    </a:lnTo>
                    <a:lnTo>
                      <a:pt x="1765" y="713"/>
                    </a:lnTo>
                    <a:lnTo>
                      <a:pt x="1759" y="700"/>
                    </a:lnTo>
                    <a:lnTo>
                      <a:pt x="1755" y="693"/>
                    </a:lnTo>
                    <a:lnTo>
                      <a:pt x="1752" y="691"/>
                    </a:lnTo>
                    <a:lnTo>
                      <a:pt x="1750" y="689"/>
                    </a:lnTo>
                    <a:lnTo>
                      <a:pt x="1748" y="689"/>
                    </a:lnTo>
                    <a:lnTo>
                      <a:pt x="1744" y="689"/>
                    </a:lnTo>
                    <a:lnTo>
                      <a:pt x="1737" y="689"/>
                    </a:lnTo>
                    <a:lnTo>
                      <a:pt x="1730" y="689"/>
                    </a:lnTo>
                    <a:lnTo>
                      <a:pt x="1725" y="687"/>
                    </a:lnTo>
                    <a:lnTo>
                      <a:pt x="1719" y="686"/>
                    </a:lnTo>
                    <a:lnTo>
                      <a:pt x="1713" y="684"/>
                    </a:lnTo>
                    <a:lnTo>
                      <a:pt x="1708" y="680"/>
                    </a:lnTo>
                    <a:lnTo>
                      <a:pt x="1684" y="666"/>
                    </a:lnTo>
                    <a:lnTo>
                      <a:pt x="1659" y="648"/>
                    </a:lnTo>
                    <a:lnTo>
                      <a:pt x="1635" y="631"/>
                    </a:lnTo>
                    <a:lnTo>
                      <a:pt x="1615" y="614"/>
                    </a:lnTo>
                    <a:lnTo>
                      <a:pt x="1604" y="604"/>
                    </a:lnTo>
                    <a:lnTo>
                      <a:pt x="1594" y="592"/>
                    </a:lnTo>
                    <a:lnTo>
                      <a:pt x="1584" y="580"/>
                    </a:lnTo>
                    <a:lnTo>
                      <a:pt x="1576" y="568"/>
                    </a:lnTo>
                    <a:lnTo>
                      <a:pt x="1568" y="556"/>
                    </a:lnTo>
                    <a:lnTo>
                      <a:pt x="1559" y="545"/>
                    </a:lnTo>
                    <a:lnTo>
                      <a:pt x="1552" y="532"/>
                    </a:lnTo>
                    <a:lnTo>
                      <a:pt x="1547" y="519"/>
                    </a:lnTo>
                    <a:lnTo>
                      <a:pt x="1536" y="493"/>
                    </a:lnTo>
                    <a:lnTo>
                      <a:pt x="1527" y="466"/>
                    </a:lnTo>
                    <a:lnTo>
                      <a:pt x="1520" y="437"/>
                    </a:lnTo>
                    <a:lnTo>
                      <a:pt x="1514" y="408"/>
                    </a:lnTo>
                    <a:lnTo>
                      <a:pt x="1500" y="393"/>
                    </a:lnTo>
                    <a:lnTo>
                      <a:pt x="1484" y="380"/>
                    </a:lnTo>
                    <a:lnTo>
                      <a:pt x="1483" y="388"/>
                    </a:lnTo>
                    <a:lnTo>
                      <a:pt x="1483" y="396"/>
                    </a:lnTo>
                    <a:lnTo>
                      <a:pt x="1483" y="404"/>
                    </a:lnTo>
                    <a:lnTo>
                      <a:pt x="1485" y="413"/>
                    </a:lnTo>
                    <a:lnTo>
                      <a:pt x="1489" y="432"/>
                    </a:lnTo>
                    <a:lnTo>
                      <a:pt x="1491" y="449"/>
                    </a:lnTo>
                    <a:lnTo>
                      <a:pt x="1492" y="457"/>
                    </a:lnTo>
                    <a:lnTo>
                      <a:pt x="1492" y="466"/>
                    </a:lnTo>
                    <a:lnTo>
                      <a:pt x="1491" y="473"/>
                    </a:lnTo>
                    <a:lnTo>
                      <a:pt x="1488" y="479"/>
                    </a:lnTo>
                    <a:lnTo>
                      <a:pt x="1484" y="483"/>
                    </a:lnTo>
                    <a:lnTo>
                      <a:pt x="1477" y="487"/>
                    </a:lnTo>
                    <a:lnTo>
                      <a:pt x="1469" y="489"/>
                    </a:lnTo>
                    <a:lnTo>
                      <a:pt x="1458" y="490"/>
                    </a:lnTo>
                    <a:lnTo>
                      <a:pt x="1458" y="490"/>
                    </a:lnTo>
                    <a:lnTo>
                      <a:pt x="1448" y="519"/>
                    </a:lnTo>
                    <a:lnTo>
                      <a:pt x="1437" y="549"/>
                    </a:lnTo>
                    <a:lnTo>
                      <a:pt x="1431" y="564"/>
                    </a:lnTo>
                    <a:lnTo>
                      <a:pt x="1426" y="578"/>
                    </a:lnTo>
                    <a:lnTo>
                      <a:pt x="1417" y="592"/>
                    </a:lnTo>
                    <a:lnTo>
                      <a:pt x="1408" y="605"/>
                    </a:lnTo>
                    <a:lnTo>
                      <a:pt x="1397" y="617"/>
                    </a:lnTo>
                    <a:lnTo>
                      <a:pt x="1384" y="627"/>
                    </a:lnTo>
                    <a:lnTo>
                      <a:pt x="1371" y="638"/>
                    </a:lnTo>
                    <a:lnTo>
                      <a:pt x="1359" y="647"/>
                    </a:lnTo>
                    <a:lnTo>
                      <a:pt x="1344" y="658"/>
                    </a:lnTo>
                    <a:lnTo>
                      <a:pt x="1331" y="668"/>
                    </a:lnTo>
                    <a:lnTo>
                      <a:pt x="1319" y="680"/>
                    </a:lnTo>
                    <a:lnTo>
                      <a:pt x="1307" y="693"/>
                    </a:lnTo>
                    <a:lnTo>
                      <a:pt x="1300" y="701"/>
                    </a:lnTo>
                    <a:lnTo>
                      <a:pt x="1293" y="709"/>
                    </a:lnTo>
                    <a:lnTo>
                      <a:pt x="1286" y="714"/>
                    </a:lnTo>
                    <a:lnTo>
                      <a:pt x="1279" y="719"/>
                    </a:lnTo>
                    <a:lnTo>
                      <a:pt x="1273" y="722"/>
                    </a:lnTo>
                    <a:lnTo>
                      <a:pt x="1266" y="724"/>
                    </a:lnTo>
                    <a:lnTo>
                      <a:pt x="1260" y="725"/>
                    </a:lnTo>
                    <a:lnTo>
                      <a:pt x="1254" y="725"/>
                    </a:lnTo>
                    <a:lnTo>
                      <a:pt x="1248" y="724"/>
                    </a:lnTo>
                    <a:lnTo>
                      <a:pt x="1242" y="723"/>
                    </a:lnTo>
                    <a:lnTo>
                      <a:pt x="1237" y="720"/>
                    </a:lnTo>
                    <a:lnTo>
                      <a:pt x="1232" y="717"/>
                    </a:lnTo>
                    <a:lnTo>
                      <a:pt x="1222" y="707"/>
                    </a:lnTo>
                    <a:lnTo>
                      <a:pt x="1213" y="697"/>
                    </a:lnTo>
                    <a:lnTo>
                      <a:pt x="1203" y="684"/>
                    </a:lnTo>
                    <a:lnTo>
                      <a:pt x="1195" y="670"/>
                    </a:lnTo>
                    <a:lnTo>
                      <a:pt x="1188" y="654"/>
                    </a:lnTo>
                    <a:lnTo>
                      <a:pt x="1181" y="639"/>
                    </a:lnTo>
                    <a:lnTo>
                      <a:pt x="1168" y="610"/>
                    </a:lnTo>
                    <a:lnTo>
                      <a:pt x="1159" y="586"/>
                    </a:lnTo>
                    <a:lnTo>
                      <a:pt x="1152" y="569"/>
                    </a:lnTo>
                    <a:lnTo>
                      <a:pt x="1143" y="551"/>
                    </a:lnTo>
                    <a:lnTo>
                      <a:pt x="1136" y="528"/>
                    </a:lnTo>
                    <a:lnTo>
                      <a:pt x="1131" y="506"/>
                    </a:lnTo>
                    <a:lnTo>
                      <a:pt x="1128" y="494"/>
                    </a:lnTo>
                    <a:lnTo>
                      <a:pt x="1127" y="483"/>
                    </a:lnTo>
                    <a:lnTo>
                      <a:pt x="1128" y="473"/>
                    </a:lnTo>
                    <a:lnTo>
                      <a:pt x="1129" y="463"/>
                    </a:lnTo>
                    <a:lnTo>
                      <a:pt x="1133" y="454"/>
                    </a:lnTo>
                    <a:lnTo>
                      <a:pt x="1138" y="446"/>
                    </a:lnTo>
                    <a:lnTo>
                      <a:pt x="1143" y="440"/>
                    </a:lnTo>
                    <a:lnTo>
                      <a:pt x="1152" y="434"/>
                    </a:lnTo>
                    <a:lnTo>
                      <a:pt x="1155" y="424"/>
                    </a:lnTo>
                    <a:lnTo>
                      <a:pt x="1156" y="415"/>
                    </a:lnTo>
                    <a:lnTo>
                      <a:pt x="1155" y="407"/>
                    </a:lnTo>
                    <a:lnTo>
                      <a:pt x="1154" y="400"/>
                    </a:lnTo>
                    <a:lnTo>
                      <a:pt x="1152" y="391"/>
                    </a:lnTo>
                    <a:lnTo>
                      <a:pt x="1149" y="383"/>
                    </a:lnTo>
                    <a:lnTo>
                      <a:pt x="1148" y="375"/>
                    </a:lnTo>
                    <a:lnTo>
                      <a:pt x="1149" y="367"/>
                    </a:lnTo>
                    <a:lnTo>
                      <a:pt x="1152" y="357"/>
                    </a:lnTo>
                    <a:lnTo>
                      <a:pt x="1153" y="356"/>
                    </a:lnTo>
                    <a:lnTo>
                      <a:pt x="1196" y="292"/>
                    </a:lnTo>
                    <a:lnTo>
                      <a:pt x="1196" y="292"/>
                    </a:lnTo>
                    <a:lnTo>
                      <a:pt x="1180" y="290"/>
                    </a:lnTo>
                    <a:lnTo>
                      <a:pt x="1165" y="289"/>
                    </a:lnTo>
                    <a:lnTo>
                      <a:pt x="1150" y="289"/>
                    </a:lnTo>
                    <a:lnTo>
                      <a:pt x="1136" y="290"/>
                    </a:lnTo>
                    <a:lnTo>
                      <a:pt x="1122" y="289"/>
                    </a:lnTo>
                    <a:lnTo>
                      <a:pt x="1107" y="287"/>
                    </a:lnTo>
                    <a:lnTo>
                      <a:pt x="1099" y="284"/>
                    </a:lnTo>
                    <a:lnTo>
                      <a:pt x="1092" y="282"/>
                    </a:lnTo>
                    <a:lnTo>
                      <a:pt x="1084" y="277"/>
                    </a:lnTo>
                    <a:lnTo>
                      <a:pt x="1075" y="272"/>
                    </a:lnTo>
                    <a:lnTo>
                      <a:pt x="1062" y="263"/>
                    </a:lnTo>
                    <a:lnTo>
                      <a:pt x="1049" y="251"/>
                    </a:lnTo>
                    <a:lnTo>
                      <a:pt x="1036" y="237"/>
                    </a:lnTo>
                    <a:lnTo>
                      <a:pt x="1025" y="222"/>
                    </a:lnTo>
                    <a:lnTo>
                      <a:pt x="1013" y="205"/>
                    </a:lnTo>
                    <a:lnTo>
                      <a:pt x="1002" y="188"/>
                    </a:lnTo>
                    <a:lnTo>
                      <a:pt x="992" y="170"/>
                    </a:lnTo>
                    <a:lnTo>
                      <a:pt x="982" y="150"/>
                    </a:lnTo>
                    <a:lnTo>
                      <a:pt x="974" y="131"/>
                    </a:lnTo>
                    <a:lnTo>
                      <a:pt x="966" y="111"/>
                    </a:lnTo>
                    <a:lnTo>
                      <a:pt x="959" y="91"/>
                    </a:lnTo>
                    <a:lnTo>
                      <a:pt x="953" y="72"/>
                    </a:lnTo>
                    <a:lnTo>
                      <a:pt x="948" y="53"/>
                    </a:lnTo>
                    <a:lnTo>
                      <a:pt x="945" y="34"/>
                    </a:lnTo>
                    <a:lnTo>
                      <a:pt x="942" y="18"/>
                    </a:lnTo>
                    <a:lnTo>
                      <a:pt x="942" y="1"/>
                    </a:lnTo>
                    <a:lnTo>
                      <a:pt x="941" y="0"/>
                    </a:lnTo>
                    <a:lnTo>
                      <a:pt x="932" y="1"/>
                    </a:lnTo>
                    <a:lnTo>
                      <a:pt x="924" y="4"/>
                    </a:lnTo>
                    <a:lnTo>
                      <a:pt x="915" y="7"/>
                    </a:lnTo>
                    <a:lnTo>
                      <a:pt x="907" y="11"/>
                    </a:lnTo>
                    <a:lnTo>
                      <a:pt x="891" y="19"/>
                    </a:lnTo>
                    <a:lnTo>
                      <a:pt x="874" y="26"/>
                    </a:lnTo>
                    <a:lnTo>
                      <a:pt x="864" y="28"/>
                    </a:lnTo>
                    <a:lnTo>
                      <a:pt x="853" y="30"/>
                    </a:lnTo>
                    <a:lnTo>
                      <a:pt x="841" y="30"/>
                    </a:lnTo>
                    <a:lnTo>
                      <a:pt x="831" y="28"/>
                    </a:lnTo>
                    <a:lnTo>
                      <a:pt x="820" y="28"/>
                    </a:lnTo>
                    <a:lnTo>
                      <a:pt x="808" y="28"/>
                    </a:lnTo>
                    <a:lnTo>
                      <a:pt x="798" y="30"/>
                    </a:lnTo>
                    <a:lnTo>
                      <a:pt x="787" y="32"/>
                    </a:lnTo>
                    <a:lnTo>
                      <a:pt x="774" y="37"/>
                    </a:lnTo>
                    <a:lnTo>
                      <a:pt x="760" y="40"/>
                    </a:lnTo>
                    <a:lnTo>
                      <a:pt x="746" y="43"/>
                    </a:lnTo>
                    <a:lnTo>
                      <a:pt x="733" y="44"/>
                    </a:lnTo>
                    <a:lnTo>
                      <a:pt x="733" y="46"/>
                    </a:lnTo>
                    <a:lnTo>
                      <a:pt x="746" y="51"/>
                    </a:lnTo>
                    <a:lnTo>
                      <a:pt x="753" y="52"/>
                    </a:lnTo>
                    <a:lnTo>
                      <a:pt x="761" y="52"/>
                    </a:lnTo>
                    <a:lnTo>
                      <a:pt x="776" y="52"/>
                    </a:lnTo>
                    <a:lnTo>
                      <a:pt x="781" y="53"/>
                    </a:lnTo>
                    <a:lnTo>
                      <a:pt x="786" y="56"/>
                    </a:lnTo>
                    <a:lnTo>
                      <a:pt x="791" y="59"/>
                    </a:lnTo>
                    <a:lnTo>
                      <a:pt x="794" y="63"/>
                    </a:lnTo>
                    <a:lnTo>
                      <a:pt x="798" y="66"/>
                    </a:lnTo>
                    <a:lnTo>
                      <a:pt x="803" y="70"/>
                    </a:lnTo>
                    <a:lnTo>
                      <a:pt x="807" y="72"/>
                    </a:lnTo>
                    <a:lnTo>
                      <a:pt x="812" y="73"/>
                    </a:lnTo>
                    <a:lnTo>
                      <a:pt x="818" y="73"/>
                    </a:lnTo>
                    <a:lnTo>
                      <a:pt x="824" y="72"/>
                    </a:lnTo>
                    <a:lnTo>
                      <a:pt x="830" y="70"/>
                    </a:lnTo>
                    <a:lnTo>
                      <a:pt x="836" y="67"/>
                    </a:lnTo>
                    <a:lnTo>
                      <a:pt x="846" y="61"/>
                    </a:lnTo>
                    <a:lnTo>
                      <a:pt x="858" y="56"/>
                    </a:lnTo>
                    <a:lnTo>
                      <a:pt x="870" y="48"/>
                    </a:lnTo>
                    <a:lnTo>
                      <a:pt x="881" y="43"/>
                    </a:lnTo>
                    <a:lnTo>
                      <a:pt x="887" y="40"/>
                    </a:lnTo>
                    <a:lnTo>
                      <a:pt x="893" y="39"/>
                    </a:lnTo>
                    <a:lnTo>
                      <a:pt x="899" y="38"/>
                    </a:lnTo>
                    <a:lnTo>
                      <a:pt x="905" y="37"/>
                    </a:lnTo>
                    <a:lnTo>
                      <a:pt x="906" y="44"/>
                    </a:lnTo>
                    <a:lnTo>
                      <a:pt x="907" y="50"/>
                    </a:lnTo>
                    <a:lnTo>
                      <a:pt x="910" y="56"/>
                    </a:lnTo>
                    <a:lnTo>
                      <a:pt x="912" y="60"/>
                    </a:lnTo>
                    <a:lnTo>
                      <a:pt x="915" y="66"/>
                    </a:lnTo>
                    <a:lnTo>
                      <a:pt x="917" y="72"/>
                    </a:lnTo>
                    <a:lnTo>
                      <a:pt x="919" y="78"/>
                    </a:lnTo>
                    <a:lnTo>
                      <a:pt x="919" y="85"/>
                    </a:lnTo>
                    <a:lnTo>
                      <a:pt x="920" y="102"/>
                    </a:lnTo>
                    <a:lnTo>
                      <a:pt x="922" y="119"/>
                    </a:lnTo>
                    <a:lnTo>
                      <a:pt x="925" y="137"/>
                    </a:lnTo>
                    <a:lnTo>
                      <a:pt x="925" y="152"/>
                    </a:lnTo>
                    <a:lnTo>
                      <a:pt x="932" y="163"/>
                    </a:lnTo>
                    <a:lnTo>
                      <a:pt x="944" y="182"/>
                    </a:lnTo>
                    <a:lnTo>
                      <a:pt x="948" y="190"/>
                    </a:lnTo>
                    <a:lnTo>
                      <a:pt x="953" y="198"/>
                    </a:lnTo>
                    <a:lnTo>
                      <a:pt x="955" y="205"/>
                    </a:lnTo>
                    <a:lnTo>
                      <a:pt x="955" y="209"/>
                    </a:lnTo>
                    <a:lnTo>
                      <a:pt x="952" y="212"/>
                    </a:lnTo>
                    <a:lnTo>
                      <a:pt x="946" y="217"/>
                    </a:lnTo>
                    <a:lnTo>
                      <a:pt x="939" y="223"/>
                    </a:lnTo>
                    <a:lnTo>
                      <a:pt x="932" y="226"/>
                    </a:lnTo>
                    <a:lnTo>
                      <a:pt x="919" y="235"/>
                    </a:lnTo>
                    <a:lnTo>
                      <a:pt x="914" y="238"/>
                    </a:lnTo>
                    <a:lnTo>
                      <a:pt x="934" y="239"/>
                    </a:lnTo>
                    <a:lnTo>
                      <a:pt x="957" y="239"/>
                    </a:lnTo>
                    <a:lnTo>
                      <a:pt x="967" y="238"/>
                    </a:lnTo>
                    <a:lnTo>
                      <a:pt x="978" y="237"/>
                    </a:lnTo>
                    <a:lnTo>
                      <a:pt x="988" y="235"/>
                    </a:lnTo>
                    <a:lnTo>
                      <a:pt x="998" y="231"/>
                    </a:lnTo>
                    <a:lnTo>
                      <a:pt x="1000" y="230"/>
                    </a:lnTo>
                    <a:lnTo>
                      <a:pt x="1001" y="231"/>
                    </a:lnTo>
                    <a:lnTo>
                      <a:pt x="1002" y="235"/>
                    </a:lnTo>
                    <a:lnTo>
                      <a:pt x="1004" y="238"/>
                    </a:lnTo>
                    <a:lnTo>
                      <a:pt x="1006" y="249"/>
                    </a:lnTo>
                    <a:lnTo>
                      <a:pt x="1008" y="261"/>
                    </a:lnTo>
                    <a:lnTo>
                      <a:pt x="1009" y="267"/>
                    </a:lnTo>
                    <a:lnTo>
                      <a:pt x="1011" y="271"/>
                    </a:lnTo>
                    <a:lnTo>
                      <a:pt x="1013" y="275"/>
                    </a:lnTo>
                    <a:lnTo>
                      <a:pt x="1017" y="277"/>
                    </a:lnTo>
                    <a:lnTo>
                      <a:pt x="1020" y="278"/>
                    </a:lnTo>
                    <a:lnTo>
                      <a:pt x="1024" y="278"/>
                    </a:lnTo>
                    <a:lnTo>
                      <a:pt x="1029" y="276"/>
                    </a:lnTo>
                    <a:lnTo>
                      <a:pt x="1035" y="271"/>
                    </a:lnTo>
                    <a:lnTo>
                      <a:pt x="1038" y="269"/>
                    </a:lnTo>
                    <a:lnTo>
                      <a:pt x="1040" y="269"/>
                    </a:lnTo>
                    <a:lnTo>
                      <a:pt x="1042" y="269"/>
                    </a:lnTo>
                    <a:lnTo>
                      <a:pt x="1044" y="269"/>
                    </a:lnTo>
                    <a:lnTo>
                      <a:pt x="1047" y="272"/>
                    </a:lnTo>
                    <a:lnTo>
                      <a:pt x="1049" y="278"/>
                    </a:lnTo>
                    <a:lnTo>
                      <a:pt x="1053" y="292"/>
                    </a:lnTo>
                    <a:lnTo>
                      <a:pt x="1054" y="305"/>
                    </a:lnTo>
                    <a:lnTo>
                      <a:pt x="1041" y="308"/>
                    </a:lnTo>
                    <a:lnTo>
                      <a:pt x="1027" y="310"/>
                    </a:lnTo>
                    <a:lnTo>
                      <a:pt x="1021" y="314"/>
                    </a:lnTo>
                    <a:lnTo>
                      <a:pt x="1015" y="317"/>
                    </a:lnTo>
                    <a:lnTo>
                      <a:pt x="1011" y="322"/>
                    </a:lnTo>
                    <a:lnTo>
                      <a:pt x="1008" y="328"/>
                    </a:lnTo>
                    <a:lnTo>
                      <a:pt x="1006" y="327"/>
                    </a:lnTo>
                    <a:lnTo>
                      <a:pt x="1004" y="324"/>
                    </a:lnTo>
                    <a:lnTo>
                      <a:pt x="1001" y="322"/>
                    </a:lnTo>
                    <a:lnTo>
                      <a:pt x="1000" y="317"/>
                    </a:lnTo>
                    <a:lnTo>
                      <a:pt x="997" y="310"/>
                    </a:lnTo>
                    <a:lnTo>
                      <a:pt x="993" y="305"/>
                    </a:lnTo>
                    <a:lnTo>
                      <a:pt x="977" y="303"/>
                    </a:lnTo>
                    <a:lnTo>
                      <a:pt x="959" y="301"/>
                    </a:lnTo>
                    <a:lnTo>
                      <a:pt x="952" y="290"/>
                    </a:lnTo>
                    <a:lnTo>
                      <a:pt x="940" y="271"/>
                    </a:lnTo>
                    <a:lnTo>
                      <a:pt x="934" y="263"/>
                    </a:lnTo>
                    <a:lnTo>
                      <a:pt x="930" y="259"/>
                    </a:lnTo>
                    <a:lnTo>
                      <a:pt x="928" y="259"/>
                    </a:lnTo>
                    <a:lnTo>
                      <a:pt x="927" y="262"/>
                    </a:lnTo>
                    <a:lnTo>
                      <a:pt x="927" y="265"/>
                    </a:lnTo>
                    <a:lnTo>
                      <a:pt x="928" y="271"/>
                    </a:lnTo>
                    <a:lnTo>
                      <a:pt x="941" y="304"/>
                    </a:lnTo>
                    <a:lnTo>
                      <a:pt x="958" y="343"/>
                    </a:lnTo>
                    <a:lnTo>
                      <a:pt x="961" y="353"/>
                    </a:lnTo>
                    <a:lnTo>
                      <a:pt x="964" y="362"/>
                    </a:lnTo>
                    <a:lnTo>
                      <a:pt x="966" y="371"/>
                    </a:lnTo>
                    <a:lnTo>
                      <a:pt x="966" y="381"/>
                    </a:lnTo>
                    <a:lnTo>
                      <a:pt x="966" y="390"/>
                    </a:lnTo>
                    <a:lnTo>
                      <a:pt x="964" y="399"/>
                    </a:lnTo>
                    <a:lnTo>
                      <a:pt x="959" y="407"/>
                    </a:lnTo>
                    <a:lnTo>
                      <a:pt x="953" y="414"/>
                    </a:lnTo>
                    <a:lnTo>
                      <a:pt x="946" y="420"/>
                    </a:lnTo>
                    <a:lnTo>
                      <a:pt x="940" y="424"/>
                    </a:lnTo>
                    <a:lnTo>
                      <a:pt x="933" y="427"/>
                    </a:lnTo>
                    <a:lnTo>
                      <a:pt x="927" y="428"/>
                    </a:lnTo>
                    <a:lnTo>
                      <a:pt x="922" y="428"/>
                    </a:lnTo>
                    <a:lnTo>
                      <a:pt x="917" y="426"/>
                    </a:lnTo>
                    <a:lnTo>
                      <a:pt x="912" y="423"/>
                    </a:lnTo>
                    <a:lnTo>
                      <a:pt x="907" y="420"/>
                    </a:lnTo>
                    <a:lnTo>
                      <a:pt x="898" y="410"/>
                    </a:lnTo>
                    <a:lnTo>
                      <a:pt x="891" y="399"/>
                    </a:lnTo>
                    <a:lnTo>
                      <a:pt x="883" y="388"/>
                    </a:lnTo>
                    <a:lnTo>
                      <a:pt x="875" y="377"/>
                    </a:lnTo>
                    <a:lnTo>
                      <a:pt x="872" y="373"/>
                    </a:lnTo>
                    <a:lnTo>
                      <a:pt x="871" y="368"/>
                    </a:lnTo>
                    <a:lnTo>
                      <a:pt x="870" y="364"/>
                    </a:lnTo>
                    <a:lnTo>
                      <a:pt x="868" y="361"/>
                    </a:lnTo>
                    <a:lnTo>
                      <a:pt x="870" y="355"/>
                    </a:lnTo>
                    <a:lnTo>
                      <a:pt x="872" y="349"/>
                    </a:lnTo>
                    <a:lnTo>
                      <a:pt x="875" y="343"/>
                    </a:lnTo>
                    <a:lnTo>
                      <a:pt x="879" y="337"/>
                    </a:lnTo>
                    <a:lnTo>
                      <a:pt x="881" y="330"/>
                    </a:lnTo>
                    <a:lnTo>
                      <a:pt x="883" y="322"/>
                    </a:lnTo>
                    <a:lnTo>
                      <a:pt x="861" y="322"/>
                    </a:lnTo>
                    <a:lnTo>
                      <a:pt x="838" y="324"/>
                    </a:lnTo>
                    <a:lnTo>
                      <a:pt x="816" y="328"/>
                    </a:lnTo>
                    <a:lnTo>
                      <a:pt x="794" y="331"/>
                    </a:lnTo>
                    <a:lnTo>
                      <a:pt x="787" y="334"/>
                    </a:lnTo>
                    <a:lnTo>
                      <a:pt x="781" y="335"/>
                    </a:lnTo>
                    <a:lnTo>
                      <a:pt x="778" y="337"/>
                    </a:lnTo>
                    <a:lnTo>
                      <a:pt x="774" y="340"/>
                    </a:lnTo>
                    <a:lnTo>
                      <a:pt x="773" y="342"/>
                    </a:lnTo>
                    <a:lnTo>
                      <a:pt x="773" y="346"/>
                    </a:lnTo>
                    <a:lnTo>
                      <a:pt x="773" y="348"/>
                    </a:lnTo>
                    <a:lnTo>
                      <a:pt x="773" y="350"/>
                    </a:lnTo>
                    <a:lnTo>
                      <a:pt x="777" y="356"/>
                    </a:lnTo>
                    <a:lnTo>
                      <a:pt x="778" y="362"/>
                    </a:lnTo>
                    <a:lnTo>
                      <a:pt x="779" y="364"/>
                    </a:lnTo>
                    <a:lnTo>
                      <a:pt x="779" y="368"/>
                    </a:lnTo>
                    <a:lnTo>
                      <a:pt x="778" y="370"/>
                    </a:lnTo>
                    <a:lnTo>
                      <a:pt x="777" y="373"/>
                    </a:lnTo>
                    <a:lnTo>
                      <a:pt x="773" y="375"/>
                    </a:lnTo>
                    <a:lnTo>
                      <a:pt x="769" y="376"/>
                    </a:lnTo>
                    <a:lnTo>
                      <a:pt x="764" y="377"/>
                    </a:lnTo>
                    <a:lnTo>
                      <a:pt x="759" y="379"/>
                    </a:lnTo>
                    <a:lnTo>
                      <a:pt x="750" y="380"/>
                    </a:lnTo>
                    <a:lnTo>
                      <a:pt x="740" y="382"/>
                    </a:lnTo>
                    <a:lnTo>
                      <a:pt x="734" y="383"/>
                    </a:lnTo>
                    <a:lnTo>
                      <a:pt x="729" y="386"/>
                    </a:lnTo>
                    <a:lnTo>
                      <a:pt x="725" y="388"/>
                    </a:lnTo>
                    <a:lnTo>
                      <a:pt x="720" y="391"/>
                    </a:lnTo>
                    <a:lnTo>
                      <a:pt x="717" y="395"/>
                    </a:lnTo>
                    <a:lnTo>
                      <a:pt x="714" y="400"/>
                    </a:lnTo>
                    <a:lnTo>
                      <a:pt x="712" y="403"/>
                    </a:lnTo>
                    <a:lnTo>
                      <a:pt x="710" y="409"/>
                    </a:lnTo>
                    <a:lnTo>
                      <a:pt x="707" y="420"/>
                    </a:lnTo>
                    <a:lnTo>
                      <a:pt x="707" y="432"/>
                    </a:lnTo>
                    <a:lnTo>
                      <a:pt x="707" y="443"/>
                    </a:lnTo>
                    <a:lnTo>
                      <a:pt x="710" y="456"/>
                    </a:lnTo>
                    <a:lnTo>
                      <a:pt x="720" y="512"/>
                    </a:lnTo>
                    <a:lnTo>
                      <a:pt x="729" y="556"/>
                    </a:lnTo>
                    <a:lnTo>
                      <a:pt x="729" y="556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0">
                <a:extLst>
                  <a:ext uri="{FF2B5EF4-FFF2-40B4-BE49-F238E27FC236}">
                    <a16:creationId xmlns:a16="http://schemas.microsoft.com/office/drawing/2014/main" id="{1539EED5-6C1B-4B35-91A1-63B95E178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76194" y="3710143"/>
                <a:ext cx="681688" cy="997186"/>
              </a:xfrm>
              <a:custGeom>
                <a:avLst/>
                <a:gdLst>
                  <a:gd name="T0" fmla="*/ 2626 w 2780"/>
                  <a:gd name="T1" fmla="*/ 3105 h 4070"/>
                  <a:gd name="T2" fmla="*/ 2541 w 2780"/>
                  <a:gd name="T3" fmla="*/ 3122 h 4070"/>
                  <a:gd name="T4" fmla="*/ 2630 w 2780"/>
                  <a:gd name="T5" fmla="*/ 3312 h 4070"/>
                  <a:gd name="T6" fmla="*/ 2715 w 2780"/>
                  <a:gd name="T7" fmla="*/ 3269 h 4070"/>
                  <a:gd name="T8" fmla="*/ 2737 w 2780"/>
                  <a:gd name="T9" fmla="*/ 3414 h 4070"/>
                  <a:gd name="T10" fmla="*/ 2618 w 2780"/>
                  <a:gd name="T11" fmla="*/ 3328 h 4070"/>
                  <a:gd name="T12" fmla="*/ 2539 w 2780"/>
                  <a:gd name="T13" fmla="*/ 3283 h 4070"/>
                  <a:gd name="T14" fmla="*/ 2428 w 2780"/>
                  <a:gd name="T15" fmla="*/ 3098 h 4070"/>
                  <a:gd name="T16" fmla="*/ 2330 w 2780"/>
                  <a:gd name="T17" fmla="*/ 3043 h 4070"/>
                  <a:gd name="T18" fmla="*/ 2296 w 2780"/>
                  <a:gd name="T19" fmla="*/ 2925 h 4070"/>
                  <a:gd name="T20" fmla="*/ 2282 w 2780"/>
                  <a:gd name="T21" fmla="*/ 2837 h 4070"/>
                  <a:gd name="T22" fmla="*/ 2283 w 2780"/>
                  <a:gd name="T23" fmla="*/ 3036 h 4070"/>
                  <a:gd name="T24" fmla="*/ 2353 w 2780"/>
                  <a:gd name="T25" fmla="*/ 3266 h 4070"/>
                  <a:gd name="T26" fmla="*/ 2271 w 2780"/>
                  <a:gd name="T27" fmla="*/ 3227 h 4070"/>
                  <a:gd name="T28" fmla="*/ 2209 w 2780"/>
                  <a:gd name="T29" fmla="*/ 3402 h 4070"/>
                  <a:gd name="T30" fmla="*/ 2072 w 2780"/>
                  <a:gd name="T31" fmla="*/ 3314 h 4070"/>
                  <a:gd name="T32" fmla="*/ 2081 w 2780"/>
                  <a:gd name="T33" fmla="*/ 3445 h 4070"/>
                  <a:gd name="T34" fmla="*/ 2101 w 2780"/>
                  <a:gd name="T35" fmla="*/ 3388 h 4070"/>
                  <a:gd name="T36" fmla="*/ 2186 w 2780"/>
                  <a:gd name="T37" fmla="*/ 3573 h 4070"/>
                  <a:gd name="T38" fmla="*/ 2141 w 2780"/>
                  <a:gd name="T39" fmla="*/ 3702 h 4070"/>
                  <a:gd name="T40" fmla="*/ 2105 w 2780"/>
                  <a:gd name="T41" fmla="*/ 3796 h 4070"/>
                  <a:gd name="T42" fmla="*/ 2023 w 2780"/>
                  <a:gd name="T43" fmla="*/ 3724 h 4070"/>
                  <a:gd name="T44" fmla="*/ 1958 w 2780"/>
                  <a:gd name="T45" fmla="*/ 3685 h 4070"/>
                  <a:gd name="T46" fmla="*/ 1979 w 2780"/>
                  <a:gd name="T47" fmla="*/ 3741 h 4070"/>
                  <a:gd name="T48" fmla="*/ 1902 w 2780"/>
                  <a:gd name="T49" fmla="*/ 3869 h 4070"/>
                  <a:gd name="T50" fmla="*/ 1875 w 2780"/>
                  <a:gd name="T51" fmla="*/ 3861 h 4070"/>
                  <a:gd name="T52" fmla="*/ 1790 w 2780"/>
                  <a:gd name="T53" fmla="*/ 3833 h 4070"/>
                  <a:gd name="T54" fmla="*/ 1728 w 2780"/>
                  <a:gd name="T55" fmla="*/ 3943 h 4070"/>
                  <a:gd name="T56" fmla="*/ 1660 w 2780"/>
                  <a:gd name="T57" fmla="*/ 3976 h 4070"/>
                  <a:gd name="T58" fmla="*/ 1519 w 2780"/>
                  <a:gd name="T59" fmla="*/ 3866 h 4070"/>
                  <a:gd name="T60" fmla="*/ 1631 w 2780"/>
                  <a:gd name="T61" fmla="*/ 3885 h 4070"/>
                  <a:gd name="T62" fmla="*/ 1719 w 2780"/>
                  <a:gd name="T63" fmla="*/ 3893 h 4070"/>
                  <a:gd name="T64" fmla="*/ 1618 w 2780"/>
                  <a:gd name="T65" fmla="*/ 3633 h 4070"/>
                  <a:gd name="T66" fmla="*/ 1516 w 2780"/>
                  <a:gd name="T67" fmla="*/ 3532 h 4070"/>
                  <a:gd name="T68" fmla="*/ 1537 w 2780"/>
                  <a:gd name="T69" fmla="*/ 3840 h 4070"/>
                  <a:gd name="T70" fmla="*/ 1391 w 2780"/>
                  <a:gd name="T71" fmla="*/ 3728 h 4070"/>
                  <a:gd name="T72" fmla="*/ 1321 w 2780"/>
                  <a:gd name="T73" fmla="*/ 3715 h 4070"/>
                  <a:gd name="T74" fmla="*/ 1404 w 2780"/>
                  <a:gd name="T75" fmla="*/ 3882 h 4070"/>
                  <a:gd name="T76" fmla="*/ 1324 w 2780"/>
                  <a:gd name="T77" fmla="*/ 3952 h 4070"/>
                  <a:gd name="T78" fmla="*/ 1211 w 2780"/>
                  <a:gd name="T79" fmla="*/ 3307 h 4070"/>
                  <a:gd name="T80" fmla="*/ 1197 w 2780"/>
                  <a:gd name="T81" fmla="*/ 3110 h 4070"/>
                  <a:gd name="T82" fmla="*/ 1005 w 2780"/>
                  <a:gd name="T83" fmla="*/ 2833 h 4070"/>
                  <a:gd name="T84" fmla="*/ 1019 w 2780"/>
                  <a:gd name="T85" fmla="*/ 2634 h 4070"/>
                  <a:gd name="T86" fmla="*/ 1104 w 2780"/>
                  <a:gd name="T87" fmla="*/ 2498 h 4070"/>
                  <a:gd name="T88" fmla="*/ 1256 w 2780"/>
                  <a:gd name="T89" fmla="*/ 2245 h 4070"/>
                  <a:gd name="T90" fmla="*/ 1315 w 2780"/>
                  <a:gd name="T91" fmla="*/ 2065 h 4070"/>
                  <a:gd name="T92" fmla="*/ 1335 w 2780"/>
                  <a:gd name="T93" fmla="*/ 1845 h 4070"/>
                  <a:gd name="T94" fmla="*/ 1267 w 2780"/>
                  <a:gd name="T95" fmla="*/ 2019 h 4070"/>
                  <a:gd name="T96" fmla="*/ 1288 w 2780"/>
                  <a:gd name="T97" fmla="*/ 2126 h 4070"/>
                  <a:gd name="T98" fmla="*/ 1215 w 2780"/>
                  <a:gd name="T99" fmla="*/ 2238 h 4070"/>
                  <a:gd name="T100" fmla="*/ 1069 w 2780"/>
                  <a:gd name="T101" fmla="*/ 2510 h 4070"/>
                  <a:gd name="T102" fmla="*/ 916 w 2780"/>
                  <a:gd name="T103" fmla="*/ 2564 h 4070"/>
                  <a:gd name="T104" fmla="*/ 881 w 2780"/>
                  <a:gd name="T105" fmla="*/ 2553 h 4070"/>
                  <a:gd name="T106" fmla="*/ 840 w 2780"/>
                  <a:gd name="T107" fmla="*/ 2485 h 4070"/>
                  <a:gd name="T108" fmla="*/ 812 w 2780"/>
                  <a:gd name="T109" fmla="*/ 2428 h 4070"/>
                  <a:gd name="T110" fmla="*/ 496 w 2780"/>
                  <a:gd name="T111" fmla="*/ 2196 h 4070"/>
                  <a:gd name="T112" fmla="*/ 283 w 2780"/>
                  <a:gd name="T113" fmla="*/ 2115 h 4070"/>
                  <a:gd name="T114" fmla="*/ 199 w 2780"/>
                  <a:gd name="T115" fmla="*/ 1904 h 4070"/>
                  <a:gd name="T116" fmla="*/ 205 w 2780"/>
                  <a:gd name="T117" fmla="*/ 1761 h 4070"/>
                  <a:gd name="T118" fmla="*/ 225 w 2780"/>
                  <a:gd name="T119" fmla="*/ 1556 h 4070"/>
                  <a:gd name="T120" fmla="*/ 209 w 2780"/>
                  <a:gd name="T121" fmla="*/ 1328 h 4070"/>
                  <a:gd name="T122" fmla="*/ 1 w 2780"/>
                  <a:gd name="T123" fmla="*/ 1345 h 4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80" h="4070">
                    <a:moveTo>
                      <a:pt x="1517" y="0"/>
                    </a:moveTo>
                    <a:lnTo>
                      <a:pt x="1652" y="861"/>
                    </a:lnTo>
                    <a:lnTo>
                      <a:pt x="1904" y="1089"/>
                    </a:lnTo>
                    <a:lnTo>
                      <a:pt x="2012" y="1414"/>
                    </a:lnTo>
                    <a:lnTo>
                      <a:pt x="2036" y="1564"/>
                    </a:lnTo>
                    <a:lnTo>
                      <a:pt x="1731" y="1860"/>
                    </a:lnTo>
                    <a:lnTo>
                      <a:pt x="1831" y="1975"/>
                    </a:lnTo>
                    <a:lnTo>
                      <a:pt x="1773" y="2104"/>
                    </a:lnTo>
                    <a:lnTo>
                      <a:pt x="2290" y="2029"/>
                    </a:lnTo>
                    <a:lnTo>
                      <a:pt x="2362" y="2234"/>
                    </a:lnTo>
                    <a:lnTo>
                      <a:pt x="2479" y="2237"/>
                    </a:lnTo>
                    <a:lnTo>
                      <a:pt x="2680" y="3023"/>
                    </a:lnTo>
                    <a:lnTo>
                      <a:pt x="2683" y="3127"/>
                    </a:lnTo>
                    <a:lnTo>
                      <a:pt x="2683" y="3127"/>
                    </a:lnTo>
                    <a:lnTo>
                      <a:pt x="2666" y="3118"/>
                    </a:lnTo>
                    <a:lnTo>
                      <a:pt x="2653" y="3108"/>
                    </a:lnTo>
                    <a:lnTo>
                      <a:pt x="2648" y="3105"/>
                    </a:lnTo>
                    <a:lnTo>
                      <a:pt x="2643" y="3104"/>
                    </a:lnTo>
                    <a:lnTo>
                      <a:pt x="2638" y="3104"/>
                    </a:lnTo>
                    <a:lnTo>
                      <a:pt x="2633" y="3104"/>
                    </a:lnTo>
                    <a:lnTo>
                      <a:pt x="2626" y="3105"/>
                    </a:lnTo>
                    <a:lnTo>
                      <a:pt x="2619" y="3107"/>
                    </a:lnTo>
                    <a:lnTo>
                      <a:pt x="2616" y="3108"/>
                    </a:lnTo>
                    <a:lnTo>
                      <a:pt x="2612" y="3107"/>
                    </a:lnTo>
                    <a:lnTo>
                      <a:pt x="2610" y="3105"/>
                    </a:lnTo>
                    <a:lnTo>
                      <a:pt x="2606" y="3103"/>
                    </a:lnTo>
                    <a:lnTo>
                      <a:pt x="2603" y="3101"/>
                    </a:lnTo>
                    <a:lnTo>
                      <a:pt x="2599" y="3095"/>
                    </a:lnTo>
                    <a:lnTo>
                      <a:pt x="2596" y="3089"/>
                    </a:lnTo>
                    <a:lnTo>
                      <a:pt x="2592" y="3081"/>
                    </a:lnTo>
                    <a:lnTo>
                      <a:pt x="2582" y="3074"/>
                    </a:lnTo>
                    <a:lnTo>
                      <a:pt x="2559" y="3061"/>
                    </a:lnTo>
                    <a:lnTo>
                      <a:pt x="2548" y="3055"/>
                    </a:lnTo>
                    <a:lnTo>
                      <a:pt x="2538" y="3051"/>
                    </a:lnTo>
                    <a:lnTo>
                      <a:pt x="2534" y="3050"/>
                    </a:lnTo>
                    <a:lnTo>
                      <a:pt x="2531" y="3051"/>
                    </a:lnTo>
                    <a:lnTo>
                      <a:pt x="2529" y="3052"/>
                    </a:lnTo>
                    <a:lnTo>
                      <a:pt x="2529" y="3055"/>
                    </a:lnTo>
                    <a:lnTo>
                      <a:pt x="2530" y="3081"/>
                    </a:lnTo>
                    <a:lnTo>
                      <a:pt x="2534" y="3103"/>
                    </a:lnTo>
                    <a:lnTo>
                      <a:pt x="2536" y="3113"/>
                    </a:lnTo>
                    <a:lnTo>
                      <a:pt x="2541" y="3122"/>
                    </a:lnTo>
                    <a:lnTo>
                      <a:pt x="2548" y="3131"/>
                    </a:lnTo>
                    <a:lnTo>
                      <a:pt x="2557" y="3141"/>
                    </a:lnTo>
                    <a:lnTo>
                      <a:pt x="2565" y="3151"/>
                    </a:lnTo>
                    <a:lnTo>
                      <a:pt x="2575" y="3164"/>
                    </a:lnTo>
                    <a:lnTo>
                      <a:pt x="2583" y="3179"/>
                    </a:lnTo>
                    <a:lnTo>
                      <a:pt x="2589" y="3195"/>
                    </a:lnTo>
                    <a:lnTo>
                      <a:pt x="2595" y="3212"/>
                    </a:lnTo>
                    <a:lnTo>
                      <a:pt x="2599" y="3228"/>
                    </a:lnTo>
                    <a:lnTo>
                      <a:pt x="2602" y="3245"/>
                    </a:lnTo>
                    <a:lnTo>
                      <a:pt x="2603" y="3258"/>
                    </a:lnTo>
                    <a:lnTo>
                      <a:pt x="2603" y="3307"/>
                    </a:lnTo>
                    <a:lnTo>
                      <a:pt x="2603" y="3316"/>
                    </a:lnTo>
                    <a:lnTo>
                      <a:pt x="2603" y="3322"/>
                    </a:lnTo>
                    <a:lnTo>
                      <a:pt x="2604" y="3325"/>
                    </a:lnTo>
                    <a:lnTo>
                      <a:pt x="2605" y="3325"/>
                    </a:lnTo>
                    <a:lnTo>
                      <a:pt x="2610" y="3321"/>
                    </a:lnTo>
                    <a:lnTo>
                      <a:pt x="2617" y="3314"/>
                    </a:lnTo>
                    <a:lnTo>
                      <a:pt x="2619" y="3312"/>
                    </a:lnTo>
                    <a:lnTo>
                      <a:pt x="2623" y="3312"/>
                    </a:lnTo>
                    <a:lnTo>
                      <a:pt x="2626" y="3312"/>
                    </a:lnTo>
                    <a:lnTo>
                      <a:pt x="2630" y="3312"/>
                    </a:lnTo>
                    <a:lnTo>
                      <a:pt x="2637" y="3314"/>
                    </a:lnTo>
                    <a:lnTo>
                      <a:pt x="2645" y="3316"/>
                    </a:lnTo>
                    <a:lnTo>
                      <a:pt x="2652" y="3318"/>
                    </a:lnTo>
                    <a:lnTo>
                      <a:pt x="2658" y="3318"/>
                    </a:lnTo>
                    <a:lnTo>
                      <a:pt x="2660" y="3316"/>
                    </a:lnTo>
                    <a:lnTo>
                      <a:pt x="2662" y="3314"/>
                    </a:lnTo>
                    <a:lnTo>
                      <a:pt x="2663" y="3312"/>
                    </a:lnTo>
                    <a:lnTo>
                      <a:pt x="2664" y="3307"/>
                    </a:lnTo>
                    <a:lnTo>
                      <a:pt x="2664" y="3302"/>
                    </a:lnTo>
                    <a:lnTo>
                      <a:pt x="2666" y="3296"/>
                    </a:lnTo>
                    <a:lnTo>
                      <a:pt x="2670" y="3291"/>
                    </a:lnTo>
                    <a:lnTo>
                      <a:pt x="2673" y="3285"/>
                    </a:lnTo>
                    <a:lnTo>
                      <a:pt x="2677" y="3280"/>
                    </a:lnTo>
                    <a:lnTo>
                      <a:pt x="2682" y="3275"/>
                    </a:lnTo>
                    <a:lnTo>
                      <a:pt x="2687" y="3270"/>
                    </a:lnTo>
                    <a:lnTo>
                      <a:pt x="2692" y="3267"/>
                    </a:lnTo>
                    <a:lnTo>
                      <a:pt x="2697" y="3266"/>
                    </a:lnTo>
                    <a:lnTo>
                      <a:pt x="2703" y="3265"/>
                    </a:lnTo>
                    <a:lnTo>
                      <a:pt x="2706" y="3265"/>
                    </a:lnTo>
                    <a:lnTo>
                      <a:pt x="2711" y="3266"/>
                    </a:lnTo>
                    <a:lnTo>
                      <a:pt x="2715" y="3269"/>
                    </a:lnTo>
                    <a:lnTo>
                      <a:pt x="2717" y="3275"/>
                    </a:lnTo>
                    <a:lnTo>
                      <a:pt x="2719" y="3282"/>
                    </a:lnTo>
                    <a:lnTo>
                      <a:pt x="2719" y="3291"/>
                    </a:lnTo>
                    <a:lnTo>
                      <a:pt x="2720" y="3309"/>
                    </a:lnTo>
                    <a:lnTo>
                      <a:pt x="2723" y="3324"/>
                    </a:lnTo>
                    <a:lnTo>
                      <a:pt x="2725" y="3328"/>
                    </a:lnTo>
                    <a:lnTo>
                      <a:pt x="2727" y="3332"/>
                    </a:lnTo>
                    <a:lnTo>
                      <a:pt x="2730" y="3334"/>
                    </a:lnTo>
                    <a:lnTo>
                      <a:pt x="2733" y="3336"/>
                    </a:lnTo>
                    <a:lnTo>
                      <a:pt x="2752" y="3341"/>
                    </a:lnTo>
                    <a:lnTo>
                      <a:pt x="2780" y="3345"/>
                    </a:lnTo>
                    <a:lnTo>
                      <a:pt x="2772" y="3357"/>
                    </a:lnTo>
                    <a:lnTo>
                      <a:pt x="2760" y="3374"/>
                    </a:lnTo>
                    <a:lnTo>
                      <a:pt x="2757" y="3388"/>
                    </a:lnTo>
                    <a:lnTo>
                      <a:pt x="2752" y="3400"/>
                    </a:lnTo>
                    <a:lnTo>
                      <a:pt x="2750" y="3405"/>
                    </a:lnTo>
                    <a:lnTo>
                      <a:pt x="2749" y="3408"/>
                    </a:lnTo>
                    <a:lnTo>
                      <a:pt x="2745" y="3411"/>
                    </a:lnTo>
                    <a:lnTo>
                      <a:pt x="2743" y="3413"/>
                    </a:lnTo>
                    <a:lnTo>
                      <a:pt x="2740" y="3414"/>
                    </a:lnTo>
                    <a:lnTo>
                      <a:pt x="2737" y="3414"/>
                    </a:lnTo>
                    <a:lnTo>
                      <a:pt x="2733" y="3414"/>
                    </a:lnTo>
                    <a:lnTo>
                      <a:pt x="2730" y="3412"/>
                    </a:lnTo>
                    <a:lnTo>
                      <a:pt x="2722" y="3405"/>
                    </a:lnTo>
                    <a:lnTo>
                      <a:pt x="2711" y="3392"/>
                    </a:lnTo>
                    <a:lnTo>
                      <a:pt x="2704" y="3377"/>
                    </a:lnTo>
                    <a:lnTo>
                      <a:pt x="2697" y="3355"/>
                    </a:lnTo>
                    <a:lnTo>
                      <a:pt x="2692" y="3345"/>
                    </a:lnTo>
                    <a:lnTo>
                      <a:pt x="2689" y="3336"/>
                    </a:lnTo>
                    <a:lnTo>
                      <a:pt x="2686" y="3333"/>
                    </a:lnTo>
                    <a:lnTo>
                      <a:pt x="2684" y="3331"/>
                    </a:lnTo>
                    <a:lnTo>
                      <a:pt x="2682" y="3329"/>
                    </a:lnTo>
                    <a:lnTo>
                      <a:pt x="2679" y="3329"/>
                    </a:lnTo>
                    <a:lnTo>
                      <a:pt x="2678" y="3332"/>
                    </a:lnTo>
                    <a:lnTo>
                      <a:pt x="2676" y="3334"/>
                    </a:lnTo>
                    <a:lnTo>
                      <a:pt x="2672" y="3334"/>
                    </a:lnTo>
                    <a:lnTo>
                      <a:pt x="2667" y="3335"/>
                    </a:lnTo>
                    <a:lnTo>
                      <a:pt x="2657" y="3333"/>
                    </a:lnTo>
                    <a:lnTo>
                      <a:pt x="2645" y="3331"/>
                    </a:lnTo>
                    <a:lnTo>
                      <a:pt x="2633" y="3329"/>
                    </a:lnTo>
                    <a:lnTo>
                      <a:pt x="2623" y="3328"/>
                    </a:lnTo>
                    <a:lnTo>
                      <a:pt x="2618" y="3328"/>
                    </a:lnTo>
                    <a:lnTo>
                      <a:pt x="2615" y="3331"/>
                    </a:lnTo>
                    <a:lnTo>
                      <a:pt x="2612" y="3333"/>
                    </a:lnTo>
                    <a:lnTo>
                      <a:pt x="2610" y="3336"/>
                    </a:lnTo>
                    <a:lnTo>
                      <a:pt x="2606" y="3353"/>
                    </a:lnTo>
                    <a:lnTo>
                      <a:pt x="2602" y="3378"/>
                    </a:lnTo>
                    <a:lnTo>
                      <a:pt x="2599" y="3390"/>
                    </a:lnTo>
                    <a:lnTo>
                      <a:pt x="2596" y="3401"/>
                    </a:lnTo>
                    <a:lnTo>
                      <a:pt x="2593" y="3408"/>
                    </a:lnTo>
                    <a:lnTo>
                      <a:pt x="2590" y="3413"/>
                    </a:lnTo>
                    <a:lnTo>
                      <a:pt x="2589" y="3405"/>
                    </a:lnTo>
                    <a:lnTo>
                      <a:pt x="2586" y="3392"/>
                    </a:lnTo>
                    <a:lnTo>
                      <a:pt x="2582" y="3375"/>
                    </a:lnTo>
                    <a:lnTo>
                      <a:pt x="2577" y="3359"/>
                    </a:lnTo>
                    <a:lnTo>
                      <a:pt x="2572" y="3341"/>
                    </a:lnTo>
                    <a:lnTo>
                      <a:pt x="2566" y="3327"/>
                    </a:lnTo>
                    <a:lnTo>
                      <a:pt x="2562" y="3315"/>
                    </a:lnTo>
                    <a:lnTo>
                      <a:pt x="2557" y="3309"/>
                    </a:lnTo>
                    <a:lnTo>
                      <a:pt x="2552" y="3305"/>
                    </a:lnTo>
                    <a:lnTo>
                      <a:pt x="2548" y="3299"/>
                    </a:lnTo>
                    <a:lnTo>
                      <a:pt x="2543" y="3292"/>
                    </a:lnTo>
                    <a:lnTo>
                      <a:pt x="2539" y="3283"/>
                    </a:lnTo>
                    <a:lnTo>
                      <a:pt x="2534" y="3266"/>
                    </a:lnTo>
                    <a:lnTo>
                      <a:pt x="2530" y="3246"/>
                    </a:lnTo>
                    <a:lnTo>
                      <a:pt x="2526" y="3225"/>
                    </a:lnTo>
                    <a:lnTo>
                      <a:pt x="2524" y="3204"/>
                    </a:lnTo>
                    <a:lnTo>
                      <a:pt x="2523" y="3186"/>
                    </a:lnTo>
                    <a:lnTo>
                      <a:pt x="2523" y="3170"/>
                    </a:lnTo>
                    <a:lnTo>
                      <a:pt x="2522" y="3166"/>
                    </a:lnTo>
                    <a:lnTo>
                      <a:pt x="2521" y="3160"/>
                    </a:lnTo>
                    <a:lnTo>
                      <a:pt x="2517" y="3153"/>
                    </a:lnTo>
                    <a:lnTo>
                      <a:pt x="2512" y="3146"/>
                    </a:lnTo>
                    <a:lnTo>
                      <a:pt x="2502" y="3130"/>
                    </a:lnTo>
                    <a:lnTo>
                      <a:pt x="2489" y="3115"/>
                    </a:lnTo>
                    <a:lnTo>
                      <a:pt x="2475" y="3101"/>
                    </a:lnTo>
                    <a:lnTo>
                      <a:pt x="2461" y="3089"/>
                    </a:lnTo>
                    <a:lnTo>
                      <a:pt x="2454" y="3084"/>
                    </a:lnTo>
                    <a:lnTo>
                      <a:pt x="2448" y="3081"/>
                    </a:lnTo>
                    <a:lnTo>
                      <a:pt x="2442" y="3080"/>
                    </a:lnTo>
                    <a:lnTo>
                      <a:pt x="2437" y="3078"/>
                    </a:lnTo>
                    <a:lnTo>
                      <a:pt x="2435" y="3085"/>
                    </a:lnTo>
                    <a:lnTo>
                      <a:pt x="2431" y="3092"/>
                    </a:lnTo>
                    <a:lnTo>
                      <a:pt x="2428" y="3098"/>
                    </a:lnTo>
                    <a:lnTo>
                      <a:pt x="2423" y="3104"/>
                    </a:lnTo>
                    <a:lnTo>
                      <a:pt x="2417" y="3110"/>
                    </a:lnTo>
                    <a:lnTo>
                      <a:pt x="2411" y="3115"/>
                    </a:lnTo>
                    <a:lnTo>
                      <a:pt x="2405" y="3120"/>
                    </a:lnTo>
                    <a:lnTo>
                      <a:pt x="2398" y="3123"/>
                    </a:lnTo>
                    <a:lnTo>
                      <a:pt x="2384" y="3130"/>
                    </a:lnTo>
                    <a:lnTo>
                      <a:pt x="2369" y="3135"/>
                    </a:lnTo>
                    <a:lnTo>
                      <a:pt x="2354" y="3137"/>
                    </a:lnTo>
                    <a:lnTo>
                      <a:pt x="2338" y="3138"/>
                    </a:lnTo>
                    <a:lnTo>
                      <a:pt x="2341" y="3131"/>
                    </a:lnTo>
                    <a:lnTo>
                      <a:pt x="2347" y="3123"/>
                    </a:lnTo>
                    <a:lnTo>
                      <a:pt x="2349" y="3120"/>
                    </a:lnTo>
                    <a:lnTo>
                      <a:pt x="2350" y="3115"/>
                    </a:lnTo>
                    <a:lnTo>
                      <a:pt x="2351" y="3110"/>
                    </a:lnTo>
                    <a:lnTo>
                      <a:pt x="2350" y="3105"/>
                    </a:lnTo>
                    <a:lnTo>
                      <a:pt x="2345" y="3094"/>
                    </a:lnTo>
                    <a:lnTo>
                      <a:pt x="2341" y="3083"/>
                    </a:lnTo>
                    <a:lnTo>
                      <a:pt x="2337" y="3071"/>
                    </a:lnTo>
                    <a:lnTo>
                      <a:pt x="2334" y="3056"/>
                    </a:lnTo>
                    <a:lnTo>
                      <a:pt x="2333" y="3049"/>
                    </a:lnTo>
                    <a:lnTo>
                      <a:pt x="2330" y="3043"/>
                    </a:lnTo>
                    <a:lnTo>
                      <a:pt x="2329" y="3041"/>
                    </a:lnTo>
                    <a:lnTo>
                      <a:pt x="2325" y="3041"/>
                    </a:lnTo>
                    <a:lnTo>
                      <a:pt x="2318" y="3042"/>
                    </a:lnTo>
                    <a:lnTo>
                      <a:pt x="2306" y="3043"/>
                    </a:lnTo>
                    <a:lnTo>
                      <a:pt x="2306" y="3039"/>
                    </a:lnTo>
                    <a:lnTo>
                      <a:pt x="2307" y="3035"/>
                    </a:lnTo>
                    <a:lnTo>
                      <a:pt x="2309" y="3031"/>
                    </a:lnTo>
                    <a:lnTo>
                      <a:pt x="2311" y="3028"/>
                    </a:lnTo>
                    <a:lnTo>
                      <a:pt x="2314" y="3023"/>
                    </a:lnTo>
                    <a:lnTo>
                      <a:pt x="2315" y="3019"/>
                    </a:lnTo>
                    <a:lnTo>
                      <a:pt x="2315" y="3015"/>
                    </a:lnTo>
                    <a:lnTo>
                      <a:pt x="2313" y="3010"/>
                    </a:lnTo>
                    <a:lnTo>
                      <a:pt x="2304" y="2997"/>
                    </a:lnTo>
                    <a:lnTo>
                      <a:pt x="2297" y="2982"/>
                    </a:lnTo>
                    <a:lnTo>
                      <a:pt x="2294" y="2972"/>
                    </a:lnTo>
                    <a:lnTo>
                      <a:pt x="2291" y="2964"/>
                    </a:lnTo>
                    <a:lnTo>
                      <a:pt x="2291" y="2957"/>
                    </a:lnTo>
                    <a:lnTo>
                      <a:pt x="2293" y="2950"/>
                    </a:lnTo>
                    <a:lnTo>
                      <a:pt x="2295" y="2939"/>
                    </a:lnTo>
                    <a:lnTo>
                      <a:pt x="2296" y="2931"/>
                    </a:lnTo>
                    <a:lnTo>
                      <a:pt x="2296" y="2925"/>
                    </a:lnTo>
                    <a:lnTo>
                      <a:pt x="2295" y="2920"/>
                    </a:lnTo>
                    <a:lnTo>
                      <a:pt x="2293" y="2917"/>
                    </a:lnTo>
                    <a:lnTo>
                      <a:pt x="2290" y="2912"/>
                    </a:lnTo>
                    <a:lnTo>
                      <a:pt x="2289" y="2907"/>
                    </a:lnTo>
                    <a:lnTo>
                      <a:pt x="2289" y="2899"/>
                    </a:lnTo>
                    <a:lnTo>
                      <a:pt x="2289" y="2893"/>
                    </a:lnTo>
                    <a:lnTo>
                      <a:pt x="2290" y="2887"/>
                    </a:lnTo>
                    <a:lnTo>
                      <a:pt x="2289" y="2882"/>
                    </a:lnTo>
                    <a:lnTo>
                      <a:pt x="2289" y="2876"/>
                    </a:lnTo>
                    <a:lnTo>
                      <a:pt x="2287" y="2863"/>
                    </a:lnTo>
                    <a:lnTo>
                      <a:pt x="2287" y="2850"/>
                    </a:lnTo>
                    <a:lnTo>
                      <a:pt x="2288" y="2839"/>
                    </a:lnTo>
                    <a:lnTo>
                      <a:pt x="2288" y="2827"/>
                    </a:lnTo>
                    <a:lnTo>
                      <a:pt x="2288" y="2817"/>
                    </a:lnTo>
                    <a:lnTo>
                      <a:pt x="2288" y="2805"/>
                    </a:lnTo>
                    <a:lnTo>
                      <a:pt x="2286" y="2806"/>
                    </a:lnTo>
                    <a:lnTo>
                      <a:pt x="2284" y="2810"/>
                    </a:lnTo>
                    <a:lnTo>
                      <a:pt x="2284" y="2814"/>
                    </a:lnTo>
                    <a:lnTo>
                      <a:pt x="2283" y="2819"/>
                    </a:lnTo>
                    <a:lnTo>
                      <a:pt x="2282" y="2830"/>
                    </a:lnTo>
                    <a:lnTo>
                      <a:pt x="2282" y="2837"/>
                    </a:lnTo>
                    <a:lnTo>
                      <a:pt x="2277" y="2850"/>
                    </a:lnTo>
                    <a:lnTo>
                      <a:pt x="2274" y="2865"/>
                    </a:lnTo>
                    <a:lnTo>
                      <a:pt x="2270" y="2880"/>
                    </a:lnTo>
                    <a:lnTo>
                      <a:pt x="2268" y="2892"/>
                    </a:lnTo>
                    <a:lnTo>
                      <a:pt x="2268" y="2912"/>
                    </a:lnTo>
                    <a:lnTo>
                      <a:pt x="2267" y="2931"/>
                    </a:lnTo>
                    <a:lnTo>
                      <a:pt x="2266" y="2949"/>
                    </a:lnTo>
                    <a:lnTo>
                      <a:pt x="2264" y="2969"/>
                    </a:lnTo>
                    <a:lnTo>
                      <a:pt x="2263" y="3012"/>
                    </a:lnTo>
                    <a:lnTo>
                      <a:pt x="2264" y="3018"/>
                    </a:lnTo>
                    <a:lnTo>
                      <a:pt x="2266" y="3021"/>
                    </a:lnTo>
                    <a:lnTo>
                      <a:pt x="2268" y="3022"/>
                    </a:lnTo>
                    <a:lnTo>
                      <a:pt x="2271" y="3022"/>
                    </a:lnTo>
                    <a:lnTo>
                      <a:pt x="2281" y="3018"/>
                    </a:lnTo>
                    <a:lnTo>
                      <a:pt x="2289" y="3017"/>
                    </a:lnTo>
                    <a:lnTo>
                      <a:pt x="2290" y="3017"/>
                    </a:lnTo>
                    <a:lnTo>
                      <a:pt x="2291" y="3017"/>
                    </a:lnTo>
                    <a:lnTo>
                      <a:pt x="2291" y="3018"/>
                    </a:lnTo>
                    <a:lnTo>
                      <a:pt x="2291" y="3029"/>
                    </a:lnTo>
                    <a:lnTo>
                      <a:pt x="2287" y="3031"/>
                    </a:lnTo>
                    <a:lnTo>
                      <a:pt x="2283" y="3036"/>
                    </a:lnTo>
                    <a:lnTo>
                      <a:pt x="2281" y="3042"/>
                    </a:lnTo>
                    <a:lnTo>
                      <a:pt x="2280" y="3050"/>
                    </a:lnTo>
                    <a:lnTo>
                      <a:pt x="2278" y="3058"/>
                    </a:lnTo>
                    <a:lnTo>
                      <a:pt x="2278" y="3068"/>
                    </a:lnTo>
                    <a:lnTo>
                      <a:pt x="2280" y="3078"/>
                    </a:lnTo>
                    <a:lnTo>
                      <a:pt x="2281" y="3088"/>
                    </a:lnTo>
                    <a:lnTo>
                      <a:pt x="2289" y="3129"/>
                    </a:lnTo>
                    <a:lnTo>
                      <a:pt x="2294" y="3158"/>
                    </a:lnTo>
                    <a:lnTo>
                      <a:pt x="2304" y="3147"/>
                    </a:lnTo>
                    <a:lnTo>
                      <a:pt x="2315" y="3135"/>
                    </a:lnTo>
                    <a:lnTo>
                      <a:pt x="2315" y="3149"/>
                    </a:lnTo>
                    <a:lnTo>
                      <a:pt x="2314" y="3160"/>
                    </a:lnTo>
                    <a:lnTo>
                      <a:pt x="2314" y="3166"/>
                    </a:lnTo>
                    <a:lnTo>
                      <a:pt x="2314" y="3171"/>
                    </a:lnTo>
                    <a:lnTo>
                      <a:pt x="2315" y="3177"/>
                    </a:lnTo>
                    <a:lnTo>
                      <a:pt x="2318" y="3186"/>
                    </a:lnTo>
                    <a:lnTo>
                      <a:pt x="2324" y="3200"/>
                    </a:lnTo>
                    <a:lnTo>
                      <a:pt x="2331" y="3214"/>
                    </a:lnTo>
                    <a:lnTo>
                      <a:pt x="2340" y="3229"/>
                    </a:lnTo>
                    <a:lnTo>
                      <a:pt x="2348" y="3241"/>
                    </a:lnTo>
                    <a:lnTo>
                      <a:pt x="2353" y="3266"/>
                    </a:lnTo>
                    <a:lnTo>
                      <a:pt x="2355" y="3287"/>
                    </a:lnTo>
                    <a:lnTo>
                      <a:pt x="2357" y="3299"/>
                    </a:lnTo>
                    <a:lnTo>
                      <a:pt x="2360" y="3309"/>
                    </a:lnTo>
                    <a:lnTo>
                      <a:pt x="2362" y="3320"/>
                    </a:lnTo>
                    <a:lnTo>
                      <a:pt x="2365" y="3332"/>
                    </a:lnTo>
                    <a:lnTo>
                      <a:pt x="2369" y="3341"/>
                    </a:lnTo>
                    <a:lnTo>
                      <a:pt x="2371" y="3348"/>
                    </a:lnTo>
                    <a:lnTo>
                      <a:pt x="2371" y="3349"/>
                    </a:lnTo>
                    <a:lnTo>
                      <a:pt x="2370" y="3351"/>
                    </a:lnTo>
                    <a:lnTo>
                      <a:pt x="2367" y="3349"/>
                    </a:lnTo>
                    <a:lnTo>
                      <a:pt x="2362" y="3348"/>
                    </a:lnTo>
                    <a:lnTo>
                      <a:pt x="2340" y="3339"/>
                    </a:lnTo>
                    <a:lnTo>
                      <a:pt x="2325" y="3334"/>
                    </a:lnTo>
                    <a:lnTo>
                      <a:pt x="2320" y="3329"/>
                    </a:lnTo>
                    <a:lnTo>
                      <a:pt x="2314" y="3324"/>
                    </a:lnTo>
                    <a:lnTo>
                      <a:pt x="2308" y="3315"/>
                    </a:lnTo>
                    <a:lnTo>
                      <a:pt x="2303" y="3301"/>
                    </a:lnTo>
                    <a:lnTo>
                      <a:pt x="2295" y="3283"/>
                    </a:lnTo>
                    <a:lnTo>
                      <a:pt x="2286" y="3265"/>
                    </a:lnTo>
                    <a:lnTo>
                      <a:pt x="2277" y="3246"/>
                    </a:lnTo>
                    <a:lnTo>
                      <a:pt x="2271" y="3227"/>
                    </a:lnTo>
                    <a:lnTo>
                      <a:pt x="2268" y="3217"/>
                    </a:lnTo>
                    <a:lnTo>
                      <a:pt x="2264" y="3212"/>
                    </a:lnTo>
                    <a:lnTo>
                      <a:pt x="2260" y="3207"/>
                    </a:lnTo>
                    <a:lnTo>
                      <a:pt x="2254" y="3204"/>
                    </a:lnTo>
                    <a:lnTo>
                      <a:pt x="2240" y="3202"/>
                    </a:lnTo>
                    <a:lnTo>
                      <a:pt x="2221" y="3202"/>
                    </a:lnTo>
                    <a:lnTo>
                      <a:pt x="2220" y="3203"/>
                    </a:lnTo>
                    <a:lnTo>
                      <a:pt x="2219" y="3207"/>
                    </a:lnTo>
                    <a:lnTo>
                      <a:pt x="2219" y="3212"/>
                    </a:lnTo>
                    <a:lnTo>
                      <a:pt x="2220" y="3217"/>
                    </a:lnTo>
                    <a:lnTo>
                      <a:pt x="2221" y="3229"/>
                    </a:lnTo>
                    <a:lnTo>
                      <a:pt x="2222" y="3237"/>
                    </a:lnTo>
                    <a:lnTo>
                      <a:pt x="2226" y="3258"/>
                    </a:lnTo>
                    <a:lnTo>
                      <a:pt x="2230" y="3278"/>
                    </a:lnTo>
                    <a:lnTo>
                      <a:pt x="2234" y="3298"/>
                    </a:lnTo>
                    <a:lnTo>
                      <a:pt x="2235" y="3316"/>
                    </a:lnTo>
                    <a:lnTo>
                      <a:pt x="2234" y="3328"/>
                    </a:lnTo>
                    <a:lnTo>
                      <a:pt x="2231" y="3341"/>
                    </a:lnTo>
                    <a:lnTo>
                      <a:pt x="2227" y="3357"/>
                    </a:lnTo>
                    <a:lnTo>
                      <a:pt x="2221" y="3372"/>
                    </a:lnTo>
                    <a:lnTo>
                      <a:pt x="2209" y="3402"/>
                    </a:lnTo>
                    <a:lnTo>
                      <a:pt x="2199" y="3426"/>
                    </a:lnTo>
                    <a:lnTo>
                      <a:pt x="2194" y="3437"/>
                    </a:lnTo>
                    <a:lnTo>
                      <a:pt x="2192" y="3444"/>
                    </a:lnTo>
                    <a:lnTo>
                      <a:pt x="2189" y="3444"/>
                    </a:lnTo>
                    <a:lnTo>
                      <a:pt x="2187" y="3443"/>
                    </a:lnTo>
                    <a:lnTo>
                      <a:pt x="2183" y="3439"/>
                    </a:lnTo>
                    <a:lnTo>
                      <a:pt x="2179" y="3434"/>
                    </a:lnTo>
                    <a:lnTo>
                      <a:pt x="2162" y="3412"/>
                    </a:lnTo>
                    <a:lnTo>
                      <a:pt x="2146" y="3388"/>
                    </a:lnTo>
                    <a:lnTo>
                      <a:pt x="2137" y="3378"/>
                    </a:lnTo>
                    <a:lnTo>
                      <a:pt x="2129" y="3367"/>
                    </a:lnTo>
                    <a:lnTo>
                      <a:pt x="2120" y="3357"/>
                    </a:lnTo>
                    <a:lnTo>
                      <a:pt x="2110" y="3347"/>
                    </a:lnTo>
                    <a:lnTo>
                      <a:pt x="2101" y="3339"/>
                    </a:lnTo>
                    <a:lnTo>
                      <a:pt x="2092" y="3329"/>
                    </a:lnTo>
                    <a:lnTo>
                      <a:pt x="2083" y="3320"/>
                    </a:lnTo>
                    <a:lnTo>
                      <a:pt x="2075" y="3309"/>
                    </a:lnTo>
                    <a:lnTo>
                      <a:pt x="2073" y="3306"/>
                    </a:lnTo>
                    <a:lnTo>
                      <a:pt x="2072" y="3306"/>
                    </a:lnTo>
                    <a:lnTo>
                      <a:pt x="2070" y="3309"/>
                    </a:lnTo>
                    <a:lnTo>
                      <a:pt x="2072" y="3314"/>
                    </a:lnTo>
                    <a:lnTo>
                      <a:pt x="2074" y="3326"/>
                    </a:lnTo>
                    <a:lnTo>
                      <a:pt x="2075" y="3336"/>
                    </a:lnTo>
                    <a:lnTo>
                      <a:pt x="2075" y="3344"/>
                    </a:lnTo>
                    <a:lnTo>
                      <a:pt x="2073" y="3348"/>
                    </a:lnTo>
                    <a:lnTo>
                      <a:pt x="2069" y="3352"/>
                    </a:lnTo>
                    <a:lnTo>
                      <a:pt x="2066" y="3354"/>
                    </a:lnTo>
                    <a:lnTo>
                      <a:pt x="2061" y="3355"/>
                    </a:lnTo>
                    <a:lnTo>
                      <a:pt x="2058" y="3358"/>
                    </a:lnTo>
                    <a:lnTo>
                      <a:pt x="2055" y="3360"/>
                    </a:lnTo>
                    <a:lnTo>
                      <a:pt x="2054" y="3362"/>
                    </a:lnTo>
                    <a:lnTo>
                      <a:pt x="2055" y="3367"/>
                    </a:lnTo>
                    <a:lnTo>
                      <a:pt x="2058" y="3373"/>
                    </a:lnTo>
                    <a:lnTo>
                      <a:pt x="2062" y="3381"/>
                    </a:lnTo>
                    <a:lnTo>
                      <a:pt x="2067" y="3388"/>
                    </a:lnTo>
                    <a:lnTo>
                      <a:pt x="2078" y="3405"/>
                    </a:lnTo>
                    <a:lnTo>
                      <a:pt x="2085" y="3415"/>
                    </a:lnTo>
                    <a:lnTo>
                      <a:pt x="2089" y="3426"/>
                    </a:lnTo>
                    <a:lnTo>
                      <a:pt x="2092" y="3433"/>
                    </a:lnTo>
                    <a:lnTo>
                      <a:pt x="2090" y="3438"/>
                    </a:lnTo>
                    <a:lnTo>
                      <a:pt x="2089" y="3440"/>
                    </a:lnTo>
                    <a:lnTo>
                      <a:pt x="2081" y="3445"/>
                    </a:lnTo>
                    <a:lnTo>
                      <a:pt x="2070" y="3453"/>
                    </a:lnTo>
                    <a:lnTo>
                      <a:pt x="2066" y="3459"/>
                    </a:lnTo>
                    <a:lnTo>
                      <a:pt x="2063" y="3464"/>
                    </a:lnTo>
                    <a:lnTo>
                      <a:pt x="2061" y="3468"/>
                    </a:lnTo>
                    <a:lnTo>
                      <a:pt x="2061" y="3471"/>
                    </a:lnTo>
                    <a:lnTo>
                      <a:pt x="2062" y="3472"/>
                    </a:lnTo>
                    <a:lnTo>
                      <a:pt x="2063" y="3473"/>
                    </a:lnTo>
                    <a:lnTo>
                      <a:pt x="2066" y="3473"/>
                    </a:lnTo>
                    <a:lnTo>
                      <a:pt x="2069" y="3472"/>
                    </a:lnTo>
                    <a:lnTo>
                      <a:pt x="2078" y="3468"/>
                    </a:lnTo>
                    <a:lnTo>
                      <a:pt x="2086" y="3463"/>
                    </a:lnTo>
                    <a:lnTo>
                      <a:pt x="2094" y="3456"/>
                    </a:lnTo>
                    <a:lnTo>
                      <a:pt x="2100" y="3448"/>
                    </a:lnTo>
                    <a:lnTo>
                      <a:pt x="2102" y="3441"/>
                    </a:lnTo>
                    <a:lnTo>
                      <a:pt x="2102" y="3434"/>
                    </a:lnTo>
                    <a:lnTo>
                      <a:pt x="2101" y="3425"/>
                    </a:lnTo>
                    <a:lnTo>
                      <a:pt x="2099" y="3415"/>
                    </a:lnTo>
                    <a:lnTo>
                      <a:pt x="2094" y="3400"/>
                    </a:lnTo>
                    <a:lnTo>
                      <a:pt x="2092" y="3394"/>
                    </a:lnTo>
                    <a:lnTo>
                      <a:pt x="2096" y="3391"/>
                    </a:lnTo>
                    <a:lnTo>
                      <a:pt x="2101" y="3388"/>
                    </a:lnTo>
                    <a:lnTo>
                      <a:pt x="2105" y="3388"/>
                    </a:lnTo>
                    <a:lnTo>
                      <a:pt x="2108" y="3391"/>
                    </a:lnTo>
                    <a:lnTo>
                      <a:pt x="2112" y="3393"/>
                    </a:lnTo>
                    <a:lnTo>
                      <a:pt x="2115" y="3398"/>
                    </a:lnTo>
                    <a:lnTo>
                      <a:pt x="2119" y="3402"/>
                    </a:lnTo>
                    <a:lnTo>
                      <a:pt x="2122" y="3408"/>
                    </a:lnTo>
                    <a:lnTo>
                      <a:pt x="2132" y="3435"/>
                    </a:lnTo>
                    <a:lnTo>
                      <a:pt x="2137" y="3457"/>
                    </a:lnTo>
                    <a:lnTo>
                      <a:pt x="2141" y="3466"/>
                    </a:lnTo>
                    <a:lnTo>
                      <a:pt x="2145" y="3473"/>
                    </a:lnTo>
                    <a:lnTo>
                      <a:pt x="2148" y="3480"/>
                    </a:lnTo>
                    <a:lnTo>
                      <a:pt x="2153" y="3487"/>
                    </a:lnTo>
                    <a:lnTo>
                      <a:pt x="2162" y="3499"/>
                    </a:lnTo>
                    <a:lnTo>
                      <a:pt x="2175" y="3511"/>
                    </a:lnTo>
                    <a:lnTo>
                      <a:pt x="2179" y="3516"/>
                    </a:lnTo>
                    <a:lnTo>
                      <a:pt x="2181" y="3519"/>
                    </a:lnTo>
                    <a:lnTo>
                      <a:pt x="2183" y="3525"/>
                    </a:lnTo>
                    <a:lnTo>
                      <a:pt x="2184" y="3531"/>
                    </a:lnTo>
                    <a:lnTo>
                      <a:pt x="2186" y="3544"/>
                    </a:lnTo>
                    <a:lnTo>
                      <a:pt x="2186" y="3558"/>
                    </a:lnTo>
                    <a:lnTo>
                      <a:pt x="2186" y="3573"/>
                    </a:lnTo>
                    <a:lnTo>
                      <a:pt x="2186" y="3588"/>
                    </a:lnTo>
                    <a:lnTo>
                      <a:pt x="2186" y="3600"/>
                    </a:lnTo>
                    <a:lnTo>
                      <a:pt x="2188" y="3612"/>
                    </a:lnTo>
                    <a:lnTo>
                      <a:pt x="2197" y="3633"/>
                    </a:lnTo>
                    <a:lnTo>
                      <a:pt x="2209" y="3658"/>
                    </a:lnTo>
                    <a:lnTo>
                      <a:pt x="2215" y="3670"/>
                    </a:lnTo>
                    <a:lnTo>
                      <a:pt x="2220" y="3682"/>
                    </a:lnTo>
                    <a:lnTo>
                      <a:pt x="2223" y="3694"/>
                    </a:lnTo>
                    <a:lnTo>
                      <a:pt x="2224" y="3704"/>
                    </a:lnTo>
                    <a:lnTo>
                      <a:pt x="2223" y="3701"/>
                    </a:lnTo>
                    <a:lnTo>
                      <a:pt x="2221" y="3698"/>
                    </a:lnTo>
                    <a:lnTo>
                      <a:pt x="2219" y="3696"/>
                    </a:lnTo>
                    <a:lnTo>
                      <a:pt x="2215" y="3694"/>
                    </a:lnTo>
                    <a:lnTo>
                      <a:pt x="2207" y="3691"/>
                    </a:lnTo>
                    <a:lnTo>
                      <a:pt x="2196" y="3690"/>
                    </a:lnTo>
                    <a:lnTo>
                      <a:pt x="2176" y="3689"/>
                    </a:lnTo>
                    <a:lnTo>
                      <a:pt x="2162" y="3691"/>
                    </a:lnTo>
                    <a:lnTo>
                      <a:pt x="2154" y="3692"/>
                    </a:lnTo>
                    <a:lnTo>
                      <a:pt x="2148" y="3696"/>
                    </a:lnTo>
                    <a:lnTo>
                      <a:pt x="2143" y="3698"/>
                    </a:lnTo>
                    <a:lnTo>
                      <a:pt x="2141" y="3702"/>
                    </a:lnTo>
                    <a:lnTo>
                      <a:pt x="2136" y="3712"/>
                    </a:lnTo>
                    <a:lnTo>
                      <a:pt x="2132" y="3727"/>
                    </a:lnTo>
                    <a:lnTo>
                      <a:pt x="2133" y="3733"/>
                    </a:lnTo>
                    <a:lnTo>
                      <a:pt x="2134" y="3741"/>
                    </a:lnTo>
                    <a:lnTo>
                      <a:pt x="2134" y="3750"/>
                    </a:lnTo>
                    <a:lnTo>
                      <a:pt x="2133" y="3757"/>
                    </a:lnTo>
                    <a:lnTo>
                      <a:pt x="2132" y="3761"/>
                    </a:lnTo>
                    <a:lnTo>
                      <a:pt x="2130" y="3763"/>
                    </a:lnTo>
                    <a:lnTo>
                      <a:pt x="2128" y="3764"/>
                    </a:lnTo>
                    <a:lnTo>
                      <a:pt x="2127" y="3766"/>
                    </a:lnTo>
                    <a:lnTo>
                      <a:pt x="2125" y="3764"/>
                    </a:lnTo>
                    <a:lnTo>
                      <a:pt x="2121" y="3763"/>
                    </a:lnTo>
                    <a:lnTo>
                      <a:pt x="2119" y="3760"/>
                    </a:lnTo>
                    <a:lnTo>
                      <a:pt x="2115" y="3755"/>
                    </a:lnTo>
                    <a:lnTo>
                      <a:pt x="2110" y="3749"/>
                    </a:lnTo>
                    <a:lnTo>
                      <a:pt x="2107" y="3748"/>
                    </a:lnTo>
                    <a:lnTo>
                      <a:pt x="2105" y="3749"/>
                    </a:lnTo>
                    <a:lnTo>
                      <a:pt x="2105" y="3754"/>
                    </a:lnTo>
                    <a:lnTo>
                      <a:pt x="2105" y="3768"/>
                    </a:lnTo>
                    <a:lnTo>
                      <a:pt x="2105" y="3782"/>
                    </a:lnTo>
                    <a:lnTo>
                      <a:pt x="2105" y="3796"/>
                    </a:lnTo>
                    <a:lnTo>
                      <a:pt x="2106" y="3810"/>
                    </a:lnTo>
                    <a:lnTo>
                      <a:pt x="2107" y="3824"/>
                    </a:lnTo>
                    <a:lnTo>
                      <a:pt x="2108" y="3840"/>
                    </a:lnTo>
                    <a:lnTo>
                      <a:pt x="2107" y="3854"/>
                    </a:lnTo>
                    <a:lnTo>
                      <a:pt x="2105" y="3862"/>
                    </a:lnTo>
                    <a:lnTo>
                      <a:pt x="2105" y="3863"/>
                    </a:lnTo>
                    <a:lnTo>
                      <a:pt x="2103" y="3863"/>
                    </a:lnTo>
                    <a:lnTo>
                      <a:pt x="2102" y="3863"/>
                    </a:lnTo>
                    <a:lnTo>
                      <a:pt x="2102" y="3861"/>
                    </a:lnTo>
                    <a:lnTo>
                      <a:pt x="2100" y="3856"/>
                    </a:lnTo>
                    <a:lnTo>
                      <a:pt x="2096" y="3846"/>
                    </a:lnTo>
                    <a:lnTo>
                      <a:pt x="2093" y="3830"/>
                    </a:lnTo>
                    <a:lnTo>
                      <a:pt x="2086" y="3813"/>
                    </a:lnTo>
                    <a:lnTo>
                      <a:pt x="2080" y="3796"/>
                    </a:lnTo>
                    <a:lnTo>
                      <a:pt x="2073" y="3781"/>
                    </a:lnTo>
                    <a:lnTo>
                      <a:pt x="2065" y="3768"/>
                    </a:lnTo>
                    <a:lnTo>
                      <a:pt x="2049" y="3749"/>
                    </a:lnTo>
                    <a:lnTo>
                      <a:pt x="2041" y="3740"/>
                    </a:lnTo>
                    <a:lnTo>
                      <a:pt x="2034" y="3731"/>
                    </a:lnTo>
                    <a:lnTo>
                      <a:pt x="2028" y="3727"/>
                    </a:lnTo>
                    <a:lnTo>
                      <a:pt x="2023" y="3724"/>
                    </a:lnTo>
                    <a:lnTo>
                      <a:pt x="2018" y="3736"/>
                    </a:lnTo>
                    <a:lnTo>
                      <a:pt x="2007" y="3751"/>
                    </a:lnTo>
                    <a:lnTo>
                      <a:pt x="2003" y="3753"/>
                    </a:lnTo>
                    <a:lnTo>
                      <a:pt x="2001" y="3751"/>
                    </a:lnTo>
                    <a:lnTo>
                      <a:pt x="1999" y="3750"/>
                    </a:lnTo>
                    <a:lnTo>
                      <a:pt x="1998" y="3748"/>
                    </a:lnTo>
                    <a:lnTo>
                      <a:pt x="1995" y="3740"/>
                    </a:lnTo>
                    <a:lnTo>
                      <a:pt x="1994" y="3730"/>
                    </a:lnTo>
                    <a:lnTo>
                      <a:pt x="1993" y="3720"/>
                    </a:lnTo>
                    <a:lnTo>
                      <a:pt x="1991" y="3711"/>
                    </a:lnTo>
                    <a:lnTo>
                      <a:pt x="1989" y="3707"/>
                    </a:lnTo>
                    <a:lnTo>
                      <a:pt x="1987" y="3704"/>
                    </a:lnTo>
                    <a:lnTo>
                      <a:pt x="1985" y="3702"/>
                    </a:lnTo>
                    <a:lnTo>
                      <a:pt x="1981" y="3701"/>
                    </a:lnTo>
                    <a:lnTo>
                      <a:pt x="1975" y="3700"/>
                    </a:lnTo>
                    <a:lnTo>
                      <a:pt x="1971" y="3696"/>
                    </a:lnTo>
                    <a:lnTo>
                      <a:pt x="1966" y="3691"/>
                    </a:lnTo>
                    <a:lnTo>
                      <a:pt x="1962" y="3687"/>
                    </a:lnTo>
                    <a:lnTo>
                      <a:pt x="1960" y="3683"/>
                    </a:lnTo>
                    <a:lnTo>
                      <a:pt x="1959" y="3683"/>
                    </a:lnTo>
                    <a:lnTo>
                      <a:pt x="1958" y="3685"/>
                    </a:lnTo>
                    <a:lnTo>
                      <a:pt x="1959" y="3692"/>
                    </a:lnTo>
                    <a:lnTo>
                      <a:pt x="1959" y="3696"/>
                    </a:lnTo>
                    <a:lnTo>
                      <a:pt x="1958" y="3698"/>
                    </a:lnTo>
                    <a:lnTo>
                      <a:pt x="1956" y="3702"/>
                    </a:lnTo>
                    <a:lnTo>
                      <a:pt x="1953" y="3705"/>
                    </a:lnTo>
                    <a:lnTo>
                      <a:pt x="1947" y="3712"/>
                    </a:lnTo>
                    <a:lnTo>
                      <a:pt x="1941" y="3720"/>
                    </a:lnTo>
                    <a:lnTo>
                      <a:pt x="1936" y="3724"/>
                    </a:lnTo>
                    <a:lnTo>
                      <a:pt x="1935" y="3729"/>
                    </a:lnTo>
                    <a:lnTo>
                      <a:pt x="1935" y="3730"/>
                    </a:lnTo>
                    <a:lnTo>
                      <a:pt x="1938" y="3730"/>
                    </a:lnTo>
                    <a:lnTo>
                      <a:pt x="1941" y="3730"/>
                    </a:lnTo>
                    <a:lnTo>
                      <a:pt x="1947" y="3729"/>
                    </a:lnTo>
                    <a:lnTo>
                      <a:pt x="1956" y="3727"/>
                    </a:lnTo>
                    <a:lnTo>
                      <a:pt x="1964" y="3727"/>
                    </a:lnTo>
                    <a:lnTo>
                      <a:pt x="1969" y="3727"/>
                    </a:lnTo>
                    <a:lnTo>
                      <a:pt x="1974" y="3728"/>
                    </a:lnTo>
                    <a:lnTo>
                      <a:pt x="1976" y="3730"/>
                    </a:lnTo>
                    <a:lnTo>
                      <a:pt x="1979" y="3734"/>
                    </a:lnTo>
                    <a:lnTo>
                      <a:pt x="1979" y="3737"/>
                    </a:lnTo>
                    <a:lnTo>
                      <a:pt x="1979" y="3741"/>
                    </a:lnTo>
                    <a:lnTo>
                      <a:pt x="1971" y="3761"/>
                    </a:lnTo>
                    <a:lnTo>
                      <a:pt x="1961" y="3781"/>
                    </a:lnTo>
                    <a:lnTo>
                      <a:pt x="1959" y="3791"/>
                    </a:lnTo>
                    <a:lnTo>
                      <a:pt x="1956" y="3802"/>
                    </a:lnTo>
                    <a:lnTo>
                      <a:pt x="1956" y="3813"/>
                    </a:lnTo>
                    <a:lnTo>
                      <a:pt x="1958" y="3823"/>
                    </a:lnTo>
                    <a:lnTo>
                      <a:pt x="1961" y="3844"/>
                    </a:lnTo>
                    <a:lnTo>
                      <a:pt x="1965" y="3866"/>
                    </a:lnTo>
                    <a:lnTo>
                      <a:pt x="1967" y="3881"/>
                    </a:lnTo>
                    <a:lnTo>
                      <a:pt x="1969" y="3895"/>
                    </a:lnTo>
                    <a:lnTo>
                      <a:pt x="1969" y="3899"/>
                    </a:lnTo>
                    <a:lnTo>
                      <a:pt x="1969" y="3901"/>
                    </a:lnTo>
                    <a:lnTo>
                      <a:pt x="1968" y="3902"/>
                    </a:lnTo>
                    <a:lnTo>
                      <a:pt x="1967" y="3903"/>
                    </a:lnTo>
                    <a:lnTo>
                      <a:pt x="1965" y="3905"/>
                    </a:lnTo>
                    <a:lnTo>
                      <a:pt x="1961" y="3903"/>
                    </a:lnTo>
                    <a:lnTo>
                      <a:pt x="1958" y="3902"/>
                    </a:lnTo>
                    <a:lnTo>
                      <a:pt x="1953" y="3900"/>
                    </a:lnTo>
                    <a:lnTo>
                      <a:pt x="1932" y="3887"/>
                    </a:lnTo>
                    <a:lnTo>
                      <a:pt x="1912" y="3874"/>
                    </a:lnTo>
                    <a:lnTo>
                      <a:pt x="1902" y="3869"/>
                    </a:lnTo>
                    <a:lnTo>
                      <a:pt x="1891" y="3866"/>
                    </a:lnTo>
                    <a:lnTo>
                      <a:pt x="1886" y="3865"/>
                    </a:lnTo>
                    <a:lnTo>
                      <a:pt x="1880" y="3865"/>
                    </a:lnTo>
                    <a:lnTo>
                      <a:pt x="1873" y="3866"/>
                    </a:lnTo>
                    <a:lnTo>
                      <a:pt x="1867" y="3867"/>
                    </a:lnTo>
                    <a:lnTo>
                      <a:pt x="1847" y="3874"/>
                    </a:lnTo>
                    <a:lnTo>
                      <a:pt x="1827" y="3881"/>
                    </a:lnTo>
                    <a:lnTo>
                      <a:pt x="1817" y="3885"/>
                    </a:lnTo>
                    <a:lnTo>
                      <a:pt x="1806" y="3887"/>
                    </a:lnTo>
                    <a:lnTo>
                      <a:pt x="1795" y="3889"/>
                    </a:lnTo>
                    <a:lnTo>
                      <a:pt x="1785" y="3890"/>
                    </a:lnTo>
                    <a:lnTo>
                      <a:pt x="1793" y="3888"/>
                    </a:lnTo>
                    <a:lnTo>
                      <a:pt x="1800" y="3885"/>
                    </a:lnTo>
                    <a:lnTo>
                      <a:pt x="1808" y="3881"/>
                    </a:lnTo>
                    <a:lnTo>
                      <a:pt x="1815" y="3876"/>
                    </a:lnTo>
                    <a:lnTo>
                      <a:pt x="1824" y="3873"/>
                    </a:lnTo>
                    <a:lnTo>
                      <a:pt x="1831" y="3868"/>
                    </a:lnTo>
                    <a:lnTo>
                      <a:pt x="1839" y="3866"/>
                    </a:lnTo>
                    <a:lnTo>
                      <a:pt x="1848" y="3863"/>
                    </a:lnTo>
                    <a:lnTo>
                      <a:pt x="1861" y="3862"/>
                    </a:lnTo>
                    <a:lnTo>
                      <a:pt x="1875" y="3861"/>
                    </a:lnTo>
                    <a:lnTo>
                      <a:pt x="1889" y="3860"/>
                    </a:lnTo>
                    <a:lnTo>
                      <a:pt x="1901" y="3857"/>
                    </a:lnTo>
                    <a:lnTo>
                      <a:pt x="1902" y="3856"/>
                    </a:lnTo>
                    <a:lnTo>
                      <a:pt x="1904" y="3855"/>
                    </a:lnTo>
                    <a:lnTo>
                      <a:pt x="1904" y="3854"/>
                    </a:lnTo>
                    <a:lnTo>
                      <a:pt x="1902" y="3852"/>
                    </a:lnTo>
                    <a:lnTo>
                      <a:pt x="1899" y="3846"/>
                    </a:lnTo>
                    <a:lnTo>
                      <a:pt x="1894" y="3840"/>
                    </a:lnTo>
                    <a:lnTo>
                      <a:pt x="1882" y="3829"/>
                    </a:lnTo>
                    <a:lnTo>
                      <a:pt x="1875" y="3822"/>
                    </a:lnTo>
                    <a:lnTo>
                      <a:pt x="1871" y="3820"/>
                    </a:lnTo>
                    <a:lnTo>
                      <a:pt x="1866" y="3820"/>
                    </a:lnTo>
                    <a:lnTo>
                      <a:pt x="1861" y="3821"/>
                    </a:lnTo>
                    <a:lnTo>
                      <a:pt x="1857" y="3822"/>
                    </a:lnTo>
                    <a:lnTo>
                      <a:pt x="1848" y="3826"/>
                    </a:lnTo>
                    <a:lnTo>
                      <a:pt x="1839" y="3828"/>
                    </a:lnTo>
                    <a:lnTo>
                      <a:pt x="1821" y="3827"/>
                    </a:lnTo>
                    <a:lnTo>
                      <a:pt x="1805" y="3826"/>
                    </a:lnTo>
                    <a:lnTo>
                      <a:pt x="1799" y="3827"/>
                    </a:lnTo>
                    <a:lnTo>
                      <a:pt x="1792" y="3830"/>
                    </a:lnTo>
                    <a:lnTo>
                      <a:pt x="1790" y="3833"/>
                    </a:lnTo>
                    <a:lnTo>
                      <a:pt x="1786" y="3836"/>
                    </a:lnTo>
                    <a:lnTo>
                      <a:pt x="1784" y="3840"/>
                    </a:lnTo>
                    <a:lnTo>
                      <a:pt x="1781" y="3846"/>
                    </a:lnTo>
                    <a:lnTo>
                      <a:pt x="1775" y="3854"/>
                    </a:lnTo>
                    <a:lnTo>
                      <a:pt x="1768" y="3860"/>
                    </a:lnTo>
                    <a:lnTo>
                      <a:pt x="1766" y="3862"/>
                    </a:lnTo>
                    <a:lnTo>
                      <a:pt x="1765" y="3866"/>
                    </a:lnTo>
                    <a:lnTo>
                      <a:pt x="1766" y="3870"/>
                    </a:lnTo>
                    <a:lnTo>
                      <a:pt x="1771" y="3875"/>
                    </a:lnTo>
                    <a:lnTo>
                      <a:pt x="1777" y="3882"/>
                    </a:lnTo>
                    <a:lnTo>
                      <a:pt x="1780" y="3889"/>
                    </a:lnTo>
                    <a:lnTo>
                      <a:pt x="1781" y="3895"/>
                    </a:lnTo>
                    <a:lnTo>
                      <a:pt x="1781" y="3901"/>
                    </a:lnTo>
                    <a:lnTo>
                      <a:pt x="1779" y="3906"/>
                    </a:lnTo>
                    <a:lnTo>
                      <a:pt x="1775" y="3912"/>
                    </a:lnTo>
                    <a:lnTo>
                      <a:pt x="1771" y="3915"/>
                    </a:lnTo>
                    <a:lnTo>
                      <a:pt x="1766" y="3920"/>
                    </a:lnTo>
                    <a:lnTo>
                      <a:pt x="1754" y="3927"/>
                    </a:lnTo>
                    <a:lnTo>
                      <a:pt x="1743" y="3933"/>
                    </a:lnTo>
                    <a:lnTo>
                      <a:pt x="1733" y="3939"/>
                    </a:lnTo>
                    <a:lnTo>
                      <a:pt x="1728" y="3943"/>
                    </a:lnTo>
                    <a:lnTo>
                      <a:pt x="1718" y="3947"/>
                    </a:lnTo>
                    <a:lnTo>
                      <a:pt x="1710" y="3952"/>
                    </a:lnTo>
                    <a:lnTo>
                      <a:pt x="1703" y="3955"/>
                    </a:lnTo>
                    <a:lnTo>
                      <a:pt x="1698" y="3960"/>
                    </a:lnTo>
                    <a:lnTo>
                      <a:pt x="1694" y="3965"/>
                    </a:lnTo>
                    <a:lnTo>
                      <a:pt x="1692" y="3969"/>
                    </a:lnTo>
                    <a:lnTo>
                      <a:pt x="1691" y="3974"/>
                    </a:lnTo>
                    <a:lnTo>
                      <a:pt x="1690" y="3979"/>
                    </a:lnTo>
                    <a:lnTo>
                      <a:pt x="1694" y="4004"/>
                    </a:lnTo>
                    <a:lnTo>
                      <a:pt x="1699" y="4035"/>
                    </a:lnTo>
                    <a:lnTo>
                      <a:pt x="1699" y="4048"/>
                    </a:lnTo>
                    <a:lnTo>
                      <a:pt x="1698" y="4063"/>
                    </a:lnTo>
                    <a:lnTo>
                      <a:pt x="1698" y="4068"/>
                    </a:lnTo>
                    <a:lnTo>
                      <a:pt x="1696" y="4070"/>
                    </a:lnTo>
                    <a:lnTo>
                      <a:pt x="1694" y="4066"/>
                    </a:lnTo>
                    <a:lnTo>
                      <a:pt x="1691" y="4055"/>
                    </a:lnTo>
                    <a:lnTo>
                      <a:pt x="1685" y="4033"/>
                    </a:lnTo>
                    <a:lnTo>
                      <a:pt x="1680" y="4015"/>
                    </a:lnTo>
                    <a:lnTo>
                      <a:pt x="1674" y="4000"/>
                    </a:lnTo>
                    <a:lnTo>
                      <a:pt x="1669" y="3988"/>
                    </a:lnTo>
                    <a:lnTo>
                      <a:pt x="1660" y="3976"/>
                    </a:lnTo>
                    <a:lnTo>
                      <a:pt x="1651" y="3966"/>
                    </a:lnTo>
                    <a:lnTo>
                      <a:pt x="1638" y="3954"/>
                    </a:lnTo>
                    <a:lnTo>
                      <a:pt x="1623" y="3940"/>
                    </a:lnTo>
                    <a:lnTo>
                      <a:pt x="1609" y="3929"/>
                    </a:lnTo>
                    <a:lnTo>
                      <a:pt x="1594" y="3920"/>
                    </a:lnTo>
                    <a:lnTo>
                      <a:pt x="1579" y="3914"/>
                    </a:lnTo>
                    <a:lnTo>
                      <a:pt x="1565" y="3908"/>
                    </a:lnTo>
                    <a:lnTo>
                      <a:pt x="1533" y="3900"/>
                    </a:lnTo>
                    <a:lnTo>
                      <a:pt x="1500" y="3893"/>
                    </a:lnTo>
                    <a:lnTo>
                      <a:pt x="1486" y="3892"/>
                    </a:lnTo>
                    <a:lnTo>
                      <a:pt x="1473" y="3890"/>
                    </a:lnTo>
                    <a:lnTo>
                      <a:pt x="1461" y="3888"/>
                    </a:lnTo>
                    <a:lnTo>
                      <a:pt x="1448" y="3886"/>
                    </a:lnTo>
                    <a:lnTo>
                      <a:pt x="1443" y="3885"/>
                    </a:lnTo>
                    <a:lnTo>
                      <a:pt x="1441" y="3882"/>
                    </a:lnTo>
                    <a:lnTo>
                      <a:pt x="1441" y="3881"/>
                    </a:lnTo>
                    <a:lnTo>
                      <a:pt x="1442" y="3879"/>
                    </a:lnTo>
                    <a:lnTo>
                      <a:pt x="1451" y="3876"/>
                    </a:lnTo>
                    <a:lnTo>
                      <a:pt x="1465" y="3873"/>
                    </a:lnTo>
                    <a:lnTo>
                      <a:pt x="1497" y="3868"/>
                    </a:lnTo>
                    <a:lnTo>
                      <a:pt x="1519" y="3866"/>
                    </a:lnTo>
                    <a:lnTo>
                      <a:pt x="1529" y="3863"/>
                    </a:lnTo>
                    <a:lnTo>
                      <a:pt x="1537" y="3862"/>
                    </a:lnTo>
                    <a:lnTo>
                      <a:pt x="1544" y="3862"/>
                    </a:lnTo>
                    <a:lnTo>
                      <a:pt x="1550" y="3862"/>
                    </a:lnTo>
                    <a:lnTo>
                      <a:pt x="1553" y="3863"/>
                    </a:lnTo>
                    <a:lnTo>
                      <a:pt x="1557" y="3866"/>
                    </a:lnTo>
                    <a:lnTo>
                      <a:pt x="1559" y="3868"/>
                    </a:lnTo>
                    <a:lnTo>
                      <a:pt x="1562" y="3870"/>
                    </a:lnTo>
                    <a:lnTo>
                      <a:pt x="1565" y="3876"/>
                    </a:lnTo>
                    <a:lnTo>
                      <a:pt x="1571" y="3883"/>
                    </a:lnTo>
                    <a:lnTo>
                      <a:pt x="1575" y="3886"/>
                    </a:lnTo>
                    <a:lnTo>
                      <a:pt x="1579" y="3889"/>
                    </a:lnTo>
                    <a:lnTo>
                      <a:pt x="1585" y="3892"/>
                    </a:lnTo>
                    <a:lnTo>
                      <a:pt x="1592" y="3894"/>
                    </a:lnTo>
                    <a:lnTo>
                      <a:pt x="1598" y="3895"/>
                    </a:lnTo>
                    <a:lnTo>
                      <a:pt x="1603" y="3895"/>
                    </a:lnTo>
                    <a:lnTo>
                      <a:pt x="1607" y="3894"/>
                    </a:lnTo>
                    <a:lnTo>
                      <a:pt x="1611" y="3894"/>
                    </a:lnTo>
                    <a:lnTo>
                      <a:pt x="1618" y="3890"/>
                    </a:lnTo>
                    <a:lnTo>
                      <a:pt x="1625" y="3887"/>
                    </a:lnTo>
                    <a:lnTo>
                      <a:pt x="1631" y="3885"/>
                    </a:lnTo>
                    <a:lnTo>
                      <a:pt x="1638" y="3883"/>
                    </a:lnTo>
                    <a:lnTo>
                      <a:pt x="1642" y="3885"/>
                    </a:lnTo>
                    <a:lnTo>
                      <a:pt x="1645" y="3887"/>
                    </a:lnTo>
                    <a:lnTo>
                      <a:pt x="1650" y="3890"/>
                    </a:lnTo>
                    <a:lnTo>
                      <a:pt x="1654" y="3895"/>
                    </a:lnTo>
                    <a:lnTo>
                      <a:pt x="1665" y="3906"/>
                    </a:lnTo>
                    <a:lnTo>
                      <a:pt x="1676" y="3918"/>
                    </a:lnTo>
                    <a:lnTo>
                      <a:pt x="1686" y="3929"/>
                    </a:lnTo>
                    <a:lnTo>
                      <a:pt x="1697" y="3938"/>
                    </a:lnTo>
                    <a:lnTo>
                      <a:pt x="1701" y="3940"/>
                    </a:lnTo>
                    <a:lnTo>
                      <a:pt x="1706" y="3940"/>
                    </a:lnTo>
                    <a:lnTo>
                      <a:pt x="1712" y="3940"/>
                    </a:lnTo>
                    <a:lnTo>
                      <a:pt x="1718" y="3938"/>
                    </a:lnTo>
                    <a:lnTo>
                      <a:pt x="1723" y="3935"/>
                    </a:lnTo>
                    <a:lnTo>
                      <a:pt x="1727" y="3931"/>
                    </a:lnTo>
                    <a:lnTo>
                      <a:pt x="1730" y="3927"/>
                    </a:lnTo>
                    <a:lnTo>
                      <a:pt x="1731" y="3922"/>
                    </a:lnTo>
                    <a:lnTo>
                      <a:pt x="1728" y="3914"/>
                    </a:lnTo>
                    <a:lnTo>
                      <a:pt x="1726" y="3907"/>
                    </a:lnTo>
                    <a:lnTo>
                      <a:pt x="1724" y="3900"/>
                    </a:lnTo>
                    <a:lnTo>
                      <a:pt x="1719" y="3893"/>
                    </a:lnTo>
                    <a:lnTo>
                      <a:pt x="1714" y="3886"/>
                    </a:lnTo>
                    <a:lnTo>
                      <a:pt x="1710" y="3880"/>
                    </a:lnTo>
                    <a:lnTo>
                      <a:pt x="1704" y="3874"/>
                    </a:lnTo>
                    <a:lnTo>
                      <a:pt x="1698" y="3868"/>
                    </a:lnTo>
                    <a:lnTo>
                      <a:pt x="1685" y="3859"/>
                    </a:lnTo>
                    <a:lnTo>
                      <a:pt x="1671" y="3849"/>
                    </a:lnTo>
                    <a:lnTo>
                      <a:pt x="1657" y="3842"/>
                    </a:lnTo>
                    <a:lnTo>
                      <a:pt x="1644" y="3836"/>
                    </a:lnTo>
                    <a:lnTo>
                      <a:pt x="1642" y="3835"/>
                    </a:lnTo>
                    <a:lnTo>
                      <a:pt x="1639" y="3833"/>
                    </a:lnTo>
                    <a:lnTo>
                      <a:pt x="1638" y="3829"/>
                    </a:lnTo>
                    <a:lnTo>
                      <a:pt x="1637" y="3826"/>
                    </a:lnTo>
                    <a:lnTo>
                      <a:pt x="1636" y="3816"/>
                    </a:lnTo>
                    <a:lnTo>
                      <a:pt x="1637" y="3807"/>
                    </a:lnTo>
                    <a:lnTo>
                      <a:pt x="1639" y="3786"/>
                    </a:lnTo>
                    <a:lnTo>
                      <a:pt x="1639" y="3768"/>
                    </a:lnTo>
                    <a:lnTo>
                      <a:pt x="1634" y="3742"/>
                    </a:lnTo>
                    <a:lnTo>
                      <a:pt x="1631" y="3712"/>
                    </a:lnTo>
                    <a:lnTo>
                      <a:pt x="1626" y="3681"/>
                    </a:lnTo>
                    <a:lnTo>
                      <a:pt x="1622" y="3650"/>
                    </a:lnTo>
                    <a:lnTo>
                      <a:pt x="1618" y="3633"/>
                    </a:lnTo>
                    <a:lnTo>
                      <a:pt x="1614" y="3618"/>
                    </a:lnTo>
                    <a:lnTo>
                      <a:pt x="1610" y="3604"/>
                    </a:lnTo>
                    <a:lnTo>
                      <a:pt x="1605" y="3590"/>
                    </a:lnTo>
                    <a:lnTo>
                      <a:pt x="1599" y="3576"/>
                    </a:lnTo>
                    <a:lnTo>
                      <a:pt x="1592" y="3564"/>
                    </a:lnTo>
                    <a:lnTo>
                      <a:pt x="1584" y="3552"/>
                    </a:lnTo>
                    <a:lnTo>
                      <a:pt x="1576" y="3543"/>
                    </a:lnTo>
                    <a:lnTo>
                      <a:pt x="1575" y="3553"/>
                    </a:lnTo>
                    <a:lnTo>
                      <a:pt x="1573" y="3562"/>
                    </a:lnTo>
                    <a:lnTo>
                      <a:pt x="1571" y="3567"/>
                    </a:lnTo>
                    <a:lnTo>
                      <a:pt x="1567" y="3570"/>
                    </a:lnTo>
                    <a:lnTo>
                      <a:pt x="1564" y="3570"/>
                    </a:lnTo>
                    <a:lnTo>
                      <a:pt x="1559" y="3569"/>
                    </a:lnTo>
                    <a:lnTo>
                      <a:pt x="1555" y="3566"/>
                    </a:lnTo>
                    <a:lnTo>
                      <a:pt x="1550" y="3563"/>
                    </a:lnTo>
                    <a:lnTo>
                      <a:pt x="1530" y="3542"/>
                    </a:lnTo>
                    <a:lnTo>
                      <a:pt x="1518" y="3527"/>
                    </a:lnTo>
                    <a:lnTo>
                      <a:pt x="1517" y="3526"/>
                    </a:lnTo>
                    <a:lnTo>
                      <a:pt x="1516" y="3527"/>
                    </a:lnTo>
                    <a:lnTo>
                      <a:pt x="1516" y="3529"/>
                    </a:lnTo>
                    <a:lnTo>
                      <a:pt x="1516" y="3532"/>
                    </a:lnTo>
                    <a:lnTo>
                      <a:pt x="1517" y="3538"/>
                    </a:lnTo>
                    <a:lnTo>
                      <a:pt x="1519" y="3547"/>
                    </a:lnTo>
                    <a:lnTo>
                      <a:pt x="1524" y="3564"/>
                    </a:lnTo>
                    <a:lnTo>
                      <a:pt x="1528" y="3575"/>
                    </a:lnTo>
                    <a:lnTo>
                      <a:pt x="1539" y="3605"/>
                    </a:lnTo>
                    <a:lnTo>
                      <a:pt x="1549" y="3635"/>
                    </a:lnTo>
                    <a:lnTo>
                      <a:pt x="1557" y="3663"/>
                    </a:lnTo>
                    <a:lnTo>
                      <a:pt x="1562" y="3690"/>
                    </a:lnTo>
                    <a:lnTo>
                      <a:pt x="1564" y="3704"/>
                    </a:lnTo>
                    <a:lnTo>
                      <a:pt x="1565" y="3718"/>
                    </a:lnTo>
                    <a:lnTo>
                      <a:pt x="1566" y="3733"/>
                    </a:lnTo>
                    <a:lnTo>
                      <a:pt x="1565" y="3747"/>
                    </a:lnTo>
                    <a:lnTo>
                      <a:pt x="1564" y="3762"/>
                    </a:lnTo>
                    <a:lnTo>
                      <a:pt x="1563" y="3777"/>
                    </a:lnTo>
                    <a:lnTo>
                      <a:pt x="1559" y="3794"/>
                    </a:lnTo>
                    <a:lnTo>
                      <a:pt x="1556" y="3810"/>
                    </a:lnTo>
                    <a:lnTo>
                      <a:pt x="1552" y="3821"/>
                    </a:lnTo>
                    <a:lnTo>
                      <a:pt x="1550" y="3829"/>
                    </a:lnTo>
                    <a:lnTo>
                      <a:pt x="1545" y="3835"/>
                    </a:lnTo>
                    <a:lnTo>
                      <a:pt x="1540" y="3839"/>
                    </a:lnTo>
                    <a:lnTo>
                      <a:pt x="1537" y="3840"/>
                    </a:lnTo>
                    <a:lnTo>
                      <a:pt x="1535" y="3840"/>
                    </a:lnTo>
                    <a:lnTo>
                      <a:pt x="1531" y="3840"/>
                    </a:lnTo>
                    <a:lnTo>
                      <a:pt x="1526" y="3839"/>
                    </a:lnTo>
                    <a:lnTo>
                      <a:pt x="1517" y="3835"/>
                    </a:lnTo>
                    <a:lnTo>
                      <a:pt x="1506" y="3830"/>
                    </a:lnTo>
                    <a:lnTo>
                      <a:pt x="1483" y="3819"/>
                    </a:lnTo>
                    <a:lnTo>
                      <a:pt x="1463" y="3808"/>
                    </a:lnTo>
                    <a:lnTo>
                      <a:pt x="1456" y="3801"/>
                    </a:lnTo>
                    <a:lnTo>
                      <a:pt x="1449" y="3794"/>
                    </a:lnTo>
                    <a:lnTo>
                      <a:pt x="1445" y="3788"/>
                    </a:lnTo>
                    <a:lnTo>
                      <a:pt x="1443" y="3783"/>
                    </a:lnTo>
                    <a:lnTo>
                      <a:pt x="1442" y="3776"/>
                    </a:lnTo>
                    <a:lnTo>
                      <a:pt x="1439" y="3769"/>
                    </a:lnTo>
                    <a:lnTo>
                      <a:pt x="1433" y="3740"/>
                    </a:lnTo>
                    <a:lnTo>
                      <a:pt x="1431" y="3730"/>
                    </a:lnTo>
                    <a:lnTo>
                      <a:pt x="1423" y="3733"/>
                    </a:lnTo>
                    <a:lnTo>
                      <a:pt x="1406" y="3735"/>
                    </a:lnTo>
                    <a:lnTo>
                      <a:pt x="1402" y="3735"/>
                    </a:lnTo>
                    <a:lnTo>
                      <a:pt x="1398" y="3734"/>
                    </a:lnTo>
                    <a:lnTo>
                      <a:pt x="1395" y="3731"/>
                    </a:lnTo>
                    <a:lnTo>
                      <a:pt x="1391" y="3728"/>
                    </a:lnTo>
                    <a:lnTo>
                      <a:pt x="1385" y="3721"/>
                    </a:lnTo>
                    <a:lnTo>
                      <a:pt x="1379" y="3711"/>
                    </a:lnTo>
                    <a:lnTo>
                      <a:pt x="1371" y="3691"/>
                    </a:lnTo>
                    <a:lnTo>
                      <a:pt x="1366" y="3675"/>
                    </a:lnTo>
                    <a:lnTo>
                      <a:pt x="1364" y="3668"/>
                    </a:lnTo>
                    <a:lnTo>
                      <a:pt x="1361" y="3663"/>
                    </a:lnTo>
                    <a:lnTo>
                      <a:pt x="1357" y="3659"/>
                    </a:lnTo>
                    <a:lnTo>
                      <a:pt x="1352" y="3656"/>
                    </a:lnTo>
                    <a:lnTo>
                      <a:pt x="1342" y="3654"/>
                    </a:lnTo>
                    <a:lnTo>
                      <a:pt x="1329" y="3651"/>
                    </a:lnTo>
                    <a:lnTo>
                      <a:pt x="1315" y="3645"/>
                    </a:lnTo>
                    <a:lnTo>
                      <a:pt x="1296" y="3637"/>
                    </a:lnTo>
                    <a:lnTo>
                      <a:pt x="1287" y="3632"/>
                    </a:lnTo>
                    <a:lnTo>
                      <a:pt x="1280" y="3629"/>
                    </a:lnTo>
                    <a:lnTo>
                      <a:pt x="1274" y="3628"/>
                    </a:lnTo>
                    <a:lnTo>
                      <a:pt x="1272" y="3629"/>
                    </a:lnTo>
                    <a:lnTo>
                      <a:pt x="1280" y="3646"/>
                    </a:lnTo>
                    <a:lnTo>
                      <a:pt x="1288" y="3664"/>
                    </a:lnTo>
                    <a:lnTo>
                      <a:pt x="1297" y="3682"/>
                    </a:lnTo>
                    <a:lnTo>
                      <a:pt x="1309" y="3698"/>
                    </a:lnTo>
                    <a:lnTo>
                      <a:pt x="1321" y="3715"/>
                    </a:lnTo>
                    <a:lnTo>
                      <a:pt x="1335" y="3729"/>
                    </a:lnTo>
                    <a:lnTo>
                      <a:pt x="1343" y="3735"/>
                    </a:lnTo>
                    <a:lnTo>
                      <a:pt x="1350" y="3741"/>
                    </a:lnTo>
                    <a:lnTo>
                      <a:pt x="1358" y="3745"/>
                    </a:lnTo>
                    <a:lnTo>
                      <a:pt x="1366" y="3750"/>
                    </a:lnTo>
                    <a:lnTo>
                      <a:pt x="1375" y="3754"/>
                    </a:lnTo>
                    <a:lnTo>
                      <a:pt x="1381" y="3758"/>
                    </a:lnTo>
                    <a:lnTo>
                      <a:pt x="1386" y="3763"/>
                    </a:lnTo>
                    <a:lnTo>
                      <a:pt x="1391" y="3768"/>
                    </a:lnTo>
                    <a:lnTo>
                      <a:pt x="1395" y="3774"/>
                    </a:lnTo>
                    <a:lnTo>
                      <a:pt x="1398" y="3780"/>
                    </a:lnTo>
                    <a:lnTo>
                      <a:pt x="1401" y="3786"/>
                    </a:lnTo>
                    <a:lnTo>
                      <a:pt x="1402" y="3791"/>
                    </a:lnTo>
                    <a:lnTo>
                      <a:pt x="1404" y="3803"/>
                    </a:lnTo>
                    <a:lnTo>
                      <a:pt x="1404" y="3817"/>
                    </a:lnTo>
                    <a:lnTo>
                      <a:pt x="1404" y="3830"/>
                    </a:lnTo>
                    <a:lnTo>
                      <a:pt x="1403" y="3844"/>
                    </a:lnTo>
                    <a:lnTo>
                      <a:pt x="1403" y="3859"/>
                    </a:lnTo>
                    <a:lnTo>
                      <a:pt x="1402" y="3869"/>
                    </a:lnTo>
                    <a:lnTo>
                      <a:pt x="1403" y="3876"/>
                    </a:lnTo>
                    <a:lnTo>
                      <a:pt x="1404" y="3882"/>
                    </a:lnTo>
                    <a:lnTo>
                      <a:pt x="1408" y="3887"/>
                    </a:lnTo>
                    <a:lnTo>
                      <a:pt x="1414" y="3892"/>
                    </a:lnTo>
                    <a:lnTo>
                      <a:pt x="1423" y="3896"/>
                    </a:lnTo>
                    <a:lnTo>
                      <a:pt x="1435" y="3902"/>
                    </a:lnTo>
                    <a:lnTo>
                      <a:pt x="1441" y="3906"/>
                    </a:lnTo>
                    <a:lnTo>
                      <a:pt x="1443" y="3908"/>
                    </a:lnTo>
                    <a:lnTo>
                      <a:pt x="1444" y="3912"/>
                    </a:lnTo>
                    <a:lnTo>
                      <a:pt x="1443" y="3914"/>
                    </a:lnTo>
                    <a:lnTo>
                      <a:pt x="1441" y="3915"/>
                    </a:lnTo>
                    <a:lnTo>
                      <a:pt x="1437" y="3918"/>
                    </a:lnTo>
                    <a:lnTo>
                      <a:pt x="1432" y="3919"/>
                    </a:lnTo>
                    <a:lnTo>
                      <a:pt x="1426" y="3920"/>
                    </a:lnTo>
                    <a:lnTo>
                      <a:pt x="1403" y="3923"/>
                    </a:lnTo>
                    <a:lnTo>
                      <a:pt x="1389" y="3925"/>
                    </a:lnTo>
                    <a:lnTo>
                      <a:pt x="1379" y="3926"/>
                    </a:lnTo>
                    <a:lnTo>
                      <a:pt x="1372" y="3927"/>
                    </a:lnTo>
                    <a:lnTo>
                      <a:pt x="1365" y="3929"/>
                    </a:lnTo>
                    <a:lnTo>
                      <a:pt x="1359" y="3932"/>
                    </a:lnTo>
                    <a:lnTo>
                      <a:pt x="1347" y="3939"/>
                    </a:lnTo>
                    <a:lnTo>
                      <a:pt x="1336" y="3946"/>
                    </a:lnTo>
                    <a:lnTo>
                      <a:pt x="1324" y="3952"/>
                    </a:lnTo>
                    <a:lnTo>
                      <a:pt x="1312" y="3959"/>
                    </a:lnTo>
                    <a:lnTo>
                      <a:pt x="1307" y="3961"/>
                    </a:lnTo>
                    <a:lnTo>
                      <a:pt x="1300" y="3962"/>
                    </a:lnTo>
                    <a:lnTo>
                      <a:pt x="1292" y="3964"/>
                    </a:lnTo>
                    <a:lnTo>
                      <a:pt x="1284" y="3965"/>
                    </a:lnTo>
                    <a:lnTo>
                      <a:pt x="1283" y="3965"/>
                    </a:lnTo>
                    <a:lnTo>
                      <a:pt x="1281" y="3965"/>
                    </a:lnTo>
                    <a:lnTo>
                      <a:pt x="1281" y="3965"/>
                    </a:lnTo>
                    <a:lnTo>
                      <a:pt x="1241" y="3423"/>
                    </a:lnTo>
                    <a:lnTo>
                      <a:pt x="1241" y="3407"/>
                    </a:lnTo>
                    <a:lnTo>
                      <a:pt x="1240" y="3388"/>
                    </a:lnTo>
                    <a:lnTo>
                      <a:pt x="1238" y="3379"/>
                    </a:lnTo>
                    <a:lnTo>
                      <a:pt x="1236" y="3371"/>
                    </a:lnTo>
                    <a:lnTo>
                      <a:pt x="1234" y="3364"/>
                    </a:lnTo>
                    <a:lnTo>
                      <a:pt x="1231" y="3359"/>
                    </a:lnTo>
                    <a:lnTo>
                      <a:pt x="1230" y="3351"/>
                    </a:lnTo>
                    <a:lnTo>
                      <a:pt x="1227" y="3340"/>
                    </a:lnTo>
                    <a:lnTo>
                      <a:pt x="1223" y="3328"/>
                    </a:lnTo>
                    <a:lnTo>
                      <a:pt x="1220" y="3321"/>
                    </a:lnTo>
                    <a:lnTo>
                      <a:pt x="1220" y="3319"/>
                    </a:lnTo>
                    <a:lnTo>
                      <a:pt x="1211" y="3307"/>
                    </a:lnTo>
                    <a:lnTo>
                      <a:pt x="1204" y="3293"/>
                    </a:lnTo>
                    <a:lnTo>
                      <a:pt x="1195" y="3281"/>
                    </a:lnTo>
                    <a:lnTo>
                      <a:pt x="1187" y="3268"/>
                    </a:lnTo>
                    <a:lnTo>
                      <a:pt x="1182" y="3260"/>
                    </a:lnTo>
                    <a:lnTo>
                      <a:pt x="1178" y="3250"/>
                    </a:lnTo>
                    <a:lnTo>
                      <a:pt x="1176" y="3242"/>
                    </a:lnTo>
                    <a:lnTo>
                      <a:pt x="1175" y="3233"/>
                    </a:lnTo>
                    <a:lnTo>
                      <a:pt x="1174" y="3223"/>
                    </a:lnTo>
                    <a:lnTo>
                      <a:pt x="1174" y="3214"/>
                    </a:lnTo>
                    <a:lnTo>
                      <a:pt x="1175" y="3203"/>
                    </a:lnTo>
                    <a:lnTo>
                      <a:pt x="1177" y="3194"/>
                    </a:lnTo>
                    <a:lnTo>
                      <a:pt x="1176" y="3187"/>
                    </a:lnTo>
                    <a:lnTo>
                      <a:pt x="1175" y="3179"/>
                    </a:lnTo>
                    <a:lnTo>
                      <a:pt x="1176" y="3168"/>
                    </a:lnTo>
                    <a:lnTo>
                      <a:pt x="1176" y="3158"/>
                    </a:lnTo>
                    <a:lnTo>
                      <a:pt x="1178" y="3148"/>
                    </a:lnTo>
                    <a:lnTo>
                      <a:pt x="1181" y="3140"/>
                    </a:lnTo>
                    <a:lnTo>
                      <a:pt x="1184" y="3131"/>
                    </a:lnTo>
                    <a:lnTo>
                      <a:pt x="1188" y="3125"/>
                    </a:lnTo>
                    <a:lnTo>
                      <a:pt x="1194" y="3118"/>
                    </a:lnTo>
                    <a:lnTo>
                      <a:pt x="1197" y="3110"/>
                    </a:lnTo>
                    <a:lnTo>
                      <a:pt x="1201" y="3102"/>
                    </a:lnTo>
                    <a:lnTo>
                      <a:pt x="1202" y="3094"/>
                    </a:lnTo>
                    <a:lnTo>
                      <a:pt x="1204" y="3075"/>
                    </a:lnTo>
                    <a:lnTo>
                      <a:pt x="1204" y="3056"/>
                    </a:lnTo>
                    <a:lnTo>
                      <a:pt x="1207" y="3014"/>
                    </a:lnTo>
                    <a:lnTo>
                      <a:pt x="1210" y="2973"/>
                    </a:lnTo>
                    <a:lnTo>
                      <a:pt x="1214" y="2932"/>
                    </a:lnTo>
                    <a:lnTo>
                      <a:pt x="1216" y="2892"/>
                    </a:lnTo>
                    <a:lnTo>
                      <a:pt x="1201" y="2889"/>
                    </a:lnTo>
                    <a:lnTo>
                      <a:pt x="1184" y="2883"/>
                    </a:lnTo>
                    <a:lnTo>
                      <a:pt x="1169" y="2879"/>
                    </a:lnTo>
                    <a:lnTo>
                      <a:pt x="1150" y="2877"/>
                    </a:lnTo>
                    <a:lnTo>
                      <a:pt x="1128" y="2874"/>
                    </a:lnTo>
                    <a:lnTo>
                      <a:pt x="1101" y="2870"/>
                    </a:lnTo>
                    <a:lnTo>
                      <a:pt x="1075" y="2864"/>
                    </a:lnTo>
                    <a:lnTo>
                      <a:pt x="1054" y="2857"/>
                    </a:lnTo>
                    <a:lnTo>
                      <a:pt x="1042" y="2852"/>
                    </a:lnTo>
                    <a:lnTo>
                      <a:pt x="1030" y="2846"/>
                    </a:lnTo>
                    <a:lnTo>
                      <a:pt x="1017" y="2840"/>
                    </a:lnTo>
                    <a:lnTo>
                      <a:pt x="1007" y="2837"/>
                    </a:lnTo>
                    <a:lnTo>
                      <a:pt x="1005" y="2833"/>
                    </a:lnTo>
                    <a:lnTo>
                      <a:pt x="1003" y="2830"/>
                    </a:lnTo>
                    <a:lnTo>
                      <a:pt x="1001" y="2828"/>
                    </a:lnTo>
                    <a:lnTo>
                      <a:pt x="1000" y="2827"/>
                    </a:lnTo>
                    <a:lnTo>
                      <a:pt x="997" y="2826"/>
                    </a:lnTo>
                    <a:lnTo>
                      <a:pt x="995" y="2825"/>
                    </a:lnTo>
                    <a:lnTo>
                      <a:pt x="992" y="2821"/>
                    </a:lnTo>
                    <a:lnTo>
                      <a:pt x="986" y="2819"/>
                    </a:lnTo>
                    <a:lnTo>
                      <a:pt x="980" y="2818"/>
                    </a:lnTo>
                    <a:lnTo>
                      <a:pt x="975" y="2817"/>
                    </a:lnTo>
                    <a:lnTo>
                      <a:pt x="912" y="2793"/>
                    </a:lnTo>
                    <a:lnTo>
                      <a:pt x="912" y="2793"/>
                    </a:lnTo>
                    <a:lnTo>
                      <a:pt x="913" y="2785"/>
                    </a:lnTo>
                    <a:lnTo>
                      <a:pt x="913" y="2777"/>
                    </a:lnTo>
                    <a:lnTo>
                      <a:pt x="915" y="2766"/>
                    </a:lnTo>
                    <a:lnTo>
                      <a:pt x="919" y="2755"/>
                    </a:lnTo>
                    <a:lnTo>
                      <a:pt x="923" y="2745"/>
                    </a:lnTo>
                    <a:lnTo>
                      <a:pt x="929" y="2735"/>
                    </a:lnTo>
                    <a:lnTo>
                      <a:pt x="942" y="2715"/>
                    </a:lnTo>
                    <a:lnTo>
                      <a:pt x="956" y="2698"/>
                    </a:lnTo>
                    <a:lnTo>
                      <a:pt x="989" y="2665"/>
                    </a:lnTo>
                    <a:lnTo>
                      <a:pt x="1019" y="2634"/>
                    </a:lnTo>
                    <a:lnTo>
                      <a:pt x="1026" y="2626"/>
                    </a:lnTo>
                    <a:lnTo>
                      <a:pt x="1034" y="2620"/>
                    </a:lnTo>
                    <a:lnTo>
                      <a:pt x="1043" y="2615"/>
                    </a:lnTo>
                    <a:lnTo>
                      <a:pt x="1052" y="2610"/>
                    </a:lnTo>
                    <a:lnTo>
                      <a:pt x="1061" y="2606"/>
                    </a:lnTo>
                    <a:lnTo>
                      <a:pt x="1069" y="2601"/>
                    </a:lnTo>
                    <a:lnTo>
                      <a:pt x="1077" y="2595"/>
                    </a:lnTo>
                    <a:lnTo>
                      <a:pt x="1084" y="2589"/>
                    </a:lnTo>
                    <a:lnTo>
                      <a:pt x="1086" y="2587"/>
                    </a:lnTo>
                    <a:lnTo>
                      <a:pt x="1087" y="2582"/>
                    </a:lnTo>
                    <a:lnTo>
                      <a:pt x="1088" y="2577"/>
                    </a:lnTo>
                    <a:lnTo>
                      <a:pt x="1089" y="2572"/>
                    </a:lnTo>
                    <a:lnTo>
                      <a:pt x="1089" y="2559"/>
                    </a:lnTo>
                    <a:lnTo>
                      <a:pt x="1089" y="2544"/>
                    </a:lnTo>
                    <a:lnTo>
                      <a:pt x="1090" y="2531"/>
                    </a:lnTo>
                    <a:lnTo>
                      <a:pt x="1091" y="2520"/>
                    </a:lnTo>
                    <a:lnTo>
                      <a:pt x="1093" y="2515"/>
                    </a:lnTo>
                    <a:lnTo>
                      <a:pt x="1094" y="2510"/>
                    </a:lnTo>
                    <a:lnTo>
                      <a:pt x="1096" y="2508"/>
                    </a:lnTo>
                    <a:lnTo>
                      <a:pt x="1099" y="2507"/>
                    </a:lnTo>
                    <a:lnTo>
                      <a:pt x="1104" y="2498"/>
                    </a:lnTo>
                    <a:lnTo>
                      <a:pt x="1110" y="2490"/>
                    </a:lnTo>
                    <a:lnTo>
                      <a:pt x="1120" y="2483"/>
                    </a:lnTo>
                    <a:lnTo>
                      <a:pt x="1135" y="2468"/>
                    </a:lnTo>
                    <a:lnTo>
                      <a:pt x="1150" y="2452"/>
                    </a:lnTo>
                    <a:lnTo>
                      <a:pt x="1160" y="2442"/>
                    </a:lnTo>
                    <a:lnTo>
                      <a:pt x="1238" y="2349"/>
                    </a:lnTo>
                    <a:lnTo>
                      <a:pt x="1243" y="2342"/>
                    </a:lnTo>
                    <a:lnTo>
                      <a:pt x="1247" y="2337"/>
                    </a:lnTo>
                    <a:lnTo>
                      <a:pt x="1250" y="2332"/>
                    </a:lnTo>
                    <a:lnTo>
                      <a:pt x="1252" y="2326"/>
                    </a:lnTo>
                    <a:lnTo>
                      <a:pt x="1254" y="2322"/>
                    </a:lnTo>
                    <a:lnTo>
                      <a:pt x="1254" y="2316"/>
                    </a:lnTo>
                    <a:lnTo>
                      <a:pt x="1251" y="2310"/>
                    </a:lnTo>
                    <a:lnTo>
                      <a:pt x="1249" y="2303"/>
                    </a:lnTo>
                    <a:lnTo>
                      <a:pt x="1245" y="2293"/>
                    </a:lnTo>
                    <a:lnTo>
                      <a:pt x="1243" y="2287"/>
                    </a:lnTo>
                    <a:lnTo>
                      <a:pt x="1242" y="2283"/>
                    </a:lnTo>
                    <a:lnTo>
                      <a:pt x="1242" y="2278"/>
                    </a:lnTo>
                    <a:lnTo>
                      <a:pt x="1243" y="2270"/>
                    </a:lnTo>
                    <a:lnTo>
                      <a:pt x="1244" y="2256"/>
                    </a:lnTo>
                    <a:lnTo>
                      <a:pt x="1256" y="2245"/>
                    </a:lnTo>
                    <a:lnTo>
                      <a:pt x="1267" y="2236"/>
                    </a:lnTo>
                    <a:lnTo>
                      <a:pt x="1278" y="2226"/>
                    </a:lnTo>
                    <a:lnTo>
                      <a:pt x="1290" y="2219"/>
                    </a:lnTo>
                    <a:lnTo>
                      <a:pt x="1301" y="2214"/>
                    </a:lnTo>
                    <a:lnTo>
                      <a:pt x="1310" y="2209"/>
                    </a:lnTo>
                    <a:lnTo>
                      <a:pt x="1317" y="2204"/>
                    </a:lnTo>
                    <a:lnTo>
                      <a:pt x="1323" y="2198"/>
                    </a:lnTo>
                    <a:lnTo>
                      <a:pt x="1328" y="2191"/>
                    </a:lnTo>
                    <a:lnTo>
                      <a:pt x="1330" y="2183"/>
                    </a:lnTo>
                    <a:lnTo>
                      <a:pt x="1330" y="2171"/>
                    </a:lnTo>
                    <a:lnTo>
                      <a:pt x="1329" y="2158"/>
                    </a:lnTo>
                    <a:lnTo>
                      <a:pt x="1328" y="2140"/>
                    </a:lnTo>
                    <a:lnTo>
                      <a:pt x="1328" y="2118"/>
                    </a:lnTo>
                    <a:lnTo>
                      <a:pt x="1329" y="2106"/>
                    </a:lnTo>
                    <a:lnTo>
                      <a:pt x="1330" y="2094"/>
                    </a:lnTo>
                    <a:lnTo>
                      <a:pt x="1331" y="2085"/>
                    </a:lnTo>
                    <a:lnTo>
                      <a:pt x="1334" y="2078"/>
                    </a:lnTo>
                    <a:lnTo>
                      <a:pt x="1328" y="2076"/>
                    </a:lnTo>
                    <a:lnTo>
                      <a:pt x="1323" y="2074"/>
                    </a:lnTo>
                    <a:lnTo>
                      <a:pt x="1318" y="2069"/>
                    </a:lnTo>
                    <a:lnTo>
                      <a:pt x="1315" y="2065"/>
                    </a:lnTo>
                    <a:lnTo>
                      <a:pt x="1311" y="2058"/>
                    </a:lnTo>
                    <a:lnTo>
                      <a:pt x="1309" y="2051"/>
                    </a:lnTo>
                    <a:lnTo>
                      <a:pt x="1307" y="2042"/>
                    </a:lnTo>
                    <a:lnTo>
                      <a:pt x="1304" y="2034"/>
                    </a:lnTo>
                    <a:lnTo>
                      <a:pt x="1301" y="2016"/>
                    </a:lnTo>
                    <a:lnTo>
                      <a:pt x="1298" y="1999"/>
                    </a:lnTo>
                    <a:lnTo>
                      <a:pt x="1297" y="1983"/>
                    </a:lnTo>
                    <a:lnTo>
                      <a:pt x="1297" y="1972"/>
                    </a:lnTo>
                    <a:lnTo>
                      <a:pt x="1297" y="1959"/>
                    </a:lnTo>
                    <a:lnTo>
                      <a:pt x="1300" y="1946"/>
                    </a:lnTo>
                    <a:lnTo>
                      <a:pt x="1302" y="1933"/>
                    </a:lnTo>
                    <a:lnTo>
                      <a:pt x="1307" y="1921"/>
                    </a:lnTo>
                    <a:lnTo>
                      <a:pt x="1311" y="1909"/>
                    </a:lnTo>
                    <a:lnTo>
                      <a:pt x="1317" y="1899"/>
                    </a:lnTo>
                    <a:lnTo>
                      <a:pt x="1323" y="1888"/>
                    </a:lnTo>
                    <a:lnTo>
                      <a:pt x="1331" y="1877"/>
                    </a:lnTo>
                    <a:lnTo>
                      <a:pt x="1335" y="1869"/>
                    </a:lnTo>
                    <a:lnTo>
                      <a:pt x="1337" y="1862"/>
                    </a:lnTo>
                    <a:lnTo>
                      <a:pt x="1337" y="1854"/>
                    </a:lnTo>
                    <a:lnTo>
                      <a:pt x="1336" y="1848"/>
                    </a:lnTo>
                    <a:lnTo>
                      <a:pt x="1335" y="1845"/>
                    </a:lnTo>
                    <a:lnTo>
                      <a:pt x="1334" y="1843"/>
                    </a:lnTo>
                    <a:lnTo>
                      <a:pt x="1332" y="1842"/>
                    </a:lnTo>
                    <a:lnTo>
                      <a:pt x="1330" y="1842"/>
                    </a:lnTo>
                    <a:lnTo>
                      <a:pt x="1329" y="1843"/>
                    </a:lnTo>
                    <a:lnTo>
                      <a:pt x="1327" y="1844"/>
                    </a:lnTo>
                    <a:lnTo>
                      <a:pt x="1324" y="1848"/>
                    </a:lnTo>
                    <a:lnTo>
                      <a:pt x="1322" y="1851"/>
                    </a:lnTo>
                    <a:lnTo>
                      <a:pt x="1316" y="1864"/>
                    </a:lnTo>
                    <a:lnTo>
                      <a:pt x="1309" y="1875"/>
                    </a:lnTo>
                    <a:lnTo>
                      <a:pt x="1300" y="1884"/>
                    </a:lnTo>
                    <a:lnTo>
                      <a:pt x="1290" y="1895"/>
                    </a:lnTo>
                    <a:lnTo>
                      <a:pt x="1288" y="1900"/>
                    </a:lnTo>
                    <a:lnTo>
                      <a:pt x="1284" y="1910"/>
                    </a:lnTo>
                    <a:lnTo>
                      <a:pt x="1282" y="1924"/>
                    </a:lnTo>
                    <a:lnTo>
                      <a:pt x="1280" y="1940"/>
                    </a:lnTo>
                    <a:lnTo>
                      <a:pt x="1276" y="1972"/>
                    </a:lnTo>
                    <a:lnTo>
                      <a:pt x="1272" y="1993"/>
                    </a:lnTo>
                    <a:lnTo>
                      <a:pt x="1271" y="2000"/>
                    </a:lnTo>
                    <a:lnTo>
                      <a:pt x="1270" y="2009"/>
                    </a:lnTo>
                    <a:lnTo>
                      <a:pt x="1268" y="2014"/>
                    </a:lnTo>
                    <a:lnTo>
                      <a:pt x="1267" y="2019"/>
                    </a:lnTo>
                    <a:lnTo>
                      <a:pt x="1264" y="2021"/>
                    </a:lnTo>
                    <a:lnTo>
                      <a:pt x="1262" y="2022"/>
                    </a:lnTo>
                    <a:lnTo>
                      <a:pt x="1247" y="2014"/>
                    </a:lnTo>
                    <a:lnTo>
                      <a:pt x="1231" y="2006"/>
                    </a:lnTo>
                    <a:lnTo>
                      <a:pt x="1233" y="2013"/>
                    </a:lnTo>
                    <a:lnTo>
                      <a:pt x="1233" y="2019"/>
                    </a:lnTo>
                    <a:lnTo>
                      <a:pt x="1235" y="2023"/>
                    </a:lnTo>
                    <a:lnTo>
                      <a:pt x="1236" y="2027"/>
                    </a:lnTo>
                    <a:lnTo>
                      <a:pt x="1242" y="2033"/>
                    </a:lnTo>
                    <a:lnTo>
                      <a:pt x="1248" y="2035"/>
                    </a:lnTo>
                    <a:lnTo>
                      <a:pt x="1255" y="2039"/>
                    </a:lnTo>
                    <a:lnTo>
                      <a:pt x="1261" y="2043"/>
                    </a:lnTo>
                    <a:lnTo>
                      <a:pt x="1264" y="2047"/>
                    </a:lnTo>
                    <a:lnTo>
                      <a:pt x="1267" y="2051"/>
                    </a:lnTo>
                    <a:lnTo>
                      <a:pt x="1269" y="2056"/>
                    </a:lnTo>
                    <a:lnTo>
                      <a:pt x="1271" y="2064"/>
                    </a:lnTo>
                    <a:lnTo>
                      <a:pt x="1276" y="2080"/>
                    </a:lnTo>
                    <a:lnTo>
                      <a:pt x="1283" y="2099"/>
                    </a:lnTo>
                    <a:lnTo>
                      <a:pt x="1285" y="2108"/>
                    </a:lnTo>
                    <a:lnTo>
                      <a:pt x="1288" y="2118"/>
                    </a:lnTo>
                    <a:lnTo>
                      <a:pt x="1288" y="2126"/>
                    </a:lnTo>
                    <a:lnTo>
                      <a:pt x="1287" y="2133"/>
                    </a:lnTo>
                    <a:lnTo>
                      <a:pt x="1284" y="2139"/>
                    </a:lnTo>
                    <a:lnTo>
                      <a:pt x="1281" y="2145"/>
                    </a:lnTo>
                    <a:lnTo>
                      <a:pt x="1276" y="2150"/>
                    </a:lnTo>
                    <a:lnTo>
                      <a:pt x="1271" y="2154"/>
                    </a:lnTo>
                    <a:lnTo>
                      <a:pt x="1267" y="2159"/>
                    </a:lnTo>
                    <a:lnTo>
                      <a:pt x="1262" y="2164"/>
                    </a:lnTo>
                    <a:lnTo>
                      <a:pt x="1258" y="2170"/>
                    </a:lnTo>
                    <a:lnTo>
                      <a:pt x="1255" y="2177"/>
                    </a:lnTo>
                    <a:lnTo>
                      <a:pt x="1252" y="2186"/>
                    </a:lnTo>
                    <a:lnTo>
                      <a:pt x="1248" y="2197"/>
                    </a:lnTo>
                    <a:lnTo>
                      <a:pt x="1244" y="2201"/>
                    </a:lnTo>
                    <a:lnTo>
                      <a:pt x="1241" y="2205"/>
                    </a:lnTo>
                    <a:lnTo>
                      <a:pt x="1237" y="2207"/>
                    </a:lnTo>
                    <a:lnTo>
                      <a:pt x="1233" y="2210"/>
                    </a:lnTo>
                    <a:lnTo>
                      <a:pt x="1224" y="2210"/>
                    </a:lnTo>
                    <a:lnTo>
                      <a:pt x="1218" y="2211"/>
                    </a:lnTo>
                    <a:lnTo>
                      <a:pt x="1215" y="2212"/>
                    </a:lnTo>
                    <a:lnTo>
                      <a:pt x="1214" y="2214"/>
                    </a:lnTo>
                    <a:lnTo>
                      <a:pt x="1214" y="2223"/>
                    </a:lnTo>
                    <a:lnTo>
                      <a:pt x="1215" y="2238"/>
                    </a:lnTo>
                    <a:lnTo>
                      <a:pt x="1215" y="2256"/>
                    </a:lnTo>
                    <a:lnTo>
                      <a:pt x="1215" y="2277"/>
                    </a:lnTo>
                    <a:lnTo>
                      <a:pt x="1214" y="2287"/>
                    </a:lnTo>
                    <a:lnTo>
                      <a:pt x="1211" y="2297"/>
                    </a:lnTo>
                    <a:lnTo>
                      <a:pt x="1210" y="2306"/>
                    </a:lnTo>
                    <a:lnTo>
                      <a:pt x="1207" y="2315"/>
                    </a:lnTo>
                    <a:lnTo>
                      <a:pt x="1197" y="2331"/>
                    </a:lnTo>
                    <a:lnTo>
                      <a:pt x="1187" y="2348"/>
                    </a:lnTo>
                    <a:lnTo>
                      <a:pt x="1176" y="2361"/>
                    </a:lnTo>
                    <a:lnTo>
                      <a:pt x="1164" y="2375"/>
                    </a:lnTo>
                    <a:lnTo>
                      <a:pt x="1153" y="2388"/>
                    </a:lnTo>
                    <a:lnTo>
                      <a:pt x="1142" y="2402"/>
                    </a:lnTo>
                    <a:lnTo>
                      <a:pt x="1137" y="2409"/>
                    </a:lnTo>
                    <a:lnTo>
                      <a:pt x="1134" y="2416"/>
                    </a:lnTo>
                    <a:lnTo>
                      <a:pt x="1129" y="2424"/>
                    </a:lnTo>
                    <a:lnTo>
                      <a:pt x="1127" y="2434"/>
                    </a:lnTo>
                    <a:lnTo>
                      <a:pt x="1121" y="2448"/>
                    </a:lnTo>
                    <a:lnTo>
                      <a:pt x="1113" y="2461"/>
                    </a:lnTo>
                    <a:lnTo>
                      <a:pt x="1103" y="2474"/>
                    </a:lnTo>
                    <a:lnTo>
                      <a:pt x="1093" y="2487"/>
                    </a:lnTo>
                    <a:lnTo>
                      <a:pt x="1069" y="2510"/>
                    </a:lnTo>
                    <a:lnTo>
                      <a:pt x="1047" y="2533"/>
                    </a:lnTo>
                    <a:lnTo>
                      <a:pt x="1034" y="2547"/>
                    </a:lnTo>
                    <a:lnTo>
                      <a:pt x="1017" y="2560"/>
                    </a:lnTo>
                    <a:lnTo>
                      <a:pt x="1009" y="2566"/>
                    </a:lnTo>
                    <a:lnTo>
                      <a:pt x="1000" y="2569"/>
                    </a:lnTo>
                    <a:lnTo>
                      <a:pt x="995" y="2569"/>
                    </a:lnTo>
                    <a:lnTo>
                      <a:pt x="990" y="2569"/>
                    </a:lnTo>
                    <a:lnTo>
                      <a:pt x="986" y="2569"/>
                    </a:lnTo>
                    <a:lnTo>
                      <a:pt x="982" y="2567"/>
                    </a:lnTo>
                    <a:lnTo>
                      <a:pt x="975" y="2564"/>
                    </a:lnTo>
                    <a:lnTo>
                      <a:pt x="968" y="2564"/>
                    </a:lnTo>
                    <a:lnTo>
                      <a:pt x="961" y="2564"/>
                    </a:lnTo>
                    <a:lnTo>
                      <a:pt x="955" y="2567"/>
                    </a:lnTo>
                    <a:lnTo>
                      <a:pt x="942" y="2572"/>
                    </a:lnTo>
                    <a:lnTo>
                      <a:pt x="932" y="2576"/>
                    </a:lnTo>
                    <a:lnTo>
                      <a:pt x="927" y="2579"/>
                    </a:lnTo>
                    <a:lnTo>
                      <a:pt x="923" y="2579"/>
                    </a:lnTo>
                    <a:lnTo>
                      <a:pt x="920" y="2579"/>
                    </a:lnTo>
                    <a:lnTo>
                      <a:pt x="918" y="2576"/>
                    </a:lnTo>
                    <a:lnTo>
                      <a:pt x="916" y="2572"/>
                    </a:lnTo>
                    <a:lnTo>
                      <a:pt x="916" y="2564"/>
                    </a:lnTo>
                    <a:lnTo>
                      <a:pt x="916" y="2555"/>
                    </a:lnTo>
                    <a:lnTo>
                      <a:pt x="918" y="2542"/>
                    </a:lnTo>
                    <a:lnTo>
                      <a:pt x="919" y="2528"/>
                    </a:lnTo>
                    <a:lnTo>
                      <a:pt x="918" y="2510"/>
                    </a:lnTo>
                    <a:lnTo>
                      <a:pt x="918" y="2502"/>
                    </a:lnTo>
                    <a:lnTo>
                      <a:pt x="918" y="2495"/>
                    </a:lnTo>
                    <a:lnTo>
                      <a:pt x="918" y="2488"/>
                    </a:lnTo>
                    <a:lnTo>
                      <a:pt x="920" y="2482"/>
                    </a:lnTo>
                    <a:lnTo>
                      <a:pt x="925" y="2471"/>
                    </a:lnTo>
                    <a:lnTo>
                      <a:pt x="928" y="2464"/>
                    </a:lnTo>
                    <a:lnTo>
                      <a:pt x="930" y="2456"/>
                    </a:lnTo>
                    <a:lnTo>
                      <a:pt x="930" y="2444"/>
                    </a:lnTo>
                    <a:lnTo>
                      <a:pt x="921" y="2464"/>
                    </a:lnTo>
                    <a:lnTo>
                      <a:pt x="909" y="2485"/>
                    </a:lnTo>
                    <a:lnTo>
                      <a:pt x="902" y="2497"/>
                    </a:lnTo>
                    <a:lnTo>
                      <a:pt x="898" y="2508"/>
                    </a:lnTo>
                    <a:lnTo>
                      <a:pt x="893" y="2518"/>
                    </a:lnTo>
                    <a:lnTo>
                      <a:pt x="892" y="2528"/>
                    </a:lnTo>
                    <a:lnTo>
                      <a:pt x="889" y="2536"/>
                    </a:lnTo>
                    <a:lnTo>
                      <a:pt x="886" y="2544"/>
                    </a:lnTo>
                    <a:lnTo>
                      <a:pt x="881" y="2553"/>
                    </a:lnTo>
                    <a:lnTo>
                      <a:pt x="875" y="2561"/>
                    </a:lnTo>
                    <a:lnTo>
                      <a:pt x="869" y="2567"/>
                    </a:lnTo>
                    <a:lnTo>
                      <a:pt x="861" y="2572"/>
                    </a:lnTo>
                    <a:lnTo>
                      <a:pt x="858" y="2573"/>
                    </a:lnTo>
                    <a:lnTo>
                      <a:pt x="854" y="2573"/>
                    </a:lnTo>
                    <a:lnTo>
                      <a:pt x="851" y="2572"/>
                    </a:lnTo>
                    <a:lnTo>
                      <a:pt x="847" y="2569"/>
                    </a:lnTo>
                    <a:lnTo>
                      <a:pt x="829" y="2559"/>
                    </a:lnTo>
                    <a:lnTo>
                      <a:pt x="819" y="2549"/>
                    </a:lnTo>
                    <a:lnTo>
                      <a:pt x="815" y="2546"/>
                    </a:lnTo>
                    <a:lnTo>
                      <a:pt x="812" y="2542"/>
                    </a:lnTo>
                    <a:lnTo>
                      <a:pt x="811" y="2540"/>
                    </a:lnTo>
                    <a:lnTo>
                      <a:pt x="811" y="2536"/>
                    </a:lnTo>
                    <a:lnTo>
                      <a:pt x="811" y="2533"/>
                    </a:lnTo>
                    <a:lnTo>
                      <a:pt x="812" y="2529"/>
                    </a:lnTo>
                    <a:lnTo>
                      <a:pt x="814" y="2526"/>
                    </a:lnTo>
                    <a:lnTo>
                      <a:pt x="816" y="2521"/>
                    </a:lnTo>
                    <a:lnTo>
                      <a:pt x="825" y="2510"/>
                    </a:lnTo>
                    <a:lnTo>
                      <a:pt x="835" y="2495"/>
                    </a:lnTo>
                    <a:lnTo>
                      <a:pt x="838" y="2490"/>
                    </a:lnTo>
                    <a:lnTo>
                      <a:pt x="840" y="2485"/>
                    </a:lnTo>
                    <a:lnTo>
                      <a:pt x="841" y="2483"/>
                    </a:lnTo>
                    <a:lnTo>
                      <a:pt x="841" y="2480"/>
                    </a:lnTo>
                    <a:lnTo>
                      <a:pt x="840" y="2478"/>
                    </a:lnTo>
                    <a:lnTo>
                      <a:pt x="838" y="2477"/>
                    </a:lnTo>
                    <a:lnTo>
                      <a:pt x="835" y="2476"/>
                    </a:lnTo>
                    <a:lnTo>
                      <a:pt x="833" y="2476"/>
                    </a:lnTo>
                    <a:lnTo>
                      <a:pt x="825" y="2475"/>
                    </a:lnTo>
                    <a:lnTo>
                      <a:pt x="816" y="2475"/>
                    </a:lnTo>
                    <a:lnTo>
                      <a:pt x="807" y="2474"/>
                    </a:lnTo>
                    <a:lnTo>
                      <a:pt x="798" y="2470"/>
                    </a:lnTo>
                    <a:lnTo>
                      <a:pt x="796" y="2469"/>
                    </a:lnTo>
                    <a:lnTo>
                      <a:pt x="795" y="2468"/>
                    </a:lnTo>
                    <a:lnTo>
                      <a:pt x="795" y="2467"/>
                    </a:lnTo>
                    <a:lnTo>
                      <a:pt x="795" y="2464"/>
                    </a:lnTo>
                    <a:lnTo>
                      <a:pt x="798" y="2461"/>
                    </a:lnTo>
                    <a:lnTo>
                      <a:pt x="801" y="2457"/>
                    </a:lnTo>
                    <a:lnTo>
                      <a:pt x="805" y="2451"/>
                    </a:lnTo>
                    <a:lnTo>
                      <a:pt x="809" y="2445"/>
                    </a:lnTo>
                    <a:lnTo>
                      <a:pt x="812" y="2440"/>
                    </a:lnTo>
                    <a:lnTo>
                      <a:pt x="813" y="2431"/>
                    </a:lnTo>
                    <a:lnTo>
                      <a:pt x="812" y="2428"/>
                    </a:lnTo>
                    <a:lnTo>
                      <a:pt x="811" y="2425"/>
                    </a:lnTo>
                    <a:lnTo>
                      <a:pt x="807" y="2425"/>
                    </a:lnTo>
                    <a:lnTo>
                      <a:pt x="802" y="2427"/>
                    </a:lnTo>
                    <a:lnTo>
                      <a:pt x="792" y="2430"/>
                    </a:lnTo>
                    <a:lnTo>
                      <a:pt x="779" y="2432"/>
                    </a:lnTo>
                    <a:lnTo>
                      <a:pt x="775" y="2434"/>
                    </a:lnTo>
                    <a:lnTo>
                      <a:pt x="772" y="2437"/>
                    </a:lnTo>
                    <a:lnTo>
                      <a:pt x="769" y="2443"/>
                    </a:lnTo>
                    <a:lnTo>
                      <a:pt x="767" y="2449"/>
                    </a:lnTo>
                    <a:lnTo>
                      <a:pt x="765" y="2467"/>
                    </a:lnTo>
                    <a:lnTo>
                      <a:pt x="765" y="2488"/>
                    </a:lnTo>
                    <a:lnTo>
                      <a:pt x="766" y="2531"/>
                    </a:lnTo>
                    <a:lnTo>
                      <a:pt x="767" y="2562"/>
                    </a:lnTo>
                    <a:lnTo>
                      <a:pt x="767" y="2562"/>
                    </a:lnTo>
                    <a:lnTo>
                      <a:pt x="601" y="2305"/>
                    </a:lnTo>
                    <a:lnTo>
                      <a:pt x="497" y="2240"/>
                    </a:lnTo>
                    <a:lnTo>
                      <a:pt x="497" y="2240"/>
                    </a:lnTo>
                    <a:lnTo>
                      <a:pt x="503" y="2226"/>
                    </a:lnTo>
                    <a:lnTo>
                      <a:pt x="504" y="2217"/>
                    </a:lnTo>
                    <a:lnTo>
                      <a:pt x="499" y="2201"/>
                    </a:lnTo>
                    <a:lnTo>
                      <a:pt x="496" y="2196"/>
                    </a:lnTo>
                    <a:lnTo>
                      <a:pt x="493" y="2200"/>
                    </a:lnTo>
                    <a:lnTo>
                      <a:pt x="487" y="2218"/>
                    </a:lnTo>
                    <a:lnTo>
                      <a:pt x="485" y="2225"/>
                    </a:lnTo>
                    <a:lnTo>
                      <a:pt x="483" y="2231"/>
                    </a:lnTo>
                    <a:lnTo>
                      <a:pt x="483" y="2231"/>
                    </a:lnTo>
                    <a:lnTo>
                      <a:pt x="439" y="2203"/>
                    </a:lnTo>
                    <a:lnTo>
                      <a:pt x="433" y="2197"/>
                    </a:lnTo>
                    <a:lnTo>
                      <a:pt x="425" y="2192"/>
                    </a:lnTo>
                    <a:lnTo>
                      <a:pt x="417" y="2187"/>
                    </a:lnTo>
                    <a:lnTo>
                      <a:pt x="407" y="2183"/>
                    </a:lnTo>
                    <a:lnTo>
                      <a:pt x="398" y="2177"/>
                    </a:lnTo>
                    <a:lnTo>
                      <a:pt x="390" y="2172"/>
                    </a:lnTo>
                    <a:lnTo>
                      <a:pt x="384" y="2167"/>
                    </a:lnTo>
                    <a:lnTo>
                      <a:pt x="378" y="2163"/>
                    </a:lnTo>
                    <a:lnTo>
                      <a:pt x="370" y="2159"/>
                    </a:lnTo>
                    <a:lnTo>
                      <a:pt x="358" y="2152"/>
                    </a:lnTo>
                    <a:lnTo>
                      <a:pt x="346" y="2145"/>
                    </a:lnTo>
                    <a:lnTo>
                      <a:pt x="336" y="2140"/>
                    </a:lnTo>
                    <a:lnTo>
                      <a:pt x="317" y="2133"/>
                    </a:lnTo>
                    <a:lnTo>
                      <a:pt x="293" y="2121"/>
                    </a:lnTo>
                    <a:lnTo>
                      <a:pt x="283" y="2115"/>
                    </a:lnTo>
                    <a:lnTo>
                      <a:pt x="274" y="2108"/>
                    </a:lnTo>
                    <a:lnTo>
                      <a:pt x="269" y="2105"/>
                    </a:lnTo>
                    <a:lnTo>
                      <a:pt x="266" y="2100"/>
                    </a:lnTo>
                    <a:lnTo>
                      <a:pt x="264" y="2097"/>
                    </a:lnTo>
                    <a:lnTo>
                      <a:pt x="262" y="2093"/>
                    </a:lnTo>
                    <a:lnTo>
                      <a:pt x="262" y="2079"/>
                    </a:lnTo>
                    <a:lnTo>
                      <a:pt x="262" y="2061"/>
                    </a:lnTo>
                    <a:lnTo>
                      <a:pt x="263" y="2053"/>
                    </a:lnTo>
                    <a:lnTo>
                      <a:pt x="262" y="2046"/>
                    </a:lnTo>
                    <a:lnTo>
                      <a:pt x="261" y="2039"/>
                    </a:lnTo>
                    <a:lnTo>
                      <a:pt x="257" y="2033"/>
                    </a:lnTo>
                    <a:lnTo>
                      <a:pt x="239" y="2016"/>
                    </a:lnTo>
                    <a:lnTo>
                      <a:pt x="221" y="2000"/>
                    </a:lnTo>
                    <a:lnTo>
                      <a:pt x="212" y="1990"/>
                    </a:lnTo>
                    <a:lnTo>
                      <a:pt x="205" y="1981"/>
                    </a:lnTo>
                    <a:lnTo>
                      <a:pt x="203" y="1976"/>
                    </a:lnTo>
                    <a:lnTo>
                      <a:pt x="201" y="1970"/>
                    </a:lnTo>
                    <a:lnTo>
                      <a:pt x="199" y="1965"/>
                    </a:lnTo>
                    <a:lnTo>
                      <a:pt x="198" y="1957"/>
                    </a:lnTo>
                    <a:lnTo>
                      <a:pt x="198" y="1930"/>
                    </a:lnTo>
                    <a:lnTo>
                      <a:pt x="199" y="1904"/>
                    </a:lnTo>
                    <a:lnTo>
                      <a:pt x="198" y="1893"/>
                    </a:lnTo>
                    <a:lnTo>
                      <a:pt x="196" y="1880"/>
                    </a:lnTo>
                    <a:lnTo>
                      <a:pt x="192" y="1874"/>
                    </a:lnTo>
                    <a:lnTo>
                      <a:pt x="189" y="1868"/>
                    </a:lnTo>
                    <a:lnTo>
                      <a:pt x="184" y="1861"/>
                    </a:lnTo>
                    <a:lnTo>
                      <a:pt x="179" y="1855"/>
                    </a:lnTo>
                    <a:lnTo>
                      <a:pt x="175" y="1841"/>
                    </a:lnTo>
                    <a:lnTo>
                      <a:pt x="170" y="1827"/>
                    </a:lnTo>
                    <a:lnTo>
                      <a:pt x="165" y="1812"/>
                    </a:lnTo>
                    <a:lnTo>
                      <a:pt x="163" y="1797"/>
                    </a:lnTo>
                    <a:lnTo>
                      <a:pt x="163" y="1792"/>
                    </a:lnTo>
                    <a:lnTo>
                      <a:pt x="164" y="1785"/>
                    </a:lnTo>
                    <a:lnTo>
                      <a:pt x="167" y="1778"/>
                    </a:lnTo>
                    <a:lnTo>
                      <a:pt x="169" y="1772"/>
                    </a:lnTo>
                    <a:lnTo>
                      <a:pt x="174" y="1767"/>
                    </a:lnTo>
                    <a:lnTo>
                      <a:pt x="178" y="1763"/>
                    </a:lnTo>
                    <a:lnTo>
                      <a:pt x="181" y="1762"/>
                    </a:lnTo>
                    <a:lnTo>
                      <a:pt x="184" y="1762"/>
                    </a:lnTo>
                    <a:lnTo>
                      <a:pt x="187" y="1763"/>
                    </a:lnTo>
                    <a:lnTo>
                      <a:pt x="190" y="1764"/>
                    </a:lnTo>
                    <a:lnTo>
                      <a:pt x="205" y="1761"/>
                    </a:lnTo>
                    <a:lnTo>
                      <a:pt x="222" y="1758"/>
                    </a:lnTo>
                    <a:lnTo>
                      <a:pt x="225" y="1754"/>
                    </a:lnTo>
                    <a:lnTo>
                      <a:pt x="227" y="1749"/>
                    </a:lnTo>
                    <a:lnTo>
                      <a:pt x="228" y="1744"/>
                    </a:lnTo>
                    <a:lnTo>
                      <a:pt x="227" y="1739"/>
                    </a:lnTo>
                    <a:lnTo>
                      <a:pt x="223" y="1729"/>
                    </a:lnTo>
                    <a:lnTo>
                      <a:pt x="217" y="1717"/>
                    </a:lnTo>
                    <a:lnTo>
                      <a:pt x="210" y="1706"/>
                    </a:lnTo>
                    <a:lnTo>
                      <a:pt x="204" y="1696"/>
                    </a:lnTo>
                    <a:lnTo>
                      <a:pt x="198" y="1685"/>
                    </a:lnTo>
                    <a:lnTo>
                      <a:pt x="196" y="1676"/>
                    </a:lnTo>
                    <a:lnTo>
                      <a:pt x="196" y="1666"/>
                    </a:lnTo>
                    <a:lnTo>
                      <a:pt x="197" y="1657"/>
                    </a:lnTo>
                    <a:lnTo>
                      <a:pt x="198" y="1649"/>
                    </a:lnTo>
                    <a:lnTo>
                      <a:pt x="201" y="1640"/>
                    </a:lnTo>
                    <a:lnTo>
                      <a:pt x="205" y="1624"/>
                    </a:lnTo>
                    <a:lnTo>
                      <a:pt x="211" y="1607"/>
                    </a:lnTo>
                    <a:lnTo>
                      <a:pt x="217" y="1591"/>
                    </a:lnTo>
                    <a:lnTo>
                      <a:pt x="222" y="1573"/>
                    </a:lnTo>
                    <a:lnTo>
                      <a:pt x="224" y="1565"/>
                    </a:lnTo>
                    <a:lnTo>
                      <a:pt x="225" y="1556"/>
                    </a:lnTo>
                    <a:lnTo>
                      <a:pt x="227" y="1547"/>
                    </a:lnTo>
                    <a:lnTo>
                      <a:pt x="227" y="1538"/>
                    </a:lnTo>
                    <a:lnTo>
                      <a:pt x="225" y="1528"/>
                    </a:lnTo>
                    <a:lnTo>
                      <a:pt x="224" y="1519"/>
                    </a:lnTo>
                    <a:lnTo>
                      <a:pt x="222" y="1511"/>
                    </a:lnTo>
                    <a:lnTo>
                      <a:pt x="219" y="1502"/>
                    </a:lnTo>
                    <a:lnTo>
                      <a:pt x="212" y="1486"/>
                    </a:lnTo>
                    <a:lnTo>
                      <a:pt x="205" y="1469"/>
                    </a:lnTo>
                    <a:lnTo>
                      <a:pt x="198" y="1453"/>
                    </a:lnTo>
                    <a:lnTo>
                      <a:pt x="192" y="1435"/>
                    </a:lnTo>
                    <a:lnTo>
                      <a:pt x="190" y="1426"/>
                    </a:lnTo>
                    <a:lnTo>
                      <a:pt x="189" y="1418"/>
                    </a:lnTo>
                    <a:lnTo>
                      <a:pt x="188" y="1407"/>
                    </a:lnTo>
                    <a:lnTo>
                      <a:pt x="187" y="1398"/>
                    </a:lnTo>
                    <a:lnTo>
                      <a:pt x="191" y="1391"/>
                    </a:lnTo>
                    <a:lnTo>
                      <a:pt x="195" y="1382"/>
                    </a:lnTo>
                    <a:lnTo>
                      <a:pt x="197" y="1380"/>
                    </a:lnTo>
                    <a:lnTo>
                      <a:pt x="202" y="1359"/>
                    </a:lnTo>
                    <a:lnTo>
                      <a:pt x="208" y="1343"/>
                    </a:lnTo>
                    <a:lnTo>
                      <a:pt x="209" y="1336"/>
                    </a:lnTo>
                    <a:lnTo>
                      <a:pt x="209" y="1328"/>
                    </a:lnTo>
                    <a:lnTo>
                      <a:pt x="207" y="1320"/>
                    </a:lnTo>
                    <a:lnTo>
                      <a:pt x="201" y="1309"/>
                    </a:lnTo>
                    <a:lnTo>
                      <a:pt x="190" y="1307"/>
                    </a:lnTo>
                    <a:lnTo>
                      <a:pt x="178" y="1306"/>
                    </a:lnTo>
                    <a:lnTo>
                      <a:pt x="174" y="1304"/>
                    </a:lnTo>
                    <a:lnTo>
                      <a:pt x="168" y="1306"/>
                    </a:lnTo>
                    <a:lnTo>
                      <a:pt x="163" y="1307"/>
                    </a:lnTo>
                    <a:lnTo>
                      <a:pt x="160" y="1309"/>
                    </a:lnTo>
                    <a:lnTo>
                      <a:pt x="149" y="1312"/>
                    </a:lnTo>
                    <a:lnTo>
                      <a:pt x="140" y="1316"/>
                    </a:lnTo>
                    <a:lnTo>
                      <a:pt x="131" y="1323"/>
                    </a:lnTo>
                    <a:lnTo>
                      <a:pt x="122" y="1329"/>
                    </a:lnTo>
                    <a:lnTo>
                      <a:pt x="116" y="1334"/>
                    </a:lnTo>
                    <a:lnTo>
                      <a:pt x="109" y="1337"/>
                    </a:lnTo>
                    <a:lnTo>
                      <a:pt x="102" y="1341"/>
                    </a:lnTo>
                    <a:lnTo>
                      <a:pt x="95" y="1343"/>
                    </a:lnTo>
                    <a:lnTo>
                      <a:pt x="88" y="1346"/>
                    </a:lnTo>
                    <a:lnTo>
                      <a:pt x="81" y="1347"/>
                    </a:lnTo>
                    <a:lnTo>
                      <a:pt x="73" y="1348"/>
                    </a:lnTo>
                    <a:lnTo>
                      <a:pt x="64" y="1348"/>
                    </a:lnTo>
                    <a:lnTo>
                      <a:pt x="1" y="1345"/>
                    </a:lnTo>
                    <a:lnTo>
                      <a:pt x="0" y="741"/>
                    </a:lnTo>
                    <a:lnTo>
                      <a:pt x="0" y="741"/>
                    </a:lnTo>
                    <a:lnTo>
                      <a:pt x="122" y="741"/>
                    </a:lnTo>
                    <a:lnTo>
                      <a:pt x="1517" y="0"/>
                    </a:lnTo>
                    <a:lnTo>
                      <a:pt x="1517" y="0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2">
                <a:extLst>
                  <a:ext uri="{FF2B5EF4-FFF2-40B4-BE49-F238E27FC236}">
                    <a16:creationId xmlns:a16="http://schemas.microsoft.com/office/drawing/2014/main" id="{8003FE8D-622A-4603-A54C-E5137A3FA9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813044" y="3730734"/>
                <a:ext cx="916271" cy="925118"/>
              </a:xfrm>
              <a:custGeom>
                <a:avLst/>
                <a:gdLst>
                  <a:gd name="T0" fmla="*/ 3323 w 3738"/>
                  <a:gd name="T1" fmla="*/ 3575 h 3773"/>
                  <a:gd name="T2" fmla="*/ 632 w 3738"/>
                  <a:gd name="T3" fmla="*/ 1969 h 3773"/>
                  <a:gd name="T4" fmla="*/ 1013 w 3738"/>
                  <a:gd name="T5" fmla="*/ 2117 h 3773"/>
                  <a:gd name="T6" fmla="*/ 1074 w 3738"/>
                  <a:gd name="T7" fmla="*/ 2138 h 3773"/>
                  <a:gd name="T8" fmla="*/ 1976 w 3738"/>
                  <a:gd name="T9" fmla="*/ 2329 h 3773"/>
                  <a:gd name="T10" fmla="*/ 1737 w 3738"/>
                  <a:gd name="T11" fmla="*/ 2382 h 3773"/>
                  <a:gd name="T12" fmla="*/ 1932 w 3738"/>
                  <a:gd name="T13" fmla="*/ 2490 h 3773"/>
                  <a:gd name="T14" fmla="*/ 2503 w 3738"/>
                  <a:gd name="T15" fmla="*/ 2200 h 3773"/>
                  <a:gd name="T16" fmla="*/ 2948 w 3738"/>
                  <a:gd name="T17" fmla="*/ 2080 h 3773"/>
                  <a:gd name="T18" fmla="*/ 3367 w 3738"/>
                  <a:gd name="T19" fmla="*/ 1672 h 3773"/>
                  <a:gd name="T20" fmla="*/ 3300 w 3738"/>
                  <a:gd name="T21" fmla="*/ 1277 h 3773"/>
                  <a:gd name="T22" fmla="*/ 3344 w 3738"/>
                  <a:gd name="T23" fmla="*/ 1156 h 3773"/>
                  <a:gd name="T24" fmla="*/ 3257 w 3738"/>
                  <a:gd name="T25" fmla="*/ 1090 h 3773"/>
                  <a:gd name="T26" fmla="*/ 3056 w 3738"/>
                  <a:gd name="T27" fmla="*/ 1024 h 3773"/>
                  <a:gd name="T28" fmla="*/ 3068 w 3738"/>
                  <a:gd name="T29" fmla="*/ 1173 h 3773"/>
                  <a:gd name="T30" fmla="*/ 3007 w 3738"/>
                  <a:gd name="T31" fmla="*/ 918 h 3773"/>
                  <a:gd name="T32" fmla="*/ 2837 w 3738"/>
                  <a:gd name="T33" fmla="*/ 268 h 3773"/>
                  <a:gd name="T34" fmla="*/ 2439 w 3738"/>
                  <a:gd name="T35" fmla="*/ 363 h 3773"/>
                  <a:gd name="T36" fmla="*/ 2408 w 3738"/>
                  <a:gd name="T37" fmla="*/ 412 h 3773"/>
                  <a:gd name="T38" fmla="*/ 2210 w 3738"/>
                  <a:gd name="T39" fmla="*/ 69 h 3773"/>
                  <a:gd name="T40" fmla="*/ 3025 w 3738"/>
                  <a:gd name="T41" fmla="*/ 221 h 3773"/>
                  <a:gd name="T42" fmla="*/ 3489 w 3738"/>
                  <a:gd name="T43" fmla="*/ 971 h 3773"/>
                  <a:gd name="T44" fmla="*/ 3629 w 3738"/>
                  <a:gd name="T45" fmla="*/ 1617 h 3773"/>
                  <a:gd name="T46" fmla="*/ 3626 w 3738"/>
                  <a:gd name="T47" fmla="*/ 1818 h 3773"/>
                  <a:gd name="T48" fmla="*/ 3722 w 3738"/>
                  <a:gd name="T49" fmla="*/ 2640 h 3773"/>
                  <a:gd name="T50" fmla="*/ 3682 w 3738"/>
                  <a:gd name="T51" fmla="*/ 2201 h 3773"/>
                  <a:gd name="T52" fmla="*/ 3652 w 3738"/>
                  <a:gd name="T53" fmla="*/ 2099 h 3773"/>
                  <a:gd name="T54" fmla="*/ 3558 w 3738"/>
                  <a:gd name="T55" fmla="*/ 2068 h 3773"/>
                  <a:gd name="T56" fmla="*/ 3568 w 3738"/>
                  <a:gd name="T57" fmla="*/ 2285 h 3773"/>
                  <a:gd name="T58" fmla="*/ 3549 w 3738"/>
                  <a:gd name="T59" fmla="*/ 2447 h 3773"/>
                  <a:gd name="T60" fmla="*/ 3637 w 3738"/>
                  <a:gd name="T61" fmla="*/ 2641 h 3773"/>
                  <a:gd name="T62" fmla="*/ 3565 w 3738"/>
                  <a:gd name="T63" fmla="*/ 3106 h 3773"/>
                  <a:gd name="T64" fmla="*/ 3635 w 3738"/>
                  <a:gd name="T65" fmla="*/ 2821 h 3773"/>
                  <a:gd name="T66" fmla="*/ 3549 w 3738"/>
                  <a:gd name="T67" fmla="*/ 2786 h 3773"/>
                  <a:gd name="T68" fmla="*/ 3165 w 3738"/>
                  <a:gd name="T69" fmla="*/ 2761 h 3773"/>
                  <a:gd name="T70" fmla="*/ 2437 w 3738"/>
                  <a:gd name="T71" fmla="*/ 2893 h 3773"/>
                  <a:gd name="T72" fmla="*/ 2317 w 3738"/>
                  <a:gd name="T73" fmla="*/ 2959 h 3773"/>
                  <a:gd name="T74" fmla="*/ 2089 w 3738"/>
                  <a:gd name="T75" fmla="*/ 3023 h 3773"/>
                  <a:gd name="T76" fmla="*/ 2045 w 3738"/>
                  <a:gd name="T77" fmla="*/ 2902 h 3773"/>
                  <a:gd name="T78" fmla="*/ 1819 w 3738"/>
                  <a:gd name="T79" fmla="*/ 3029 h 3773"/>
                  <a:gd name="T80" fmla="*/ 1515 w 3738"/>
                  <a:gd name="T81" fmla="*/ 3135 h 3773"/>
                  <a:gd name="T82" fmla="*/ 1398 w 3738"/>
                  <a:gd name="T83" fmla="*/ 3159 h 3773"/>
                  <a:gd name="T84" fmla="*/ 1408 w 3738"/>
                  <a:gd name="T85" fmla="*/ 3024 h 3773"/>
                  <a:gd name="T86" fmla="*/ 1255 w 3738"/>
                  <a:gd name="T87" fmla="*/ 3137 h 3773"/>
                  <a:gd name="T88" fmla="*/ 1115 w 3738"/>
                  <a:gd name="T89" fmla="*/ 3196 h 3773"/>
                  <a:gd name="T90" fmla="*/ 1114 w 3738"/>
                  <a:gd name="T91" fmla="*/ 3302 h 3773"/>
                  <a:gd name="T92" fmla="*/ 1035 w 3738"/>
                  <a:gd name="T93" fmla="*/ 3489 h 3773"/>
                  <a:gd name="T94" fmla="*/ 845 w 3738"/>
                  <a:gd name="T95" fmla="*/ 3412 h 3773"/>
                  <a:gd name="T96" fmla="*/ 765 w 3738"/>
                  <a:gd name="T97" fmla="*/ 3513 h 3773"/>
                  <a:gd name="T98" fmla="*/ 235 w 3738"/>
                  <a:gd name="T99" fmla="*/ 3641 h 3773"/>
                  <a:gd name="T100" fmla="*/ 22 w 3738"/>
                  <a:gd name="T101" fmla="*/ 3710 h 3773"/>
                  <a:gd name="T102" fmla="*/ 130 w 3738"/>
                  <a:gd name="T103" fmla="*/ 3623 h 3773"/>
                  <a:gd name="T104" fmla="*/ 202 w 3738"/>
                  <a:gd name="T105" fmla="*/ 3398 h 3773"/>
                  <a:gd name="T106" fmla="*/ 218 w 3738"/>
                  <a:gd name="T107" fmla="*/ 3200 h 3773"/>
                  <a:gd name="T108" fmla="*/ 215 w 3738"/>
                  <a:gd name="T109" fmla="*/ 2945 h 3773"/>
                  <a:gd name="T110" fmla="*/ 338 w 3738"/>
                  <a:gd name="T111" fmla="*/ 2823 h 3773"/>
                  <a:gd name="T112" fmla="*/ 192 w 3738"/>
                  <a:gd name="T113" fmla="*/ 2757 h 3773"/>
                  <a:gd name="T114" fmla="*/ 325 w 3738"/>
                  <a:gd name="T115" fmla="*/ 2681 h 3773"/>
                  <a:gd name="T116" fmla="*/ 250 w 3738"/>
                  <a:gd name="T117" fmla="*/ 2641 h 3773"/>
                  <a:gd name="T118" fmla="*/ 202 w 3738"/>
                  <a:gd name="T119" fmla="*/ 2599 h 3773"/>
                  <a:gd name="T120" fmla="*/ 344 w 3738"/>
                  <a:gd name="T121" fmla="*/ 2445 h 3773"/>
                  <a:gd name="T122" fmla="*/ 269 w 3738"/>
                  <a:gd name="T123" fmla="*/ 2381 h 3773"/>
                  <a:gd name="T124" fmla="*/ 376 w 3738"/>
                  <a:gd name="T125" fmla="*/ 2172 h 3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8" h="3773">
                    <a:moveTo>
                      <a:pt x="3449" y="3149"/>
                    </a:moveTo>
                    <a:lnTo>
                      <a:pt x="3445" y="3155"/>
                    </a:lnTo>
                    <a:lnTo>
                      <a:pt x="3443" y="3160"/>
                    </a:lnTo>
                    <a:lnTo>
                      <a:pt x="3440" y="3163"/>
                    </a:lnTo>
                    <a:lnTo>
                      <a:pt x="3437" y="3167"/>
                    </a:lnTo>
                    <a:lnTo>
                      <a:pt x="3435" y="3172"/>
                    </a:lnTo>
                    <a:lnTo>
                      <a:pt x="3433" y="3177"/>
                    </a:lnTo>
                    <a:lnTo>
                      <a:pt x="3429" y="3190"/>
                    </a:lnTo>
                    <a:lnTo>
                      <a:pt x="3425" y="3206"/>
                    </a:lnTo>
                    <a:lnTo>
                      <a:pt x="3422" y="3235"/>
                    </a:lnTo>
                    <a:lnTo>
                      <a:pt x="3420" y="3258"/>
                    </a:lnTo>
                    <a:lnTo>
                      <a:pt x="3416" y="3287"/>
                    </a:lnTo>
                    <a:lnTo>
                      <a:pt x="3413" y="3316"/>
                    </a:lnTo>
                    <a:lnTo>
                      <a:pt x="3411" y="3332"/>
                    </a:lnTo>
                    <a:lnTo>
                      <a:pt x="3409" y="3346"/>
                    </a:lnTo>
                    <a:lnTo>
                      <a:pt x="3407" y="3361"/>
                    </a:lnTo>
                    <a:lnTo>
                      <a:pt x="3403" y="3375"/>
                    </a:lnTo>
                    <a:lnTo>
                      <a:pt x="3397" y="3395"/>
                    </a:lnTo>
                    <a:lnTo>
                      <a:pt x="3388" y="3417"/>
                    </a:lnTo>
                    <a:lnTo>
                      <a:pt x="3382" y="3426"/>
                    </a:lnTo>
                    <a:lnTo>
                      <a:pt x="3376" y="3436"/>
                    </a:lnTo>
                    <a:lnTo>
                      <a:pt x="3370" y="3444"/>
                    </a:lnTo>
                    <a:lnTo>
                      <a:pt x="3363" y="3452"/>
                    </a:lnTo>
                    <a:lnTo>
                      <a:pt x="3357" y="3457"/>
                    </a:lnTo>
                    <a:lnTo>
                      <a:pt x="3351" y="3464"/>
                    </a:lnTo>
                    <a:lnTo>
                      <a:pt x="3346" y="3471"/>
                    </a:lnTo>
                    <a:lnTo>
                      <a:pt x="3340" y="3478"/>
                    </a:lnTo>
                    <a:lnTo>
                      <a:pt x="3335" y="3486"/>
                    </a:lnTo>
                    <a:lnTo>
                      <a:pt x="3330" y="3494"/>
                    </a:lnTo>
                    <a:lnTo>
                      <a:pt x="3327" y="3503"/>
                    </a:lnTo>
                    <a:lnTo>
                      <a:pt x="3323" y="3512"/>
                    </a:lnTo>
                    <a:lnTo>
                      <a:pt x="3321" y="3522"/>
                    </a:lnTo>
                    <a:lnTo>
                      <a:pt x="3319" y="3530"/>
                    </a:lnTo>
                    <a:lnTo>
                      <a:pt x="3317" y="3539"/>
                    </a:lnTo>
                    <a:lnTo>
                      <a:pt x="3317" y="3549"/>
                    </a:lnTo>
                    <a:lnTo>
                      <a:pt x="3319" y="3558"/>
                    </a:lnTo>
                    <a:lnTo>
                      <a:pt x="3321" y="3566"/>
                    </a:lnTo>
                    <a:lnTo>
                      <a:pt x="3323" y="3575"/>
                    </a:lnTo>
                    <a:lnTo>
                      <a:pt x="3328" y="3583"/>
                    </a:lnTo>
                    <a:lnTo>
                      <a:pt x="3333" y="3588"/>
                    </a:lnTo>
                    <a:lnTo>
                      <a:pt x="3337" y="3592"/>
                    </a:lnTo>
                    <a:lnTo>
                      <a:pt x="3343" y="3595"/>
                    </a:lnTo>
                    <a:lnTo>
                      <a:pt x="3349" y="3597"/>
                    </a:lnTo>
                    <a:lnTo>
                      <a:pt x="3355" y="3597"/>
                    </a:lnTo>
                    <a:lnTo>
                      <a:pt x="3361" y="3597"/>
                    </a:lnTo>
                    <a:lnTo>
                      <a:pt x="3367" y="3596"/>
                    </a:lnTo>
                    <a:lnTo>
                      <a:pt x="3373" y="3593"/>
                    </a:lnTo>
                    <a:lnTo>
                      <a:pt x="3378" y="3591"/>
                    </a:lnTo>
                    <a:lnTo>
                      <a:pt x="3384" y="3588"/>
                    </a:lnTo>
                    <a:lnTo>
                      <a:pt x="3389" y="3584"/>
                    </a:lnTo>
                    <a:lnTo>
                      <a:pt x="3394" y="3579"/>
                    </a:lnTo>
                    <a:lnTo>
                      <a:pt x="3397" y="3575"/>
                    </a:lnTo>
                    <a:lnTo>
                      <a:pt x="3401" y="3569"/>
                    </a:lnTo>
                    <a:lnTo>
                      <a:pt x="3403" y="3563"/>
                    </a:lnTo>
                    <a:lnTo>
                      <a:pt x="3404" y="3557"/>
                    </a:lnTo>
                    <a:lnTo>
                      <a:pt x="3437" y="3324"/>
                    </a:lnTo>
                    <a:lnTo>
                      <a:pt x="3440" y="3304"/>
                    </a:lnTo>
                    <a:lnTo>
                      <a:pt x="3441" y="3282"/>
                    </a:lnTo>
                    <a:lnTo>
                      <a:pt x="3442" y="3261"/>
                    </a:lnTo>
                    <a:lnTo>
                      <a:pt x="3444" y="3241"/>
                    </a:lnTo>
                    <a:lnTo>
                      <a:pt x="3447" y="3226"/>
                    </a:lnTo>
                    <a:lnTo>
                      <a:pt x="3450" y="3209"/>
                    </a:lnTo>
                    <a:lnTo>
                      <a:pt x="3452" y="3193"/>
                    </a:lnTo>
                    <a:lnTo>
                      <a:pt x="3454" y="3176"/>
                    </a:lnTo>
                    <a:lnTo>
                      <a:pt x="3449" y="3149"/>
                    </a:lnTo>
                    <a:close/>
                    <a:moveTo>
                      <a:pt x="398" y="2107"/>
                    </a:moveTo>
                    <a:lnTo>
                      <a:pt x="539" y="2029"/>
                    </a:lnTo>
                    <a:lnTo>
                      <a:pt x="543" y="2028"/>
                    </a:lnTo>
                    <a:lnTo>
                      <a:pt x="546" y="2026"/>
                    </a:lnTo>
                    <a:lnTo>
                      <a:pt x="559" y="2020"/>
                    </a:lnTo>
                    <a:lnTo>
                      <a:pt x="572" y="2013"/>
                    </a:lnTo>
                    <a:lnTo>
                      <a:pt x="585" y="2006"/>
                    </a:lnTo>
                    <a:lnTo>
                      <a:pt x="597" y="1998"/>
                    </a:lnTo>
                    <a:lnTo>
                      <a:pt x="610" y="1988"/>
                    </a:lnTo>
                    <a:lnTo>
                      <a:pt x="620" y="1979"/>
                    </a:lnTo>
                    <a:lnTo>
                      <a:pt x="632" y="1969"/>
                    </a:lnTo>
                    <a:lnTo>
                      <a:pt x="641" y="1959"/>
                    </a:lnTo>
                    <a:lnTo>
                      <a:pt x="689" y="1909"/>
                    </a:lnTo>
                    <a:lnTo>
                      <a:pt x="755" y="1829"/>
                    </a:lnTo>
                    <a:lnTo>
                      <a:pt x="755" y="1829"/>
                    </a:lnTo>
                    <a:lnTo>
                      <a:pt x="775" y="1861"/>
                    </a:lnTo>
                    <a:lnTo>
                      <a:pt x="798" y="1893"/>
                    </a:lnTo>
                    <a:lnTo>
                      <a:pt x="822" y="1924"/>
                    </a:lnTo>
                    <a:lnTo>
                      <a:pt x="848" y="1954"/>
                    </a:lnTo>
                    <a:lnTo>
                      <a:pt x="860" y="1967"/>
                    </a:lnTo>
                    <a:lnTo>
                      <a:pt x="873" y="1979"/>
                    </a:lnTo>
                    <a:lnTo>
                      <a:pt x="886" y="1990"/>
                    </a:lnTo>
                    <a:lnTo>
                      <a:pt x="897" y="2000"/>
                    </a:lnTo>
                    <a:lnTo>
                      <a:pt x="908" y="2008"/>
                    </a:lnTo>
                    <a:lnTo>
                      <a:pt x="920" y="2015"/>
                    </a:lnTo>
                    <a:lnTo>
                      <a:pt x="929" y="2020"/>
                    </a:lnTo>
                    <a:lnTo>
                      <a:pt x="939" y="2022"/>
                    </a:lnTo>
                    <a:lnTo>
                      <a:pt x="940" y="2023"/>
                    </a:lnTo>
                    <a:lnTo>
                      <a:pt x="942" y="2025"/>
                    </a:lnTo>
                    <a:lnTo>
                      <a:pt x="942" y="2027"/>
                    </a:lnTo>
                    <a:lnTo>
                      <a:pt x="941" y="2029"/>
                    </a:lnTo>
                    <a:lnTo>
                      <a:pt x="940" y="2031"/>
                    </a:lnTo>
                    <a:lnTo>
                      <a:pt x="939" y="2032"/>
                    </a:lnTo>
                    <a:lnTo>
                      <a:pt x="937" y="2033"/>
                    </a:lnTo>
                    <a:lnTo>
                      <a:pt x="937" y="2035"/>
                    </a:lnTo>
                    <a:lnTo>
                      <a:pt x="933" y="2040"/>
                    </a:lnTo>
                    <a:lnTo>
                      <a:pt x="930" y="2046"/>
                    </a:lnTo>
                    <a:lnTo>
                      <a:pt x="929" y="2046"/>
                    </a:lnTo>
                    <a:lnTo>
                      <a:pt x="928" y="2047"/>
                    </a:lnTo>
                    <a:lnTo>
                      <a:pt x="929" y="2047"/>
                    </a:lnTo>
                    <a:lnTo>
                      <a:pt x="929" y="2048"/>
                    </a:lnTo>
                    <a:lnTo>
                      <a:pt x="933" y="2049"/>
                    </a:lnTo>
                    <a:lnTo>
                      <a:pt x="937" y="2051"/>
                    </a:lnTo>
                    <a:lnTo>
                      <a:pt x="947" y="2052"/>
                    </a:lnTo>
                    <a:lnTo>
                      <a:pt x="952" y="2053"/>
                    </a:lnTo>
                    <a:lnTo>
                      <a:pt x="1041" y="2118"/>
                    </a:lnTo>
                    <a:lnTo>
                      <a:pt x="1031" y="2119"/>
                    </a:lnTo>
                    <a:lnTo>
                      <a:pt x="1022" y="2118"/>
                    </a:lnTo>
                    <a:lnTo>
                      <a:pt x="1013" y="2117"/>
                    </a:lnTo>
                    <a:lnTo>
                      <a:pt x="1003" y="2113"/>
                    </a:lnTo>
                    <a:lnTo>
                      <a:pt x="993" y="2111"/>
                    </a:lnTo>
                    <a:lnTo>
                      <a:pt x="983" y="2110"/>
                    </a:lnTo>
                    <a:lnTo>
                      <a:pt x="979" y="2108"/>
                    </a:lnTo>
                    <a:lnTo>
                      <a:pt x="974" y="2110"/>
                    </a:lnTo>
                    <a:lnTo>
                      <a:pt x="969" y="2110"/>
                    </a:lnTo>
                    <a:lnTo>
                      <a:pt x="964" y="2111"/>
                    </a:lnTo>
                    <a:lnTo>
                      <a:pt x="963" y="2113"/>
                    </a:lnTo>
                    <a:lnTo>
                      <a:pt x="962" y="2114"/>
                    </a:lnTo>
                    <a:lnTo>
                      <a:pt x="962" y="2117"/>
                    </a:lnTo>
                    <a:lnTo>
                      <a:pt x="963" y="2120"/>
                    </a:lnTo>
                    <a:lnTo>
                      <a:pt x="968" y="2127"/>
                    </a:lnTo>
                    <a:lnTo>
                      <a:pt x="975" y="2135"/>
                    </a:lnTo>
                    <a:lnTo>
                      <a:pt x="990" y="2151"/>
                    </a:lnTo>
                    <a:lnTo>
                      <a:pt x="1001" y="2160"/>
                    </a:lnTo>
                    <a:lnTo>
                      <a:pt x="1015" y="2168"/>
                    </a:lnTo>
                    <a:lnTo>
                      <a:pt x="1028" y="2176"/>
                    </a:lnTo>
                    <a:lnTo>
                      <a:pt x="1035" y="2178"/>
                    </a:lnTo>
                    <a:lnTo>
                      <a:pt x="1043" y="2179"/>
                    </a:lnTo>
                    <a:lnTo>
                      <a:pt x="1051" y="2180"/>
                    </a:lnTo>
                    <a:lnTo>
                      <a:pt x="1060" y="2180"/>
                    </a:lnTo>
                    <a:lnTo>
                      <a:pt x="1080" y="2181"/>
                    </a:lnTo>
                    <a:lnTo>
                      <a:pt x="1098" y="2180"/>
                    </a:lnTo>
                    <a:lnTo>
                      <a:pt x="1101" y="2180"/>
                    </a:lnTo>
                    <a:lnTo>
                      <a:pt x="1103" y="2179"/>
                    </a:lnTo>
                    <a:lnTo>
                      <a:pt x="1104" y="2178"/>
                    </a:lnTo>
                    <a:lnTo>
                      <a:pt x="1104" y="2176"/>
                    </a:lnTo>
                    <a:lnTo>
                      <a:pt x="1104" y="2173"/>
                    </a:lnTo>
                    <a:lnTo>
                      <a:pt x="1102" y="2170"/>
                    </a:lnTo>
                    <a:lnTo>
                      <a:pt x="1097" y="2166"/>
                    </a:lnTo>
                    <a:lnTo>
                      <a:pt x="1093" y="2161"/>
                    </a:lnTo>
                    <a:lnTo>
                      <a:pt x="1077" y="2156"/>
                    </a:lnTo>
                    <a:lnTo>
                      <a:pt x="1063" y="2147"/>
                    </a:lnTo>
                    <a:lnTo>
                      <a:pt x="1055" y="2138"/>
                    </a:lnTo>
                    <a:lnTo>
                      <a:pt x="1048" y="2130"/>
                    </a:lnTo>
                    <a:lnTo>
                      <a:pt x="1055" y="2131"/>
                    </a:lnTo>
                    <a:lnTo>
                      <a:pt x="1063" y="2133"/>
                    </a:lnTo>
                    <a:lnTo>
                      <a:pt x="1074" y="2138"/>
                    </a:lnTo>
                    <a:lnTo>
                      <a:pt x="1084" y="2143"/>
                    </a:lnTo>
                    <a:lnTo>
                      <a:pt x="1107" y="2153"/>
                    </a:lnTo>
                    <a:lnTo>
                      <a:pt x="1125" y="2160"/>
                    </a:lnTo>
                    <a:lnTo>
                      <a:pt x="1167" y="2174"/>
                    </a:lnTo>
                    <a:lnTo>
                      <a:pt x="1208" y="2191"/>
                    </a:lnTo>
                    <a:lnTo>
                      <a:pt x="1229" y="2199"/>
                    </a:lnTo>
                    <a:lnTo>
                      <a:pt x="1250" y="2207"/>
                    </a:lnTo>
                    <a:lnTo>
                      <a:pt x="1271" y="2214"/>
                    </a:lnTo>
                    <a:lnTo>
                      <a:pt x="1292" y="2220"/>
                    </a:lnTo>
                    <a:lnTo>
                      <a:pt x="1329" y="2230"/>
                    </a:lnTo>
                    <a:lnTo>
                      <a:pt x="1383" y="2246"/>
                    </a:lnTo>
                    <a:lnTo>
                      <a:pt x="1410" y="2255"/>
                    </a:lnTo>
                    <a:lnTo>
                      <a:pt x="1435" y="2264"/>
                    </a:lnTo>
                    <a:lnTo>
                      <a:pt x="1444" y="2269"/>
                    </a:lnTo>
                    <a:lnTo>
                      <a:pt x="1452" y="2273"/>
                    </a:lnTo>
                    <a:lnTo>
                      <a:pt x="1458" y="2278"/>
                    </a:lnTo>
                    <a:lnTo>
                      <a:pt x="1463" y="2282"/>
                    </a:lnTo>
                    <a:lnTo>
                      <a:pt x="1499" y="2286"/>
                    </a:lnTo>
                    <a:lnTo>
                      <a:pt x="1536" y="2293"/>
                    </a:lnTo>
                    <a:lnTo>
                      <a:pt x="1554" y="2297"/>
                    </a:lnTo>
                    <a:lnTo>
                      <a:pt x="1573" y="2299"/>
                    </a:lnTo>
                    <a:lnTo>
                      <a:pt x="1592" y="2302"/>
                    </a:lnTo>
                    <a:lnTo>
                      <a:pt x="1611" y="2303"/>
                    </a:lnTo>
                    <a:lnTo>
                      <a:pt x="1646" y="2303"/>
                    </a:lnTo>
                    <a:lnTo>
                      <a:pt x="1683" y="2302"/>
                    </a:lnTo>
                    <a:lnTo>
                      <a:pt x="1719" y="2300"/>
                    </a:lnTo>
                    <a:lnTo>
                      <a:pt x="1755" y="2298"/>
                    </a:lnTo>
                    <a:lnTo>
                      <a:pt x="1793" y="2298"/>
                    </a:lnTo>
                    <a:lnTo>
                      <a:pt x="1828" y="2299"/>
                    </a:lnTo>
                    <a:lnTo>
                      <a:pt x="1846" y="2300"/>
                    </a:lnTo>
                    <a:lnTo>
                      <a:pt x="1865" y="2303"/>
                    </a:lnTo>
                    <a:lnTo>
                      <a:pt x="1881" y="2305"/>
                    </a:lnTo>
                    <a:lnTo>
                      <a:pt x="1899" y="2309"/>
                    </a:lnTo>
                    <a:lnTo>
                      <a:pt x="1916" y="2312"/>
                    </a:lnTo>
                    <a:lnTo>
                      <a:pt x="1934" y="2316"/>
                    </a:lnTo>
                    <a:lnTo>
                      <a:pt x="1952" y="2319"/>
                    </a:lnTo>
                    <a:lnTo>
                      <a:pt x="1969" y="2324"/>
                    </a:lnTo>
                    <a:lnTo>
                      <a:pt x="1976" y="2329"/>
                    </a:lnTo>
                    <a:lnTo>
                      <a:pt x="1986" y="2335"/>
                    </a:lnTo>
                    <a:lnTo>
                      <a:pt x="1998" y="2344"/>
                    </a:lnTo>
                    <a:lnTo>
                      <a:pt x="2009" y="2355"/>
                    </a:lnTo>
                    <a:lnTo>
                      <a:pt x="2020" y="2366"/>
                    </a:lnTo>
                    <a:lnTo>
                      <a:pt x="2027" y="2377"/>
                    </a:lnTo>
                    <a:lnTo>
                      <a:pt x="2029" y="2382"/>
                    </a:lnTo>
                    <a:lnTo>
                      <a:pt x="2030" y="2387"/>
                    </a:lnTo>
                    <a:lnTo>
                      <a:pt x="2030" y="2391"/>
                    </a:lnTo>
                    <a:lnTo>
                      <a:pt x="2029" y="2395"/>
                    </a:lnTo>
                    <a:lnTo>
                      <a:pt x="2026" y="2398"/>
                    </a:lnTo>
                    <a:lnTo>
                      <a:pt x="2022" y="2399"/>
                    </a:lnTo>
                    <a:lnTo>
                      <a:pt x="2018" y="2399"/>
                    </a:lnTo>
                    <a:lnTo>
                      <a:pt x="2014" y="2398"/>
                    </a:lnTo>
                    <a:lnTo>
                      <a:pt x="2003" y="2392"/>
                    </a:lnTo>
                    <a:lnTo>
                      <a:pt x="1994" y="2384"/>
                    </a:lnTo>
                    <a:lnTo>
                      <a:pt x="1983" y="2376"/>
                    </a:lnTo>
                    <a:lnTo>
                      <a:pt x="1974" y="2370"/>
                    </a:lnTo>
                    <a:lnTo>
                      <a:pt x="1971" y="2368"/>
                    </a:lnTo>
                    <a:lnTo>
                      <a:pt x="1967" y="2366"/>
                    </a:lnTo>
                    <a:lnTo>
                      <a:pt x="1963" y="2368"/>
                    </a:lnTo>
                    <a:lnTo>
                      <a:pt x="1960" y="2370"/>
                    </a:lnTo>
                    <a:lnTo>
                      <a:pt x="1953" y="2378"/>
                    </a:lnTo>
                    <a:lnTo>
                      <a:pt x="1945" y="2383"/>
                    </a:lnTo>
                    <a:lnTo>
                      <a:pt x="1935" y="2388"/>
                    </a:lnTo>
                    <a:lnTo>
                      <a:pt x="1927" y="2389"/>
                    </a:lnTo>
                    <a:lnTo>
                      <a:pt x="1918" y="2390"/>
                    </a:lnTo>
                    <a:lnTo>
                      <a:pt x="1908" y="2389"/>
                    </a:lnTo>
                    <a:lnTo>
                      <a:pt x="1899" y="2387"/>
                    </a:lnTo>
                    <a:lnTo>
                      <a:pt x="1888" y="2384"/>
                    </a:lnTo>
                    <a:lnTo>
                      <a:pt x="1867" y="2378"/>
                    </a:lnTo>
                    <a:lnTo>
                      <a:pt x="1846" y="2371"/>
                    </a:lnTo>
                    <a:lnTo>
                      <a:pt x="1834" y="2369"/>
                    </a:lnTo>
                    <a:lnTo>
                      <a:pt x="1824" y="2368"/>
                    </a:lnTo>
                    <a:lnTo>
                      <a:pt x="1812" y="2366"/>
                    </a:lnTo>
                    <a:lnTo>
                      <a:pt x="1800" y="2368"/>
                    </a:lnTo>
                    <a:lnTo>
                      <a:pt x="1779" y="2371"/>
                    </a:lnTo>
                    <a:lnTo>
                      <a:pt x="1758" y="2377"/>
                    </a:lnTo>
                    <a:lnTo>
                      <a:pt x="1737" y="2382"/>
                    </a:lnTo>
                    <a:lnTo>
                      <a:pt x="1715" y="2384"/>
                    </a:lnTo>
                    <a:lnTo>
                      <a:pt x="1705" y="2384"/>
                    </a:lnTo>
                    <a:lnTo>
                      <a:pt x="1694" y="2383"/>
                    </a:lnTo>
                    <a:lnTo>
                      <a:pt x="1684" y="2381"/>
                    </a:lnTo>
                    <a:lnTo>
                      <a:pt x="1674" y="2378"/>
                    </a:lnTo>
                    <a:lnTo>
                      <a:pt x="1665" y="2375"/>
                    </a:lnTo>
                    <a:lnTo>
                      <a:pt x="1656" y="2372"/>
                    </a:lnTo>
                    <a:lnTo>
                      <a:pt x="1647" y="2371"/>
                    </a:lnTo>
                    <a:lnTo>
                      <a:pt x="1639" y="2370"/>
                    </a:lnTo>
                    <a:lnTo>
                      <a:pt x="1639" y="2376"/>
                    </a:lnTo>
                    <a:lnTo>
                      <a:pt x="1641" y="2383"/>
                    </a:lnTo>
                    <a:lnTo>
                      <a:pt x="1645" y="2390"/>
                    </a:lnTo>
                    <a:lnTo>
                      <a:pt x="1648" y="2397"/>
                    </a:lnTo>
                    <a:lnTo>
                      <a:pt x="1656" y="2412"/>
                    </a:lnTo>
                    <a:lnTo>
                      <a:pt x="1660" y="2425"/>
                    </a:lnTo>
                    <a:lnTo>
                      <a:pt x="1663" y="2454"/>
                    </a:lnTo>
                    <a:lnTo>
                      <a:pt x="1666" y="2478"/>
                    </a:lnTo>
                    <a:lnTo>
                      <a:pt x="1668" y="2483"/>
                    </a:lnTo>
                    <a:lnTo>
                      <a:pt x="1671" y="2488"/>
                    </a:lnTo>
                    <a:lnTo>
                      <a:pt x="1674" y="2491"/>
                    </a:lnTo>
                    <a:lnTo>
                      <a:pt x="1679" y="2495"/>
                    </a:lnTo>
                    <a:lnTo>
                      <a:pt x="1684" y="2498"/>
                    </a:lnTo>
                    <a:lnTo>
                      <a:pt x="1691" y="2500"/>
                    </a:lnTo>
                    <a:lnTo>
                      <a:pt x="1699" y="2501"/>
                    </a:lnTo>
                    <a:lnTo>
                      <a:pt x="1707" y="2502"/>
                    </a:lnTo>
                    <a:lnTo>
                      <a:pt x="1723" y="2501"/>
                    </a:lnTo>
                    <a:lnTo>
                      <a:pt x="1737" y="2498"/>
                    </a:lnTo>
                    <a:lnTo>
                      <a:pt x="1751" y="2496"/>
                    </a:lnTo>
                    <a:lnTo>
                      <a:pt x="1765" y="2493"/>
                    </a:lnTo>
                    <a:lnTo>
                      <a:pt x="1780" y="2490"/>
                    </a:lnTo>
                    <a:lnTo>
                      <a:pt x="1794" y="2487"/>
                    </a:lnTo>
                    <a:lnTo>
                      <a:pt x="1808" y="2486"/>
                    </a:lnTo>
                    <a:lnTo>
                      <a:pt x="1824" y="2484"/>
                    </a:lnTo>
                    <a:lnTo>
                      <a:pt x="1844" y="2486"/>
                    </a:lnTo>
                    <a:lnTo>
                      <a:pt x="1864" y="2488"/>
                    </a:lnTo>
                    <a:lnTo>
                      <a:pt x="1884" y="2490"/>
                    </a:lnTo>
                    <a:lnTo>
                      <a:pt x="1905" y="2491"/>
                    </a:lnTo>
                    <a:lnTo>
                      <a:pt x="1932" y="2490"/>
                    </a:lnTo>
                    <a:lnTo>
                      <a:pt x="1959" y="2487"/>
                    </a:lnTo>
                    <a:lnTo>
                      <a:pt x="1987" y="2483"/>
                    </a:lnTo>
                    <a:lnTo>
                      <a:pt x="2015" y="2481"/>
                    </a:lnTo>
                    <a:lnTo>
                      <a:pt x="2029" y="2480"/>
                    </a:lnTo>
                    <a:lnTo>
                      <a:pt x="2042" y="2477"/>
                    </a:lnTo>
                    <a:lnTo>
                      <a:pt x="2054" y="2473"/>
                    </a:lnTo>
                    <a:lnTo>
                      <a:pt x="2066" y="2468"/>
                    </a:lnTo>
                    <a:lnTo>
                      <a:pt x="2076" y="2463"/>
                    </a:lnTo>
                    <a:lnTo>
                      <a:pt x="2088" y="2460"/>
                    </a:lnTo>
                    <a:lnTo>
                      <a:pt x="2100" y="2456"/>
                    </a:lnTo>
                    <a:lnTo>
                      <a:pt x="2113" y="2455"/>
                    </a:lnTo>
                    <a:lnTo>
                      <a:pt x="2123" y="2450"/>
                    </a:lnTo>
                    <a:lnTo>
                      <a:pt x="2134" y="2443"/>
                    </a:lnTo>
                    <a:lnTo>
                      <a:pt x="2144" y="2436"/>
                    </a:lnTo>
                    <a:lnTo>
                      <a:pt x="2155" y="2427"/>
                    </a:lnTo>
                    <a:lnTo>
                      <a:pt x="2176" y="2407"/>
                    </a:lnTo>
                    <a:lnTo>
                      <a:pt x="2195" y="2383"/>
                    </a:lnTo>
                    <a:lnTo>
                      <a:pt x="2215" y="2359"/>
                    </a:lnTo>
                    <a:lnTo>
                      <a:pt x="2234" y="2336"/>
                    </a:lnTo>
                    <a:lnTo>
                      <a:pt x="2251" y="2315"/>
                    </a:lnTo>
                    <a:lnTo>
                      <a:pt x="2268" y="2296"/>
                    </a:lnTo>
                    <a:lnTo>
                      <a:pt x="2289" y="2278"/>
                    </a:lnTo>
                    <a:lnTo>
                      <a:pt x="2310" y="2262"/>
                    </a:lnTo>
                    <a:lnTo>
                      <a:pt x="2332" y="2246"/>
                    </a:lnTo>
                    <a:lnTo>
                      <a:pt x="2357" y="2233"/>
                    </a:lnTo>
                    <a:lnTo>
                      <a:pt x="2376" y="2223"/>
                    </a:lnTo>
                    <a:lnTo>
                      <a:pt x="2401" y="2210"/>
                    </a:lnTo>
                    <a:lnTo>
                      <a:pt x="2412" y="2204"/>
                    </a:lnTo>
                    <a:lnTo>
                      <a:pt x="2424" y="2198"/>
                    </a:lnTo>
                    <a:lnTo>
                      <a:pt x="2435" y="2194"/>
                    </a:lnTo>
                    <a:lnTo>
                      <a:pt x="2443" y="2193"/>
                    </a:lnTo>
                    <a:lnTo>
                      <a:pt x="2451" y="2200"/>
                    </a:lnTo>
                    <a:lnTo>
                      <a:pt x="2459" y="2205"/>
                    </a:lnTo>
                    <a:lnTo>
                      <a:pt x="2468" y="2207"/>
                    </a:lnTo>
                    <a:lnTo>
                      <a:pt x="2476" y="2209"/>
                    </a:lnTo>
                    <a:lnTo>
                      <a:pt x="2485" y="2207"/>
                    </a:lnTo>
                    <a:lnTo>
                      <a:pt x="2493" y="2204"/>
                    </a:lnTo>
                    <a:lnTo>
                      <a:pt x="2503" y="2200"/>
                    </a:lnTo>
                    <a:lnTo>
                      <a:pt x="2512" y="2194"/>
                    </a:lnTo>
                    <a:lnTo>
                      <a:pt x="2521" y="2190"/>
                    </a:lnTo>
                    <a:lnTo>
                      <a:pt x="2529" y="2185"/>
                    </a:lnTo>
                    <a:lnTo>
                      <a:pt x="2537" y="2181"/>
                    </a:lnTo>
                    <a:lnTo>
                      <a:pt x="2545" y="2179"/>
                    </a:lnTo>
                    <a:lnTo>
                      <a:pt x="2563" y="2176"/>
                    </a:lnTo>
                    <a:lnTo>
                      <a:pt x="2579" y="2172"/>
                    </a:lnTo>
                    <a:lnTo>
                      <a:pt x="2596" y="2170"/>
                    </a:lnTo>
                    <a:lnTo>
                      <a:pt x="2612" y="2166"/>
                    </a:lnTo>
                    <a:lnTo>
                      <a:pt x="2620" y="2163"/>
                    </a:lnTo>
                    <a:lnTo>
                      <a:pt x="2629" y="2159"/>
                    </a:lnTo>
                    <a:lnTo>
                      <a:pt x="2637" y="2156"/>
                    </a:lnTo>
                    <a:lnTo>
                      <a:pt x="2645" y="2150"/>
                    </a:lnTo>
                    <a:lnTo>
                      <a:pt x="2652" y="2145"/>
                    </a:lnTo>
                    <a:lnTo>
                      <a:pt x="2659" y="2141"/>
                    </a:lnTo>
                    <a:lnTo>
                      <a:pt x="2666" y="2139"/>
                    </a:lnTo>
                    <a:lnTo>
                      <a:pt x="2672" y="2138"/>
                    </a:lnTo>
                    <a:lnTo>
                      <a:pt x="2679" y="2138"/>
                    </a:lnTo>
                    <a:lnTo>
                      <a:pt x="2686" y="2139"/>
                    </a:lnTo>
                    <a:lnTo>
                      <a:pt x="2693" y="2141"/>
                    </a:lnTo>
                    <a:lnTo>
                      <a:pt x="2702" y="2144"/>
                    </a:lnTo>
                    <a:lnTo>
                      <a:pt x="2712" y="2147"/>
                    </a:lnTo>
                    <a:lnTo>
                      <a:pt x="2723" y="2150"/>
                    </a:lnTo>
                    <a:lnTo>
                      <a:pt x="2733" y="2151"/>
                    </a:lnTo>
                    <a:lnTo>
                      <a:pt x="2743" y="2152"/>
                    </a:lnTo>
                    <a:lnTo>
                      <a:pt x="2763" y="2151"/>
                    </a:lnTo>
                    <a:lnTo>
                      <a:pt x="2785" y="2150"/>
                    </a:lnTo>
                    <a:lnTo>
                      <a:pt x="2796" y="2144"/>
                    </a:lnTo>
                    <a:lnTo>
                      <a:pt x="2806" y="2139"/>
                    </a:lnTo>
                    <a:lnTo>
                      <a:pt x="2818" y="2135"/>
                    </a:lnTo>
                    <a:lnTo>
                      <a:pt x="2830" y="2132"/>
                    </a:lnTo>
                    <a:lnTo>
                      <a:pt x="2841" y="2128"/>
                    </a:lnTo>
                    <a:lnTo>
                      <a:pt x="2854" y="2125"/>
                    </a:lnTo>
                    <a:lnTo>
                      <a:pt x="2865" y="2120"/>
                    </a:lnTo>
                    <a:lnTo>
                      <a:pt x="2877" y="2115"/>
                    </a:lnTo>
                    <a:lnTo>
                      <a:pt x="2904" y="2100"/>
                    </a:lnTo>
                    <a:lnTo>
                      <a:pt x="2934" y="2087"/>
                    </a:lnTo>
                    <a:lnTo>
                      <a:pt x="2948" y="2080"/>
                    </a:lnTo>
                    <a:lnTo>
                      <a:pt x="2964" y="2075"/>
                    </a:lnTo>
                    <a:lnTo>
                      <a:pt x="2979" y="2071"/>
                    </a:lnTo>
                    <a:lnTo>
                      <a:pt x="2994" y="2066"/>
                    </a:lnTo>
                    <a:lnTo>
                      <a:pt x="3006" y="2064"/>
                    </a:lnTo>
                    <a:lnTo>
                      <a:pt x="3018" y="2064"/>
                    </a:lnTo>
                    <a:lnTo>
                      <a:pt x="3028" y="2065"/>
                    </a:lnTo>
                    <a:lnTo>
                      <a:pt x="3040" y="2066"/>
                    </a:lnTo>
                    <a:lnTo>
                      <a:pt x="3047" y="2066"/>
                    </a:lnTo>
                    <a:lnTo>
                      <a:pt x="3053" y="2066"/>
                    </a:lnTo>
                    <a:lnTo>
                      <a:pt x="3060" y="2064"/>
                    </a:lnTo>
                    <a:lnTo>
                      <a:pt x="3066" y="2061"/>
                    </a:lnTo>
                    <a:lnTo>
                      <a:pt x="3078" y="2055"/>
                    </a:lnTo>
                    <a:lnTo>
                      <a:pt x="3091" y="2053"/>
                    </a:lnTo>
                    <a:lnTo>
                      <a:pt x="3116" y="2034"/>
                    </a:lnTo>
                    <a:lnTo>
                      <a:pt x="3143" y="2018"/>
                    </a:lnTo>
                    <a:lnTo>
                      <a:pt x="3169" y="2002"/>
                    </a:lnTo>
                    <a:lnTo>
                      <a:pt x="3195" y="1988"/>
                    </a:lnTo>
                    <a:lnTo>
                      <a:pt x="3208" y="1981"/>
                    </a:lnTo>
                    <a:lnTo>
                      <a:pt x="3221" y="1973"/>
                    </a:lnTo>
                    <a:lnTo>
                      <a:pt x="3233" y="1965"/>
                    </a:lnTo>
                    <a:lnTo>
                      <a:pt x="3244" y="1955"/>
                    </a:lnTo>
                    <a:lnTo>
                      <a:pt x="3256" y="1945"/>
                    </a:lnTo>
                    <a:lnTo>
                      <a:pt x="3268" y="1934"/>
                    </a:lnTo>
                    <a:lnTo>
                      <a:pt x="3279" y="1921"/>
                    </a:lnTo>
                    <a:lnTo>
                      <a:pt x="3289" y="1907"/>
                    </a:lnTo>
                    <a:lnTo>
                      <a:pt x="3310" y="1884"/>
                    </a:lnTo>
                    <a:lnTo>
                      <a:pt x="3333" y="1862"/>
                    </a:lnTo>
                    <a:lnTo>
                      <a:pt x="3343" y="1850"/>
                    </a:lnTo>
                    <a:lnTo>
                      <a:pt x="3351" y="1837"/>
                    </a:lnTo>
                    <a:lnTo>
                      <a:pt x="3355" y="1830"/>
                    </a:lnTo>
                    <a:lnTo>
                      <a:pt x="3358" y="1824"/>
                    </a:lnTo>
                    <a:lnTo>
                      <a:pt x="3361" y="1816"/>
                    </a:lnTo>
                    <a:lnTo>
                      <a:pt x="3362" y="1809"/>
                    </a:lnTo>
                    <a:lnTo>
                      <a:pt x="3366" y="1777"/>
                    </a:lnTo>
                    <a:lnTo>
                      <a:pt x="3367" y="1742"/>
                    </a:lnTo>
                    <a:lnTo>
                      <a:pt x="3367" y="1708"/>
                    </a:lnTo>
                    <a:lnTo>
                      <a:pt x="3364" y="1677"/>
                    </a:lnTo>
                    <a:lnTo>
                      <a:pt x="3367" y="1672"/>
                    </a:lnTo>
                    <a:lnTo>
                      <a:pt x="3368" y="1666"/>
                    </a:lnTo>
                    <a:lnTo>
                      <a:pt x="3368" y="1659"/>
                    </a:lnTo>
                    <a:lnTo>
                      <a:pt x="3368" y="1651"/>
                    </a:lnTo>
                    <a:lnTo>
                      <a:pt x="3367" y="1632"/>
                    </a:lnTo>
                    <a:lnTo>
                      <a:pt x="3363" y="1612"/>
                    </a:lnTo>
                    <a:lnTo>
                      <a:pt x="3355" y="1573"/>
                    </a:lnTo>
                    <a:lnTo>
                      <a:pt x="3348" y="1544"/>
                    </a:lnTo>
                    <a:lnTo>
                      <a:pt x="3344" y="1524"/>
                    </a:lnTo>
                    <a:lnTo>
                      <a:pt x="3341" y="1500"/>
                    </a:lnTo>
                    <a:lnTo>
                      <a:pt x="3338" y="1474"/>
                    </a:lnTo>
                    <a:lnTo>
                      <a:pt x="3337" y="1446"/>
                    </a:lnTo>
                    <a:lnTo>
                      <a:pt x="3338" y="1419"/>
                    </a:lnTo>
                    <a:lnTo>
                      <a:pt x="3340" y="1392"/>
                    </a:lnTo>
                    <a:lnTo>
                      <a:pt x="3341" y="1380"/>
                    </a:lnTo>
                    <a:lnTo>
                      <a:pt x="3343" y="1369"/>
                    </a:lnTo>
                    <a:lnTo>
                      <a:pt x="3347" y="1359"/>
                    </a:lnTo>
                    <a:lnTo>
                      <a:pt x="3349" y="1350"/>
                    </a:lnTo>
                    <a:lnTo>
                      <a:pt x="3358" y="1332"/>
                    </a:lnTo>
                    <a:lnTo>
                      <a:pt x="3371" y="1306"/>
                    </a:lnTo>
                    <a:lnTo>
                      <a:pt x="3374" y="1299"/>
                    </a:lnTo>
                    <a:lnTo>
                      <a:pt x="3376" y="1294"/>
                    </a:lnTo>
                    <a:lnTo>
                      <a:pt x="3376" y="1289"/>
                    </a:lnTo>
                    <a:lnTo>
                      <a:pt x="3376" y="1284"/>
                    </a:lnTo>
                    <a:lnTo>
                      <a:pt x="3375" y="1282"/>
                    </a:lnTo>
                    <a:lnTo>
                      <a:pt x="3371" y="1282"/>
                    </a:lnTo>
                    <a:lnTo>
                      <a:pt x="3367" y="1282"/>
                    </a:lnTo>
                    <a:lnTo>
                      <a:pt x="3361" y="1286"/>
                    </a:lnTo>
                    <a:lnTo>
                      <a:pt x="3353" y="1289"/>
                    </a:lnTo>
                    <a:lnTo>
                      <a:pt x="3346" y="1292"/>
                    </a:lnTo>
                    <a:lnTo>
                      <a:pt x="3338" y="1293"/>
                    </a:lnTo>
                    <a:lnTo>
                      <a:pt x="3333" y="1294"/>
                    </a:lnTo>
                    <a:lnTo>
                      <a:pt x="3326" y="1294"/>
                    </a:lnTo>
                    <a:lnTo>
                      <a:pt x="3321" y="1293"/>
                    </a:lnTo>
                    <a:lnTo>
                      <a:pt x="3315" y="1290"/>
                    </a:lnTo>
                    <a:lnTo>
                      <a:pt x="3310" y="1288"/>
                    </a:lnTo>
                    <a:lnTo>
                      <a:pt x="3307" y="1284"/>
                    </a:lnTo>
                    <a:lnTo>
                      <a:pt x="3302" y="1281"/>
                    </a:lnTo>
                    <a:lnTo>
                      <a:pt x="3300" y="1277"/>
                    </a:lnTo>
                    <a:lnTo>
                      <a:pt x="3296" y="1273"/>
                    </a:lnTo>
                    <a:lnTo>
                      <a:pt x="3293" y="1264"/>
                    </a:lnTo>
                    <a:lnTo>
                      <a:pt x="3290" y="1255"/>
                    </a:lnTo>
                    <a:lnTo>
                      <a:pt x="3290" y="1250"/>
                    </a:lnTo>
                    <a:lnTo>
                      <a:pt x="3291" y="1247"/>
                    </a:lnTo>
                    <a:lnTo>
                      <a:pt x="3293" y="1242"/>
                    </a:lnTo>
                    <a:lnTo>
                      <a:pt x="3294" y="1239"/>
                    </a:lnTo>
                    <a:lnTo>
                      <a:pt x="3296" y="1236"/>
                    </a:lnTo>
                    <a:lnTo>
                      <a:pt x="3300" y="1233"/>
                    </a:lnTo>
                    <a:lnTo>
                      <a:pt x="3303" y="1231"/>
                    </a:lnTo>
                    <a:lnTo>
                      <a:pt x="3308" y="1230"/>
                    </a:lnTo>
                    <a:lnTo>
                      <a:pt x="3313" y="1229"/>
                    </a:lnTo>
                    <a:lnTo>
                      <a:pt x="3319" y="1229"/>
                    </a:lnTo>
                    <a:lnTo>
                      <a:pt x="3324" y="1231"/>
                    </a:lnTo>
                    <a:lnTo>
                      <a:pt x="3331" y="1234"/>
                    </a:lnTo>
                    <a:lnTo>
                      <a:pt x="3340" y="1237"/>
                    </a:lnTo>
                    <a:lnTo>
                      <a:pt x="3348" y="1241"/>
                    </a:lnTo>
                    <a:lnTo>
                      <a:pt x="3357" y="1247"/>
                    </a:lnTo>
                    <a:lnTo>
                      <a:pt x="3368" y="1255"/>
                    </a:lnTo>
                    <a:lnTo>
                      <a:pt x="3373" y="1259"/>
                    </a:lnTo>
                    <a:lnTo>
                      <a:pt x="3377" y="1260"/>
                    </a:lnTo>
                    <a:lnTo>
                      <a:pt x="3380" y="1260"/>
                    </a:lnTo>
                    <a:lnTo>
                      <a:pt x="3380" y="1257"/>
                    </a:lnTo>
                    <a:lnTo>
                      <a:pt x="3380" y="1250"/>
                    </a:lnTo>
                    <a:lnTo>
                      <a:pt x="3375" y="1239"/>
                    </a:lnTo>
                    <a:lnTo>
                      <a:pt x="3364" y="1214"/>
                    </a:lnTo>
                    <a:lnTo>
                      <a:pt x="3360" y="1198"/>
                    </a:lnTo>
                    <a:lnTo>
                      <a:pt x="3364" y="1190"/>
                    </a:lnTo>
                    <a:lnTo>
                      <a:pt x="3368" y="1183"/>
                    </a:lnTo>
                    <a:lnTo>
                      <a:pt x="3370" y="1177"/>
                    </a:lnTo>
                    <a:lnTo>
                      <a:pt x="3371" y="1173"/>
                    </a:lnTo>
                    <a:lnTo>
                      <a:pt x="3371" y="1169"/>
                    </a:lnTo>
                    <a:lnTo>
                      <a:pt x="3370" y="1165"/>
                    </a:lnTo>
                    <a:lnTo>
                      <a:pt x="3368" y="1164"/>
                    </a:lnTo>
                    <a:lnTo>
                      <a:pt x="3366" y="1162"/>
                    </a:lnTo>
                    <a:lnTo>
                      <a:pt x="3357" y="1160"/>
                    </a:lnTo>
                    <a:lnTo>
                      <a:pt x="3349" y="1157"/>
                    </a:lnTo>
                    <a:lnTo>
                      <a:pt x="3344" y="1156"/>
                    </a:lnTo>
                    <a:lnTo>
                      <a:pt x="3338" y="1154"/>
                    </a:lnTo>
                    <a:lnTo>
                      <a:pt x="3334" y="1151"/>
                    </a:lnTo>
                    <a:lnTo>
                      <a:pt x="3330" y="1147"/>
                    </a:lnTo>
                    <a:lnTo>
                      <a:pt x="3333" y="1161"/>
                    </a:lnTo>
                    <a:lnTo>
                      <a:pt x="3334" y="1173"/>
                    </a:lnTo>
                    <a:lnTo>
                      <a:pt x="3334" y="1180"/>
                    </a:lnTo>
                    <a:lnTo>
                      <a:pt x="3333" y="1185"/>
                    </a:lnTo>
                    <a:lnTo>
                      <a:pt x="3330" y="1189"/>
                    </a:lnTo>
                    <a:lnTo>
                      <a:pt x="3326" y="1190"/>
                    </a:lnTo>
                    <a:lnTo>
                      <a:pt x="3321" y="1190"/>
                    </a:lnTo>
                    <a:lnTo>
                      <a:pt x="3316" y="1188"/>
                    </a:lnTo>
                    <a:lnTo>
                      <a:pt x="3289" y="1171"/>
                    </a:lnTo>
                    <a:lnTo>
                      <a:pt x="3263" y="1155"/>
                    </a:lnTo>
                    <a:lnTo>
                      <a:pt x="3255" y="1145"/>
                    </a:lnTo>
                    <a:lnTo>
                      <a:pt x="3248" y="1137"/>
                    </a:lnTo>
                    <a:lnTo>
                      <a:pt x="3242" y="1129"/>
                    </a:lnTo>
                    <a:lnTo>
                      <a:pt x="3237" y="1119"/>
                    </a:lnTo>
                    <a:lnTo>
                      <a:pt x="3234" y="1110"/>
                    </a:lnTo>
                    <a:lnTo>
                      <a:pt x="3230" y="1101"/>
                    </a:lnTo>
                    <a:lnTo>
                      <a:pt x="3227" y="1091"/>
                    </a:lnTo>
                    <a:lnTo>
                      <a:pt x="3224" y="1081"/>
                    </a:lnTo>
                    <a:lnTo>
                      <a:pt x="3223" y="1070"/>
                    </a:lnTo>
                    <a:lnTo>
                      <a:pt x="3222" y="1062"/>
                    </a:lnTo>
                    <a:lnTo>
                      <a:pt x="3223" y="1055"/>
                    </a:lnTo>
                    <a:lnTo>
                      <a:pt x="3226" y="1051"/>
                    </a:lnTo>
                    <a:lnTo>
                      <a:pt x="3227" y="1050"/>
                    </a:lnTo>
                    <a:lnTo>
                      <a:pt x="3229" y="1050"/>
                    </a:lnTo>
                    <a:lnTo>
                      <a:pt x="3230" y="1051"/>
                    </a:lnTo>
                    <a:lnTo>
                      <a:pt x="3233" y="1053"/>
                    </a:lnTo>
                    <a:lnTo>
                      <a:pt x="3236" y="1059"/>
                    </a:lnTo>
                    <a:lnTo>
                      <a:pt x="3240" y="1071"/>
                    </a:lnTo>
                    <a:lnTo>
                      <a:pt x="3244" y="1083"/>
                    </a:lnTo>
                    <a:lnTo>
                      <a:pt x="3248" y="1090"/>
                    </a:lnTo>
                    <a:lnTo>
                      <a:pt x="3249" y="1092"/>
                    </a:lnTo>
                    <a:lnTo>
                      <a:pt x="3252" y="1094"/>
                    </a:lnTo>
                    <a:lnTo>
                      <a:pt x="3253" y="1094"/>
                    </a:lnTo>
                    <a:lnTo>
                      <a:pt x="3255" y="1094"/>
                    </a:lnTo>
                    <a:lnTo>
                      <a:pt x="3257" y="1090"/>
                    </a:lnTo>
                    <a:lnTo>
                      <a:pt x="3261" y="1085"/>
                    </a:lnTo>
                    <a:lnTo>
                      <a:pt x="3263" y="1077"/>
                    </a:lnTo>
                    <a:lnTo>
                      <a:pt x="3264" y="1069"/>
                    </a:lnTo>
                    <a:lnTo>
                      <a:pt x="3266" y="1059"/>
                    </a:lnTo>
                    <a:lnTo>
                      <a:pt x="3267" y="1050"/>
                    </a:lnTo>
                    <a:lnTo>
                      <a:pt x="3267" y="1040"/>
                    </a:lnTo>
                    <a:lnTo>
                      <a:pt x="3266" y="1032"/>
                    </a:lnTo>
                    <a:lnTo>
                      <a:pt x="3264" y="1025"/>
                    </a:lnTo>
                    <a:lnTo>
                      <a:pt x="3262" y="1019"/>
                    </a:lnTo>
                    <a:lnTo>
                      <a:pt x="3261" y="1017"/>
                    </a:lnTo>
                    <a:lnTo>
                      <a:pt x="3260" y="1016"/>
                    </a:lnTo>
                    <a:lnTo>
                      <a:pt x="3257" y="1015"/>
                    </a:lnTo>
                    <a:lnTo>
                      <a:pt x="3256" y="1016"/>
                    </a:lnTo>
                    <a:lnTo>
                      <a:pt x="3243" y="1017"/>
                    </a:lnTo>
                    <a:lnTo>
                      <a:pt x="3228" y="1017"/>
                    </a:lnTo>
                    <a:lnTo>
                      <a:pt x="3213" y="1017"/>
                    </a:lnTo>
                    <a:lnTo>
                      <a:pt x="3196" y="1017"/>
                    </a:lnTo>
                    <a:lnTo>
                      <a:pt x="3180" y="1017"/>
                    </a:lnTo>
                    <a:lnTo>
                      <a:pt x="3166" y="1018"/>
                    </a:lnTo>
                    <a:lnTo>
                      <a:pt x="3159" y="1019"/>
                    </a:lnTo>
                    <a:lnTo>
                      <a:pt x="3152" y="1022"/>
                    </a:lnTo>
                    <a:lnTo>
                      <a:pt x="3146" y="1024"/>
                    </a:lnTo>
                    <a:lnTo>
                      <a:pt x="3141" y="1028"/>
                    </a:lnTo>
                    <a:lnTo>
                      <a:pt x="3129" y="1037"/>
                    </a:lnTo>
                    <a:lnTo>
                      <a:pt x="3119" y="1043"/>
                    </a:lnTo>
                    <a:lnTo>
                      <a:pt x="3113" y="1044"/>
                    </a:lnTo>
                    <a:lnTo>
                      <a:pt x="3106" y="1045"/>
                    </a:lnTo>
                    <a:lnTo>
                      <a:pt x="3100" y="1044"/>
                    </a:lnTo>
                    <a:lnTo>
                      <a:pt x="3093" y="1042"/>
                    </a:lnTo>
                    <a:lnTo>
                      <a:pt x="3088" y="1039"/>
                    </a:lnTo>
                    <a:lnTo>
                      <a:pt x="3083" y="1036"/>
                    </a:lnTo>
                    <a:lnTo>
                      <a:pt x="3081" y="1032"/>
                    </a:lnTo>
                    <a:lnTo>
                      <a:pt x="3078" y="1029"/>
                    </a:lnTo>
                    <a:lnTo>
                      <a:pt x="3074" y="1025"/>
                    </a:lnTo>
                    <a:lnTo>
                      <a:pt x="3071" y="1022"/>
                    </a:lnTo>
                    <a:lnTo>
                      <a:pt x="3067" y="1020"/>
                    </a:lnTo>
                    <a:lnTo>
                      <a:pt x="3062" y="1022"/>
                    </a:lnTo>
                    <a:lnTo>
                      <a:pt x="3056" y="1024"/>
                    </a:lnTo>
                    <a:lnTo>
                      <a:pt x="3051" y="1029"/>
                    </a:lnTo>
                    <a:lnTo>
                      <a:pt x="3044" y="1033"/>
                    </a:lnTo>
                    <a:lnTo>
                      <a:pt x="3039" y="1039"/>
                    </a:lnTo>
                    <a:lnTo>
                      <a:pt x="3036" y="1042"/>
                    </a:lnTo>
                    <a:lnTo>
                      <a:pt x="3035" y="1045"/>
                    </a:lnTo>
                    <a:lnTo>
                      <a:pt x="3034" y="1048"/>
                    </a:lnTo>
                    <a:lnTo>
                      <a:pt x="3034" y="1050"/>
                    </a:lnTo>
                    <a:lnTo>
                      <a:pt x="3035" y="1053"/>
                    </a:lnTo>
                    <a:lnTo>
                      <a:pt x="3038" y="1056"/>
                    </a:lnTo>
                    <a:lnTo>
                      <a:pt x="3041" y="1058"/>
                    </a:lnTo>
                    <a:lnTo>
                      <a:pt x="3045" y="1059"/>
                    </a:lnTo>
                    <a:lnTo>
                      <a:pt x="3056" y="1062"/>
                    </a:lnTo>
                    <a:lnTo>
                      <a:pt x="3068" y="1064"/>
                    </a:lnTo>
                    <a:lnTo>
                      <a:pt x="3079" y="1064"/>
                    </a:lnTo>
                    <a:lnTo>
                      <a:pt x="3091" y="1065"/>
                    </a:lnTo>
                    <a:lnTo>
                      <a:pt x="3101" y="1065"/>
                    </a:lnTo>
                    <a:lnTo>
                      <a:pt x="3112" y="1065"/>
                    </a:lnTo>
                    <a:lnTo>
                      <a:pt x="3122" y="1066"/>
                    </a:lnTo>
                    <a:lnTo>
                      <a:pt x="3133" y="1068"/>
                    </a:lnTo>
                    <a:lnTo>
                      <a:pt x="3132" y="1072"/>
                    </a:lnTo>
                    <a:lnTo>
                      <a:pt x="3130" y="1076"/>
                    </a:lnTo>
                    <a:lnTo>
                      <a:pt x="3127" y="1079"/>
                    </a:lnTo>
                    <a:lnTo>
                      <a:pt x="3125" y="1083"/>
                    </a:lnTo>
                    <a:lnTo>
                      <a:pt x="3115" y="1089"/>
                    </a:lnTo>
                    <a:lnTo>
                      <a:pt x="3105" y="1095"/>
                    </a:lnTo>
                    <a:lnTo>
                      <a:pt x="3094" y="1099"/>
                    </a:lnTo>
                    <a:lnTo>
                      <a:pt x="3085" y="1105"/>
                    </a:lnTo>
                    <a:lnTo>
                      <a:pt x="3080" y="1109"/>
                    </a:lnTo>
                    <a:lnTo>
                      <a:pt x="3076" y="1114"/>
                    </a:lnTo>
                    <a:lnTo>
                      <a:pt x="3073" y="1117"/>
                    </a:lnTo>
                    <a:lnTo>
                      <a:pt x="3071" y="1122"/>
                    </a:lnTo>
                    <a:lnTo>
                      <a:pt x="3069" y="1129"/>
                    </a:lnTo>
                    <a:lnTo>
                      <a:pt x="3069" y="1136"/>
                    </a:lnTo>
                    <a:lnTo>
                      <a:pt x="3071" y="1143"/>
                    </a:lnTo>
                    <a:lnTo>
                      <a:pt x="3071" y="1150"/>
                    </a:lnTo>
                    <a:lnTo>
                      <a:pt x="3072" y="1157"/>
                    </a:lnTo>
                    <a:lnTo>
                      <a:pt x="3071" y="1164"/>
                    </a:lnTo>
                    <a:lnTo>
                      <a:pt x="3068" y="1173"/>
                    </a:lnTo>
                    <a:lnTo>
                      <a:pt x="3063" y="1181"/>
                    </a:lnTo>
                    <a:lnTo>
                      <a:pt x="3058" y="1193"/>
                    </a:lnTo>
                    <a:lnTo>
                      <a:pt x="3052" y="1204"/>
                    </a:lnTo>
                    <a:lnTo>
                      <a:pt x="3048" y="1216"/>
                    </a:lnTo>
                    <a:lnTo>
                      <a:pt x="3047" y="1229"/>
                    </a:lnTo>
                    <a:lnTo>
                      <a:pt x="3046" y="1241"/>
                    </a:lnTo>
                    <a:lnTo>
                      <a:pt x="3047" y="1253"/>
                    </a:lnTo>
                    <a:lnTo>
                      <a:pt x="3048" y="1266"/>
                    </a:lnTo>
                    <a:lnTo>
                      <a:pt x="3051" y="1277"/>
                    </a:lnTo>
                    <a:lnTo>
                      <a:pt x="3055" y="1302"/>
                    </a:lnTo>
                    <a:lnTo>
                      <a:pt x="3061" y="1328"/>
                    </a:lnTo>
                    <a:lnTo>
                      <a:pt x="3063" y="1340"/>
                    </a:lnTo>
                    <a:lnTo>
                      <a:pt x="3066" y="1353"/>
                    </a:lnTo>
                    <a:lnTo>
                      <a:pt x="3067" y="1366"/>
                    </a:lnTo>
                    <a:lnTo>
                      <a:pt x="3068" y="1379"/>
                    </a:lnTo>
                    <a:lnTo>
                      <a:pt x="3066" y="1376"/>
                    </a:lnTo>
                    <a:lnTo>
                      <a:pt x="3062" y="1372"/>
                    </a:lnTo>
                    <a:lnTo>
                      <a:pt x="3060" y="1366"/>
                    </a:lnTo>
                    <a:lnTo>
                      <a:pt x="3058" y="1358"/>
                    </a:lnTo>
                    <a:lnTo>
                      <a:pt x="3053" y="1336"/>
                    </a:lnTo>
                    <a:lnTo>
                      <a:pt x="3048" y="1313"/>
                    </a:lnTo>
                    <a:lnTo>
                      <a:pt x="3041" y="1266"/>
                    </a:lnTo>
                    <a:lnTo>
                      <a:pt x="3038" y="1236"/>
                    </a:lnTo>
                    <a:lnTo>
                      <a:pt x="3036" y="1213"/>
                    </a:lnTo>
                    <a:lnTo>
                      <a:pt x="3035" y="1189"/>
                    </a:lnTo>
                    <a:lnTo>
                      <a:pt x="3035" y="1164"/>
                    </a:lnTo>
                    <a:lnTo>
                      <a:pt x="3035" y="1141"/>
                    </a:lnTo>
                    <a:lnTo>
                      <a:pt x="3035" y="1117"/>
                    </a:lnTo>
                    <a:lnTo>
                      <a:pt x="3034" y="1092"/>
                    </a:lnTo>
                    <a:lnTo>
                      <a:pt x="3032" y="1069"/>
                    </a:lnTo>
                    <a:lnTo>
                      <a:pt x="3028" y="1046"/>
                    </a:lnTo>
                    <a:lnTo>
                      <a:pt x="3025" y="1025"/>
                    </a:lnTo>
                    <a:lnTo>
                      <a:pt x="3022" y="1004"/>
                    </a:lnTo>
                    <a:lnTo>
                      <a:pt x="3019" y="983"/>
                    </a:lnTo>
                    <a:lnTo>
                      <a:pt x="3014" y="960"/>
                    </a:lnTo>
                    <a:lnTo>
                      <a:pt x="3012" y="947"/>
                    </a:lnTo>
                    <a:lnTo>
                      <a:pt x="3009" y="933"/>
                    </a:lnTo>
                    <a:lnTo>
                      <a:pt x="3007" y="918"/>
                    </a:lnTo>
                    <a:lnTo>
                      <a:pt x="3006" y="901"/>
                    </a:lnTo>
                    <a:lnTo>
                      <a:pt x="3005" y="886"/>
                    </a:lnTo>
                    <a:lnTo>
                      <a:pt x="3002" y="871"/>
                    </a:lnTo>
                    <a:lnTo>
                      <a:pt x="2999" y="858"/>
                    </a:lnTo>
                    <a:lnTo>
                      <a:pt x="2995" y="847"/>
                    </a:lnTo>
                    <a:lnTo>
                      <a:pt x="3000" y="830"/>
                    </a:lnTo>
                    <a:lnTo>
                      <a:pt x="3004" y="809"/>
                    </a:lnTo>
                    <a:lnTo>
                      <a:pt x="3006" y="788"/>
                    </a:lnTo>
                    <a:lnTo>
                      <a:pt x="3006" y="767"/>
                    </a:lnTo>
                    <a:lnTo>
                      <a:pt x="3006" y="723"/>
                    </a:lnTo>
                    <a:lnTo>
                      <a:pt x="3005" y="685"/>
                    </a:lnTo>
                    <a:lnTo>
                      <a:pt x="3004" y="654"/>
                    </a:lnTo>
                    <a:lnTo>
                      <a:pt x="3000" y="620"/>
                    </a:lnTo>
                    <a:lnTo>
                      <a:pt x="2998" y="602"/>
                    </a:lnTo>
                    <a:lnTo>
                      <a:pt x="2994" y="586"/>
                    </a:lnTo>
                    <a:lnTo>
                      <a:pt x="2991" y="570"/>
                    </a:lnTo>
                    <a:lnTo>
                      <a:pt x="2987" y="557"/>
                    </a:lnTo>
                    <a:lnTo>
                      <a:pt x="2981" y="538"/>
                    </a:lnTo>
                    <a:lnTo>
                      <a:pt x="2977" y="518"/>
                    </a:lnTo>
                    <a:lnTo>
                      <a:pt x="2973" y="498"/>
                    </a:lnTo>
                    <a:lnTo>
                      <a:pt x="2971" y="479"/>
                    </a:lnTo>
                    <a:lnTo>
                      <a:pt x="2968" y="466"/>
                    </a:lnTo>
                    <a:lnTo>
                      <a:pt x="2965" y="454"/>
                    </a:lnTo>
                    <a:lnTo>
                      <a:pt x="2960" y="439"/>
                    </a:lnTo>
                    <a:lnTo>
                      <a:pt x="2954" y="424"/>
                    </a:lnTo>
                    <a:lnTo>
                      <a:pt x="2941" y="397"/>
                    </a:lnTo>
                    <a:lnTo>
                      <a:pt x="2928" y="372"/>
                    </a:lnTo>
                    <a:lnTo>
                      <a:pt x="2922" y="362"/>
                    </a:lnTo>
                    <a:lnTo>
                      <a:pt x="2915" y="350"/>
                    </a:lnTo>
                    <a:lnTo>
                      <a:pt x="2907" y="339"/>
                    </a:lnTo>
                    <a:lnTo>
                      <a:pt x="2901" y="327"/>
                    </a:lnTo>
                    <a:lnTo>
                      <a:pt x="2894" y="317"/>
                    </a:lnTo>
                    <a:lnTo>
                      <a:pt x="2884" y="306"/>
                    </a:lnTo>
                    <a:lnTo>
                      <a:pt x="2874" y="296"/>
                    </a:lnTo>
                    <a:lnTo>
                      <a:pt x="2870" y="289"/>
                    </a:lnTo>
                    <a:lnTo>
                      <a:pt x="2858" y="279"/>
                    </a:lnTo>
                    <a:lnTo>
                      <a:pt x="2845" y="272"/>
                    </a:lnTo>
                    <a:lnTo>
                      <a:pt x="2837" y="268"/>
                    </a:lnTo>
                    <a:lnTo>
                      <a:pt x="2827" y="261"/>
                    </a:lnTo>
                    <a:lnTo>
                      <a:pt x="2818" y="254"/>
                    </a:lnTo>
                    <a:lnTo>
                      <a:pt x="2807" y="247"/>
                    </a:lnTo>
                    <a:lnTo>
                      <a:pt x="2788" y="231"/>
                    </a:lnTo>
                    <a:lnTo>
                      <a:pt x="2772" y="215"/>
                    </a:lnTo>
                    <a:lnTo>
                      <a:pt x="2756" y="204"/>
                    </a:lnTo>
                    <a:lnTo>
                      <a:pt x="2739" y="192"/>
                    </a:lnTo>
                    <a:lnTo>
                      <a:pt x="2721" y="182"/>
                    </a:lnTo>
                    <a:lnTo>
                      <a:pt x="2702" y="174"/>
                    </a:lnTo>
                    <a:lnTo>
                      <a:pt x="2682" y="167"/>
                    </a:lnTo>
                    <a:lnTo>
                      <a:pt x="2662" y="161"/>
                    </a:lnTo>
                    <a:lnTo>
                      <a:pt x="2640" y="158"/>
                    </a:lnTo>
                    <a:lnTo>
                      <a:pt x="2619" y="155"/>
                    </a:lnTo>
                    <a:lnTo>
                      <a:pt x="2598" y="155"/>
                    </a:lnTo>
                    <a:lnTo>
                      <a:pt x="2577" y="158"/>
                    </a:lnTo>
                    <a:lnTo>
                      <a:pt x="2568" y="159"/>
                    </a:lnTo>
                    <a:lnTo>
                      <a:pt x="2557" y="161"/>
                    </a:lnTo>
                    <a:lnTo>
                      <a:pt x="2548" y="165"/>
                    </a:lnTo>
                    <a:lnTo>
                      <a:pt x="2538" y="168"/>
                    </a:lnTo>
                    <a:lnTo>
                      <a:pt x="2529" y="172"/>
                    </a:lnTo>
                    <a:lnTo>
                      <a:pt x="2519" y="178"/>
                    </a:lnTo>
                    <a:lnTo>
                      <a:pt x="2511" y="182"/>
                    </a:lnTo>
                    <a:lnTo>
                      <a:pt x="2503" y="190"/>
                    </a:lnTo>
                    <a:lnTo>
                      <a:pt x="2495" y="195"/>
                    </a:lnTo>
                    <a:lnTo>
                      <a:pt x="2486" y="204"/>
                    </a:lnTo>
                    <a:lnTo>
                      <a:pt x="2479" y="212"/>
                    </a:lnTo>
                    <a:lnTo>
                      <a:pt x="2472" y="221"/>
                    </a:lnTo>
                    <a:lnTo>
                      <a:pt x="2462" y="237"/>
                    </a:lnTo>
                    <a:lnTo>
                      <a:pt x="2451" y="256"/>
                    </a:lnTo>
                    <a:lnTo>
                      <a:pt x="2439" y="276"/>
                    </a:lnTo>
                    <a:lnTo>
                      <a:pt x="2431" y="297"/>
                    </a:lnTo>
                    <a:lnTo>
                      <a:pt x="2428" y="307"/>
                    </a:lnTo>
                    <a:lnTo>
                      <a:pt x="2425" y="318"/>
                    </a:lnTo>
                    <a:lnTo>
                      <a:pt x="2425" y="327"/>
                    </a:lnTo>
                    <a:lnTo>
                      <a:pt x="2425" y="337"/>
                    </a:lnTo>
                    <a:lnTo>
                      <a:pt x="2429" y="346"/>
                    </a:lnTo>
                    <a:lnTo>
                      <a:pt x="2432" y="355"/>
                    </a:lnTo>
                    <a:lnTo>
                      <a:pt x="2439" y="363"/>
                    </a:lnTo>
                    <a:lnTo>
                      <a:pt x="2449" y="370"/>
                    </a:lnTo>
                    <a:lnTo>
                      <a:pt x="2461" y="376"/>
                    </a:lnTo>
                    <a:lnTo>
                      <a:pt x="2472" y="379"/>
                    </a:lnTo>
                    <a:lnTo>
                      <a:pt x="2482" y="380"/>
                    </a:lnTo>
                    <a:lnTo>
                      <a:pt x="2491" y="379"/>
                    </a:lnTo>
                    <a:lnTo>
                      <a:pt x="2498" y="376"/>
                    </a:lnTo>
                    <a:lnTo>
                      <a:pt x="2505" y="371"/>
                    </a:lnTo>
                    <a:lnTo>
                      <a:pt x="2512" y="364"/>
                    </a:lnTo>
                    <a:lnTo>
                      <a:pt x="2518" y="358"/>
                    </a:lnTo>
                    <a:lnTo>
                      <a:pt x="2529" y="343"/>
                    </a:lnTo>
                    <a:lnTo>
                      <a:pt x="2538" y="330"/>
                    </a:lnTo>
                    <a:lnTo>
                      <a:pt x="2543" y="325"/>
                    </a:lnTo>
                    <a:lnTo>
                      <a:pt x="2548" y="320"/>
                    </a:lnTo>
                    <a:lnTo>
                      <a:pt x="2553" y="319"/>
                    </a:lnTo>
                    <a:lnTo>
                      <a:pt x="2558" y="319"/>
                    </a:lnTo>
                    <a:lnTo>
                      <a:pt x="2560" y="329"/>
                    </a:lnTo>
                    <a:lnTo>
                      <a:pt x="2560" y="338"/>
                    </a:lnTo>
                    <a:lnTo>
                      <a:pt x="2559" y="349"/>
                    </a:lnTo>
                    <a:lnTo>
                      <a:pt x="2557" y="358"/>
                    </a:lnTo>
                    <a:lnTo>
                      <a:pt x="2553" y="367"/>
                    </a:lnTo>
                    <a:lnTo>
                      <a:pt x="2549" y="376"/>
                    </a:lnTo>
                    <a:lnTo>
                      <a:pt x="2543" y="384"/>
                    </a:lnTo>
                    <a:lnTo>
                      <a:pt x="2537" y="392"/>
                    </a:lnTo>
                    <a:lnTo>
                      <a:pt x="2530" y="399"/>
                    </a:lnTo>
                    <a:lnTo>
                      <a:pt x="2522" y="406"/>
                    </a:lnTo>
                    <a:lnTo>
                      <a:pt x="2513" y="412"/>
                    </a:lnTo>
                    <a:lnTo>
                      <a:pt x="2504" y="418"/>
                    </a:lnTo>
                    <a:lnTo>
                      <a:pt x="2495" y="422"/>
                    </a:lnTo>
                    <a:lnTo>
                      <a:pt x="2485" y="425"/>
                    </a:lnTo>
                    <a:lnTo>
                      <a:pt x="2476" y="428"/>
                    </a:lnTo>
                    <a:lnTo>
                      <a:pt x="2466" y="429"/>
                    </a:lnTo>
                    <a:lnTo>
                      <a:pt x="2457" y="429"/>
                    </a:lnTo>
                    <a:lnTo>
                      <a:pt x="2448" y="428"/>
                    </a:lnTo>
                    <a:lnTo>
                      <a:pt x="2439" y="426"/>
                    </a:lnTo>
                    <a:lnTo>
                      <a:pt x="2431" y="424"/>
                    </a:lnTo>
                    <a:lnTo>
                      <a:pt x="2423" y="421"/>
                    </a:lnTo>
                    <a:lnTo>
                      <a:pt x="2415" y="417"/>
                    </a:lnTo>
                    <a:lnTo>
                      <a:pt x="2408" y="412"/>
                    </a:lnTo>
                    <a:lnTo>
                      <a:pt x="2401" y="408"/>
                    </a:lnTo>
                    <a:lnTo>
                      <a:pt x="2388" y="396"/>
                    </a:lnTo>
                    <a:lnTo>
                      <a:pt x="2375" y="383"/>
                    </a:lnTo>
                    <a:lnTo>
                      <a:pt x="2363" y="370"/>
                    </a:lnTo>
                    <a:lnTo>
                      <a:pt x="2351" y="356"/>
                    </a:lnTo>
                    <a:lnTo>
                      <a:pt x="2343" y="346"/>
                    </a:lnTo>
                    <a:lnTo>
                      <a:pt x="2337" y="336"/>
                    </a:lnTo>
                    <a:lnTo>
                      <a:pt x="2331" y="324"/>
                    </a:lnTo>
                    <a:lnTo>
                      <a:pt x="2325" y="313"/>
                    </a:lnTo>
                    <a:lnTo>
                      <a:pt x="2316" y="289"/>
                    </a:lnTo>
                    <a:lnTo>
                      <a:pt x="2305" y="265"/>
                    </a:lnTo>
                    <a:lnTo>
                      <a:pt x="2301" y="253"/>
                    </a:lnTo>
                    <a:lnTo>
                      <a:pt x="2295" y="243"/>
                    </a:lnTo>
                    <a:lnTo>
                      <a:pt x="2288" y="232"/>
                    </a:lnTo>
                    <a:lnTo>
                      <a:pt x="2281" y="221"/>
                    </a:lnTo>
                    <a:lnTo>
                      <a:pt x="2274" y="213"/>
                    </a:lnTo>
                    <a:lnTo>
                      <a:pt x="2264" y="205"/>
                    </a:lnTo>
                    <a:lnTo>
                      <a:pt x="2254" y="198"/>
                    </a:lnTo>
                    <a:lnTo>
                      <a:pt x="2242" y="193"/>
                    </a:lnTo>
                    <a:lnTo>
                      <a:pt x="2233" y="188"/>
                    </a:lnTo>
                    <a:lnTo>
                      <a:pt x="2223" y="185"/>
                    </a:lnTo>
                    <a:lnTo>
                      <a:pt x="2215" y="180"/>
                    </a:lnTo>
                    <a:lnTo>
                      <a:pt x="2206" y="174"/>
                    </a:lnTo>
                    <a:lnTo>
                      <a:pt x="2198" y="168"/>
                    </a:lnTo>
                    <a:lnTo>
                      <a:pt x="2190" y="161"/>
                    </a:lnTo>
                    <a:lnTo>
                      <a:pt x="2183" y="154"/>
                    </a:lnTo>
                    <a:lnTo>
                      <a:pt x="2177" y="146"/>
                    </a:lnTo>
                    <a:lnTo>
                      <a:pt x="2174" y="140"/>
                    </a:lnTo>
                    <a:lnTo>
                      <a:pt x="2171" y="135"/>
                    </a:lnTo>
                    <a:lnTo>
                      <a:pt x="2170" y="131"/>
                    </a:lnTo>
                    <a:lnTo>
                      <a:pt x="2170" y="125"/>
                    </a:lnTo>
                    <a:lnTo>
                      <a:pt x="2171" y="120"/>
                    </a:lnTo>
                    <a:lnTo>
                      <a:pt x="2174" y="115"/>
                    </a:lnTo>
                    <a:lnTo>
                      <a:pt x="2175" y="111"/>
                    </a:lnTo>
                    <a:lnTo>
                      <a:pt x="2179" y="106"/>
                    </a:lnTo>
                    <a:lnTo>
                      <a:pt x="2191" y="89"/>
                    </a:lnTo>
                    <a:lnTo>
                      <a:pt x="2204" y="73"/>
                    </a:lnTo>
                    <a:lnTo>
                      <a:pt x="2210" y="69"/>
                    </a:lnTo>
                    <a:lnTo>
                      <a:pt x="2218" y="65"/>
                    </a:lnTo>
                    <a:lnTo>
                      <a:pt x="2226" y="59"/>
                    </a:lnTo>
                    <a:lnTo>
                      <a:pt x="2235" y="50"/>
                    </a:lnTo>
                    <a:lnTo>
                      <a:pt x="2243" y="43"/>
                    </a:lnTo>
                    <a:lnTo>
                      <a:pt x="2253" y="36"/>
                    </a:lnTo>
                    <a:lnTo>
                      <a:pt x="2261" y="30"/>
                    </a:lnTo>
                    <a:lnTo>
                      <a:pt x="2269" y="26"/>
                    </a:lnTo>
                    <a:lnTo>
                      <a:pt x="2287" y="20"/>
                    </a:lnTo>
                    <a:lnTo>
                      <a:pt x="2304" y="14"/>
                    </a:lnTo>
                    <a:lnTo>
                      <a:pt x="2322" y="10"/>
                    </a:lnTo>
                    <a:lnTo>
                      <a:pt x="2341" y="7"/>
                    </a:lnTo>
                    <a:lnTo>
                      <a:pt x="2361" y="3"/>
                    </a:lnTo>
                    <a:lnTo>
                      <a:pt x="2379" y="1"/>
                    </a:lnTo>
                    <a:lnTo>
                      <a:pt x="2399" y="0"/>
                    </a:lnTo>
                    <a:lnTo>
                      <a:pt x="2419" y="0"/>
                    </a:lnTo>
                    <a:lnTo>
                      <a:pt x="2439" y="0"/>
                    </a:lnTo>
                    <a:lnTo>
                      <a:pt x="2459" y="1"/>
                    </a:lnTo>
                    <a:lnTo>
                      <a:pt x="2481" y="2"/>
                    </a:lnTo>
                    <a:lnTo>
                      <a:pt x="2501" y="4"/>
                    </a:lnTo>
                    <a:lnTo>
                      <a:pt x="2543" y="10"/>
                    </a:lnTo>
                    <a:lnTo>
                      <a:pt x="2584" y="19"/>
                    </a:lnTo>
                    <a:lnTo>
                      <a:pt x="2625" y="28"/>
                    </a:lnTo>
                    <a:lnTo>
                      <a:pt x="2666" y="41"/>
                    </a:lnTo>
                    <a:lnTo>
                      <a:pt x="2705" y="54"/>
                    </a:lnTo>
                    <a:lnTo>
                      <a:pt x="2744" y="69"/>
                    </a:lnTo>
                    <a:lnTo>
                      <a:pt x="2781" y="87"/>
                    </a:lnTo>
                    <a:lnTo>
                      <a:pt x="2817" y="105"/>
                    </a:lnTo>
                    <a:lnTo>
                      <a:pt x="2850" y="124"/>
                    </a:lnTo>
                    <a:lnTo>
                      <a:pt x="2881" y="142"/>
                    </a:lnTo>
                    <a:lnTo>
                      <a:pt x="2886" y="147"/>
                    </a:lnTo>
                    <a:lnTo>
                      <a:pt x="2891" y="147"/>
                    </a:lnTo>
                    <a:lnTo>
                      <a:pt x="2907" y="160"/>
                    </a:lnTo>
                    <a:lnTo>
                      <a:pt x="2926" y="171"/>
                    </a:lnTo>
                    <a:lnTo>
                      <a:pt x="2946" y="180"/>
                    </a:lnTo>
                    <a:lnTo>
                      <a:pt x="2966" y="191"/>
                    </a:lnTo>
                    <a:lnTo>
                      <a:pt x="2986" y="200"/>
                    </a:lnTo>
                    <a:lnTo>
                      <a:pt x="3006" y="211"/>
                    </a:lnTo>
                    <a:lnTo>
                      <a:pt x="3025" y="221"/>
                    </a:lnTo>
                    <a:lnTo>
                      <a:pt x="3042" y="235"/>
                    </a:lnTo>
                    <a:lnTo>
                      <a:pt x="3069" y="260"/>
                    </a:lnTo>
                    <a:lnTo>
                      <a:pt x="3096" y="284"/>
                    </a:lnTo>
                    <a:lnTo>
                      <a:pt x="3121" y="307"/>
                    </a:lnTo>
                    <a:lnTo>
                      <a:pt x="3145" y="332"/>
                    </a:lnTo>
                    <a:lnTo>
                      <a:pt x="3155" y="345"/>
                    </a:lnTo>
                    <a:lnTo>
                      <a:pt x="3166" y="358"/>
                    </a:lnTo>
                    <a:lnTo>
                      <a:pt x="3176" y="372"/>
                    </a:lnTo>
                    <a:lnTo>
                      <a:pt x="3186" y="386"/>
                    </a:lnTo>
                    <a:lnTo>
                      <a:pt x="3195" y="402"/>
                    </a:lnTo>
                    <a:lnTo>
                      <a:pt x="3205" y="418"/>
                    </a:lnTo>
                    <a:lnTo>
                      <a:pt x="3213" y="435"/>
                    </a:lnTo>
                    <a:lnTo>
                      <a:pt x="3221" y="452"/>
                    </a:lnTo>
                    <a:lnTo>
                      <a:pt x="3236" y="485"/>
                    </a:lnTo>
                    <a:lnTo>
                      <a:pt x="3253" y="517"/>
                    </a:lnTo>
                    <a:lnTo>
                      <a:pt x="3272" y="548"/>
                    </a:lnTo>
                    <a:lnTo>
                      <a:pt x="3290" y="577"/>
                    </a:lnTo>
                    <a:lnTo>
                      <a:pt x="3309" y="608"/>
                    </a:lnTo>
                    <a:lnTo>
                      <a:pt x="3328" y="637"/>
                    </a:lnTo>
                    <a:lnTo>
                      <a:pt x="3346" y="668"/>
                    </a:lnTo>
                    <a:lnTo>
                      <a:pt x="3361" y="700"/>
                    </a:lnTo>
                    <a:lnTo>
                      <a:pt x="3369" y="714"/>
                    </a:lnTo>
                    <a:lnTo>
                      <a:pt x="3376" y="729"/>
                    </a:lnTo>
                    <a:lnTo>
                      <a:pt x="3383" y="745"/>
                    </a:lnTo>
                    <a:lnTo>
                      <a:pt x="3388" y="761"/>
                    </a:lnTo>
                    <a:lnTo>
                      <a:pt x="3400" y="793"/>
                    </a:lnTo>
                    <a:lnTo>
                      <a:pt x="3413" y="824"/>
                    </a:lnTo>
                    <a:lnTo>
                      <a:pt x="3443" y="885"/>
                    </a:lnTo>
                    <a:lnTo>
                      <a:pt x="3451" y="898"/>
                    </a:lnTo>
                    <a:lnTo>
                      <a:pt x="3461" y="913"/>
                    </a:lnTo>
                    <a:lnTo>
                      <a:pt x="3465" y="920"/>
                    </a:lnTo>
                    <a:lnTo>
                      <a:pt x="3470" y="927"/>
                    </a:lnTo>
                    <a:lnTo>
                      <a:pt x="3472" y="934"/>
                    </a:lnTo>
                    <a:lnTo>
                      <a:pt x="3475" y="941"/>
                    </a:lnTo>
                    <a:lnTo>
                      <a:pt x="3478" y="949"/>
                    </a:lnTo>
                    <a:lnTo>
                      <a:pt x="3483" y="954"/>
                    </a:lnTo>
                    <a:lnTo>
                      <a:pt x="3487" y="963"/>
                    </a:lnTo>
                    <a:lnTo>
                      <a:pt x="3489" y="971"/>
                    </a:lnTo>
                    <a:lnTo>
                      <a:pt x="3495" y="989"/>
                    </a:lnTo>
                    <a:lnTo>
                      <a:pt x="3500" y="1007"/>
                    </a:lnTo>
                    <a:lnTo>
                      <a:pt x="3508" y="1046"/>
                    </a:lnTo>
                    <a:lnTo>
                      <a:pt x="3516" y="1079"/>
                    </a:lnTo>
                    <a:lnTo>
                      <a:pt x="3525" y="1110"/>
                    </a:lnTo>
                    <a:lnTo>
                      <a:pt x="3535" y="1145"/>
                    </a:lnTo>
                    <a:lnTo>
                      <a:pt x="3539" y="1163"/>
                    </a:lnTo>
                    <a:lnTo>
                      <a:pt x="3544" y="1180"/>
                    </a:lnTo>
                    <a:lnTo>
                      <a:pt x="3547" y="1196"/>
                    </a:lnTo>
                    <a:lnTo>
                      <a:pt x="3549" y="1211"/>
                    </a:lnTo>
                    <a:lnTo>
                      <a:pt x="3556" y="1226"/>
                    </a:lnTo>
                    <a:lnTo>
                      <a:pt x="3564" y="1246"/>
                    </a:lnTo>
                    <a:lnTo>
                      <a:pt x="3571" y="1266"/>
                    </a:lnTo>
                    <a:lnTo>
                      <a:pt x="3575" y="1281"/>
                    </a:lnTo>
                    <a:lnTo>
                      <a:pt x="3588" y="1319"/>
                    </a:lnTo>
                    <a:lnTo>
                      <a:pt x="3598" y="1356"/>
                    </a:lnTo>
                    <a:lnTo>
                      <a:pt x="3608" y="1395"/>
                    </a:lnTo>
                    <a:lnTo>
                      <a:pt x="3616" y="1433"/>
                    </a:lnTo>
                    <a:lnTo>
                      <a:pt x="3623" y="1472"/>
                    </a:lnTo>
                    <a:lnTo>
                      <a:pt x="3631" y="1511"/>
                    </a:lnTo>
                    <a:lnTo>
                      <a:pt x="3638" y="1550"/>
                    </a:lnTo>
                    <a:lnTo>
                      <a:pt x="3645" y="1589"/>
                    </a:lnTo>
                    <a:lnTo>
                      <a:pt x="3649" y="1616"/>
                    </a:lnTo>
                    <a:lnTo>
                      <a:pt x="3652" y="1645"/>
                    </a:lnTo>
                    <a:lnTo>
                      <a:pt x="3657" y="1675"/>
                    </a:lnTo>
                    <a:lnTo>
                      <a:pt x="3663" y="1702"/>
                    </a:lnTo>
                    <a:lnTo>
                      <a:pt x="3664" y="1716"/>
                    </a:lnTo>
                    <a:lnTo>
                      <a:pt x="3663" y="1735"/>
                    </a:lnTo>
                    <a:lnTo>
                      <a:pt x="3663" y="1751"/>
                    </a:lnTo>
                    <a:lnTo>
                      <a:pt x="3663" y="1761"/>
                    </a:lnTo>
                    <a:lnTo>
                      <a:pt x="3663" y="1749"/>
                    </a:lnTo>
                    <a:lnTo>
                      <a:pt x="3661" y="1737"/>
                    </a:lnTo>
                    <a:lnTo>
                      <a:pt x="3657" y="1724"/>
                    </a:lnTo>
                    <a:lnTo>
                      <a:pt x="3653" y="1712"/>
                    </a:lnTo>
                    <a:lnTo>
                      <a:pt x="3646" y="1686"/>
                    </a:lnTo>
                    <a:lnTo>
                      <a:pt x="3641" y="1663"/>
                    </a:lnTo>
                    <a:lnTo>
                      <a:pt x="3636" y="1644"/>
                    </a:lnTo>
                    <a:lnTo>
                      <a:pt x="3629" y="1617"/>
                    </a:lnTo>
                    <a:lnTo>
                      <a:pt x="3625" y="1605"/>
                    </a:lnTo>
                    <a:lnTo>
                      <a:pt x="3621" y="1598"/>
                    </a:lnTo>
                    <a:lnTo>
                      <a:pt x="3619" y="1597"/>
                    </a:lnTo>
                    <a:lnTo>
                      <a:pt x="3617" y="1597"/>
                    </a:lnTo>
                    <a:lnTo>
                      <a:pt x="3616" y="1600"/>
                    </a:lnTo>
                    <a:lnTo>
                      <a:pt x="3615" y="1605"/>
                    </a:lnTo>
                    <a:lnTo>
                      <a:pt x="3611" y="1615"/>
                    </a:lnTo>
                    <a:lnTo>
                      <a:pt x="3608" y="1624"/>
                    </a:lnTo>
                    <a:lnTo>
                      <a:pt x="3603" y="1633"/>
                    </a:lnTo>
                    <a:lnTo>
                      <a:pt x="3597" y="1640"/>
                    </a:lnTo>
                    <a:lnTo>
                      <a:pt x="3590" y="1648"/>
                    </a:lnTo>
                    <a:lnTo>
                      <a:pt x="3582" y="1653"/>
                    </a:lnTo>
                    <a:lnTo>
                      <a:pt x="3574" y="1658"/>
                    </a:lnTo>
                    <a:lnTo>
                      <a:pt x="3563" y="1662"/>
                    </a:lnTo>
                    <a:lnTo>
                      <a:pt x="3557" y="1664"/>
                    </a:lnTo>
                    <a:lnTo>
                      <a:pt x="3552" y="1668"/>
                    </a:lnTo>
                    <a:lnTo>
                      <a:pt x="3550" y="1672"/>
                    </a:lnTo>
                    <a:lnTo>
                      <a:pt x="3549" y="1678"/>
                    </a:lnTo>
                    <a:lnTo>
                      <a:pt x="3550" y="1685"/>
                    </a:lnTo>
                    <a:lnTo>
                      <a:pt x="3551" y="1691"/>
                    </a:lnTo>
                    <a:lnTo>
                      <a:pt x="3555" y="1699"/>
                    </a:lnTo>
                    <a:lnTo>
                      <a:pt x="3558" y="1706"/>
                    </a:lnTo>
                    <a:lnTo>
                      <a:pt x="3568" y="1723"/>
                    </a:lnTo>
                    <a:lnTo>
                      <a:pt x="3577" y="1739"/>
                    </a:lnTo>
                    <a:lnTo>
                      <a:pt x="3581" y="1747"/>
                    </a:lnTo>
                    <a:lnTo>
                      <a:pt x="3584" y="1754"/>
                    </a:lnTo>
                    <a:lnTo>
                      <a:pt x="3586" y="1761"/>
                    </a:lnTo>
                    <a:lnTo>
                      <a:pt x="3589" y="1767"/>
                    </a:lnTo>
                    <a:lnTo>
                      <a:pt x="3590" y="1774"/>
                    </a:lnTo>
                    <a:lnTo>
                      <a:pt x="3591" y="1778"/>
                    </a:lnTo>
                    <a:lnTo>
                      <a:pt x="3594" y="1783"/>
                    </a:lnTo>
                    <a:lnTo>
                      <a:pt x="3597" y="1788"/>
                    </a:lnTo>
                    <a:lnTo>
                      <a:pt x="3603" y="1795"/>
                    </a:lnTo>
                    <a:lnTo>
                      <a:pt x="3609" y="1801"/>
                    </a:lnTo>
                    <a:lnTo>
                      <a:pt x="3616" y="1807"/>
                    </a:lnTo>
                    <a:lnTo>
                      <a:pt x="3622" y="1813"/>
                    </a:lnTo>
                    <a:lnTo>
                      <a:pt x="3624" y="1815"/>
                    </a:lnTo>
                    <a:lnTo>
                      <a:pt x="3626" y="1818"/>
                    </a:lnTo>
                    <a:lnTo>
                      <a:pt x="3628" y="1823"/>
                    </a:lnTo>
                    <a:lnTo>
                      <a:pt x="3630" y="1828"/>
                    </a:lnTo>
                    <a:lnTo>
                      <a:pt x="3632" y="1842"/>
                    </a:lnTo>
                    <a:lnTo>
                      <a:pt x="3636" y="1854"/>
                    </a:lnTo>
                    <a:lnTo>
                      <a:pt x="3641" y="1866"/>
                    </a:lnTo>
                    <a:lnTo>
                      <a:pt x="3648" y="1877"/>
                    </a:lnTo>
                    <a:lnTo>
                      <a:pt x="3650" y="1880"/>
                    </a:lnTo>
                    <a:lnTo>
                      <a:pt x="3653" y="1880"/>
                    </a:lnTo>
                    <a:lnTo>
                      <a:pt x="3657" y="1880"/>
                    </a:lnTo>
                    <a:lnTo>
                      <a:pt x="3661" y="1880"/>
                    </a:lnTo>
                    <a:lnTo>
                      <a:pt x="3668" y="1876"/>
                    </a:lnTo>
                    <a:lnTo>
                      <a:pt x="3672" y="1873"/>
                    </a:lnTo>
                    <a:lnTo>
                      <a:pt x="3675" y="1867"/>
                    </a:lnTo>
                    <a:lnTo>
                      <a:pt x="3676" y="1861"/>
                    </a:lnTo>
                    <a:lnTo>
                      <a:pt x="3677" y="1854"/>
                    </a:lnTo>
                    <a:lnTo>
                      <a:pt x="3677" y="1846"/>
                    </a:lnTo>
                    <a:lnTo>
                      <a:pt x="3677" y="1830"/>
                    </a:lnTo>
                    <a:lnTo>
                      <a:pt x="3677" y="1813"/>
                    </a:lnTo>
                    <a:lnTo>
                      <a:pt x="3676" y="1796"/>
                    </a:lnTo>
                    <a:lnTo>
                      <a:pt x="3675" y="1778"/>
                    </a:lnTo>
                    <a:lnTo>
                      <a:pt x="3676" y="1763"/>
                    </a:lnTo>
                    <a:lnTo>
                      <a:pt x="3679" y="1749"/>
                    </a:lnTo>
                    <a:lnTo>
                      <a:pt x="3684" y="1758"/>
                    </a:lnTo>
                    <a:lnTo>
                      <a:pt x="3688" y="1772"/>
                    </a:lnTo>
                    <a:lnTo>
                      <a:pt x="3690" y="1789"/>
                    </a:lnTo>
                    <a:lnTo>
                      <a:pt x="3692" y="1808"/>
                    </a:lnTo>
                    <a:lnTo>
                      <a:pt x="3696" y="1843"/>
                    </a:lnTo>
                    <a:lnTo>
                      <a:pt x="3696" y="1869"/>
                    </a:lnTo>
                    <a:lnTo>
                      <a:pt x="3697" y="1867"/>
                    </a:lnTo>
                    <a:lnTo>
                      <a:pt x="3698" y="1866"/>
                    </a:lnTo>
                    <a:lnTo>
                      <a:pt x="3736" y="2417"/>
                    </a:lnTo>
                    <a:lnTo>
                      <a:pt x="3738" y="2441"/>
                    </a:lnTo>
                    <a:lnTo>
                      <a:pt x="3738" y="2478"/>
                    </a:lnTo>
                    <a:lnTo>
                      <a:pt x="3737" y="2524"/>
                    </a:lnTo>
                    <a:lnTo>
                      <a:pt x="3732" y="2573"/>
                    </a:lnTo>
                    <a:lnTo>
                      <a:pt x="3729" y="2596"/>
                    </a:lnTo>
                    <a:lnTo>
                      <a:pt x="3725" y="2620"/>
                    </a:lnTo>
                    <a:lnTo>
                      <a:pt x="3722" y="2640"/>
                    </a:lnTo>
                    <a:lnTo>
                      <a:pt x="3716" y="2659"/>
                    </a:lnTo>
                    <a:lnTo>
                      <a:pt x="3713" y="2666"/>
                    </a:lnTo>
                    <a:lnTo>
                      <a:pt x="3710" y="2673"/>
                    </a:lnTo>
                    <a:lnTo>
                      <a:pt x="3706" y="2679"/>
                    </a:lnTo>
                    <a:lnTo>
                      <a:pt x="3703" y="2684"/>
                    </a:lnTo>
                    <a:lnTo>
                      <a:pt x="3699" y="2687"/>
                    </a:lnTo>
                    <a:lnTo>
                      <a:pt x="3696" y="2689"/>
                    </a:lnTo>
                    <a:lnTo>
                      <a:pt x="3691" y="2691"/>
                    </a:lnTo>
                    <a:lnTo>
                      <a:pt x="3686" y="2691"/>
                    </a:lnTo>
                    <a:lnTo>
                      <a:pt x="3685" y="2680"/>
                    </a:lnTo>
                    <a:lnTo>
                      <a:pt x="3686" y="2667"/>
                    </a:lnTo>
                    <a:lnTo>
                      <a:pt x="3689" y="2653"/>
                    </a:lnTo>
                    <a:lnTo>
                      <a:pt x="3692" y="2638"/>
                    </a:lnTo>
                    <a:lnTo>
                      <a:pt x="3702" y="2607"/>
                    </a:lnTo>
                    <a:lnTo>
                      <a:pt x="3710" y="2581"/>
                    </a:lnTo>
                    <a:lnTo>
                      <a:pt x="3717" y="2556"/>
                    </a:lnTo>
                    <a:lnTo>
                      <a:pt x="3722" y="2531"/>
                    </a:lnTo>
                    <a:lnTo>
                      <a:pt x="3723" y="2519"/>
                    </a:lnTo>
                    <a:lnTo>
                      <a:pt x="3723" y="2506"/>
                    </a:lnTo>
                    <a:lnTo>
                      <a:pt x="3723" y="2494"/>
                    </a:lnTo>
                    <a:lnTo>
                      <a:pt x="3719" y="2481"/>
                    </a:lnTo>
                    <a:lnTo>
                      <a:pt x="3715" y="2461"/>
                    </a:lnTo>
                    <a:lnTo>
                      <a:pt x="3709" y="2444"/>
                    </a:lnTo>
                    <a:lnTo>
                      <a:pt x="3706" y="2435"/>
                    </a:lnTo>
                    <a:lnTo>
                      <a:pt x="3704" y="2425"/>
                    </a:lnTo>
                    <a:lnTo>
                      <a:pt x="3703" y="2415"/>
                    </a:lnTo>
                    <a:lnTo>
                      <a:pt x="3703" y="2403"/>
                    </a:lnTo>
                    <a:lnTo>
                      <a:pt x="3703" y="2376"/>
                    </a:lnTo>
                    <a:lnTo>
                      <a:pt x="3703" y="2350"/>
                    </a:lnTo>
                    <a:lnTo>
                      <a:pt x="3702" y="2323"/>
                    </a:lnTo>
                    <a:lnTo>
                      <a:pt x="3702" y="2298"/>
                    </a:lnTo>
                    <a:lnTo>
                      <a:pt x="3699" y="2272"/>
                    </a:lnTo>
                    <a:lnTo>
                      <a:pt x="3697" y="2247"/>
                    </a:lnTo>
                    <a:lnTo>
                      <a:pt x="3693" y="2222"/>
                    </a:lnTo>
                    <a:lnTo>
                      <a:pt x="3688" y="2197"/>
                    </a:lnTo>
                    <a:lnTo>
                      <a:pt x="3686" y="2196"/>
                    </a:lnTo>
                    <a:lnTo>
                      <a:pt x="3684" y="2196"/>
                    </a:lnTo>
                    <a:lnTo>
                      <a:pt x="3682" y="2201"/>
                    </a:lnTo>
                    <a:lnTo>
                      <a:pt x="3678" y="2206"/>
                    </a:lnTo>
                    <a:lnTo>
                      <a:pt x="3673" y="2212"/>
                    </a:lnTo>
                    <a:lnTo>
                      <a:pt x="3668" y="2218"/>
                    </a:lnTo>
                    <a:lnTo>
                      <a:pt x="3662" y="2223"/>
                    </a:lnTo>
                    <a:lnTo>
                      <a:pt x="3655" y="2226"/>
                    </a:lnTo>
                    <a:lnTo>
                      <a:pt x="3649" y="2229"/>
                    </a:lnTo>
                    <a:lnTo>
                      <a:pt x="3643" y="2230"/>
                    </a:lnTo>
                    <a:lnTo>
                      <a:pt x="3641" y="2226"/>
                    </a:lnTo>
                    <a:lnTo>
                      <a:pt x="3637" y="2219"/>
                    </a:lnTo>
                    <a:lnTo>
                      <a:pt x="3632" y="2207"/>
                    </a:lnTo>
                    <a:lnTo>
                      <a:pt x="3629" y="2196"/>
                    </a:lnTo>
                    <a:lnTo>
                      <a:pt x="3628" y="2190"/>
                    </a:lnTo>
                    <a:lnTo>
                      <a:pt x="3628" y="2184"/>
                    </a:lnTo>
                    <a:lnTo>
                      <a:pt x="3630" y="2179"/>
                    </a:lnTo>
                    <a:lnTo>
                      <a:pt x="3632" y="2176"/>
                    </a:lnTo>
                    <a:lnTo>
                      <a:pt x="3637" y="2173"/>
                    </a:lnTo>
                    <a:lnTo>
                      <a:pt x="3643" y="2171"/>
                    </a:lnTo>
                    <a:lnTo>
                      <a:pt x="3651" y="2172"/>
                    </a:lnTo>
                    <a:lnTo>
                      <a:pt x="3663" y="2173"/>
                    </a:lnTo>
                    <a:lnTo>
                      <a:pt x="3671" y="2177"/>
                    </a:lnTo>
                    <a:lnTo>
                      <a:pt x="3682" y="2181"/>
                    </a:lnTo>
                    <a:lnTo>
                      <a:pt x="3686" y="2184"/>
                    </a:lnTo>
                    <a:lnTo>
                      <a:pt x="3691" y="2184"/>
                    </a:lnTo>
                    <a:lnTo>
                      <a:pt x="3696" y="2183"/>
                    </a:lnTo>
                    <a:lnTo>
                      <a:pt x="3698" y="2180"/>
                    </a:lnTo>
                    <a:lnTo>
                      <a:pt x="3700" y="2176"/>
                    </a:lnTo>
                    <a:lnTo>
                      <a:pt x="3700" y="2171"/>
                    </a:lnTo>
                    <a:lnTo>
                      <a:pt x="3700" y="2166"/>
                    </a:lnTo>
                    <a:lnTo>
                      <a:pt x="3698" y="2160"/>
                    </a:lnTo>
                    <a:lnTo>
                      <a:pt x="3695" y="2150"/>
                    </a:lnTo>
                    <a:lnTo>
                      <a:pt x="3689" y="2141"/>
                    </a:lnTo>
                    <a:lnTo>
                      <a:pt x="3675" y="2132"/>
                    </a:lnTo>
                    <a:lnTo>
                      <a:pt x="3661" y="2125"/>
                    </a:lnTo>
                    <a:lnTo>
                      <a:pt x="3656" y="2123"/>
                    </a:lnTo>
                    <a:lnTo>
                      <a:pt x="3653" y="2119"/>
                    </a:lnTo>
                    <a:lnTo>
                      <a:pt x="3652" y="2115"/>
                    </a:lnTo>
                    <a:lnTo>
                      <a:pt x="3651" y="2111"/>
                    </a:lnTo>
                    <a:lnTo>
                      <a:pt x="3652" y="2099"/>
                    </a:lnTo>
                    <a:lnTo>
                      <a:pt x="3652" y="2087"/>
                    </a:lnTo>
                    <a:lnTo>
                      <a:pt x="3652" y="2084"/>
                    </a:lnTo>
                    <a:lnTo>
                      <a:pt x="3655" y="2080"/>
                    </a:lnTo>
                    <a:lnTo>
                      <a:pt x="3658" y="2077"/>
                    </a:lnTo>
                    <a:lnTo>
                      <a:pt x="3662" y="2073"/>
                    </a:lnTo>
                    <a:lnTo>
                      <a:pt x="3666" y="2068"/>
                    </a:lnTo>
                    <a:lnTo>
                      <a:pt x="3669" y="2062"/>
                    </a:lnTo>
                    <a:lnTo>
                      <a:pt x="3672" y="2056"/>
                    </a:lnTo>
                    <a:lnTo>
                      <a:pt x="3672" y="2049"/>
                    </a:lnTo>
                    <a:lnTo>
                      <a:pt x="3652" y="2048"/>
                    </a:lnTo>
                    <a:lnTo>
                      <a:pt x="3630" y="2048"/>
                    </a:lnTo>
                    <a:lnTo>
                      <a:pt x="3621" y="2049"/>
                    </a:lnTo>
                    <a:lnTo>
                      <a:pt x="3613" y="2052"/>
                    </a:lnTo>
                    <a:lnTo>
                      <a:pt x="3612" y="2054"/>
                    </a:lnTo>
                    <a:lnTo>
                      <a:pt x="3611" y="2056"/>
                    </a:lnTo>
                    <a:lnTo>
                      <a:pt x="3612" y="2060"/>
                    </a:lnTo>
                    <a:lnTo>
                      <a:pt x="3615" y="2064"/>
                    </a:lnTo>
                    <a:lnTo>
                      <a:pt x="3621" y="2075"/>
                    </a:lnTo>
                    <a:lnTo>
                      <a:pt x="3628" y="2092"/>
                    </a:lnTo>
                    <a:lnTo>
                      <a:pt x="3631" y="2100"/>
                    </a:lnTo>
                    <a:lnTo>
                      <a:pt x="3632" y="2108"/>
                    </a:lnTo>
                    <a:lnTo>
                      <a:pt x="3633" y="2115"/>
                    </a:lnTo>
                    <a:lnTo>
                      <a:pt x="3632" y="2121"/>
                    </a:lnTo>
                    <a:lnTo>
                      <a:pt x="3626" y="2126"/>
                    </a:lnTo>
                    <a:lnTo>
                      <a:pt x="3616" y="2131"/>
                    </a:lnTo>
                    <a:lnTo>
                      <a:pt x="3603" y="2135"/>
                    </a:lnTo>
                    <a:lnTo>
                      <a:pt x="3595" y="2139"/>
                    </a:lnTo>
                    <a:lnTo>
                      <a:pt x="3591" y="2139"/>
                    </a:lnTo>
                    <a:lnTo>
                      <a:pt x="3589" y="2138"/>
                    </a:lnTo>
                    <a:lnTo>
                      <a:pt x="3586" y="2135"/>
                    </a:lnTo>
                    <a:lnTo>
                      <a:pt x="3584" y="2131"/>
                    </a:lnTo>
                    <a:lnTo>
                      <a:pt x="3581" y="2118"/>
                    </a:lnTo>
                    <a:lnTo>
                      <a:pt x="3576" y="2102"/>
                    </a:lnTo>
                    <a:lnTo>
                      <a:pt x="3574" y="2095"/>
                    </a:lnTo>
                    <a:lnTo>
                      <a:pt x="3570" y="2087"/>
                    </a:lnTo>
                    <a:lnTo>
                      <a:pt x="3568" y="2080"/>
                    </a:lnTo>
                    <a:lnTo>
                      <a:pt x="3563" y="2073"/>
                    </a:lnTo>
                    <a:lnTo>
                      <a:pt x="3558" y="2068"/>
                    </a:lnTo>
                    <a:lnTo>
                      <a:pt x="3552" y="2064"/>
                    </a:lnTo>
                    <a:lnTo>
                      <a:pt x="3547" y="2061"/>
                    </a:lnTo>
                    <a:lnTo>
                      <a:pt x="3539" y="2060"/>
                    </a:lnTo>
                    <a:lnTo>
                      <a:pt x="3539" y="2065"/>
                    </a:lnTo>
                    <a:lnTo>
                      <a:pt x="3542" y="2068"/>
                    </a:lnTo>
                    <a:lnTo>
                      <a:pt x="3544" y="2073"/>
                    </a:lnTo>
                    <a:lnTo>
                      <a:pt x="3547" y="2078"/>
                    </a:lnTo>
                    <a:lnTo>
                      <a:pt x="3549" y="2082"/>
                    </a:lnTo>
                    <a:lnTo>
                      <a:pt x="3551" y="2087"/>
                    </a:lnTo>
                    <a:lnTo>
                      <a:pt x="3552" y="2092"/>
                    </a:lnTo>
                    <a:lnTo>
                      <a:pt x="3551" y="2098"/>
                    </a:lnTo>
                    <a:lnTo>
                      <a:pt x="3539" y="2115"/>
                    </a:lnTo>
                    <a:lnTo>
                      <a:pt x="3529" y="2132"/>
                    </a:lnTo>
                    <a:lnTo>
                      <a:pt x="3538" y="2132"/>
                    </a:lnTo>
                    <a:lnTo>
                      <a:pt x="3545" y="2134"/>
                    </a:lnTo>
                    <a:lnTo>
                      <a:pt x="3551" y="2137"/>
                    </a:lnTo>
                    <a:lnTo>
                      <a:pt x="3556" y="2140"/>
                    </a:lnTo>
                    <a:lnTo>
                      <a:pt x="3561" y="2145"/>
                    </a:lnTo>
                    <a:lnTo>
                      <a:pt x="3563" y="2151"/>
                    </a:lnTo>
                    <a:lnTo>
                      <a:pt x="3566" y="2158"/>
                    </a:lnTo>
                    <a:lnTo>
                      <a:pt x="3570" y="2166"/>
                    </a:lnTo>
                    <a:lnTo>
                      <a:pt x="3570" y="2168"/>
                    </a:lnTo>
                    <a:lnTo>
                      <a:pt x="3570" y="2170"/>
                    </a:lnTo>
                    <a:lnTo>
                      <a:pt x="3569" y="2172"/>
                    </a:lnTo>
                    <a:lnTo>
                      <a:pt x="3568" y="2174"/>
                    </a:lnTo>
                    <a:lnTo>
                      <a:pt x="3563" y="2178"/>
                    </a:lnTo>
                    <a:lnTo>
                      <a:pt x="3557" y="2181"/>
                    </a:lnTo>
                    <a:lnTo>
                      <a:pt x="3544" y="2189"/>
                    </a:lnTo>
                    <a:lnTo>
                      <a:pt x="3536" y="2196"/>
                    </a:lnTo>
                    <a:lnTo>
                      <a:pt x="3532" y="2201"/>
                    </a:lnTo>
                    <a:lnTo>
                      <a:pt x="3530" y="2210"/>
                    </a:lnTo>
                    <a:lnTo>
                      <a:pt x="3530" y="2217"/>
                    </a:lnTo>
                    <a:lnTo>
                      <a:pt x="3531" y="2226"/>
                    </a:lnTo>
                    <a:lnTo>
                      <a:pt x="3536" y="2243"/>
                    </a:lnTo>
                    <a:lnTo>
                      <a:pt x="3542" y="2257"/>
                    </a:lnTo>
                    <a:lnTo>
                      <a:pt x="3551" y="2267"/>
                    </a:lnTo>
                    <a:lnTo>
                      <a:pt x="3562" y="2279"/>
                    </a:lnTo>
                    <a:lnTo>
                      <a:pt x="3568" y="2285"/>
                    </a:lnTo>
                    <a:lnTo>
                      <a:pt x="3572" y="2291"/>
                    </a:lnTo>
                    <a:lnTo>
                      <a:pt x="3576" y="2298"/>
                    </a:lnTo>
                    <a:lnTo>
                      <a:pt x="3577" y="2306"/>
                    </a:lnTo>
                    <a:lnTo>
                      <a:pt x="3576" y="2308"/>
                    </a:lnTo>
                    <a:lnTo>
                      <a:pt x="3433" y="2308"/>
                    </a:lnTo>
                    <a:lnTo>
                      <a:pt x="3430" y="2310"/>
                    </a:lnTo>
                    <a:lnTo>
                      <a:pt x="3429" y="2313"/>
                    </a:lnTo>
                    <a:lnTo>
                      <a:pt x="3428" y="2319"/>
                    </a:lnTo>
                    <a:lnTo>
                      <a:pt x="3427" y="2325"/>
                    </a:lnTo>
                    <a:lnTo>
                      <a:pt x="3427" y="2339"/>
                    </a:lnTo>
                    <a:lnTo>
                      <a:pt x="3427" y="2349"/>
                    </a:lnTo>
                    <a:lnTo>
                      <a:pt x="3414" y="2432"/>
                    </a:lnTo>
                    <a:lnTo>
                      <a:pt x="3413" y="2441"/>
                    </a:lnTo>
                    <a:lnTo>
                      <a:pt x="3414" y="2447"/>
                    </a:lnTo>
                    <a:lnTo>
                      <a:pt x="3415" y="2448"/>
                    </a:lnTo>
                    <a:lnTo>
                      <a:pt x="3417" y="2449"/>
                    </a:lnTo>
                    <a:lnTo>
                      <a:pt x="3418" y="2450"/>
                    </a:lnTo>
                    <a:lnTo>
                      <a:pt x="3421" y="2450"/>
                    </a:lnTo>
                    <a:lnTo>
                      <a:pt x="3427" y="2448"/>
                    </a:lnTo>
                    <a:lnTo>
                      <a:pt x="3434" y="2444"/>
                    </a:lnTo>
                    <a:lnTo>
                      <a:pt x="3442" y="2440"/>
                    </a:lnTo>
                    <a:lnTo>
                      <a:pt x="3450" y="2435"/>
                    </a:lnTo>
                    <a:lnTo>
                      <a:pt x="3468" y="2422"/>
                    </a:lnTo>
                    <a:lnTo>
                      <a:pt x="3484" y="2411"/>
                    </a:lnTo>
                    <a:lnTo>
                      <a:pt x="3492" y="2407"/>
                    </a:lnTo>
                    <a:lnTo>
                      <a:pt x="3500" y="2403"/>
                    </a:lnTo>
                    <a:lnTo>
                      <a:pt x="3505" y="2402"/>
                    </a:lnTo>
                    <a:lnTo>
                      <a:pt x="3510" y="2403"/>
                    </a:lnTo>
                    <a:lnTo>
                      <a:pt x="3519" y="2407"/>
                    </a:lnTo>
                    <a:lnTo>
                      <a:pt x="3528" y="2411"/>
                    </a:lnTo>
                    <a:lnTo>
                      <a:pt x="3535" y="2415"/>
                    </a:lnTo>
                    <a:lnTo>
                      <a:pt x="3542" y="2421"/>
                    </a:lnTo>
                    <a:lnTo>
                      <a:pt x="3547" y="2425"/>
                    </a:lnTo>
                    <a:lnTo>
                      <a:pt x="3550" y="2431"/>
                    </a:lnTo>
                    <a:lnTo>
                      <a:pt x="3550" y="2435"/>
                    </a:lnTo>
                    <a:lnTo>
                      <a:pt x="3551" y="2440"/>
                    </a:lnTo>
                    <a:lnTo>
                      <a:pt x="3550" y="2443"/>
                    </a:lnTo>
                    <a:lnTo>
                      <a:pt x="3549" y="2447"/>
                    </a:lnTo>
                    <a:lnTo>
                      <a:pt x="3545" y="2448"/>
                    </a:lnTo>
                    <a:lnTo>
                      <a:pt x="3543" y="2449"/>
                    </a:lnTo>
                    <a:lnTo>
                      <a:pt x="3541" y="2450"/>
                    </a:lnTo>
                    <a:lnTo>
                      <a:pt x="3538" y="2453"/>
                    </a:lnTo>
                    <a:lnTo>
                      <a:pt x="3535" y="2458"/>
                    </a:lnTo>
                    <a:lnTo>
                      <a:pt x="3532" y="2465"/>
                    </a:lnTo>
                    <a:lnTo>
                      <a:pt x="3532" y="2471"/>
                    </a:lnTo>
                    <a:lnTo>
                      <a:pt x="3535" y="2476"/>
                    </a:lnTo>
                    <a:lnTo>
                      <a:pt x="3536" y="2477"/>
                    </a:lnTo>
                    <a:lnTo>
                      <a:pt x="3537" y="2477"/>
                    </a:lnTo>
                    <a:lnTo>
                      <a:pt x="3539" y="2477"/>
                    </a:lnTo>
                    <a:lnTo>
                      <a:pt x="3542" y="2476"/>
                    </a:lnTo>
                    <a:lnTo>
                      <a:pt x="3544" y="2475"/>
                    </a:lnTo>
                    <a:lnTo>
                      <a:pt x="3549" y="2474"/>
                    </a:lnTo>
                    <a:lnTo>
                      <a:pt x="3555" y="2475"/>
                    </a:lnTo>
                    <a:lnTo>
                      <a:pt x="3562" y="2475"/>
                    </a:lnTo>
                    <a:lnTo>
                      <a:pt x="3577" y="2478"/>
                    </a:lnTo>
                    <a:lnTo>
                      <a:pt x="3595" y="2483"/>
                    </a:lnTo>
                    <a:lnTo>
                      <a:pt x="3611" y="2488"/>
                    </a:lnTo>
                    <a:lnTo>
                      <a:pt x="3626" y="2494"/>
                    </a:lnTo>
                    <a:lnTo>
                      <a:pt x="3638" y="2498"/>
                    </a:lnTo>
                    <a:lnTo>
                      <a:pt x="3646" y="2503"/>
                    </a:lnTo>
                    <a:lnTo>
                      <a:pt x="3652" y="2509"/>
                    </a:lnTo>
                    <a:lnTo>
                      <a:pt x="3658" y="2513"/>
                    </a:lnTo>
                    <a:lnTo>
                      <a:pt x="3661" y="2516"/>
                    </a:lnTo>
                    <a:lnTo>
                      <a:pt x="3662" y="2519"/>
                    </a:lnTo>
                    <a:lnTo>
                      <a:pt x="3662" y="2522"/>
                    </a:lnTo>
                    <a:lnTo>
                      <a:pt x="3659" y="2527"/>
                    </a:lnTo>
                    <a:lnTo>
                      <a:pt x="3656" y="2531"/>
                    </a:lnTo>
                    <a:lnTo>
                      <a:pt x="3651" y="2540"/>
                    </a:lnTo>
                    <a:lnTo>
                      <a:pt x="3645" y="2547"/>
                    </a:lnTo>
                    <a:lnTo>
                      <a:pt x="3642" y="2554"/>
                    </a:lnTo>
                    <a:lnTo>
                      <a:pt x="3639" y="2561"/>
                    </a:lnTo>
                    <a:lnTo>
                      <a:pt x="3638" y="2568"/>
                    </a:lnTo>
                    <a:lnTo>
                      <a:pt x="3635" y="2583"/>
                    </a:lnTo>
                    <a:lnTo>
                      <a:pt x="3632" y="2600"/>
                    </a:lnTo>
                    <a:lnTo>
                      <a:pt x="3633" y="2620"/>
                    </a:lnTo>
                    <a:lnTo>
                      <a:pt x="3637" y="2641"/>
                    </a:lnTo>
                    <a:lnTo>
                      <a:pt x="3642" y="2662"/>
                    </a:lnTo>
                    <a:lnTo>
                      <a:pt x="3645" y="2681"/>
                    </a:lnTo>
                    <a:lnTo>
                      <a:pt x="3646" y="2692"/>
                    </a:lnTo>
                    <a:lnTo>
                      <a:pt x="3645" y="2702"/>
                    </a:lnTo>
                    <a:lnTo>
                      <a:pt x="3644" y="2712"/>
                    </a:lnTo>
                    <a:lnTo>
                      <a:pt x="3642" y="2721"/>
                    </a:lnTo>
                    <a:lnTo>
                      <a:pt x="3639" y="2730"/>
                    </a:lnTo>
                    <a:lnTo>
                      <a:pt x="3637" y="2739"/>
                    </a:lnTo>
                    <a:lnTo>
                      <a:pt x="3636" y="2748"/>
                    </a:lnTo>
                    <a:lnTo>
                      <a:pt x="3635" y="2759"/>
                    </a:lnTo>
                    <a:lnTo>
                      <a:pt x="3642" y="2761"/>
                    </a:lnTo>
                    <a:lnTo>
                      <a:pt x="3646" y="2764"/>
                    </a:lnTo>
                    <a:lnTo>
                      <a:pt x="3652" y="2767"/>
                    </a:lnTo>
                    <a:lnTo>
                      <a:pt x="3656" y="2771"/>
                    </a:lnTo>
                    <a:lnTo>
                      <a:pt x="3659" y="2775"/>
                    </a:lnTo>
                    <a:lnTo>
                      <a:pt x="3662" y="2779"/>
                    </a:lnTo>
                    <a:lnTo>
                      <a:pt x="3663" y="2785"/>
                    </a:lnTo>
                    <a:lnTo>
                      <a:pt x="3664" y="2790"/>
                    </a:lnTo>
                    <a:lnTo>
                      <a:pt x="3665" y="2800"/>
                    </a:lnTo>
                    <a:lnTo>
                      <a:pt x="3664" y="2812"/>
                    </a:lnTo>
                    <a:lnTo>
                      <a:pt x="3662" y="2824"/>
                    </a:lnTo>
                    <a:lnTo>
                      <a:pt x="3657" y="2837"/>
                    </a:lnTo>
                    <a:lnTo>
                      <a:pt x="3648" y="2863"/>
                    </a:lnTo>
                    <a:lnTo>
                      <a:pt x="3636" y="2889"/>
                    </a:lnTo>
                    <a:lnTo>
                      <a:pt x="3631" y="2900"/>
                    </a:lnTo>
                    <a:lnTo>
                      <a:pt x="3626" y="2912"/>
                    </a:lnTo>
                    <a:lnTo>
                      <a:pt x="3624" y="2923"/>
                    </a:lnTo>
                    <a:lnTo>
                      <a:pt x="3622" y="2932"/>
                    </a:lnTo>
                    <a:lnTo>
                      <a:pt x="3621" y="2950"/>
                    </a:lnTo>
                    <a:lnTo>
                      <a:pt x="3618" y="2971"/>
                    </a:lnTo>
                    <a:lnTo>
                      <a:pt x="3615" y="2992"/>
                    </a:lnTo>
                    <a:lnTo>
                      <a:pt x="3609" y="3015"/>
                    </a:lnTo>
                    <a:lnTo>
                      <a:pt x="3603" y="3037"/>
                    </a:lnTo>
                    <a:lnTo>
                      <a:pt x="3596" y="3057"/>
                    </a:lnTo>
                    <a:lnTo>
                      <a:pt x="3588" y="3076"/>
                    </a:lnTo>
                    <a:lnTo>
                      <a:pt x="3579" y="3091"/>
                    </a:lnTo>
                    <a:lnTo>
                      <a:pt x="3574" y="3098"/>
                    </a:lnTo>
                    <a:lnTo>
                      <a:pt x="3565" y="3106"/>
                    </a:lnTo>
                    <a:lnTo>
                      <a:pt x="3555" y="3114"/>
                    </a:lnTo>
                    <a:lnTo>
                      <a:pt x="3544" y="3120"/>
                    </a:lnTo>
                    <a:lnTo>
                      <a:pt x="3532" y="3126"/>
                    </a:lnTo>
                    <a:lnTo>
                      <a:pt x="3521" y="3129"/>
                    </a:lnTo>
                    <a:lnTo>
                      <a:pt x="3516" y="3129"/>
                    </a:lnTo>
                    <a:lnTo>
                      <a:pt x="3510" y="3129"/>
                    </a:lnTo>
                    <a:lnTo>
                      <a:pt x="3507" y="3128"/>
                    </a:lnTo>
                    <a:lnTo>
                      <a:pt x="3502" y="3126"/>
                    </a:lnTo>
                    <a:lnTo>
                      <a:pt x="3498" y="3121"/>
                    </a:lnTo>
                    <a:lnTo>
                      <a:pt x="3496" y="3117"/>
                    </a:lnTo>
                    <a:lnTo>
                      <a:pt x="3495" y="3113"/>
                    </a:lnTo>
                    <a:lnTo>
                      <a:pt x="3496" y="3108"/>
                    </a:lnTo>
                    <a:lnTo>
                      <a:pt x="3497" y="3103"/>
                    </a:lnTo>
                    <a:lnTo>
                      <a:pt x="3501" y="3098"/>
                    </a:lnTo>
                    <a:lnTo>
                      <a:pt x="3504" y="3094"/>
                    </a:lnTo>
                    <a:lnTo>
                      <a:pt x="3508" y="3089"/>
                    </a:lnTo>
                    <a:lnTo>
                      <a:pt x="3527" y="3072"/>
                    </a:lnTo>
                    <a:lnTo>
                      <a:pt x="3542" y="3060"/>
                    </a:lnTo>
                    <a:lnTo>
                      <a:pt x="3549" y="3051"/>
                    </a:lnTo>
                    <a:lnTo>
                      <a:pt x="3555" y="3044"/>
                    </a:lnTo>
                    <a:lnTo>
                      <a:pt x="3558" y="3036"/>
                    </a:lnTo>
                    <a:lnTo>
                      <a:pt x="3562" y="3027"/>
                    </a:lnTo>
                    <a:lnTo>
                      <a:pt x="3564" y="3018"/>
                    </a:lnTo>
                    <a:lnTo>
                      <a:pt x="3566" y="3009"/>
                    </a:lnTo>
                    <a:lnTo>
                      <a:pt x="3566" y="2998"/>
                    </a:lnTo>
                    <a:lnTo>
                      <a:pt x="3568" y="2988"/>
                    </a:lnTo>
                    <a:lnTo>
                      <a:pt x="3568" y="2981"/>
                    </a:lnTo>
                    <a:lnTo>
                      <a:pt x="3570" y="2972"/>
                    </a:lnTo>
                    <a:lnTo>
                      <a:pt x="3575" y="2965"/>
                    </a:lnTo>
                    <a:lnTo>
                      <a:pt x="3578" y="2957"/>
                    </a:lnTo>
                    <a:lnTo>
                      <a:pt x="3588" y="2942"/>
                    </a:lnTo>
                    <a:lnTo>
                      <a:pt x="3596" y="2929"/>
                    </a:lnTo>
                    <a:lnTo>
                      <a:pt x="3603" y="2910"/>
                    </a:lnTo>
                    <a:lnTo>
                      <a:pt x="3608" y="2891"/>
                    </a:lnTo>
                    <a:lnTo>
                      <a:pt x="3613" y="2872"/>
                    </a:lnTo>
                    <a:lnTo>
                      <a:pt x="3622" y="2852"/>
                    </a:lnTo>
                    <a:lnTo>
                      <a:pt x="3629" y="2836"/>
                    </a:lnTo>
                    <a:lnTo>
                      <a:pt x="3635" y="2821"/>
                    </a:lnTo>
                    <a:lnTo>
                      <a:pt x="3636" y="2814"/>
                    </a:lnTo>
                    <a:lnTo>
                      <a:pt x="3637" y="2806"/>
                    </a:lnTo>
                    <a:lnTo>
                      <a:pt x="3637" y="2798"/>
                    </a:lnTo>
                    <a:lnTo>
                      <a:pt x="3635" y="2790"/>
                    </a:lnTo>
                    <a:lnTo>
                      <a:pt x="3632" y="2790"/>
                    </a:lnTo>
                    <a:lnTo>
                      <a:pt x="3629" y="2791"/>
                    </a:lnTo>
                    <a:lnTo>
                      <a:pt x="3625" y="2793"/>
                    </a:lnTo>
                    <a:lnTo>
                      <a:pt x="3622" y="2797"/>
                    </a:lnTo>
                    <a:lnTo>
                      <a:pt x="3615" y="2807"/>
                    </a:lnTo>
                    <a:lnTo>
                      <a:pt x="3605" y="2819"/>
                    </a:lnTo>
                    <a:lnTo>
                      <a:pt x="3597" y="2832"/>
                    </a:lnTo>
                    <a:lnTo>
                      <a:pt x="3588" y="2843"/>
                    </a:lnTo>
                    <a:lnTo>
                      <a:pt x="3582" y="2849"/>
                    </a:lnTo>
                    <a:lnTo>
                      <a:pt x="3577" y="2852"/>
                    </a:lnTo>
                    <a:lnTo>
                      <a:pt x="3572" y="2856"/>
                    </a:lnTo>
                    <a:lnTo>
                      <a:pt x="3566" y="2857"/>
                    </a:lnTo>
                    <a:lnTo>
                      <a:pt x="3557" y="2858"/>
                    </a:lnTo>
                    <a:lnTo>
                      <a:pt x="3545" y="2857"/>
                    </a:lnTo>
                    <a:lnTo>
                      <a:pt x="3530" y="2854"/>
                    </a:lnTo>
                    <a:lnTo>
                      <a:pt x="3516" y="2851"/>
                    </a:lnTo>
                    <a:lnTo>
                      <a:pt x="3502" y="2846"/>
                    </a:lnTo>
                    <a:lnTo>
                      <a:pt x="3490" y="2840"/>
                    </a:lnTo>
                    <a:lnTo>
                      <a:pt x="3485" y="2837"/>
                    </a:lnTo>
                    <a:lnTo>
                      <a:pt x="3482" y="2832"/>
                    </a:lnTo>
                    <a:lnTo>
                      <a:pt x="3480" y="2829"/>
                    </a:lnTo>
                    <a:lnTo>
                      <a:pt x="3478" y="2824"/>
                    </a:lnTo>
                    <a:lnTo>
                      <a:pt x="3502" y="2826"/>
                    </a:lnTo>
                    <a:lnTo>
                      <a:pt x="3515" y="2826"/>
                    </a:lnTo>
                    <a:lnTo>
                      <a:pt x="3517" y="2826"/>
                    </a:lnTo>
                    <a:lnTo>
                      <a:pt x="3519" y="2825"/>
                    </a:lnTo>
                    <a:lnTo>
                      <a:pt x="3521" y="2823"/>
                    </a:lnTo>
                    <a:lnTo>
                      <a:pt x="3522" y="2819"/>
                    </a:lnTo>
                    <a:lnTo>
                      <a:pt x="3523" y="2810"/>
                    </a:lnTo>
                    <a:lnTo>
                      <a:pt x="3523" y="2797"/>
                    </a:lnTo>
                    <a:lnTo>
                      <a:pt x="3532" y="2793"/>
                    </a:lnTo>
                    <a:lnTo>
                      <a:pt x="3539" y="2791"/>
                    </a:lnTo>
                    <a:lnTo>
                      <a:pt x="3545" y="2788"/>
                    </a:lnTo>
                    <a:lnTo>
                      <a:pt x="3549" y="2786"/>
                    </a:lnTo>
                    <a:lnTo>
                      <a:pt x="3550" y="2784"/>
                    </a:lnTo>
                    <a:lnTo>
                      <a:pt x="3551" y="2781"/>
                    </a:lnTo>
                    <a:lnTo>
                      <a:pt x="3550" y="2779"/>
                    </a:lnTo>
                    <a:lnTo>
                      <a:pt x="3547" y="2777"/>
                    </a:lnTo>
                    <a:lnTo>
                      <a:pt x="3539" y="2774"/>
                    </a:lnTo>
                    <a:lnTo>
                      <a:pt x="3528" y="2773"/>
                    </a:lnTo>
                    <a:lnTo>
                      <a:pt x="3514" y="2773"/>
                    </a:lnTo>
                    <a:lnTo>
                      <a:pt x="3500" y="2775"/>
                    </a:lnTo>
                    <a:lnTo>
                      <a:pt x="3497" y="2786"/>
                    </a:lnTo>
                    <a:lnTo>
                      <a:pt x="3494" y="2796"/>
                    </a:lnTo>
                    <a:lnTo>
                      <a:pt x="3491" y="2803"/>
                    </a:lnTo>
                    <a:lnTo>
                      <a:pt x="3488" y="2810"/>
                    </a:lnTo>
                    <a:lnTo>
                      <a:pt x="3484" y="2814"/>
                    </a:lnTo>
                    <a:lnTo>
                      <a:pt x="3481" y="2818"/>
                    </a:lnTo>
                    <a:lnTo>
                      <a:pt x="3477" y="2821"/>
                    </a:lnTo>
                    <a:lnTo>
                      <a:pt x="3474" y="2824"/>
                    </a:lnTo>
                    <a:lnTo>
                      <a:pt x="3469" y="2825"/>
                    </a:lnTo>
                    <a:lnTo>
                      <a:pt x="3465" y="2825"/>
                    </a:lnTo>
                    <a:lnTo>
                      <a:pt x="3461" y="2824"/>
                    </a:lnTo>
                    <a:lnTo>
                      <a:pt x="3457" y="2823"/>
                    </a:lnTo>
                    <a:lnTo>
                      <a:pt x="3448" y="2818"/>
                    </a:lnTo>
                    <a:lnTo>
                      <a:pt x="3440" y="2811"/>
                    </a:lnTo>
                    <a:lnTo>
                      <a:pt x="3421" y="2793"/>
                    </a:lnTo>
                    <a:lnTo>
                      <a:pt x="3402" y="2772"/>
                    </a:lnTo>
                    <a:lnTo>
                      <a:pt x="3391" y="2763"/>
                    </a:lnTo>
                    <a:lnTo>
                      <a:pt x="3382" y="2753"/>
                    </a:lnTo>
                    <a:lnTo>
                      <a:pt x="3373" y="2745"/>
                    </a:lnTo>
                    <a:lnTo>
                      <a:pt x="3363" y="2739"/>
                    </a:lnTo>
                    <a:lnTo>
                      <a:pt x="3351" y="2735"/>
                    </a:lnTo>
                    <a:lnTo>
                      <a:pt x="3338" y="2733"/>
                    </a:lnTo>
                    <a:lnTo>
                      <a:pt x="3324" y="2732"/>
                    </a:lnTo>
                    <a:lnTo>
                      <a:pt x="3308" y="2732"/>
                    </a:lnTo>
                    <a:lnTo>
                      <a:pt x="3291" y="2733"/>
                    </a:lnTo>
                    <a:lnTo>
                      <a:pt x="3274" y="2735"/>
                    </a:lnTo>
                    <a:lnTo>
                      <a:pt x="3255" y="2739"/>
                    </a:lnTo>
                    <a:lnTo>
                      <a:pt x="3237" y="2742"/>
                    </a:lnTo>
                    <a:lnTo>
                      <a:pt x="3200" y="2752"/>
                    </a:lnTo>
                    <a:lnTo>
                      <a:pt x="3165" y="2761"/>
                    </a:lnTo>
                    <a:lnTo>
                      <a:pt x="3133" y="2771"/>
                    </a:lnTo>
                    <a:lnTo>
                      <a:pt x="3108" y="2778"/>
                    </a:lnTo>
                    <a:lnTo>
                      <a:pt x="3087" y="2777"/>
                    </a:lnTo>
                    <a:lnTo>
                      <a:pt x="3066" y="2777"/>
                    </a:lnTo>
                    <a:lnTo>
                      <a:pt x="3044" y="2779"/>
                    </a:lnTo>
                    <a:lnTo>
                      <a:pt x="3021" y="2783"/>
                    </a:lnTo>
                    <a:lnTo>
                      <a:pt x="2978" y="2791"/>
                    </a:lnTo>
                    <a:lnTo>
                      <a:pt x="2937" y="2799"/>
                    </a:lnTo>
                    <a:lnTo>
                      <a:pt x="2913" y="2804"/>
                    </a:lnTo>
                    <a:lnTo>
                      <a:pt x="2887" y="2811"/>
                    </a:lnTo>
                    <a:lnTo>
                      <a:pt x="2863" y="2818"/>
                    </a:lnTo>
                    <a:lnTo>
                      <a:pt x="2839" y="2827"/>
                    </a:lnTo>
                    <a:lnTo>
                      <a:pt x="2828" y="2831"/>
                    </a:lnTo>
                    <a:lnTo>
                      <a:pt x="2816" y="2836"/>
                    </a:lnTo>
                    <a:lnTo>
                      <a:pt x="2801" y="2838"/>
                    </a:lnTo>
                    <a:lnTo>
                      <a:pt x="2787" y="2841"/>
                    </a:lnTo>
                    <a:lnTo>
                      <a:pt x="2773" y="2845"/>
                    </a:lnTo>
                    <a:lnTo>
                      <a:pt x="2760" y="2850"/>
                    </a:lnTo>
                    <a:lnTo>
                      <a:pt x="2750" y="2854"/>
                    </a:lnTo>
                    <a:lnTo>
                      <a:pt x="2740" y="2860"/>
                    </a:lnTo>
                    <a:lnTo>
                      <a:pt x="2724" y="2864"/>
                    </a:lnTo>
                    <a:lnTo>
                      <a:pt x="2709" y="2869"/>
                    </a:lnTo>
                    <a:lnTo>
                      <a:pt x="2700" y="2871"/>
                    </a:lnTo>
                    <a:lnTo>
                      <a:pt x="2692" y="2873"/>
                    </a:lnTo>
                    <a:lnTo>
                      <a:pt x="2683" y="2874"/>
                    </a:lnTo>
                    <a:lnTo>
                      <a:pt x="2673" y="2876"/>
                    </a:lnTo>
                    <a:lnTo>
                      <a:pt x="2649" y="2874"/>
                    </a:lnTo>
                    <a:lnTo>
                      <a:pt x="2623" y="2872"/>
                    </a:lnTo>
                    <a:lnTo>
                      <a:pt x="2610" y="2871"/>
                    </a:lnTo>
                    <a:lnTo>
                      <a:pt x="2597" y="2870"/>
                    </a:lnTo>
                    <a:lnTo>
                      <a:pt x="2584" y="2870"/>
                    </a:lnTo>
                    <a:lnTo>
                      <a:pt x="2572" y="2871"/>
                    </a:lnTo>
                    <a:lnTo>
                      <a:pt x="2459" y="2882"/>
                    </a:lnTo>
                    <a:lnTo>
                      <a:pt x="2457" y="2885"/>
                    </a:lnTo>
                    <a:lnTo>
                      <a:pt x="2454" y="2887"/>
                    </a:lnTo>
                    <a:lnTo>
                      <a:pt x="2450" y="2890"/>
                    </a:lnTo>
                    <a:lnTo>
                      <a:pt x="2445" y="2892"/>
                    </a:lnTo>
                    <a:lnTo>
                      <a:pt x="2437" y="2893"/>
                    </a:lnTo>
                    <a:lnTo>
                      <a:pt x="2428" y="2895"/>
                    </a:lnTo>
                    <a:lnTo>
                      <a:pt x="2428" y="2893"/>
                    </a:lnTo>
                    <a:lnTo>
                      <a:pt x="2426" y="2892"/>
                    </a:lnTo>
                    <a:lnTo>
                      <a:pt x="2428" y="2883"/>
                    </a:lnTo>
                    <a:lnTo>
                      <a:pt x="2428" y="2874"/>
                    </a:lnTo>
                    <a:lnTo>
                      <a:pt x="2434" y="2874"/>
                    </a:lnTo>
                    <a:lnTo>
                      <a:pt x="2437" y="2873"/>
                    </a:lnTo>
                    <a:lnTo>
                      <a:pt x="2441" y="2871"/>
                    </a:lnTo>
                    <a:lnTo>
                      <a:pt x="2444" y="2869"/>
                    </a:lnTo>
                    <a:lnTo>
                      <a:pt x="2451" y="2865"/>
                    </a:lnTo>
                    <a:lnTo>
                      <a:pt x="2457" y="2862"/>
                    </a:lnTo>
                    <a:lnTo>
                      <a:pt x="2457" y="2859"/>
                    </a:lnTo>
                    <a:lnTo>
                      <a:pt x="2455" y="2858"/>
                    </a:lnTo>
                    <a:lnTo>
                      <a:pt x="2452" y="2854"/>
                    </a:lnTo>
                    <a:lnTo>
                      <a:pt x="2451" y="2850"/>
                    </a:lnTo>
                    <a:lnTo>
                      <a:pt x="2451" y="2844"/>
                    </a:lnTo>
                    <a:lnTo>
                      <a:pt x="2451" y="2834"/>
                    </a:lnTo>
                    <a:lnTo>
                      <a:pt x="2449" y="2829"/>
                    </a:lnTo>
                    <a:lnTo>
                      <a:pt x="2446" y="2827"/>
                    </a:lnTo>
                    <a:lnTo>
                      <a:pt x="2442" y="2831"/>
                    </a:lnTo>
                    <a:lnTo>
                      <a:pt x="2437" y="2836"/>
                    </a:lnTo>
                    <a:lnTo>
                      <a:pt x="2431" y="2841"/>
                    </a:lnTo>
                    <a:lnTo>
                      <a:pt x="2422" y="2854"/>
                    </a:lnTo>
                    <a:lnTo>
                      <a:pt x="2417" y="2864"/>
                    </a:lnTo>
                    <a:lnTo>
                      <a:pt x="2416" y="2876"/>
                    </a:lnTo>
                    <a:lnTo>
                      <a:pt x="2415" y="2892"/>
                    </a:lnTo>
                    <a:lnTo>
                      <a:pt x="2415" y="2900"/>
                    </a:lnTo>
                    <a:lnTo>
                      <a:pt x="2414" y="2909"/>
                    </a:lnTo>
                    <a:lnTo>
                      <a:pt x="2411" y="2913"/>
                    </a:lnTo>
                    <a:lnTo>
                      <a:pt x="2409" y="2917"/>
                    </a:lnTo>
                    <a:lnTo>
                      <a:pt x="2397" y="2922"/>
                    </a:lnTo>
                    <a:lnTo>
                      <a:pt x="2383" y="2925"/>
                    </a:lnTo>
                    <a:lnTo>
                      <a:pt x="2368" y="2929"/>
                    </a:lnTo>
                    <a:lnTo>
                      <a:pt x="2356" y="2932"/>
                    </a:lnTo>
                    <a:lnTo>
                      <a:pt x="2344" y="2937"/>
                    </a:lnTo>
                    <a:lnTo>
                      <a:pt x="2335" y="2943"/>
                    </a:lnTo>
                    <a:lnTo>
                      <a:pt x="2325" y="2951"/>
                    </a:lnTo>
                    <a:lnTo>
                      <a:pt x="2317" y="2959"/>
                    </a:lnTo>
                    <a:lnTo>
                      <a:pt x="2308" y="2966"/>
                    </a:lnTo>
                    <a:lnTo>
                      <a:pt x="2297" y="2973"/>
                    </a:lnTo>
                    <a:lnTo>
                      <a:pt x="2293" y="2977"/>
                    </a:lnTo>
                    <a:lnTo>
                      <a:pt x="2287" y="2979"/>
                    </a:lnTo>
                    <a:lnTo>
                      <a:pt x="2281" y="2982"/>
                    </a:lnTo>
                    <a:lnTo>
                      <a:pt x="2274" y="2984"/>
                    </a:lnTo>
                    <a:lnTo>
                      <a:pt x="2250" y="2989"/>
                    </a:lnTo>
                    <a:lnTo>
                      <a:pt x="2229" y="2996"/>
                    </a:lnTo>
                    <a:lnTo>
                      <a:pt x="2210" y="3004"/>
                    </a:lnTo>
                    <a:lnTo>
                      <a:pt x="2193" y="3014"/>
                    </a:lnTo>
                    <a:lnTo>
                      <a:pt x="2175" y="3025"/>
                    </a:lnTo>
                    <a:lnTo>
                      <a:pt x="2160" y="3039"/>
                    </a:lnTo>
                    <a:lnTo>
                      <a:pt x="2144" y="3055"/>
                    </a:lnTo>
                    <a:lnTo>
                      <a:pt x="2129" y="3072"/>
                    </a:lnTo>
                    <a:lnTo>
                      <a:pt x="2124" y="3078"/>
                    </a:lnTo>
                    <a:lnTo>
                      <a:pt x="2121" y="3087"/>
                    </a:lnTo>
                    <a:lnTo>
                      <a:pt x="2119" y="3094"/>
                    </a:lnTo>
                    <a:lnTo>
                      <a:pt x="2116" y="3101"/>
                    </a:lnTo>
                    <a:lnTo>
                      <a:pt x="2113" y="3116"/>
                    </a:lnTo>
                    <a:lnTo>
                      <a:pt x="2109" y="3129"/>
                    </a:lnTo>
                    <a:lnTo>
                      <a:pt x="2106" y="3135"/>
                    </a:lnTo>
                    <a:lnTo>
                      <a:pt x="2103" y="3141"/>
                    </a:lnTo>
                    <a:lnTo>
                      <a:pt x="2099" y="3144"/>
                    </a:lnTo>
                    <a:lnTo>
                      <a:pt x="2094" y="3148"/>
                    </a:lnTo>
                    <a:lnTo>
                      <a:pt x="2087" y="3150"/>
                    </a:lnTo>
                    <a:lnTo>
                      <a:pt x="2079" y="3150"/>
                    </a:lnTo>
                    <a:lnTo>
                      <a:pt x="2068" y="3149"/>
                    </a:lnTo>
                    <a:lnTo>
                      <a:pt x="2056" y="3147"/>
                    </a:lnTo>
                    <a:lnTo>
                      <a:pt x="2056" y="3111"/>
                    </a:lnTo>
                    <a:lnTo>
                      <a:pt x="2056" y="3081"/>
                    </a:lnTo>
                    <a:lnTo>
                      <a:pt x="2059" y="3067"/>
                    </a:lnTo>
                    <a:lnTo>
                      <a:pt x="2061" y="3051"/>
                    </a:lnTo>
                    <a:lnTo>
                      <a:pt x="2065" y="3035"/>
                    </a:lnTo>
                    <a:lnTo>
                      <a:pt x="2069" y="3017"/>
                    </a:lnTo>
                    <a:lnTo>
                      <a:pt x="2076" y="3018"/>
                    </a:lnTo>
                    <a:lnTo>
                      <a:pt x="2082" y="3022"/>
                    </a:lnTo>
                    <a:lnTo>
                      <a:pt x="2086" y="3022"/>
                    </a:lnTo>
                    <a:lnTo>
                      <a:pt x="2089" y="3023"/>
                    </a:lnTo>
                    <a:lnTo>
                      <a:pt x="2093" y="3023"/>
                    </a:lnTo>
                    <a:lnTo>
                      <a:pt x="2097" y="3022"/>
                    </a:lnTo>
                    <a:lnTo>
                      <a:pt x="2103" y="3019"/>
                    </a:lnTo>
                    <a:lnTo>
                      <a:pt x="2109" y="3016"/>
                    </a:lnTo>
                    <a:lnTo>
                      <a:pt x="2113" y="3012"/>
                    </a:lnTo>
                    <a:lnTo>
                      <a:pt x="2117" y="3008"/>
                    </a:lnTo>
                    <a:lnTo>
                      <a:pt x="2121" y="3004"/>
                    </a:lnTo>
                    <a:lnTo>
                      <a:pt x="2127" y="3002"/>
                    </a:lnTo>
                    <a:lnTo>
                      <a:pt x="2133" y="2999"/>
                    </a:lnTo>
                    <a:lnTo>
                      <a:pt x="2140" y="2998"/>
                    </a:lnTo>
                    <a:lnTo>
                      <a:pt x="2151" y="2997"/>
                    </a:lnTo>
                    <a:lnTo>
                      <a:pt x="2162" y="2996"/>
                    </a:lnTo>
                    <a:lnTo>
                      <a:pt x="2174" y="2995"/>
                    </a:lnTo>
                    <a:lnTo>
                      <a:pt x="2186" y="2994"/>
                    </a:lnTo>
                    <a:lnTo>
                      <a:pt x="2187" y="2988"/>
                    </a:lnTo>
                    <a:lnTo>
                      <a:pt x="2187" y="2981"/>
                    </a:lnTo>
                    <a:lnTo>
                      <a:pt x="2187" y="2973"/>
                    </a:lnTo>
                    <a:lnTo>
                      <a:pt x="2187" y="2968"/>
                    </a:lnTo>
                    <a:lnTo>
                      <a:pt x="2184" y="2953"/>
                    </a:lnTo>
                    <a:lnTo>
                      <a:pt x="2183" y="2940"/>
                    </a:lnTo>
                    <a:lnTo>
                      <a:pt x="2174" y="2942"/>
                    </a:lnTo>
                    <a:lnTo>
                      <a:pt x="2168" y="2944"/>
                    </a:lnTo>
                    <a:lnTo>
                      <a:pt x="2164" y="2944"/>
                    </a:lnTo>
                    <a:lnTo>
                      <a:pt x="2162" y="2942"/>
                    </a:lnTo>
                    <a:lnTo>
                      <a:pt x="2159" y="2938"/>
                    </a:lnTo>
                    <a:lnTo>
                      <a:pt x="2153" y="2931"/>
                    </a:lnTo>
                    <a:lnTo>
                      <a:pt x="2149" y="2926"/>
                    </a:lnTo>
                    <a:lnTo>
                      <a:pt x="2147" y="2924"/>
                    </a:lnTo>
                    <a:lnTo>
                      <a:pt x="2143" y="2922"/>
                    </a:lnTo>
                    <a:lnTo>
                      <a:pt x="2140" y="2919"/>
                    </a:lnTo>
                    <a:lnTo>
                      <a:pt x="2134" y="2918"/>
                    </a:lnTo>
                    <a:lnTo>
                      <a:pt x="2127" y="2918"/>
                    </a:lnTo>
                    <a:lnTo>
                      <a:pt x="2113" y="2920"/>
                    </a:lnTo>
                    <a:lnTo>
                      <a:pt x="2099" y="2919"/>
                    </a:lnTo>
                    <a:lnTo>
                      <a:pt x="2086" y="2916"/>
                    </a:lnTo>
                    <a:lnTo>
                      <a:pt x="2070" y="2910"/>
                    </a:lnTo>
                    <a:lnTo>
                      <a:pt x="2055" y="2904"/>
                    </a:lnTo>
                    <a:lnTo>
                      <a:pt x="2045" y="2902"/>
                    </a:lnTo>
                    <a:lnTo>
                      <a:pt x="2043" y="2910"/>
                    </a:lnTo>
                    <a:lnTo>
                      <a:pt x="2041" y="2915"/>
                    </a:lnTo>
                    <a:lnTo>
                      <a:pt x="2036" y="2919"/>
                    </a:lnTo>
                    <a:lnTo>
                      <a:pt x="2033" y="2922"/>
                    </a:lnTo>
                    <a:lnTo>
                      <a:pt x="2028" y="2925"/>
                    </a:lnTo>
                    <a:lnTo>
                      <a:pt x="2025" y="2930"/>
                    </a:lnTo>
                    <a:lnTo>
                      <a:pt x="2023" y="2936"/>
                    </a:lnTo>
                    <a:lnTo>
                      <a:pt x="2023" y="2945"/>
                    </a:lnTo>
                    <a:lnTo>
                      <a:pt x="2025" y="2952"/>
                    </a:lnTo>
                    <a:lnTo>
                      <a:pt x="2028" y="2959"/>
                    </a:lnTo>
                    <a:lnTo>
                      <a:pt x="2032" y="2965"/>
                    </a:lnTo>
                    <a:lnTo>
                      <a:pt x="2035" y="2971"/>
                    </a:lnTo>
                    <a:lnTo>
                      <a:pt x="2039" y="2977"/>
                    </a:lnTo>
                    <a:lnTo>
                      <a:pt x="2042" y="2983"/>
                    </a:lnTo>
                    <a:lnTo>
                      <a:pt x="2045" y="2990"/>
                    </a:lnTo>
                    <a:lnTo>
                      <a:pt x="2045" y="2998"/>
                    </a:lnTo>
                    <a:lnTo>
                      <a:pt x="2040" y="2998"/>
                    </a:lnTo>
                    <a:lnTo>
                      <a:pt x="2034" y="2996"/>
                    </a:lnTo>
                    <a:lnTo>
                      <a:pt x="2026" y="2992"/>
                    </a:lnTo>
                    <a:lnTo>
                      <a:pt x="2019" y="2988"/>
                    </a:lnTo>
                    <a:lnTo>
                      <a:pt x="2009" y="2984"/>
                    </a:lnTo>
                    <a:lnTo>
                      <a:pt x="2001" y="2979"/>
                    </a:lnTo>
                    <a:lnTo>
                      <a:pt x="1993" y="2977"/>
                    </a:lnTo>
                    <a:lnTo>
                      <a:pt x="1983" y="2976"/>
                    </a:lnTo>
                    <a:lnTo>
                      <a:pt x="1968" y="2976"/>
                    </a:lnTo>
                    <a:lnTo>
                      <a:pt x="1953" y="2978"/>
                    </a:lnTo>
                    <a:lnTo>
                      <a:pt x="1946" y="2979"/>
                    </a:lnTo>
                    <a:lnTo>
                      <a:pt x="1939" y="2983"/>
                    </a:lnTo>
                    <a:lnTo>
                      <a:pt x="1933" y="2986"/>
                    </a:lnTo>
                    <a:lnTo>
                      <a:pt x="1926" y="2992"/>
                    </a:lnTo>
                    <a:lnTo>
                      <a:pt x="1906" y="3003"/>
                    </a:lnTo>
                    <a:lnTo>
                      <a:pt x="1880" y="3017"/>
                    </a:lnTo>
                    <a:lnTo>
                      <a:pt x="1867" y="3024"/>
                    </a:lnTo>
                    <a:lnTo>
                      <a:pt x="1854" y="3030"/>
                    </a:lnTo>
                    <a:lnTo>
                      <a:pt x="1844" y="3035"/>
                    </a:lnTo>
                    <a:lnTo>
                      <a:pt x="1833" y="3036"/>
                    </a:lnTo>
                    <a:lnTo>
                      <a:pt x="1828" y="3034"/>
                    </a:lnTo>
                    <a:lnTo>
                      <a:pt x="1819" y="3029"/>
                    </a:lnTo>
                    <a:lnTo>
                      <a:pt x="1808" y="3022"/>
                    </a:lnTo>
                    <a:lnTo>
                      <a:pt x="1797" y="3012"/>
                    </a:lnTo>
                    <a:lnTo>
                      <a:pt x="1775" y="2995"/>
                    </a:lnTo>
                    <a:lnTo>
                      <a:pt x="1760" y="2983"/>
                    </a:lnTo>
                    <a:lnTo>
                      <a:pt x="1752" y="2978"/>
                    </a:lnTo>
                    <a:lnTo>
                      <a:pt x="1745" y="2975"/>
                    </a:lnTo>
                    <a:lnTo>
                      <a:pt x="1738" y="2971"/>
                    </a:lnTo>
                    <a:lnTo>
                      <a:pt x="1731" y="2969"/>
                    </a:lnTo>
                    <a:lnTo>
                      <a:pt x="1717" y="2965"/>
                    </a:lnTo>
                    <a:lnTo>
                      <a:pt x="1703" y="2964"/>
                    </a:lnTo>
                    <a:lnTo>
                      <a:pt x="1688" y="2965"/>
                    </a:lnTo>
                    <a:lnTo>
                      <a:pt x="1676" y="2969"/>
                    </a:lnTo>
                    <a:lnTo>
                      <a:pt x="1663" y="2973"/>
                    </a:lnTo>
                    <a:lnTo>
                      <a:pt x="1650" y="2979"/>
                    </a:lnTo>
                    <a:lnTo>
                      <a:pt x="1624" y="2992"/>
                    </a:lnTo>
                    <a:lnTo>
                      <a:pt x="1599" y="3008"/>
                    </a:lnTo>
                    <a:lnTo>
                      <a:pt x="1587" y="3015"/>
                    </a:lnTo>
                    <a:lnTo>
                      <a:pt x="1576" y="3022"/>
                    </a:lnTo>
                    <a:lnTo>
                      <a:pt x="1564" y="3028"/>
                    </a:lnTo>
                    <a:lnTo>
                      <a:pt x="1552" y="3032"/>
                    </a:lnTo>
                    <a:lnTo>
                      <a:pt x="1552" y="3034"/>
                    </a:lnTo>
                    <a:lnTo>
                      <a:pt x="1556" y="3036"/>
                    </a:lnTo>
                    <a:lnTo>
                      <a:pt x="1562" y="3039"/>
                    </a:lnTo>
                    <a:lnTo>
                      <a:pt x="1566" y="3044"/>
                    </a:lnTo>
                    <a:lnTo>
                      <a:pt x="1572" y="3051"/>
                    </a:lnTo>
                    <a:lnTo>
                      <a:pt x="1576" y="3058"/>
                    </a:lnTo>
                    <a:lnTo>
                      <a:pt x="1579" y="3065"/>
                    </a:lnTo>
                    <a:lnTo>
                      <a:pt x="1580" y="3068"/>
                    </a:lnTo>
                    <a:lnTo>
                      <a:pt x="1580" y="3071"/>
                    </a:lnTo>
                    <a:lnTo>
                      <a:pt x="1580" y="3074"/>
                    </a:lnTo>
                    <a:lnTo>
                      <a:pt x="1579" y="3077"/>
                    </a:lnTo>
                    <a:lnTo>
                      <a:pt x="1572" y="3087"/>
                    </a:lnTo>
                    <a:lnTo>
                      <a:pt x="1565" y="3096"/>
                    </a:lnTo>
                    <a:lnTo>
                      <a:pt x="1557" y="3104"/>
                    </a:lnTo>
                    <a:lnTo>
                      <a:pt x="1547" y="3113"/>
                    </a:lnTo>
                    <a:lnTo>
                      <a:pt x="1537" y="3121"/>
                    </a:lnTo>
                    <a:lnTo>
                      <a:pt x="1526" y="3128"/>
                    </a:lnTo>
                    <a:lnTo>
                      <a:pt x="1515" y="3135"/>
                    </a:lnTo>
                    <a:lnTo>
                      <a:pt x="1503" y="3141"/>
                    </a:lnTo>
                    <a:lnTo>
                      <a:pt x="1490" y="3146"/>
                    </a:lnTo>
                    <a:lnTo>
                      <a:pt x="1478" y="3150"/>
                    </a:lnTo>
                    <a:lnTo>
                      <a:pt x="1465" y="3154"/>
                    </a:lnTo>
                    <a:lnTo>
                      <a:pt x="1453" y="3156"/>
                    </a:lnTo>
                    <a:lnTo>
                      <a:pt x="1440" y="3157"/>
                    </a:lnTo>
                    <a:lnTo>
                      <a:pt x="1430" y="3157"/>
                    </a:lnTo>
                    <a:lnTo>
                      <a:pt x="1418" y="3157"/>
                    </a:lnTo>
                    <a:lnTo>
                      <a:pt x="1408" y="3155"/>
                    </a:lnTo>
                    <a:lnTo>
                      <a:pt x="1409" y="3148"/>
                    </a:lnTo>
                    <a:lnTo>
                      <a:pt x="1411" y="3141"/>
                    </a:lnTo>
                    <a:lnTo>
                      <a:pt x="1415" y="3134"/>
                    </a:lnTo>
                    <a:lnTo>
                      <a:pt x="1419" y="3127"/>
                    </a:lnTo>
                    <a:lnTo>
                      <a:pt x="1430" y="3111"/>
                    </a:lnTo>
                    <a:lnTo>
                      <a:pt x="1439" y="3097"/>
                    </a:lnTo>
                    <a:lnTo>
                      <a:pt x="1443" y="3091"/>
                    </a:lnTo>
                    <a:lnTo>
                      <a:pt x="1445" y="3087"/>
                    </a:lnTo>
                    <a:lnTo>
                      <a:pt x="1446" y="3082"/>
                    </a:lnTo>
                    <a:lnTo>
                      <a:pt x="1446" y="3078"/>
                    </a:lnTo>
                    <a:lnTo>
                      <a:pt x="1443" y="3076"/>
                    </a:lnTo>
                    <a:lnTo>
                      <a:pt x="1438" y="3074"/>
                    </a:lnTo>
                    <a:lnTo>
                      <a:pt x="1430" y="3075"/>
                    </a:lnTo>
                    <a:lnTo>
                      <a:pt x="1418" y="3076"/>
                    </a:lnTo>
                    <a:lnTo>
                      <a:pt x="1408" y="3077"/>
                    </a:lnTo>
                    <a:lnTo>
                      <a:pt x="1399" y="3076"/>
                    </a:lnTo>
                    <a:lnTo>
                      <a:pt x="1393" y="3075"/>
                    </a:lnTo>
                    <a:lnTo>
                      <a:pt x="1389" y="3074"/>
                    </a:lnTo>
                    <a:lnTo>
                      <a:pt x="1388" y="3074"/>
                    </a:lnTo>
                    <a:lnTo>
                      <a:pt x="1386" y="3075"/>
                    </a:lnTo>
                    <a:lnTo>
                      <a:pt x="1386" y="3076"/>
                    </a:lnTo>
                    <a:lnTo>
                      <a:pt x="1386" y="3078"/>
                    </a:lnTo>
                    <a:lnTo>
                      <a:pt x="1388" y="3085"/>
                    </a:lnTo>
                    <a:lnTo>
                      <a:pt x="1391" y="3100"/>
                    </a:lnTo>
                    <a:lnTo>
                      <a:pt x="1393" y="3114"/>
                    </a:lnTo>
                    <a:lnTo>
                      <a:pt x="1395" y="3128"/>
                    </a:lnTo>
                    <a:lnTo>
                      <a:pt x="1396" y="3143"/>
                    </a:lnTo>
                    <a:lnTo>
                      <a:pt x="1398" y="3157"/>
                    </a:lnTo>
                    <a:lnTo>
                      <a:pt x="1398" y="3159"/>
                    </a:lnTo>
                    <a:lnTo>
                      <a:pt x="1377" y="3159"/>
                    </a:lnTo>
                    <a:lnTo>
                      <a:pt x="1358" y="3161"/>
                    </a:lnTo>
                    <a:lnTo>
                      <a:pt x="1342" y="3164"/>
                    </a:lnTo>
                    <a:lnTo>
                      <a:pt x="1321" y="3168"/>
                    </a:lnTo>
                    <a:lnTo>
                      <a:pt x="1309" y="3169"/>
                    </a:lnTo>
                    <a:lnTo>
                      <a:pt x="1299" y="3169"/>
                    </a:lnTo>
                    <a:lnTo>
                      <a:pt x="1291" y="3168"/>
                    </a:lnTo>
                    <a:lnTo>
                      <a:pt x="1284" y="3167"/>
                    </a:lnTo>
                    <a:lnTo>
                      <a:pt x="1271" y="3162"/>
                    </a:lnTo>
                    <a:lnTo>
                      <a:pt x="1252" y="3156"/>
                    </a:lnTo>
                    <a:lnTo>
                      <a:pt x="1268" y="3151"/>
                    </a:lnTo>
                    <a:lnTo>
                      <a:pt x="1287" y="3146"/>
                    </a:lnTo>
                    <a:lnTo>
                      <a:pt x="1296" y="3139"/>
                    </a:lnTo>
                    <a:lnTo>
                      <a:pt x="1301" y="3133"/>
                    </a:lnTo>
                    <a:lnTo>
                      <a:pt x="1302" y="3128"/>
                    </a:lnTo>
                    <a:lnTo>
                      <a:pt x="1302" y="3123"/>
                    </a:lnTo>
                    <a:lnTo>
                      <a:pt x="1299" y="3118"/>
                    </a:lnTo>
                    <a:lnTo>
                      <a:pt x="1296" y="3113"/>
                    </a:lnTo>
                    <a:lnTo>
                      <a:pt x="1295" y="3106"/>
                    </a:lnTo>
                    <a:lnTo>
                      <a:pt x="1296" y="3096"/>
                    </a:lnTo>
                    <a:lnTo>
                      <a:pt x="1298" y="3090"/>
                    </a:lnTo>
                    <a:lnTo>
                      <a:pt x="1303" y="3082"/>
                    </a:lnTo>
                    <a:lnTo>
                      <a:pt x="1310" y="3071"/>
                    </a:lnTo>
                    <a:lnTo>
                      <a:pt x="1317" y="3061"/>
                    </a:lnTo>
                    <a:lnTo>
                      <a:pt x="1325" y="3050"/>
                    </a:lnTo>
                    <a:lnTo>
                      <a:pt x="1334" y="3041"/>
                    </a:lnTo>
                    <a:lnTo>
                      <a:pt x="1341" y="3034"/>
                    </a:lnTo>
                    <a:lnTo>
                      <a:pt x="1346" y="3030"/>
                    </a:lnTo>
                    <a:lnTo>
                      <a:pt x="1351" y="3028"/>
                    </a:lnTo>
                    <a:lnTo>
                      <a:pt x="1356" y="3027"/>
                    </a:lnTo>
                    <a:lnTo>
                      <a:pt x="1359" y="3027"/>
                    </a:lnTo>
                    <a:lnTo>
                      <a:pt x="1364" y="3028"/>
                    </a:lnTo>
                    <a:lnTo>
                      <a:pt x="1373" y="3031"/>
                    </a:lnTo>
                    <a:lnTo>
                      <a:pt x="1382" y="3035"/>
                    </a:lnTo>
                    <a:lnTo>
                      <a:pt x="1389" y="3035"/>
                    </a:lnTo>
                    <a:lnTo>
                      <a:pt x="1395" y="3034"/>
                    </a:lnTo>
                    <a:lnTo>
                      <a:pt x="1401" y="3029"/>
                    </a:lnTo>
                    <a:lnTo>
                      <a:pt x="1408" y="3024"/>
                    </a:lnTo>
                    <a:lnTo>
                      <a:pt x="1415" y="3019"/>
                    </a:lnTo>
                    <a:lnTo>
                      <a:pt x="1423" y="3016"/>
                    </a:lnTo>
                    <a:lnTo>
                      <a:pt x="1431" y="3012"/>
                    </a:lnTo>
                    <a:lnTo>
                      <a:pt x="1439" y="3011"/>
                    </a:lnTo>
                    <a:lnTo>
                      <a:pt x="1438" y="3008"/>
                    </a:lnTo>
                    <a:lnTo>
                      <a:pt x="1435" y="3004"/>
                    </a:lnTo>
                    <a:lnTo>
                      <a:pt x="1430" y="3001"/>
                    </a:lnTo>
                    <a:lnTo>
                      <a:pt x="1424" y="2997"/>
                    </a:lnTo>
                    <a:lnTo>
                      <a:pt x="1413" y="2991"/>
                    </a:lnTo>
                    <a:lnTo>
                      <a:pt x="1405" y="2985"/>
                    </a:lnTo>
                    <a:lnTo>
                      <a:pt x="1401" y="2977"/>
                    </a:lnTo>
                    <a:lnTo>
                      <a:pt x="1396" y="2969"/>
                    </a:lnTo>
                    <a:lnTo>
                      <a:pt x="1393" y="2964"/>
                    </a:lnTo>
                    <a:lnTo>
                      <a:pt x="1391" y="2962"/>
                    </a:lnTo>
                    <a:lnTo>
                      <a:pt x="1388" y="2959"/>
                    </a:lnTo>
                    <a:lnTo>
                      <a:pt x="1383" y="2958"/>
                    </a:lnTo>
                    <a:lnTo>
                      <a:pt x="1379" y="2971"/>
                    </a:lnTo>
                    <a:lnTo>
                      <a:pt x="1377" y="2982"/>
                    </a:lnTo>
                    <a:lnTo>
                      <a:pt x="1375" y="2989"/>
                    </a:lnTo>
                    <a:lnTo>
                      <a:pt x="1371" y="2995"/>
                    </a:lnTo>
                    <a:lnTo>
                      <a:pt x="1366" y="2999"/>
                    </a:lnTo>
                    <a:lnTo>
                      <a:pt x="1361" y="3005"/>
                    </a:lnTo>
                    <a:lnTo>
                      <a:pt x="1352" y="3010"/>
                    </a:lnTo>
                    <a:lnTo>
                      <a:pt x="1341" y="3017"/>
                    </a:lnTo>
                    <a:lnTo>
                      <a:pt x="1321" y="3032"/>
                    </a:lnTo>
                    <a:lnTo>
                      <a:pt x="1289" y="3056"/>
                    </a:lnTo>
                    <a:lnTo>
                      <a:pt x="1275" y="3069"/>
                    </a:lnTo>
                    <a:lnTo>
                      <a:pt x="1262" y="3081"/>
                    </a:lnTo>
                    <a:lnTo>
                      <a:pt x="1256" y="3085"/>
                    </a:lnTo>
                    <a:lnTo>
                      <a:pt x="1252" y="3090"/>
                    </a:lnTo>
                    <a:lnTo>
                      <a:pt x="1250" y="3094"/>
                    </a:lnTo>
                    <a:lnTo>
                      <a:pt x="1249" y="3096"/>
                    </a:lnTo>
                    <a:lnTo>
                      <a:pt x="1252" y="3108"/>
                    </a:lnTo>
                    <a:lnTo>
                      <a:pt x="1258" y="3121"/>
                    </a:lnTo>
                    <a:lnTo>
                      <a:pt x="1259" y="3127"/>
                    </a:lnTo>
                    <a:lnTo>
                      <a:pt x="1258" y="3133"/>
                    </a:lnTo>
                    <a:lnTo>
                      <a:pt x="1257" y="3135"/>
                    </a:lnTo>
                    <a:lnTo>
                      <a:pt x="1255" y="3137"/>
                    </a:lnTo>
                    <a:lnTo>
                      <a:pt x="1252" y="3140"/>
                    </a:lnTo>
                    <a:lnTo>
                      <a:pt x="1249" y="3141"/>
                    </a:lnTo>
                    <a:lnTo>
                      <a:pt x="1242" y="3144"/>
                    </a:lnTo>
                    <a:lnTo>
                      <a:pt x="1238" y="3148"/>
                    </a:lnTo>
                    <a:lnTo>
                      <a:pt x="1235" y="3153"/>
                    </a:lnTo>
                    <a:lnTo>
                      <a:pt x="1234" y="3159"/>
                    </a:lnTo>
                    <a:lnTo>
                      <a:pt x="1232" y="3167"/>
                    </a:lnTo>
                    <a:lnTo>
                      <a:pt x="1232" y="3172"/>
                    </a:lnTo>
                    <a:lnTo>
                      <a:pt x="1229" y="3179"/>
                    </a:lnTo>
                    <a:lnTo>
                      <a:pt x="1227" y="3188"/>
                    </a:lnTo>
                    <a:lnTo>
                      <a:pt x="1218" y="3202"/>
                    </a:lnTo>
                    <a:lnTo>
                      <a:pt x="1211" y="3216"/>
                    </a:lnTo>
                    <a:lnTo>
                      <a:pt x="1204" y="3232"/>
                    </a:lnTo>
                    <a:lnTo>
                      <a:pt x="1198" y="3246"/>
                    </a:lnTo>
                    <a:lnTo>
                      <a:pt x="1196" y="3256"/>
                    </a:lnTo>
                    <a:lnTo>
                      <a:pt x="1192" y="3267"/>
                    </a:lnTo>
                    <a:lnTo>
                      <a:pt x="1184" y="3275"/>
                    </a:lnTo>
                    <a:lnTo>
                      <a:pt x="1177" y="3282"/>
                    </a:lnTo>
                    <a:lnTo>
                      <a:pt x="1175" y="3282"/>
                    </a:lnTo>
                    <a:lnTo>
                      <a:pt x="1174" y="3285"/>
                    </a:lnTo>
                    <a:lnTo>
                      <a:pt x="1170" y="3286"/>
                    </a:lnTo>
                    <a:lnTo>
                      <a:pt x="1167" y="3286"/>
                    </a:lnTo>
                    <a:lnTo>
                      <a:pt x="1161" y="3286"/>
                    </a:lnTo>
                    <a:lnTo>
                      <a:pt x="1156" y="3285"/>
                    </a:lnTo>
                    <a:lnTo>
                      <a:pt x="1153" y="3283"/>
                    </a:lnTo>
                    <a:lnTo>
                      <a:pt x="1149" y="3281"/>
                    </a:lnTo>
                    <a:lnTo>
                      <a:pt x="1147" y="3279"/>
                    </a:lnTo>
                    <a:lnTo>
                      <a:pt x="1145" y="3267"/>
                    </a:lnTo>
                    <a:lnTo>
                      <a:pt x="1145" y="3253"/>
                    </a:lnTo>
                    <a:lnTo>
                      <a:pt x="1145" y="3239"/>
                    </a:lnTo>
                    <a:lnTo>
                      <a:pt x="1144" y="3226"/>
                    </a:lnTo>
                    <a:lnTo>
                      <a:pt x="1131" y="3226"/>
                    </a:lnTo>
                    <a:lnTo>
                      <a:pt x="1121" y="3226"/>
                    </a:lnTo>
                    <a:lnTo>
                      <a:pt x="1116" y="3225"/>
                    </a:lnTo>
                    <a:lnTo>
                      <a:pt x="1114" y="3221"/>
                    </a:lnTo>
                    <a:lnTo>
                      <a:pt x="1111" y="3215"/>
                    </a:lnTo>
                    <a:lnTo>
                      <a:pt x="1111" y="3207"/>
                    </a:lnTo>
                    <a:lnTo>
                      <a:pt x="1115" y="3196"/>
                    </a:lnTo>
                    <a:lnTo>
                      <a:pt x="1120" y="3184"/>
                    </a:lnTo>
                    <a:lnTo>
                      <a:pt x="1127" y="3173"/>
                    </a:lnTo>
                    <a:lnTo>
                      <a:pt x="1133" y="3163"/>
                    </a:lnTo>
                    <a:lnTo>
                      <a:pt x="1140" y="3150"/>
                    </a:lnTo>
                    <a:lnTo>
                      <a:pt x="1144" y="3140"/>
                    </a:lnTo>
                    <a:lnTo>
                      <a:pt x="1145" y="3129"/>
                    </a:lnTo>
                    <a:lnTo>
                      <a:pt x="1147" y="3114"/>
                    </a:lnTo>
                    <a:lnTo>
                      <a:pt x="1147" y="3109"/>
                    </a:lnTo>
                    <a:lnTo>
                      <a:pt x="1147" y="3107"/>
                    </a:lnTo>
                    <a:lnTo>
                      <a:pt x="1145" y="3104"/>
                    </a:lnTo>
                    <a:lnTo>
                      <a:pt x="1144" y="3104"/>
                    </a:lnTo>
                    <a:lnTo>
                      <a:pt x="1141" y="3106"/>
                    </a:lnTo>
                    <a:lnTo>
                      <a:pt x="1137" y="3110"/>
                    </a:lnTo>
                    <a:lnTo>
                      <a:pt x="1128" y="3122"/>
                    </a:lnTo>
                    <a:lnTo>
                      <a:pt x="1123" y="3133"/>
                    </a:lnTo>
                    <a:lnTo>
                      <a:pt x="1118" y="3146"/>
                    </a:lnTo>
                    <a:lnTo>
                      <a:pt x="1114" y="3159"/>
                    </a:lnTo>
                    <a:lnTo>
                      <a:pt x="1109" y="3172"/>
                    </a:lnTo>
                    <a:lnTo>
                      <a:pt x="1102" y="3184"/>
                    </a:lnTo>
                    <a:lnTo>
                      <a:pt x="1097" y="3200"/>
                    </a:lnTo>
                    <a:lnTo>
                      <a:pt x="1095" y="3214"/>
                    </a:lnTo>
                    <a:lnTo>
                      <a:pt x="1090" y="3232"/>
                    </a:lnTo>
                    <a:lnTo>
                      <a:pt x="1082" y="3249"/>
                    </a:lnTo>
                    <a:lnTo>
                      <a:pt x="1078" y="3258"/>
                    </a:lnTo>
                    <a:lnTo>
                      <a:pt x="1075" y="3267"/>
                    </a:lnTo>
                    <a:lnTo>
                      <a:pt x="1073" y="3275"/>
                    </a:lnTo>
                    <a:lnTo>
                      <a:pt x="1071" y="3283"/>
                    </a:lnTo>
                    <a:lnTo>
                      <a:pt x="1073" y="3287"/>
                    </a:lnTo>
                    <a:lnTo>
                      <a:pt x="1075" y="3288"/>
                    </a:lnTo>
                    <a:lnTo>
                      <a:pt x="1080" y="3289"/>
                    </a:lnTo>
                    <a:lnTo>
                      <a:pt x="1086" y="3289"/>
                    </a:lnTo>
                    <a:lnTo>
                      <a:pt x="1096" y="3289"/>
                    </a:lnTo>
                    <a:lnTo>
                      <a:pt x="1106" y="3288"/>
                    </a:lnTo>
                    <a:lnTo>
                      <a:pt x="1109" y="3289"/>
                    </a:lnTo>
                    <a:lnTo>
                      <a:pt x="1110" y="3291"/>
                    </a:lnTo>
                    <a:lnTo>
                      <a:pt x="1113" y="3293"/>
                    </a:lnTo>
                    <a:lnTo>
                      <a:pt x="1114" y="3295"/>
                    </a:lnTo>
                    <a:lnTo>
                      <a:pt x="1114" y="3302"/>
                    </a:lnTo>
                    <a:lnTo>
                      <a:pt x="1114" y="3311"/>
                    </a:lnTo>
                    <a:lnTo>
                      <a:pt x="1114" y="3318"/>
                    </a:lnTo>
                    <a:lnTo>
                      <a:pt x="1115" y="3325"/>
                    </a:lnTo>
                    <a:lnTo>
                      <a:pt x="1116" y="3328"/>
                    </a:lnTo>
                    <a:lnTo>
                      <a:pt x="1117" y="3331"/>
                    </a:lnTo>
                    <a:lnTo>
                      <a:pt x="1120" y="3332"/>
                    </a:lnTo>
                    <a:lnTo>
                      <a:pt x="1123" y="3333"/>
                    </a:lnTo>
                    <a:lnTo>
                      <a:pt x="1125" y="3333"/>
                    </a:lnTo>
                    <a:lnTo>
                      <a:pt x="1128" y="3332"/>
                    </a:lnTo>
                    <a:lnTo>
                      <a:pt x="1130" y="3331"/>
                    </a:lnTo>
                    <a:lnTo>
                      <a:pt x="1133" y="3328"/>
                    </a:lnTo>
                    <a:lnTo>
                      <a:pt x="1137" y="3322"/>
                    </a:lnTo>
                    <a:lnTo>
                      <a:pt x="1141" y="3315"/>
                    </a:lnTo>
                    <a:lnTo>
                      <a:pt x="1145" y="3308"/>
                    </a:lnTo>
                    <a:lnTo>
                      <a:pt x="1150" y="3302"/>
                    </a:lnTo>
                    <a:lnTo>
                      <a:pt x="1153" y="3299"/>
                    </a:lnTo>
                    <a:lnTo>
                      <a:pt x="1155" y="3298"/>
                    </a:lnTo>
                    <a:lnTo>
                      <a:pt x="1158" y="3296"/>
                    </a:lnTo>
                    <a:lnTo>
                      <a:pt x="1161" y="3295"/>
                    </a:lnTo>
                    <a:lnTo>
                      <a:pt x="1156" y="3309"/>
                    </a:lnTo>
                    <a:lnTo>
                      <a:pt x="1150" y="3322"/>
                    </a:lnTo>
                    <a:lnTo>
                      <a:pt x="1144" y="3337"/>
                    </a:lnTo>
                    <a:lnTo>
                      <a:pt x="1137" y="3351"/>
                    </a:lnTo>
                    <a:lnTo>
                      <a:pt x="1130" y="3360"/>
                    </a:lnTo>
                    <a:lnTo>
                      <a:pt x="1123" y="3370"/>
                    </a:lnTo>
                    <a:lnTo>
                      <a:pt x="1115" y="3380"/>
                    </a:lnTo>
                    <a:lnTo>
                      <a:pt x="1109" y="3390"/>
                    </a:lnTo>
                    <a:lnTo>
                      <a:pt x="1104" y="3397"/>
                    </a:lnTo>
                    <a:lnTo>
                      <a:pt x="1100" y="3404"/>
                    </a:lnTo>
                    <a:lnTo>
                      <a:pt x="1096" y="3410"/>
                    </a:lnTo>
                    <a:lnTo>
                      <a:pt x="1093" y="3414"/>
                    </a:lnTo>
                    <a:lnTo>
                      <a:pt x="1093" y="3415"/>
                    </a:lnTo>
                    <a:lnTo>
                      <a:pt x="1091" y="3417"/>
                    </a:lnTo>
                    <a:lnTo>
                      <a:pt x="1075" y="3438"/>
                    </a:lnTo>
                    <a:lnTo>
                      <a:pt x="1060" y="3459"/>
                    </a:lnTo>
                    <a:lnTo>
                      <a:pt x="1053" y="3470"/>
                    </a:lnTo>
                    <a:lnTo>
                      <a:pt x="1044" y="3479"/>
                    </a:lnTo>
                    <a:lnTo>
                      <a:pt x="1035" y="3489"/>
                    </a:lnTo>
                    <a:lnTo>
                      <a:pt x="1023" y="3497"/>
                    </a:lnTo>
                    <a:lnTo>
                      <a:pt x="1009" y="3504"/>
                    </a:lnTo>
                    <a:lnTo>
                      <a:pt x="996" y="3510"/>
                    </a:lnTo>
                    <a:lnTo>
                      <a:pt x="982" y="3513"/>
                    </a:lnTo>
                    <a:lnTo>
                      <a:pt x="968" y="3516"/>
                    </a:lnTo>
                    <a:lnTo>
                      <a:pt x="940" y="3518"/>
                    </a:lnTo>
                    <a:lnTo>
                      <a:pt x="909" y="3523"/>
                    </a:lnTo>
                    <a:lnTo>
                      <a:pt x="888" y="3525"/>
                    </a:lnTo>
                    <a:lnTo>
                      <a:pt x="858" y="3530"/>
                    </a:lnTo>
                    <a:lnTo>
                      <a:pt x="842" y="3532"/>
                    </a:lnTo>
                    <a:lnTo>
                      <a:pt x="829" y="3536"/>
                    </a:lnTo>
                    <a:lnTo>
                      <a:pt x="823" y="3538"/>
                    </a:lnTo>
                    <a:lnTo>
                      <a:pt x="819" y="3540"/>
                    </a:lnTo>
                    <a:lnTo>
                      <a:pt x="814" y="3543"/>
                    </a:lnTo>
                    <a:lnTo>
                      <a:pt x="812" y="3545"/>
                    </a:lnTo>
                    <a:lnTo>
                      <a:pt x="808" y="3545"/>
                    </a:lnTo>
                    <a:lnTo>
                      <a:pt x="807" y="3547"/>
                    </a:lnTo>
                    <a:lnTo>
                      <a:pt x="805" y="3549"/>
                    </a:lnTo>
                    <a:lnTo>
                      <a:pt x="801" y="3549"/>
                    </a:lnTo>
                    <a:lnTo>
                      <a:pt x="798" y="3546"/>
                    </a:lnTo>
                    <a:lnTo>
                      <a:pt x="795" y="3544"/>
                    </a:lnTo>
                    <a:lnTo>
                      <a:pt x="793" y="3542"/>
                    </a:lnTo>
                    <a:lnTo>
                      <a:pt x="791" y="3538"/>
                    </a:lnTo>
                    <a:lnTo>
                      <a:pt x="791" y="3533"/>
                    </a:lnTo>
                    <a:lnTo>
                      <a:pt x="807" y="3527"/>
                    </a:lnTo>
                    <a:lnTo>
                      <a:pt x="827" y="3524"/>
                    </a:lnTo>
                    <a:lnTo>
                      <a:pt x="836" y="3522"/>
                    </a:lnTo>
                    <a:lnTo>
                      <a:pt x="846" y="3518"/>
                    </a:lnTo>
                    <a:lnTo>
                      <a:pt x="854" y="3514"/>
                    </a:lnTo>
                    <a:lnTo>
                      <a:pt x="862" y="3511"/>
                    </a:lnTo>
                    <a:lnTo>
                      <a:pt x="860" y="3503"/>
                    </a:lnTo>
                    <a:lnTo>
                      <a:pt x="854" y="3493"/>
                    </a:lnTo>
                    <a:lnTo>
                      <a:pt x="849" y="3483"/>
                    </a:lnTo>
                    <a:lnTo>
                      <a:pt x="846" y="3473"/>
                    </a:lnTo>
                    <a:lnTo>
                      <a:pt x="846" y="3454"/>
                    </a:lnTo>
                    <a:lnTo>
                      <a:pt x="847" y="3432"/>
                    </a:lnTo>
                    <a:lnTo>
                      <a:pt x="846" y="3421"/>
                    </a:lnTo>
                    <a:lnTo>
                      <a:pt x="845" y="3412"/>
                    </a:lnTo>
                    <a:lnTo>
                      <a:pt x="842" y="3407"/>
                    </a:lnTo>
                    <a:lnTo>
                      <a:pt x="840" y="3404"/>
                    </a:lnTo>
                    <a:lnTo>
                      <a:pt x="838" y="3400"/>
                    </a:lnTo>
                    <a:lnTo>
                      <a:pt x="833" y="3398"/>
                    </a:lnTo>
                    <a:lnTo>
                      <a:pt x="831" y="3394"/>
                    </a:lnTo>
                    <a:lnTo>
                      <a:pt x="828" y="3388"/>
                    </a:lnTo>
                    <a:lnTo>
                      <a:pt x="826" y="3381"/>
                    </a:lnTo>
                    <a:lnTo>
                      <a:pt x="822" y="3372"/>
                    </a:lnTo>
                    <a:lnTo>
                      <a:pt x="820" y="3362"/>
                    </a:lnTo>
                    <a:lnTo>
                      <a:pt x="818" y="3354"/>
                    </a:lnTo>
                    <a:lnTo>
                      <a:pt x="814" y="3346"/>
                    </a:lnTo>
                    <a:lnTo>
                      <a:pt x="809" y="3340"/>
                    </a:lnTo>
                    <a:lnTo>
                      <a:pt x="806" y="3337"/>
                    </a:lnTo>
                    <a:lnTo>
                      <a:pt x="802" y="3335"/>
                    </a:lnTo>
                    <a:lnTo>
                      <a:pt x="800" y="3337"/>
                    </a:lnTo>
                    <a:lnTo>
                      <a:pt x="798" y="3340"/>
                    </a:lnTo>
                    <a:lnTo>
                      <a:pt x="793" y="3351"/>
                    </a:lnTo>
                    <a:lnTo>
                      <a:pt x="791" y="3365"/>
                    </a:lnTo>
                    <a:lnTo>
                      <a:pt x="788" y="3397"/>
                    </a:lnTo>
                    <a:lnTo>
                      <a:pt x="786" y="3418"/>
                    </a:lnTo>
                    <a:lnTo>
                      <a:pt x="782" y="3433"/>
                    </a:lnTo>
                    <a:lnTo>
                      <a:pt x="774" y="3457"/>
                    </a:lnTo>
                    <a:lnTo>
                      <a:pt x="769" y="3469"/>
                    </a:lnTo>
                    <a:lnTo>
                      <a:pt x="765" y="3478"/>
                    </a:lnTo>
                    <a:lnTo>
                      <a:pt x="762" y="3483"/>
                    </a:lnTo>
                    <a:lnTo>
                      <a:pt x="760" y="3486"/>
                    </a:lnTo>
                    <a:lnTo>
                      <a:pt x="758" y="3489"/>
                    </a:lnTo>
                    <a:lnTo>
                      <a:pt x="755" y="3490"/>
                    </a:lnTo>
                    <a:lnTo>
                      <a:pt x="751" y="3496"/>
                    </a:lnTo>
                    <a:lnTo>
                      <a:pt x="746" y="3502"/>
                    </a:lnTo>
                    <a:lnTo>
                      <a:pt x="746" y="3503"/>
                    </a:lnTo>
                    <a:lnTo>
                      <a:pt x="746" y="3504"/>
                    </a:lnTo>
                    <a:lnTo>
                      <a:pt x="745" y="3505"/>
                    </a:lnTo>
                    <a:lnTo>
                      <a:pt x="746" y="3506"/>
                    </a:lnTo>
                    <a:lnTo>
                      <a:pt x="749" y="3509"/>
                    </a:lnTo>
                    <a:lnTo>
                      <a:pt x="754" y="3510"/>
                    </a:lnTo>
                    <a:lnTo>
                      <a:pt x="760" y="3512"/>
                    </a:lnTo>
                    <a:lnTo>
                      <a:pt x="765" y="3513"/>
                    </a:lnTo>
                    <a:lnTo>
                      <a:pt x="768" y="3516"/>
                    </a:lnTo>
                    <a:lnTo>
                      <a:pt x="769" y="3518"/>
                    </a:lnTo>
                    <a:lnTo>
                      <a:pt x="773" y="3520"/>
                    </a:lnTo>
                    <a:lnTo>
                      <a:pt x="775" y="3526"/>
                    </a:lnTo>
                    <a:lnTo>
                      <a:pt x="778" y="3533"/>
                    </a:lnTo>
                    <a:lnTo>
                      <a:pt x="779" y="3540"/>
                    </a:lnTo>
                    <a:lnTo>
                      <a:pt x="779" y="3547"/>
                    </a:lnTo>
                    <a:lnTo>
                      <a:pt x="776" y="3552"/>
                    </a:lnTo>
                    <a:lnTo>
                      <a:pt x="775" y="3553"/>
                    </a:lnTo>
                    <a:lnTo>
                      <a:pt x="773" y="3553"/>
                    </a:lnTo>
                    <a:lnTo>
                      <a:pt x="771" y="3552"/>
                    </a:lnTo>
                    <a:lnTo>
                      <a:pt x="767" y="3550"/>
                    </a:lnTo>
                    <a:lnTo>
                      <a:pt x="755" y="3544"/>
                    </a:lnTo>
                    <a:lnTo>
                      <a:pt x="738" y="3537"/>
                    </a:lnTo>
                    <a:lnTo>
                      <a:pt x="719" y="3532"/>
                    </a:lnTo>
                    <a:lnTo>
                      <a:pt x="707" y="3530"/>
                    </a:lnTo>
                    <a:lnTo>
                      <a:pt x="705" y="3527"/>
                    </a:lnTo>
                    <a:lnTo>
                      <a:pt x="701" y="3527"/>
                    </a:lnTo>
                    <a:lnTo>
                      <a:pt x="698" y="3527"/>
                    </a:lnTo>
                    <a:lnTo>
                      <a:pt x="694" y="3527"/>
                    </a:lnTo>
                    <a:lnTo>
                      <a:pt x="693" y="3530"/>
                    </a:lnTo>
                    <a:lnTo>
                      <a:pt x="691" y="3531"/>
                    </a:lnTo>
                    <a:lnTo>
                      <a:pt x="651" y="3539"/>
                    </a:lnTo>
                    <a:lnTo>
                      <a:pt x="612" y="3547"/>
                    </a:lnTo>
                    <a:lnTo>
                      <a:pt x="572" y="3556"/>
                    </a:lnTo>
                    <a:lnTo>
                      <a:pt x="533" y="3563"/>
                    </a:lnTo>
                    <a:lnTo>
                      <a:pt x="493" y="3570"/>
                    </a:lnTo>
                    <a:lnTo>
                      <a:pt x="453" y="3576"/>
                    </a:lnTo>
                    <a:lnTo>
                      <a:pt x="413" y="3579"/>
                    </a:lnTo>
                    <a:lnTo>
                      <a:pt x="372" y="3583"/>
                    </a:lnTo>
                    <a:lnTo>
                      <a:pt x="352" y="3584"/>
                    </a:lnTo>
                    <a:lnTo>
                      <a:pt x="332" y="3588"/>
                    </a:lnTo>
                    <a:lnTo>
                      <a:pt x="313" y="3593"/>
                    </a:lnTo>
                    <a:lnTo>
                      <a:pt x="295" y="3599"/>
                    </a:lnTo>
                    <a:lnTo>
                      <a:pt x="278" y="3608"/>
                    </a:lnTo>
                    <a:lnTo>
                      <a:pt x="263" y="3617"/>
                    </a:lnTo>
                    <a:lnTo>
                      <a:pt x="248" y="3628"/>
                    </a:lnTo>
                    <a:lnTo>
                      <a:pt x="235" y="3641"/>
                    </a:lnTo>
                    <a:lnTo>
                      <a:pt x="222" y="3654"/>
                    </a:lnTo>
                    <a:lnTo>
                      <a:pt x="210" y="3668"/>
                    </a:lnTo>
                    <a:lnTo>
                      <a:pt x="199" y="3683"/>
                    </a:lnTo>
                    <a:lnTo>
                      <a:pt x="190" y="3700"/>
                    </a:lnTo>
                    <a:lnTo>
                      <a:pt x="182" y="3716"/>
                    </a:lnTo>
                    <a:lnTo>
                      <a:pt x="175" y="3734"/>
                    </a:lnTo>
                    <a:lnTo>
                      <a:pt x="168" y="3753"/>
                    </a:lnTo>
                    <a:lnTo>
                      <a:pt x="163" y="3773"/>
                    </a:lnTo>
                    <a:lnTo>
                      <a:pt x="149" y="3763"/>
                    </a:lnTo>
                    <a:lnTo>
                      <a:pt x="134" y="3754"/>
                    </a:lnTo>
                    <a:lnTo>
                      <a:pt x="118" y="3750"/>
                    </a:lnTo>
                    <a:lnTo>
                      <a:pt x="104" y="3748"/>
                    </a:lnTo>
                    <a:lnTo>
                      <a:pt x="98" y="3747"/>
                    </a:lnTo>
                    <a:lnTo>
                      <a:pt x="92" y="3743"/>
                    </a:lnTo>
                    <a:lnTo>
                      <a:pt x="88" y="3738"/>
                    </a:lnTo>
                    <a:lnTo>
                      <a:pt x="83" y="3730"/>
                    </a:lnTo>
                    <a:lnTo>
                      <a:pt x="80" y="3718"/>
                    </a:lnTo>
                    <a:lnTo>
                      <a:pt x="75" y="3703"/>
                    </a:lnTo>
                    <a:lnTo>
                      <a:pt x="71" y="3696"/>
                    </a:lnTo>
                    <a:lnTo>
                      <a:pt x="68" y="3690"/>
                    </a:lnTo>
                    <a:lnTo>
                      <a:pt x="65" y="3689"/>
                    </a:lnTo>
                    <a:lnTo>
                      <a:pt x="63" y="3687"/>
                    </a:lnTo>
                    <a:lnTo>
                      <a:pt x="61" y="3685"/>
                    </a:lnTo>
                    <a:lnTo>
                      <a:pt x="57" y="3685"/>
                    </a:lnTo>
                    <a:lnTo>
                      <a:pt x="49" y="3683"/>
                    </a:lnTo>
                    <a:lnTo>
                      <a:pt x="40" y="3681"/>
                    </a:lnTo>
                    <a:lnTo>
                      <a:pt x="35" y="3680"/>
                    </a:lnTo>
                    <a:lnTo>
                      <a:pt x="30" y="3678"/>
                    </a:lnTo>
                    <a:lnTo>
                      <a:pt x="25" y="3678"/>
                    </a:lnTo>
                    <a:lnTo>
                      <a:pt x="23" y="3680"/>
                    </a:lnTo>
                    <a:lnTo>
                      <a:pt x="22" y="3682"/>
                    </a:lnTo>
                    <a:lnTo>
                      <a:pt x="21" y="3684"/>
                    </a:lnTo>
                    <a:lnTo>
                      <a:pt x="21" y="3687"/>
                    </a:lnTo>
                    <a:lnTo>
                      <a:pt x="21" y="3689"/>
                    </a:lnTo>
                    <a:lnTo>
                      <a:pt x="22" y="3694"/>
                    </a:lnTo>
                    <a:lnTo>
                      <a:pt x="23" y="3698"/>
                    </a:lnTo>
                    <a:lnTo>
                      <a:pt x="23" y="3704"/>
                    </a:lnTo>
                    <a:lnTo>
                      <a:pt x="22" y="3710"/>
                    </a:lnTo>
                    <a:lnTo>
                      <a:pt x="21" y="3714"/>
                    </a:lnTo>
                    <a:lnTo>
                      <a:pt x="18" y="3717"/>
                    </a:lnTo>
                    <a:lnTo>
                      <a:pt x="15" y="3720"/>
                    </a:lnTo>
                    <a:lnTo>
                      <a:pt x="11" y="3723"/>
                    </a:lnTo>
                    <a:lnTo>
                      <a:pt x="9" y="3724"/>
                    </a:lnTo>
                    <a:lnTo>
                      <a:pt x="7" y="3723"/>
                    </a:lnTo>
                    <a:lnTo>
                      <a:pt x="5" y="3721"/>
                    </a:lnTo>
                    <a:lnTo>
                      <a:pt x="4" y="3717"/>
                    </a:lnTo>
                    <a:lnTo>
                      <a:pt x="2" y="3708"/>
                    </a:lnTo>
                    <a:lnTo>
                      <a:pt x="1" y="3696"/>
                    </a:lnTo>
                    <a:lnTo>
                      <a:pt x="0" y="3683"/>
                    </a:lnTo>
                    <a:lnTo>
                      <a:pt x="0" y="3671"/>
                    </a:lnTo>
                    <a:lnTo>
                      <a:pt x="1" y="3662"/>
                    </a:lnTo>
                    <a:lnTo>
                      <a:pt x="2" y="3656"/>
                    </a:lnTo>
                    <a:lnTo>
                      <a:pt x="14" y="3657"/>
                    </a:lnTo>
                    <a:lnTo>
                      <a:pt x="29" y="3662"/>
                    </a:lnTo>
                    <a:lnTo>
                      <a:pt x="45" y="3667"/>
                    </a:lnTo>
                    <a:lnTo>
                      <a:pt x="58" y="3671"/>
                    </a:lnTo>
                    <a:lnTo>
                      <a:pt x="64" y="3671"/>
                    </a:lnTo>
                    <a:lnTo>
                      <a:pt x="68" y="3671"/>
                    </a:lnTo>
                    <a:lnTo>
                      <a:pt x="71" y="3669"/>
                    </a:lnTo>
                    <a:lnTo>
                      <a:pt x="74" y="3665"/>
                    </a:lnTo>
                    <a:lnTo>
                      <a:pt x="78" y="3656"/>
                    </a:lnTo>
                    <a:lnTo>
                      <a:pt x="81" y="3644"/>
                    </a:lnTo>
                    <a:lnTo>
                      <a:pt x="83" y="3631"/>
                    </a:lnTo>
                    <a:lnTo>
                      <a:pt x="84" y="3621"/>
                    </a:lnTo>
                    <a:lnTo>
                      <a:pt x="87" y="3616"/>
                    </a:lnTo>
                    <a:lnTo>
                      <a:pt x="88" y="3612"/>
                    </a:lnTo>
                    <a:lnTo>
                      <a:pt x="90" y="3610"/>
                    </a:lnTo>
                    <a:lnTo>
                      <a:pt x="92" y="3608"/>
                    </a:lnTo>
                    <a:lnTo>
                      <a:pt x="95" y="3614"/>
                    </a:lnTo>
                    <a:lnTo>
                      <a:pt x="98" y="3618"/>
                    </a:lnTo>
                    <a:lnTo>
                      <a:pt x="103" y="3621"/>
                    </a:lnTo>
                    <a:lnTo>
                      <a:pt x="108" y="3623"/>
                    </a:lnTo>
                    <a:lnTo>
                      <a:pt x="112" y="3624"/>
                    </a:lnTo>
                    <a:lnTo>
                      <a:pt x="118" y="3624"/>
                    </a:lnTo>
                    <a:lnTo>
                      <a:pt x="124" y="3624"/>
                    </a:lnTo>
                    <a:lnTo>
                      <a:pt x="130" y="3623"/>
                    </a:lnTo>
                    <a:lnTo>
                      <a:pt x="136" y="3621"/>
                    </a:lnTo>
                    <a:lnTo>
                      <a:pt x="141" y="3618"/>
                    </a:lnTo>
                    <a:lnTo>
                      <a:pt x="145" y="3615"/>
                    </a:lnTo>
                    <a:lnTo>
                      <a:pt x="150" y="3612"/>
                    </a:lnTo>
                    <a:lnTo>
                      <a:pt x="154" y="3609"/>
                    </a:lnTo>
                    <a:lnTo>
                      <a:pt x="156" y="3604"/>
                    </a:lnTo>
                    <a:lnTo>
                      <a:pt x="158" y="3601"/>
                    </a:lnTo>
                    <a:lnTo>
                      <a:pt x="158" y="3596"/>
                    </a:lnTo>
                    <a:lnTo>
                      <a:pt x="149" y="3593"/>
                    </a:lnTo>
                    <a:lnTo>
                      <a:pt x="141" y="3591"/>
                    </a:lnTo>
                    <a:lnTo>
                      <a:pt x="136" y="3588"/>
                    </a:lnTo>
                    <a:lnTo>
                      <a:pt x="132" y="3585"/>
                    </a:lnTo>
                    <a:lnTo>
                      <a:pt x="131" y="3583"/>
                    </a:lnTo>
                    <a:lnTo>
                      <a:pt x="132" y="3579"/>
                    </a:lnTo>
                    <a:lnTo>
                      <a:pt x="134" y="3576"/>
                    </a:lnTo>
                    <a:lnTo>
                      <a:pt x="136" y="3573"/>
                    </a:lnTo>
                    <a:lnTo>
                      <a:pt x="143" y="3565"/>
                    </a:lnTo>
                    <a:lnTo>
                      <a:pt x="150" y="3557"/>
                    </a:lnTo>
                    <a:lnTo>
                      <a:pt x="154" y="3551"/>
                    </a:lnTo>
                    <a:lnTo>
                      <a:pt x="156" y="3545"/>
                    </a:lnTo>
                    <a:lnTo>
                      <a:pt x="158" y="3539"/>
                    </a:lnTo>
                    <a:lnTo>
                      <a:pt x="158" y="3532"/>
                    </a:lnTo>
                    <a:lnTo>
                      <a:pt x="158" y="3512"/>
                    </a:lnTo>
                    <a:lnTo>
                      <a:pt x="157" y="3491"/>
                    </a:lnTo>
                    <a:lnTo>
                      <a:pt x="156" y="3470"/>
                    </a:lnTo>
                    <a:lnTo>
                      <a:pt x="158" y="3450"/>
                    </a:lnTo>
                    <a:lnTo>
                      <a:pt x="159" y="3445"/>
                    </a:lnTo>
                    <a:lnTo>
                      <a:pt x="161" y="3441"/>
                    </a:lnTo>
                    <a:lnTo>
                      <a:pt x="163" y="3438"/>
                    </a:lnTo>
                    <a:lnTo>
                      <a:pt x="165" y="3436"/>
                    </a:lnTo>
                    <a:lnTo>
                      <a:pt x="170" y="3431"/>
                    </a:lnTo>
                    <a:lnTo>
                      <a:pt x="176" y="3427"/>
                    </a:lnTo>
                    <a:lnTo>
                      <a:pt x="183" y="3425"/>
                    </a:lnTo>
                    <a:lnTo>
                      <a:pt x="188" y="3421"/>
                    </a:lnTo>
                    <a:lnTo>
                      <a:pt x="192" y="3418"/>
                    </a:lnTo>
                    <a:lnTo>
                      <a:pt x="195" y="3413"/>
                    </a:lnTo>
                    <a:lnTo>
                      <a:pt x="198" y="3405"/>
                    </a:lnTo>
                    <a:lnTo>
                      <a:pt x="202" y="3398"/>
                    </a:lnTo>
                    <a:lnTo>
                      <a:pt x="206" y="3393"/>
                    </a:lnTo>
                    <a:lnTo>
                      <a:pt x="211" y="3388"/>
                    </a:lnTo>
                    <a:lnTo>
                      <a:pt x="216" y="3384"/>
                    </a:lnTo>
                    <a:lnTo>
                      <a:pt x="219" y="3378"/>
                    </a:lnTo>
                    <a:lnTo>
                      <a:pt x="222" y="3370"/>
                    </a:lnTo>
                    <a:lnTo>
                      <a:pt x="222" y="3358"/>
                    </a:lnTo>
                    <a:lnTo>
                      <a:pt x="221" y="3337"/>
                    </a:lnTo>
                    <a:lnTo>
                      <a:pt x="218" y="3311"/>
                    </a:lnTo>
                    <a:lnTo>
                      <a:pt x="216" y="3298"/>
                    </a:lnTo>
                    <a:lnTo>
                      <a:pt x="212" y="3286"/>
                    </a:lnTo>
                    <a:lnTo>
                      <a:pt x="208" y="3275"/>
                    </a:lnTo>
                    <a:lnTo>
                      <a:pt x="202" y="3267"/>
                    </a:lnTo>
                    <a:lnTo>
                      <a:pt x="201" y="3261"/>
                    </a:lnTo>
                    <a:lnTo>
                      <a:pt x="199" y="3255"/>
                    </a:lnTo>
                    <a:lnTo>
                      <a:pt x="197" y="3249"/>
                    </a:lnTo>
                    <a:lnTo>
                      <a:pt x="195" y="3243"/>
                    </a:lnTo>
                    <a:lnTo>
                      <a:pt x="189" y="3232"/>
                    </a:lnTo>
                    <a:lnTo>
                      <a:pt x="183" y="3220"/>
                    </a:lnTo>
                    <a:lnTo>
                      <a:pt x="176" y="3209"/>
                    </a:lnTo>
                    <a:lnTo>
                      <a:pt x="170" y="3197"/>
                    </a:lnTo>
                    <a:lnTo>
                      <a:pt x="169" y="3192"/>
                    </a:lnTo>
                    <a:lnTo>
                      <a:pt x="166" y="3186"/>
                    </a:lnTo>
                    <a:lnTo>
                      <a:pt x="165" y="3181"/>
                    </a:lnTo>
                    <a:lnTo>
                      <a:pt x="165" y="3175"/>
                    </a:lnTo>
                    <a:lnTo>
                      <a:pt x="189" y="3174"/>
                    </a:lnTo>
                    <a:lnTo>
                      <a:pt x="201" y="3174"/>
                    </a:lnTo>
                    <a:lnTo>
                      <a:pt x="202" y="3175"/>
                    </a:lnTo>
                    <a:lnTo>
                      <a:pt x="203" y="3176"/>
                    </a:lnTo>
                    <a:lnTo>
                      <a:pt x="204" y="3179"/>
                    </a:lnTo>
                    <a:lnTo>
                      <a:pt x="204" y="3181"/>
                    </a:lnTo>
                    <a:lnTo>
                      <a:pt x="204" y="3190"/>
                    </a:lnTo>
                    <a:lnTo>
                      <a:pt x="204" y="3202"/>
                    </a:lnTo>
                    <a:lnTo>
                      <a:pt x="204" y="3209"/>
                    </a:lnTo>
                    <a:lnTo>
                      <a:pt x="205" y="3214"/>
                    </a:lnTo>
                    <a:lnTo>
                      <a:pt x="206" y="3216"/>
                    </a:lnTo>
                    <a:lnTo>
                      <a:pt x="209" y="3216"/>
                    </a:lnTo>
                    <a:lnTo>
                      <a:pt x="214" y="3210"/>
                    </a:lnTo>
                    <a:lnTo>
                      <a:pt x="218" y="3200"/>
                    </a:lnTo>
                    <a:lnTo>
                      <a:pt x="223" y="3186"/>
                    </a:lnTo>
                    <a:lnTo>
                      <a:pt x="228" y="3170"/>
                    </a:lnTo>
                    <a:lnTo>
                      <a:pt x="231" y="3157"/>
                    </a:lnTo>
                    <a:lnTo>
                      <a:pt x="232" y="3149"/>
                    </a:lnTo>
                    <a:lnTo>
                      <a:pt x="221" y="3149"/>
                    </a:lnTo>
                    <a:lnTo>
                      <a:pt x="209" y="3151"/>
                    </a:lnTo>
                    <a:lnTo>
                      <a:pt x="198" y="3154"/>
                    </a:lnTo>
                    <a:lnTo>
                      <a:pt x="185" y="3154"/>
                    </a:lnTo>
                    <a:lnTo>
                      <a:pt x="177" y="3154"/>
                    </a:lnTo>
                    <a:lnTo>
                      <a:pt x="172" y="3153"/>
                    </a:lnTo>
                    <a:lnTo>
                      <a:pt x="170" y="3151"/>
                    </a:lnTo>
                    <a:lnTo>
                      <a:pt x="170" y="3149"/>
                    </a:lnTo>
                    <a:lnTo>
                      <a:pt x="175" y="3142"/>
                    </a:lnTo>
                    <a:lnTo>
                      <a:pt x="182" y="3133"/>
                    </a:lnTo>
                    <a:lnTo>
                      <a:pt x="188" y="3124"/>
                    </a:lnTo>
                    <a:lnTo>
                      <a:pt x="192" y="3116"/>
                    </a:lnTo>
                    <a:lnTo>
                      <a:pt x="197" y="3108"/>
                    </a:lnTo>
                    <a:lnTo>
                      <a:pt x="201" y="3100"/>
                    </a:lnTo>
                    <a:lnTo>
                      <a:pt x="208" y="3083"/>
                    </a:lnTo>
                    <a:lnTo>
                      <a:pt x="217" y="3067"/>
                    </a:lnTo>
                    <a:lnTo>
                      <a:pt x="221" y="3060"/>
                    </a:lnTo>
                    <a:lnTo>
                      <a:pt x="223" y="3052"/>
                    </a:lnTo>
                    <a:lnTo>
                      <a:pt x="223" y="3047"/>
                    </a:lnTo>
                    <a:lnTo>
                      <a:pt x="223" y="3039"/>
                    </a:lnTo>
                    <a:lnTo>
                      <a:pt x="219" y="3028"/>
                    </a:lnTo>
                    <a:lnTo>
                      <a:pt x="215" y="3017"/>
                    </a:lnTo>
                    <a:lnTo>
                      <a:pt x="209" y="3006"/>
                    </a:lnTo>
                    <a:lnTo>
                      <a:pt x="205" y="2997"/>
                    </a:lnTo>
                    <a:lnTo>
                      <a:pt x="204" y="2992"/>
                    </a:lnTo>
                    <a:lnTo>
                      <a:pt x="204" y="2989"/>
                    </a:lnTo>
                    <a:lnTo>
                      <a:pt x="206" y="2984"/>
                    </a:lnTo>
                    <a:lnTo>
                      <a:pt x="209" y="2981"/>
                    </a:lnTo>
                    <a:lnTo>
                      <a:pt x="211" y="2977"/>
                    </a:lnTo>
                    <a:lnTo>
                      <a:pt x="214" y="2971"/>
                    </a:lnTo>
                    <a:lnTo>
                      <a:pt x="216" y="2965"/>
                    </a:lnTo>
                    <a:lnTo>
                      <a:pt x="216" y="2958"/>
                    </a:lnTo>
                    <a:lnTo>
                      <a:pt x="216" y="2951"/>
                    </a:lnTo>
                    <a:lnTo>
                      <a:pt x="215" y="2945"/>
                    </a:lnTo>
                    <a:lnTo>
                      <a:pt x="215" y="2943"/>
                    </a:lnTo>
                    <a:lnTo>
                      <a:pt x="212" y="2942"/>
                    </a:lnTo>
                    <a:lnTo>
                      <a:pt x="211" y="2940"/>
                    </a:lnTo>
                    <a:lnTo>
                      <a:pt x="209" y="2940"/>
                    </a:lnTo>
                    <a:lnTo>
                      <a:pt x="204" y="2940"/>
                    </a:lnTo>
                    <a:lnTo>
                      <a:pt x="201" y="2943"/>
                    </a:lnTo>
                    <a:lnTo>
                      <a:pt x="196" y="2946"/>
                    </a:lnTo>
                    <a:lnTo>
                      <a:pt x="191" y="2950"/>
                    </a:lnTo>
                    <a:lnTo>
                      <a:pt x="186" y="2953"/>
                    </a:lnTo>
                    <a:lnTo>
                      <a:pt x="181" y="2956"/>
                    </a:lnTo>
                    <a:lnTo>
                      <a:pt x="176" y="2958"/>
                    </a:lnTo>
                    <a:lnTo>
                      <a:pt x="170" y="2959"/>
                    </a:lnTo>
                    <a:lnTo>
                      <a:pt x="172" y="2951"/>
                    </a:lnTo>
                    <a:lnTo>
                      <a:pt x="177" y="2942"/>
                    </a:lnTo>
                    <a:lnTo>
                      <a:pt x="178" y="2937"/>
                    </a:lnTo>
                    <a:lnTo>
                      <a:pt x="179" y="2931"/>
                    </a:lnTo>
                    <a:lnTo>
                      <a:pt x="181" y="2926"/>
                    </a:lnTo>
                    <a:lnTo>
                      <a:pt x="179" y="2922"/>
                    </a:lnTo>
                    <a:lnTo>
                      <a:pt x="179" y="2917"/>
                    </a:lnTo>
                    <a:lnTo>
                      <a:pt x="179" y="2913"/>
                    </a:lnTo>
                    <a:lnTo>
                      <a:pt x="179" y="2910"/>
                    </a:lnTo>
                    <a:lnTo>
                      <a:pt x="181" y="2907"/>
                    </a:lnTo>
                    <a:lnTo>
                      <a:pt x="184" y="2905"/>
                    </a:lnTo>
                    <a:lnTo>
                      <a:pt x="189" y="2903"/>
                    </a:lnTo>
                    <a:lnTo>
                      <a:pt x="202" y="2900"/>
                    </a:lnTo>
                    <a:lnTo>
                      <a:pt x="216" y="2896"/>
                    </a:lnTo>
                    <a:lnTo>
                      <a:pt x="237" y="2887"/>
                    </a:lnTo>
                    <a:lnTo>
                      <a:pt x="263" y="2878"/>
                    </a:lnTo>
                    <a:lnTo>
                      <a:pt x="277" y="2872"/>
                    </a:lnTo>
                    <a:lnTo>
                      <a:pt x="289" y="2867"/>
                    </a:lnTo>
                    <a:lnTo>
                      <a:pt x="298" y="2862"/>
                    </a:lnTo>
                    <a:lnTo>
                      <a:pt x="304" y="2854"/>
                    </a:lnTo>
                    <a:lnTo>
                      <a:pt x="310" y="2847"/>
                    </a:lnTo>
                    <a:lnTo>
                      <a:pt x="317" y="2840"/>
                    </a:lnTo>
                    <a:lnTo>
                      <a:pt x="324" y="2836"/>
                    </a:lnTo>
                    <a:lnTo>
                      <a:pt x="332" y="2831"/>
                    </a:lnTo>
                    <a:lnTo>
                      <a:pt x="336" y="2827"/>
                    </a:lnTo>
                    <a:lnTo>
                      <a:pt x="338" y="2823"/>
                    </a:lnTo>
                    <a:lnTo>
                      <a:pt x="339" y="2817"/>
                    </a:lnTo>
                    <a:lnTo>
                      <a:pt x="339" y="2811"/>
                    </a:lnTo>
                    <a:lnTo>
                      <a:pt x="337" y="2798"/>
                    </a:lnTo>
                    <a:lnTo>
                      <a:pt x="335" y="2787"/>
                    </a:lnTo>
                    <a:lnTo>
                      <a:pt x="326" y="2793"/>
                    </a:lnTo>
                    <a:lnTo>
                      <a:pt x="318" y="2801"/>
                    </a:lnTo>
                    <a:lnTo>
                      <a:pt x="313" y="2804"/>
                    </a:lnTo>
                    <a:lnTo>
                      <a:pt x="309" y="2805"/>
                    </a:lnTo>
                    <a:lnTo>
                      <a:pt x="305" y="2805"/>
                    </a:lnTo>
                    <a:lnTo>
                      <a:pt x="302" y="2804"/>
                    </a:lnTo>
                    <a:lnTo>
                      <a:pt x="298" y="2803"/>
                    </a:lnTo>
                    <a:lnTo>
                      <a:pt x="293" y="2800"/>
                    </a:lnTo>
                    <a:lnTo>
                      <a:pt x="289" y="2797"/>
                    </a:lnTo>
                    <a:lnTo>
                      <a:pt x="283" y="2794"/>
                    </a:lnTo>
                    <a:lnTo>
                      <a:pt x="278" y="2793"/>
                    </a:lnTo>
                    <a:lnTo>
                      <a:pt x="273" y="2792"/>
                    </a:lnTo>
                    <a:lnTo>
                      <a:pt x="270" y="2792"/>
                    </a:lnTo>
                    <a:lnTo>
                      <a:pt x="266" y="2793"/>
                    </a:lnTo>
                    <a:lnTo>
                      <a:pt x="263" y="2794"/>
                    </a:lnTo>
                    <a:lnTo>
                      <a:pt x="261" y="2796"/>
                    </a:lnTo>
                    <a:lnTo>
                      <a:pt x="255" y="2800"/>
                    </a:lnTo>
                    <a:lnTo>
                      <a:pt x="249" y="2805"/>
                    </a:lnTo>
                    <a:lnTo>
                      <a:pt x="242" y="2810"/>
                    </a:lnTo>
                    <a:lnTo>
                      <a:pt x="235" y="2813"/>
                    </a:lnTo>
                    <a:lnTo>
                      <a:pt x="228" y="2813"/>
                    </a:lnTo>
                    <a:lnTo>
                      <a:pt x="221" y="2812"/>
                    </a:lnTo>
                    <a:lnTo>
                      <a:pt x="214" y="2810"/>
                    </a:lnTo>
                    <a:lnTo>
                      <a:pt x="206" y="2806"/>
                    </a:lnTo>
                    <a:lnTo>
                      <a:pt x="191" y="2798"/>
                    </a:lnTo>
                    <a:lnTo>
                      <a:pt x="178" y="2791"/>
                    </a:lnTo>
                    <a:lnTo>
                      <a:pt x="175" y="2788"/>
                    </a:lnTo>
                    <a:lnTo>
                      <a:pt x="174" y="2785"/>
                    </a:lnTo>
                    <a:lnTo>
                      <a:pt x="174" y="2781"/>
                    </a:lnTo>
                    <a:lnTo>
                      <a:pt x="175" y="2777"/>
                    </a:lnTo>
                    <a:lnTo>
                      <a:pt x="177" y="2772"/>
                    </a:lnTo>
                    <a:lnTo>
                      <a:pt x="182" y="2766"/>
                    </a:lnTo>
                    <a:lnTo>
                      <a:pt x="186" y="2761"/>
                    </a:lnTo>
                    <a:lnTo>
                      <a:pt x="192" y="2757"/>
                    </a:lnTo>
                    <a:lnTo>
                      <a:pt x="198" y="2753"/>
                    </a:lnTo>
                    <a:lnTo>
                      <a:pt x="205" y="2750"/>
                    </a:lnTo>
                    <a:lnTo>
                      <a:pt x="212" y="2747"/>
                    </a:lnTo>
                    <a:lnTo>
                      <a:pt x="218" y="2745"/>
                    </a:lnTo>
                    <a:lnTo>
                      <a:pt x="225" y="2745"/>
                    </a:lnTo>
                    <a:lnTo>
                      <a:pt x="231" y="2746"/>
                    </a:lnTo>
                    <a:lnTo>
                      <a:pt x="237" y="2748"/>
                    </a:lnTo>
                    <a:lnTo>
                      <a:pt x="242" y="2752"/>
                    </a:lnTo>
                    <a:lnTo>
                      <a:pt x="249" y="2761"/>
                    </a:lnTo>
                    <a:lnTo>
                      <a:pt x="256" y="2770"/>
                    </a:lnTo>
                    <a:lnTo>
                      <a:pt x="261" y="2773"/>
                    </a:lnTo>
                    <a:lnTo>
                      <a:pt x="265" y="2777"/>
                    </a:lnTo>
                    <a:lnTo>
                      <a:pt x="270" y="2778"/>
                    </a:lnTo>
                    <a:lnTo>
                      <a:pt x="276" y="2779"/>
                    </a:lnTo>
                    <a:lnTo>
                      <a:pt x="280" y="2779"/>
                    </a:lnTo>
                    <a:lnTo>
                      <a:pt x="285" y="2778"/>
                    </a:lnTo>
                    <a:lnTo>
                      <a:pt x="288" y="2777"/>
                    </a:lnTo>
                    <a:lnTo>
                      <a:pt x="291" y="2775"/>
                    </a:lnTo>
                    <a:lnTo>
                      <a:pt x="295" y="2771"/>
                    </a:lnTo>
                    <a:lnTo>
                      <a:pt x="296" y="2765"/>
                    </a:lnTo>
                    <a:lnTo>
                      <a:pt x="295" y="2752"/>
                    </a:lnTo>
                    <a:lnTo>
                      <a:pt x="293" y="2738"/>
                    </a:lnTo>
                    <a:lnTo>
                      <a:pt x="310" y="2740"/>
                    </a:lnTo>
                    <a:lnTo>
                      <a:pt x="322" y="2742"/>
                    </a:lnTo>
                    <a:lnTo>
                      <a:pt x="328" y="2741"/>
                    </a:lnTo>
                    <a:lnTo>
                      <a:pt x="332" y="2738"/>
                    </a:lnTo>
                    <a:lnTo>
                      <a:pt x="338" y="2732"/>
                    </a:lnTo>
                    <a:lnTo>
                      <a:pt x="344" y="2721"/>
                    </a:lnTo>
                    <a:lnTo>
                      <a:pt x="349" y="2714"/>
                    </a:lnTo>
                    <a:lnTo>
                      <a:pt x="350" y="2709"/>
                    </a:lnTo>
                    <a:lnTo>
                      <a:pt x="350" y="2706"/>
                    </a:lnTo>
                    <a:lnTo>
                      <a:pt x="347" y="2704"/>
                    </a:lnTo>
                    <a:lnTo>
                      <a:pt x="338" y="2701"/>
                    </a:lnTo>
                    <a:lnTo>
                      <a:pt x="326" y="2697"/>
                    </a:lnTo>
                    <a:lnTo>
                      <a:pt x="324" y="2694"/>
                    </a:lnTo>
                    <a:lnTo>
                      <a:pt x="323" y="2691"/>
                    </a:lnTo>
                    <a:lnTo>
                      <a:pt x="323" y="2686"/>
                    </a:lnTo>
                    <a:lnTo>
                      <a:pt x="325" y="2681"/>
                    </a:lnTo>
                    <a:lnTo>
                      <a:pt x="330" y="2672"/>
                    </a:lnTo>
                    <a:lnTo>
                      <a:pt x="333" y="2664"/>
                    </a:lnTo>
                    <a:lnTo>
                      <a:pt x="333" y="2659"/>
                    </a:lnTo>
                    <a:lnTo>
                      <a:pt x="332" y="2652"/>
                    </a:lnTo>
                    <a:lnTo>
                      <a:pt x="331" y="2648"/>
                    </a:lnTo>
                    <a:lnTo>
                      <a:pt x="330" y="2646"/>
                    </a:lnTo>
                    <a:lnTo>
                      <a:pt x="329" y="2643"/>
                    </a:lnTo>
                    <a:lnTo>
                      <a:pt x="326" y="2643"/>
                    </a:lnTo>
                    <a:lnTo>
                      <a:pt x="323" y="2647"/>
                    </a:lnTo>
                    <a:lnTo>
                      <a:pt x="318" y="2656"/>
                    </a:lnTo>
                    <a:lnTo>
                      <a:pt x="316" y="2660"/>
                    </a:lnTo>
                    <a:lnTo>
                      <a:pt x="312" y="2665"/>
                    </a:lnTo>
                    <a:lnTo>
                      <a:pt x="309" y="2667"/>
                    </a:lnTo>
                    <a:lnTo>
                      <a:pt x="303" y="2668"/>
                    </a:lnTo>
                    <a:lnTo>
                      <a:pt x="288" y="2661"/>
                    </a:lnTo>
                    <a:lnTo>
                      <a:pt x="275" y="2653"/>
                    </a:lnTo>
                    <a:lnTo>
                      <a:pt x="273" y="2654"/>
                    </a:lnTo>
                    <a:lnTo>
                      <a:pt x="271" y="2655"/>
                    </a:lnTo>
                    <a:lnTo>
                      <a:pt x="271" y="2658"/>
                    </a:lnTo>
                    <a:lnTo>
                      <a:pt x="270" y="2660"/>
                    </a:lnTo>
                    <a:lnTo>
                      <a:pt x="269" y="2667"/>
                    </a:lnTo>
                    <a:lnTo>
                      <a:pt x="268" y="2675"/>
                    </a:lnTo>
                    <a:lnTo>
                      <a:pt x="268" y="2693"/>
                    </a:lnTo>
                    <a:lnTo>
                      <a:pt x="268" y="2705"/>
                    </a:lnTo>
                    <a:lnTo>
                      <a:pt x="265" y="2705"/>
                    </a:lnTo>
                    <a:lnTo>
                      <a:pt x="265" y="2698"/>
                    </a:lnTo>
                    <a:lnTo>
                      <a:pt x="262" y="2692"/>
                    </a:lnTo>
                    <a:lnTo>
                      <a:pt x="258" y="2687"/>
                    </a:lnTo>
                    <a:lnTo>
                      <a:pt x="252" y="2684"/>
                    </a:lnTo>
                    <a:lnTo>
                      <a:pt x="242" y="2676"/>
                    </a:lnTo>
                    <a:lnTo>
                      <a:pt x="232" y="2669"/>
                    </a:lnTo>
                    <a:lnTo>
                      <a:pt x="229" y="2667"/>
                    </a:lnTo>
                    <a:lnTo>
                      <a:pt x="228" y="2664"/>
                    </a:lnTo>
                    <a:lnTo>
                      <a:pt x="226" y="2660"/>
                    </a:lnTo>
                    <a:lnTo>
                      <a:pt x="226" y="2658"/>
                    </a:lnTo>
                    <a:lnTo>
                      <a:pt x="230" y="2653"/>
                    </a:lnTo>
                    <a:lnTo>
                      <a:pt x="236" y="2648"/>
                    </a:lnTo>
                    <a:lnTo>
                      <a:pt x="250" y="2641"/>
                    </a:lnTo>
                    <a:lnTo>
                      <a:pt x="265" y="2635"/>
                    </a:lnTo>
                    <a:lnTo>
                      <a:pt x="271" y="2633"/>
                    </a:lnTo>
                    <a:lnTo>
                      <a:pt x="279" y="2629"/>
                    </a:lnTo>
                    <a:lnTo>
                      <a:pt x="286" y="2626"/>
                    </a:lnTo>
                    <a:lnTo>
                      <a:pt x="290" y="2621"/>
                    </a:lnTo>
                    <a:lnTo>
                      <a:pt x="291" y="2614"/>
                    </a:lnTo>
                    <a:lnTo>
                      <a:pt x="289" y="2603"/>
                    </a:lnTo>
                    <a:lnTo>
                      <a:pt x="288" y="2598"/>
                    </a:lnTo>
                    <a:lnTo>
                      <a:pt x="286" y="2594"/>
                    </a:lnTo>
                    <a:lnTo>
                      <a:pt x="284" y="2590"/>
                    </a:lnTo>
                    <a:lnTo>
                      <a:pt x="282" y="2589"/>
                    </a:lnTo>
                    <a:lnTo>
                      <a:pt x="279" y="2594"/>
                    </a:lnTo>
                    <a:lnTo>
                      <a:pt x="276" y="2600"/>
                    </a:lnTo>
                    <a:lnTo>
                      <a:pt x="271" y="2605"/>
                    </a:lnTo>
                    <a:lnTo>
                      <a:pt x="266" y="2609"/>
                    </a:lnTo>
                    <a:lnTo>
                      <a:pt x="255" y="2618"/>
                    </a:lnTo>
                    <a:lnTo>
                      <a:pt x="244" y="2623"/>
                    </a:lnTo>
                    <a:lnTo>
                      <a:pt x="238" y="2627"/>
                    </a:lnTo>
                    <a:lnTo>
                      <a:pt x="232" y="2632"/>
                    </a:lnTo>
                    <a:lnTo>
                      <a:pt x="225" y="2638"/>
                    </a:lnTo>
                    <a:lnTo>
                      <a:pt x="218" y="2645"/>
                    </a:lnTo>
                    <a:lnTo>
                      <a:pt x="204" y="2660"/>
                    </a:lnTo>
                    <a:lnTo>
                      <a:pt x="192" y="2672"/>
                    </a:lnTo>
                    <a:lnTo>
                      <a:pt x="188" y="2674"/>
                    </a:lnTo>
                    <a:lnTo>
                      <a:pt x="179" y="2675"/>
                    </a:lnTo>
                    <a:lnTo>
                      <a:pt x="169" y="2676"/>
                    </a:lnTo>
                    <a:lnTo>
                      <a:pt x="156" y="2676"/>
                    </a:lnTo>
                    <a:lnTo>
                      <a:pt x="132" y="2678"/>
                    </a:lnTo>
                    <a:lnTo>
                      <a:pt x="116" y="2676"/>
                    </a:lnTo>
                    <a:lnTo>
                      <a:pt x="116" y="2674"/>
                    </a:lnTo>
                    <a:lnTo>
                      <a:pt x="117" y="2671"/>
                    </a:lnTo>
                    <a:lnTo>
                      <a:pt x="121" y="2667"/>
                    </a:lnTo>
                    <a:lnTo>
                      <a:pt x="124" y="2664"/>
                    </a:lnTo>
                    <a:lnTo>
                      <a:pt x="135" y="2654"/>
                    </a:lnTo>
                    <a:lnTo>
                      <a:pt x="147" y="2645"/>
                    </a:lnTo>
                    <a:lnTo>
                      <a:pt x="174" y="2626"/>
                    </a:lnTo>
                    <a:lnTo>
                      <a:pt x="191" y="2612"/>
                    </a:lnTo>
                    <a:lnTo>
                      <a:pt x="202" y="2599"/>
                    </a:lnTo>
                    <a:lnTo>
                      <a:pt x="209" y="2589"/>
                    </a:lnTo>
                    <a:lnTo>
                      <a:pt x="214" y="2586"/>
                    </a:lnTo>
                    <a:lnTo>
                      <a:pt x="218" y="2582"/>
                    </a:lnTo>
                    <a:lnTo>
                      <a:pt x="225" y="2580"/>
                    </a:lnTo>
                    <a:lnTo>
                      <a:pt x="235" y="2576"/>
                    </a:lnTo>
                    <a:lnTo>
                      <a:pt x="259" y="2570"/>
                    </a:lnTo>
                    <a:lnTo>
                      <a:pt x="286" y="2562"/>
                    </a:lnTo>
                    <a:lnTo>
                      <a:pt x="300" y="2557"/>
                    </a:lnTo>
                    <a:lnTo>
                      <a:pt x="312" y="2552"/>
                    </a:lnTo>
                    <a:lnTo>
                      <a:pt x="324" y="2546"/>
                    </a:lnTo>
                    <a:lnTo>
                      <a:pt x="335" y="2537"/>
                    </a:lnTo>
                    <a:lnTo>
                      <a:pt x="338" y="2535"/>
                    </a:lnTo>
                    <a:lnTo>
                      <a:pt x="342" y="2531"/>
                    </a:lnTo>
                    <a:lnTo>
                      <a:pt x="344" y="2527"/>
                    </a:lnTo>
                    <a:lnTo>
                      <a:pt x="346" y="2522"/>
                    </a:lnTo>
                    <a:lnTo>
                      <a:pt x="349" y="2513"/>
                    </a:lnTo>
                    <a:lnTo>
                      <a:pt x="351" y="2502"/>
                    </a:lnTo>
                    <a:lnTo>
                      <a:pt x="351" y="2480"/>
                    </a:lnTo>
                    <a:lnTo>
                      <a:pt x="351" y="2458"/>
                    </a:lnTo>
                    <a:lnTo>
                      <a:pt x="351" y="2458"/>
                    </a:lnTo>
                    <a:lnTo>
                      <a:pt x="347" y="2461"/>
                    </a:lnTo>
                    <a:lnTo>
                      <a:pt x="344" y="2467"/>
                    </a:lnTo>
                    <a:lnTo>
                      <a:pt x="339" y="2475"/>
                    </a:lnTo>
                    <a:lnTo>
                      <a:pt x="336" y="2484"/>
                    </a:lnTo>
                    <a:lnTo>
                      <a:pt x="326" y="2503"/>
                    </a:lnTo>
                    <a:lnTo>
                      <a:pt x="323" y="2515"/>
                    </a:lnTo>
                    <a:lnTo>
                      <a:pt x="319" y="2509"/>
                    </a:lnTo>
                    <a:lnTo>
                      <a:pt x="316" y="2496"/>
                    </a:lnTo>
                    <a:lnTo>
                      <a:pt x="312" y="2482"/>
                    </a:lnTo>
                    <a:lnTo>
                      <a:pt x="311" y="2473"/>
                    </a:lnTo>
                    <a:lnTo>
                      <a:pt x="311" y="2469"/>
                    </a:lnTo>
                    <a:lnTo>
                      <a:pt x="312" y="2465"/>
                    </a:lnTo>
                    <a:lnTo>
                      <a:pt x="315" y="2463"/>
                    </a:lnTo>
                    <a:lnTo>
                      <a:pt x="317" y="2461"/>
                    </a:lnTo>
                    <a:lnTo>
                      <a:pt x="323" y="2457"/>
                    </a:lnTo>
                    <a:lnTo>
                      <a:pt x="330" y="2454"/>
                    </a:lnTo>
                    <a:lnTo>
                      <a:pt x="337" y="2450"/>
                    </a:lnTo>
                    <a:lnTo>
                      <a:pt x="344" y="2445"/>
                    </a:lnTo>
                    <a:lnTo>
                      <a:pt x="346" y="2442"/>
                    </a:lnTo>
                    <a:lnTo>
                      <a:pt x="349" y="2438"/>
                    </a:lnTo>
                    <a:lnTo>
                      <a:pt x="350" y="2434"/>
                    </a:lnTo>
                    <a:lnTo>
                      <a:pt x="350" y="2429"/>
                    </a:lnTo>
                    <a:lnTo>
                      <a:pt x="349" y="2417"/>
                    </a:lnTo>
                    <a:lnTo>
                      <a:pt x="346" y="2407"/>
                    </a:lnTo>
                    <a:lnTo>
                      <a:pt x="342" y="2397"/>
                    </a:lnTo>
                    <a:lnTo>
                      <a:pt x="336" y="2389"/>
                    </a:lnTo>
                    <a:lnTo>
                      <a:pt x="332" y="2385"/>
                    </a:lnTo>
                    <a:lnTo>
                      <a:pt x="329" y="2383"/>
                    </a:lnTo>
                    <a:lnTo>
                      <a:pt x="324" y="2381"/>
                    </a:lnTo>
                    <a:lnTo>
                      <a:pt x="319" y="2379"/>
                    </a:lnTo>
                    <a:lnTo>
                      <a:pt x="315" y="2378"/>
                    </a:lnTo>
                    <a:lnTo>
                      <a:pt x="310" y="2378"/>
                    </a:lnTo>
                    <a:lnTo>
                      <a:pt x="304" y="2379"/>
                    </a:lnTo>
                    <a:lnTo>
                      <a:pt x="298" y="2382"/>
                    </a:lnTo>
                    <a:lnTo>
                      <a:pt x="292" y="2384"/>
                    </a:lnTo>
                    <a:lnTo>
                      <a:pt x="288" y="2388"/>
                    </a:lnTo>
                    <a:lnTo>
                      <a:pt x="284" y="2392"/>
                    </a:lnTo>
                    <a:lnTo>
                      <a:pt x="280" y="2397"/>
                    </a:lnTo>
                    <a:lnTo>
                      <a:pt x="277" y="2407"/>
                    </a:lnTo>
                    <a:lnTo>
                      <a:pt x="275" y="2418"/>
                    </a:lnTo>
                    <a:lnTo>
                      <a:pt x="272" y="2429"/>
                    </a:lnTo>
                    <a:lnTo>
                      <a:pt x="271" y="2441"/>
                    </a:lnTo>
                    <a:lnTo>
                      <a:pt x="269" y="2445"/>
                    </a:lnTo>
                    <a:lnTo>
                      <a:pt x="268" y="2449"/>
                    </a:lnTo>
                    <a:lnTo>
                      <a:pt x="264" y="2454"/>
                    </a:lnTo>
                    <a:lnTo>
                      <a:pt x="261" y="2456"/>
                    </a:lnTo>
                    <a:lnTo>
                      <a:pt x="252" y="2449"/>
                    </a:lnTo>
                    <a:lnTo>
                      <a:pt x="245" y="2440"/>
                    </a:lnTo>
                    <a:lnTo>
                      <a:pt x="243" y="2435"/>
                    </a:lnTo>
                    <a:lnTo>
                      <a:pt x="242" y="2429"/>
                    </a:lnTo>
                    <a:lnTo>
                      <a:pt x="242" y="2424"/>
                    </a:lnTo>
                    <a:lnTo>
                      <a:pt x="244" y="2420"/>
                    </a:lnTo>
                    <a:lnTo>
                      <a:pt x="251" y="2403"/>
                    </a:lnTo>
                    <a:lnTo>
                      <a:pt x="258" y="2387"/>
                    </a:lnTo>
                    <a:lnTo>
                      <a:pt x="263" y="2384"/>
                    </a:lnTo>
                    <a:lnTo>
                      <a:pt x="269" y="2381"/>
                    </a:lnTo>
                    <a:lnTo>
                      <a:pt x="275" y="2379"/>
                    </a:lnTo>
                    <a:lnTo>
                      <a:pt x="282" y="2377"/>
                    </a:lnTo>
                    <a:lnTo>
                      <a:pt x="288" y="2375"/>
                    </a:lnTo>
                    <a:lnTo>
                      <a:pt x="293" y="2371"/>
                    </a:lnTo>
                    <a:lnTo>
                      <a:pt x="298" y="2368"/>
                    </a:lnTo>
                    <a:lnTo>
                      <a:pt x="302" y="2362"/>
                    </a:lnTo>
                    <a:lnTo>
                      <a:pt x="304" y="2352"/>
                    </a:lnTo>
                    <a:lnTo>
                      <a:pt x="305" y="2341"/>
                    </a:lnTo>
                    <a:lnTo>
                      <a:pt x="306" y="2328"/>
                    </a:lnTo>
                    <a:lnTo>
                      <a:pt x="309" y="2317"/>
                    </a:lnTo>
                    <a:lnTo>
                      <a:pt x="312" y="2312"/>
                    </a:lnTo>
                    <a:lnTo>
                      <a:pt x="317" y="2306"/>
                    </a:lnTo>
                    <a:lnTo>
                      <a:pt x="309" y="2304"/>
                    </a:lnTo>
                    <a:lnTo>
                      <a:pt x="303" y="2302"/>
                    </a:lnTo>
                    <a:lnTo>
                      <a:pt x="299" y="2298"/>
                    </a:lnTo>
                    <a:lnTo>
                      <a:pt x="297" y="2295"/>
                    </a:lnTo>
                    <a:lnTo>
                      <a:pt x="296" y="2291"/>
                    </a:lnTo>
                    <a:lnTo>
                      <a:pt x="296" y="2288"/>
                    </a:lnTo>
                    <a:lnTo>
                      <a:pt x="297" y="2283"/>
                    </a:lnTo>
                    <a:lnTo>
                      <a:pt x="299" y="2279"/>
                    </a:lnTo>
                    <a:lnTo>
                      <a:pt x="311" y="2263"/>
                    </a:lnTo>
                    <a:lnTo>
                      <a:pt x="322" y="2247"/>
                    </a:lnTo>
                    <a:lnTo>
                      <a:pt x="323" y="2239"/>
                    </a:lnTo>
                    <a:lnTo>
                      <a:pt x="323" y="2232"/>
                    </a:lnTo>
                    <a:lnTo>
                      <a:pt x="320" y="2225"/>
                    </a:lnTo>
                    <a:lnTo>
                      <a:pt x="318" y="2218"/>
                    </a:lnTo>
                    <a:lnTo>
                      <a:pt x="317" y="2212"/>
                    </a:lnTo>
                    <a:lnTo>
                      <a:pt x="316" y="2205"/>
                    </a:lnTo>
                    <a:lnTo>
                      <a:pt x="317" y="2201"/>
                    </a:lnTo>
                    <a:lnTo>
                      <a:pt x="318" y="2198"/>
                    </a:lnTo>
                    <a:lnTo>
                      <a:pt x="320" y="2193"/>
                    </a:lnTo>
                    <a:lnTo>
                      <a:pt x="324" y="2189"/>
                    </a:lnTo>
                    <a:lnTo>
                      <a:pt x="331" y="2183"/>
                    </a:lnTo>
                    <a:lnTo>
                      <a:pt x="342" y="2177"/>
                    </a:lnTo>
                    <a:lnTo>
                      <a:pt x="353" y="2172"/>
                    </a:lnTo>
                    <a:lnTo>
                      <a:pt x="363" y="2170"/>
                    </a:lnTo>
                    <a:lnTo>
                      <a:pt x="372" y="2171"/>
                    </a:lnTo>
                    <a:lnTo>
                      <a:pt x="376" y="2172"/>
                    </a:lnTo>
                    <a:lnTo>
                      <a:pt x="379" y="2171"/>
                    </a:lnTo>
                    <a:lnTo>
                      <a:pt x="385" y="2164"/>
                    </a:lnTo>
                    <a:lnTo>
                      <a:pt x="390" y="2158"/>
                    </a:lnTo>
                    <a:lnTo>
                      <a:pt x="396" y="2152"/>
                    </a:lnTo>
                    <a:lnTo>
                      <a:pt x="399" y="2145"/>
                    </a:lnTo>
                    <a:lnTo>
                      <a:pt x="404" y="2138"/>
                    </a:lnTo>
                    <a:lnTo>
                      <a:pt x="405" y="2130"/>
                    </a:lnTo>
                    <a:lnTo>
                      <a:pt x="405" y="2123"/>
                    </a:lnTo>
                    <a:lnTo>
                      <a:pt x="405" y="2118"/>
                    </a:lnTo>
                    <a:lnTo>
                      <a:pt x="403" y="2114"/>
                    </a:lnTo>
                    <a:lnTo>
                      <a:pt x="400" y="2111"/>
                    </a:lnTo>
                    <a:lnTo>
                      <a:pt x="398" y="2107"/>
                    </a:lnTo>
                    <a:lnTo>
                      <a:pt x="398" y="2107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15">
                <a:extLst>
                  <a:ext uri="{FF2B5EF4-FFF2-40B4-BE49-F238E27FC236}">
                    <a16:creationId xmlns:a16="http://schemas.microsoft.com/office/drawing/2014/main" id="{BCA80D7E-DD89-44EF-A8A0-AA4C9F558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265297" y="4852199"/>
                <a:ext cx="425779" cy="247826"/>
              </a:xfrm>
              <a:custGeom>
                <a:avLst/>
                <a:gdLst>
                  <a:gd name="T0" fmla="*/ 397 w 1735"/>
                  <a:gd name="T1" fmla="*/ 730 h 1010"/>
                  <a:gd name="T2" fmla="*/ 422 w 1735"/>
                  <a:gd name="T3" fmla="*/ 712 h 1010"/>
                  <a:gd name="T4" fmla="*/ 471 w 1735"/>
                  <a:gd name="T5" fmla="*/ 747 h 1010"/>
                  <a:gd name="T6" fmla="*/ 534 w 1735"/>
                  <a:gd name="T7" fmla="*/ 776 h 1010"/>
                  <a:gd name="T8" fmla="*/ 598 w 1735"/>
                  <a:gd name="T9" fmla="*/ 710 h 1010"/>
                  <a:gd name="T10" fmla="*/ 578 w 1735"/>
                  <a:gd name="T11" fmla="*/ 671 h 1010"/>
                  <a:gd name="T12" fmla="*/ 516 w 1735"/>
                  <a:gd name="T13" fmla="*/ 678 h 1010"/>
                  <a:gd name="T14" fmla="*/ 567 w 1735"/>
                  <a:gd name="T15" fmla="*/ 631 h 1010"/>
                  <a:gd name="T16" fmla="*/ 598 w 1735"/>
                  <a:gd name="T17" fmla="*/ 633 h 1010"/>
                  <a:gd name="T18" fmla="*/ 715 w 1735"/>
                  <a:gd name="T19" fmla="*/ 654 h 1010"/>
                  <a:gd name="T20" fmla="*/ 1021 w 1735"/>
                  <a:gd name="T21" fmla="*/ 628 h 1010"/>
                  <a:gd name="T22" fmla="*/ 1090 w 1735"/>
                  <a:gd name="T23" fmla="*/ 672 h 1010"/>
                  <a:gd name="T24" fmla="*/ 1071 w 1735"/>
                  <a:gd name="T25" fmla="*/ 727 h 1010"/>
                  <a:gd name="T26" fmla="*/ 1120 w 1735"/>
                  <a:gd name="T27" fmla="*/ 746 h 1010"/>
                  <a:gd name="T28" fmla="*/ 1198 w 1735"/>
                  <a:gd name="T29" fmla="*/ 677 h 1010"/>
                  <a:gd name="T30" fmla="*/ 1216 w 1735"/>
                  <a:gd name="T31" fmla="*/ 646 h 1010"/>
                  <a:gd name="T32" fmla="*/ 1340 w 1735"/>
                  <a:gd name="T33" fmla="*/ 620 h 1010"/>
                  <a:gd name="T34" fmla="*/ 1408 w 1735"/>
                  <a:gd name="T35" fmla="*/ 571 h 1010"/>
                  <a:gd name="T36" fmla="*/ 1383 w 1735"/>
                  <a:gd name="T37" fmla="*/ 506 h 1010"/>
                  <a:gd name="T38" fmla="*/ 1483 w 1735"/>
                  <a:gd name="T39" fmla="*/ 481 h 1010"/>
                  <a:gd name="T40" fmla="*/ 1536 w 1735"/>
                  <a:gd name="T41" fmla="*/ 407 h 1010"/>
                  <a:gd name="T42" fmla="*/ 1501 w 1735"/>
                  <a:gd name="T43" fmla="*/ 338 h 1010"/>
                  <a:gd name="T44" fmla="*/ 1435 w 1735"/>
                  <a:gd name="T45" fmla="*/ 314 h 1010"/>
                  <a:gd name="T46" fmla="*/ 1393 w 1735"/>
                  <a:gd name="T47" fmla="*/ 395 h 1010"/>
                  <a:gd name="T48" fmla="*/ 1366 w 1735"/>
                  <a:gd name="T49" fmla="*/ 429 h 1010"/>
                  <a:gd name="T50" fmla="*/ 1328 w 1735"/>
                  <a:gd name="T51" fmla="*/ 457 h 1010"/>
                  <a:gd name="T52" fmla="*/ 1312 w 1735"/>
                  <a:gd name="T53" fmla="*/ 505 h 1010"/>
                  <a:gd name="T54" fmla="*/ 1279 w 1735"/>
                  <a:gd name="T55" fmla="*/ 528 h 1010"/>
                  <a:gd name="T56" fmla="*/ 1220 w 1735"/>
                  <a:gd name="T57" fmla="*/ 574 h 1010"/>
                  <a:gd name="T58" fmla="*/ 1208 w 1735"/>
                  <a:gd name="T59" fmla="*/ 607 h 1010"/>
                  <a:gd name="T60" fmla="*/ 1157 w 1735"/>
                  <a:gd name="T61" fmla="*/ 618 h 1010"/>
                  <a:gd name="T62" fmla="*/ 1106 w 1735"/>
                  <a:gd name="T63" fmla="*/ 640 h 1010"/>
                  <a:gd name="T64" fmla="*/ 1164 w 1735"/>
                  <a:gd name="T65" fmla="*/ 580 h 1010"/>
                  <a:gd name="T66" fmla="*/ 1328 w 1735"/>
                  <a:gd name="T67" fmla="*/ 424 h 1010"/>
                  <a:gd name="T68" fmla="*/ 1407 w 1735"/>
                  <a:gd name="T69" fmla="*/ 287 h 1010"/>
                  <a:gd name="T70" fmla="*/ 1423 w 1735"/>
                  <a:gd name="T71" fmla="*/ 166 h 1010"/>
                  <a:gd name="T72" fmla="*/ 1379 w 1735"/>
                  <a:gd name="T73" fmla="*/ 103 h 1010"/>
                  <a:gd name="T74" fmla="*/ 1319 w 1735"/>
                  <a:gd name="T75" fmla="*/ 71 h 1010"/>
                  <a:gd name="T76" fmla="*/ 1283 w 1735"/>
                  <a:gd name="T77" fmla="*/ 4 h 1010"/>
                  <a:gd name="T78" fmla="*/ 1339 w 1735"/>
                  <a:gd name="T79" fmla="*/ 43 h 1010"/>
                  <a:gd name="T80" fmla="*/ 1528 w 1735"/>
                  <a:gd name="T81" fmla="*/ 330 h 1010"/>
                  <a:gd name="T82" fmla="*/ 1641 w 1735"/>
                  <a:gd name="T83" fmla="*/ 534 h 1010"/>
                  <a:gd name="T84" fmla="*/ 1708 w 1735"/>
                  <a:gd name="T85" fmla="*/ 686 h 1010"/>
                  <a:gd name="T86" fmla="*/ 1734 w 1735"/>
                  <a:gd name="T87" fmla="*/ 804 h 1010"/>
                  <a:gd name="T88" fmla="*/ 1701 w 1735"/>
                  <a:gd name="T89" fmla="*/ 932 h 1010"/>
                  <a:gd name="T90" fmla="*/ 1671 w 1735"/>
                  <a:gd name="T91" fmla="*/ 963 h 1010"/>
                  <a:gd name="T92" fmla="*/ 1600 w 1735"/>
                  <a:gd name="T93" fmla="*/ 1000 h 1010"/>
                  <a:gd name="T94" fmla="*/ 1342 w 1735"/>
                  <a:gd name="T95" fmla="*/ 997 h 1010"/>
                  <a:gd name="T96" fmla="*/ 1080 w 1735"/>
                  <a:gd name="T97" fmla="*/ 990 h 1010"/>
                  <a:gd name="T98" fmla="*/ 992 w 1735"/>
                  <a:gd name="T99" fmla="*/ 1000 h 1010"/>
                  <a:gd name="T100" fmla="*/ 190 w 1735"/>
                  <a:gd name="T101" fmla="*/ 532 h 1010"/>
                  <a:gd name="T102" fmla="*/ 155 w 1735"/>
                  <a:gd name="T103" fmla="*/ 540 h 1010"/>
                  <a:gd name="T104" fmla="*/ 219 w 1735"/>
                  <a:gd name="T105" fmla="*/ 622 h 1010"/>
                  <a:gd name="T106" fmla="*/ 314 w 1735"/>
                  <a:gd name="T107" fmla="*/ 683 h 1010"/>
                  <a:gd name="T108" fmla="*/ 336 w 1735"/>
                  <a:gd name="T109" fmla="*/ 687 h 1010"/>
                  <a:gd name="T110" fmla="*/ 335 w 1735"/>
                  <a:gd name="T111" fmla="*/ 655 h 1010"/>
                  <a:gd name="T112" fmla="*/ 353 w 1735"/>
                  <a:gd name="T113" fmla="*/ 600 h 1010"/>
                  <a:gd name="T114" fmla="*/ 85 w 1735"/>
                  <a:gd name="T115" fmla="*/ 353 h 1010"/>
                  <a:gd name="T116" fmla="*/ 2 w 1735"/>
                  <a:gd name="T117" fmla="*/ 363 h 1010"/>
                  <a:gd name="T118" fmla="*/ 49 w 1735"/>
                  <a:gd name="T119" fmla="*/ 397 h 1010"/>
                  <a:gd name="T120" fmla="*/ 107 w 1735"/>
                  <a:gd name="T121" fmla="*/ 389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35" h="1010">
                    <a:moveTo>
                      <a:pt x="795" y="930"/>
                    </a:moveTo>
                    <a:lnTo>
                      <a:pt x="563" y="823"/>
                    </a:lnTo>
                    <a:lnTo>
                      <a:pt x="547" y="815"/>
                    </a:lnTo>
                    <a:lnTo>
                      <a:pt x="522" y="803"/>
                    </a:lnTo>
                    <a:lnTo>
                      <a:pt x="493" y="789"/>
                    </a:lnTo>
                    <a:lnTo>
                      <a:pt x="462" y="772"/>
                    </a:lnTo>
                    <a:lnTo>
                      <a:pt x="433" y="754"/>
                    </a:lnTo>
                    <a:lnTo>
                      <a:pt x="407" y="738"/>
                    </a:lnTo>
                    <a:lnTo>
                      <a:pt x="397" y="730"/>
                    </a:lnTo>
                    <a:lnTo>
                      <a:pt x="389" y="721"/>
                    </a:lnTo>
                    <a:lnTo>
                      <a:pt x="383" y="714"/>
                    </a:lnTo>
                    <a:lnTo>
                      <a:pt x="380" y="707"/>
                    </a:lnTo>
                    <a:lnTo>
                      <a:pt x="382" y="706"/>
                    </a:lnTo>
                    <a:lnTo>
                      <a:pt x="386" y="706"/>
                    </a:lnTo>
                    <a:lnTo>
                      <a:pt x="390" y="706"/>
                    </a:lnTo>
                    <a:lnTo>
                      <a:pt x="395" y="706"/>
                    </a:lnTo>
                    <a:lnTo>
                      <a:pt x="408" y="708"/>
                    </a:lnTo>
                    <a:lnTo>
                      <a:pt x="422" y="712"/>
                    </a:lnTo>
                    <a:lnTo>
                      <a:pt x="436" y="717"/>
                    </a:lnTo>
                    <a:lnTo>
                      <a:pt x="448" y="723"/>
                    </a:lnTo>
                    <a:lnTo>
                      <a:pt x="453" y="725"/>
                    </a:lnTo>
                    <a:lnTo>
                      <a:pt x="456" y="729"/>
                    </a:lnTo>
                    <a:lnTo>
                      <a:pt x="460" y="731"/>
                    </a:lnTo>
                    <a:lnTo>
                      <a:pt x="461" y="733"/>
                    </a:lnTo>
                    <a:lnTo>
                      <a:pt x="465" y="737"/>
                    </a:lnTo>
                    <a:lnTo>
                      <a:pt x="469" y="741"/>
                    </a:lnTo>
                    <a:lnTo>
                      <a:pt x="471" y="747"/>
                    </a:lnTo>
                    <a:lnTo>
                      <a:pt x="475" y="752"/>
                    </a:lnTo>
                    <a:lnTo>
                      <a:pt x="478" y="758"/>
                    </a:lnTo>
                    <a:lnTo>
                      <a:pt x="482" y="763"/>
                    </a:lnTo>
                    <a:lnTo>
                      <a:pt x="487" y="766"/>
                    </a:lnTo>
                    <a:lnTo>
                      <a:pt x="494" y="770"/>
                    </a:lnTo>
                    <a:lnTo>
                      <a:pt x="507" y="772"/>
                    </a:lnTo>
                    <a:lnTo>
                      <a:pt x="521" y="774"/>
                    </a:lnTo>
                    <a:lnTo>
                      <a:pt x="528" y="776"/>
                    </a:lnTo>
                    <a:lnTo>
                      <a:pt x="534" y="776"/>
                    </a:lnTo>
                    <a:lnTo>
                      <a:pt x="541" y="773"/>
                    </a:lnTo>
                    <a:lnTo>
                      <a:pt x="547" y="771"/>
                    </a:lnTo>
                    <a:lnTo>
                      <a:pt x="558" y="764"/>
                    </a:lnTo>
                    <a:lnTo>
                      <a:pt x="568" y="757"/>
                    </a:lnTo>
                    <a:lnTo>
                      <a:pt x="576" y="749"/>
                    </a:lnTo>
                    <a:lnTo>
                      <a:pt x="584" y="740"/>
                    </a:lnTo>
                    <a:lnTo>
                      <a:pt x="590" y="731"/>
                    </a:lnTo>
                    <a:lnTo>
                      <a:pt x="595" y="720"/>
                    </a:lnTo>
                    <a:lnTo>
                      <a:pt x="598" y="710"/>
                    </a:lnTo>
                    <a:lnTo>
                      <a:pt x="599" y="697"/>
                    </a:lnTo>
                    <a:lnTo>
                      <a:pt x="598" y="691"/>
                    </a:lnTo>
                    <a:lnTo>
                      <a:pt x="597" y="685"/>
                    </a:lnTo>
                    <a:lnTo>
                      <a:pt x="596" y="680"/>
                    </a:lnTo>
                    <a:lnTo>
                      <a:pt x="594" y="677"/>
                    </a:lnTo>
                    <a:lnTo>
                      <a:pt x="590" y="674"/>
                    </a:lnTo>
                    <a:lnTo>
                      <a:pt x="587" y="672"/>
                    </a:lnTo>
                    <a:lnTo>
                      <a:pt x="583" y="671"/>
                    </a:lnTo>
                    <a:lnTo>
                      <a:pt x="578" y="671"/>
                    </a:lnTo>
                    <a:lnTo>
                      <a:pt x="570" y="671"/>
                    </a:lnTo>
                    <a:lnTo>
                      <a:pt x="561" y="672"/>
                    </a:lnTo>
                    <a:lnTo>
                      <a:pt x="550" y="675"/>
                    </a:lnTo>
                    <a:lnTo>
                      <a:pt x="542" y="678"/>
                    </a:lnTo>
                    <a:lnTo>
                      <a:pt x="532" y="681"/>
                    </a:lnTo>
                    <a:lnTo>
                      <a:pt x="523" y="683"/>
                    </a:lnTo>
                    <a:lnTo>
                      <a:pt x="520" y="681"/>
                    </a:lnTo>
                    <a:lnTo>
                      <a:pt x="517" y="680"/>
                    </a:lnTo>
                    <a:lnTo>
                      <a:pt x="516" y="678"/>
                    </a:lnTo>
                    <a:lnTo>
                      <a:pt x="515" y="673"/>
                    </a:lnTo>
                    <a:lnTo>
                      <a:pt x="517" y="666"/>
                    </a:lnTo>
                    <a:lnTo>
                      <a:pt x="521" y="659"/>
                    </a:lnTo>
                    <a:lnTo>
                      <a:pt x="527" y="653"/>
                    </a:lnTo>
                    <a:lnTo>
                      <a:pt x="532" y="648"/>
                    </a:lnTo>
                    <a:lnTo>
                      <a:pt x="541" y="644"/>
                    </a:lnTo>
                    <a:lnTo>
                      <a:pt x="549" y="640"/>
                    </a:lnTo>
                    <a:lnTo>
                      <a:pt x="558" y="637"/>
                    </a:lnTo>
                    <a:lnTo>
                      <a:pt x="567" y="631"/>
                    </a:lnTo>
                    <a:lnTo>
                      <a:pt x="569" y="631"/>
                    </a:lnTo>
                    <a:lnTo>
                      <a:pt x="570" y="631"/>
                    </a:lnTo>
                    <a:lnTo>
                      <a:pt x="572" y="628"/>
                    </a:lnTo>
                    <a:lnTo>
                      <a:pt x="576" y="626"/>
                    </a:lnTo>
                    <a:lnTo>
                      <a:pt x="577" y="625"/>
                    </a:lnTo>
                    <a:lnTo>
                      <a:pt x="578" y="625"/>
                    </a:lnTo>
                    <a:lnTo>
                      <a:pt x="584" y="625"/>
                    </a:lnTo>
                    <a:lnTo>
                      <a:pt x="589" y="625"/>
                    </a:lnTo>
                    <a:lnTo>
                      <a:pt x="598" y="633"/>
                    </a:lnTo>
                    <a:lnTo>
                      <a:pt x="609" y="640"/>
                    </a:lnTo>
                    <a:lnTo>
                      <a:pt x="621" y="645"/>
                    </a:lnTo>
                    <a:lnTo>
                      <a:pt x="631" y="648"/>
                    </a:lnTo>
                    <a:lnTo>
                      <a:pt x="643" y="651"/>
                    </a:lnTo>
                    <a:lnTo>
                      <a:pt x="656" y="652"/>
                    </a:lnTo>
                    <a:lnTo>
                      <a:pt x="669" y="653"/>
                    </a:lnTo>
                    <a:lnTo>
                      <a:pt x="682" y="653"/>
                    </a:lnTo>
                    <a:lnTo>
                      <a:pt x="698" y="653"/>
                    </a:lnTo>
                    <a:lnTo>
                      <a:pt x="715" y="654"/>
                    </a:lnTo>
                    <a:lnTo>
                      <a:pt x="731" y="654"/>
                    </a:lnTo>
                    <a:lnTo>
                      <a:pt x="748" y="657"/>
                    </a:lnTo>
                    <a:lnTo>
                      <a:pt x="768" y="658"/>
                    </a:lnTo>
                    <a:lnTo>
                      <a:pt x="788" y="658"/>
                    </a:lnTo>
                    <a:lnTo>
                      <a:pt x="806" y="658"/>
                    </a:lnTo>
                    <a:lnTo>
                      <a:pt x="826" y="659"/>
                    </a:lnTo>
                    <a:lnTo>
                      <a:pt x="1008" y="621"/>
                    </a:lnTo>
                    <a:lnTo>
                      <a:pt x="1013" y="622"/>
                    </a:lnTo>
                    <a:lnTo>
                      <a:pt x="1021" y="628"/>
                    </a:lnTo>
                    <a:lnTo>
                      <a:pt x="1031" y="635"/>
                    </a:lnTo>
                    <a:lnTo>
                      <a:pt x="1043" y="645"/>
                    </a:lnTo>
                    <a:lnTo>
                      <a:pt x="1055" y="654"/>
                    </a:lnTo>
                    <a:lnTo>
                      <a:pt x="1070" y="661"/>
                    </a:lnTo>
                    <a:lnTo>
                      <a:pt x="1075" y="665"/>
                    </a:lnTo>
                    <a:lnTo>
                      <a:pt x="1083" y="667"/>
                    </a:lnTo>
                    <a:lnTo>
                      <a:pt x="1090" y="670"/>
                    </a:lnTo>
                    <a:lnTo>
                      <a:pt x="1095" y="670"/>
                    </a:lnTo>
                    <a:lnTo>
                      <a:pt x="1090" y="672"/>
                    </a:lnTo>
                    <a:lnTo>
                      <a:pt x="1084" y="677"/>
                    </a:lnTo>
                    <a:lnTo>
                      <a:pt x="1079" y="681"/>
                    </a:lnTo>
                    <a:lnTo>
                      <a:pt x="1075" y="687"/>
                    </a:lnTo>
                    <a:lnTo>
                      <a:pt x="1073" y="693"/>
                    </a:lnTo>
                    <a:lnTo>
                      <a:pt x="1071" y="700"/>
                    </a:lnTo>
                    <a:lnTo>
                      <a:pt x="1070" y="707"/>
                    </a:lnTo>
                    <a:lnTo>
                      <a:pt x="1068" y="714"/>
                    </a:lnTo>
                    <a:lnTo>
                      <a:pt x="1070" y="720"/>
                    </a:lnTo>
                    <a:lnTo>
                      <a:pt x="1071" y="727"/>
                    </a:lnTo>
                    <a:lnTo>
                      <a:pt x="1073" y="733"/>
                    </a:lnTo>
                    <a:lnTo>
                      <a:pt x="1077" y="739"/>
                    </a:lnTo>
                    <a:lnTo>
                      <a:pt x="1080" y="744"/>
                    </a:lnTo>
                    <a:lnTo>
                      <a:pt x="1085" y="747"/>
                    </a:lnTo>
                    <a:lnTo>
                      <a:pt x="1092" y="750"/>
                    </a:lnTo>
                    <a:lnTo>
                      <a:pt x="1098" y="751"/>
                    </a:lnTo>
                    <a:lnTo>
                      <a:pt x="1106" y="751"/>
                    </a:lnTo>
                    <a:lnTo>
                      <a:pt x="1113" y="749"/>
                    </a:lnTo>
                    <a:lnTo>
                      <a:pt x="1120" y="746"/>
                    </a:lnTo>
                    <a:lnTo>
                      <a:pt x="1126" y="741"/>
                    </a:lnTo>
                    <a:lnTo>
                      <a:pt x="1138" y="731"/>
                    </a:lnTo>
                    <a:lnTo>
                      <a:pt x="1149" y="717"/>
                    </a:lnTo>
                    <a:lnTo>
                      <a:pt x="1160" y="704"/>
                    </a:lnTo>
                    <a:lnTo>
                      <a:pt x="1172" y="691"/>
                    </a:lnTo>
                    <a:lnTo>
                      <a:pt x="1178" y="686"/>
                    </a:lnTo>
                    <a:lnTo>
                      <a:pt x="1184" y="681"/>
                    </a:lnTo>
                    <a:lnTo>
                      <a:pt x="1191" y="679"/>
                    </a:lnTo>
                    <a:lnTo>
                      <a:pt x="1198" y="677"/>
                    </a:lnTo>
                    <a:lnTo>
                      <a:pt x="1201" y="675"/>
                    </a:lnTo>
                    <a:lnTo>
                      <a:pt x="1205" y="674"/>
                    </a:lnTo>
                    <a:lnTo>
                      <a:pt x="1207" y="673"/>
                    </a:lnTo>
                    <a:lnTo>
                      <a:pt x="1209" y="671"/>
                    </a:lnTo>
                    <a:lnTo>
                      <a:pt x="1212" y="665"/>
                    </a:lnTo>
                    <a:lnTo>
                      <a:pt x="1213" y="659"/>
                    </a:lnTo>
                    <a:lnTo>
                      <a:pt x="1214" y="653"/>
                    </a:lnTo>
                    <a:lnTo>
                      <a:pt x="1215" y="648"/>
                    </a:lnTo>
                    <a:lnTo>
                      <a:pt x="1216" y="646"/>
                    </a:lnTo>
                    <a:lnTo>
                      <a:pt x="1218" y="645"/>
                    </a:lnTo>
                    <a:lnTo>
                      <a:pt x="1220" y="644"/>
                    </a:lnTo>
                    <a:lnTo>
                      <a:pt x="1221" y="644"/>
                    </a:lnTo>
                    <a:lnTo>
                      <a:pt x="1242" y="642"/>
                    </a:lnTo>
                    <a:lnTo>
                      <a:pt x="1272" y="638"/>
                    </a:lnTo>
                    <a:lnTo>
                      <a:pt x="1288" y="634"/>
                    </a:lnTo>
                    <a:lnTo>
                      <a:pt x="1306" y="631"/>
                    </a:lnTo>
                    <a:lnTo>
                      <a:pt x="1323" y="626"/>
                    </a:lnTo>
                    <a:lnTo>
                      <a:pt x="1340" y="620"/>
                    </a:lnTo>
                    <a:lnTo>
                      <a:pt x="1356" y="614"/>
                    </a:lnTo>
                    <a:lnTo>
                      <a:pt x="1370" y="608"/>
                    </a:lnTo>
                    <a:lnTo>
                      <a:pt x="1385" y="600"/>
                    </a:lnTo>
                    <a:lnTo>
                      <a:pt x="1395" y="593"/>
                    </a:lnTo>
                    <a:lnTo>
                      <a:pt x="1399" y="588"/>
                    </a:lnTo>
                    <a:lnTo>
                      <a:pt x="1402" y="585"/>
                    </a:lnTo>
                    <a:lnTo>
                      <a:pt x="1406" y="580"/>
                    </a:lnTo>
                    <a:lnTo>
                      <a:pt x="1407" y="575"/>
                    </a:lnTo>
                    <a:lnTo>
                      <a:pt x="1408" y="571"/>
                    </a:lnTo>
                    <a:lnTo>
                      <a:pt x="1408" y="566"/>
                    </a:lnTo>
                    <a:lnTo>
                      <a:pt x="1407" y="561"/>
                    </a:lnTo>
                    <a:lnTo>
                      <a:pt x="1405" y="556"/>
                    </a:lnTo>
                    <a:lnTo>
                      <a:pt x="1387" y="528"/>
                    </a:lnTo>
                    <a:lnTo>
                      <a:pt x="1377" y="513"/>
                    </a:lnTo>
                    <a:lnTo>
                      <a:pt x="1377" y="510"/>
                    </a:lnTo>
                    <a:lnTo>
                      <a:pt x="1377" y="508"/>
                    </a:lnTo>
                    <a:lnTo>
                      <a:pt x="1380" y="507"/>
                    </a:lnTo>
                    <a:lnTo>
                      <a:pt x="1383" y="506"/>
                    </a:lnTo>
                    <a:lnTo>
                      <a:pt x="1395" y="505"/>
                    </a:lnTo>
                    <a:lnTo>
                      <a:pt x="1414" y="503"/>
                    </a:lnTo>
                    <a:lnTo>
                      <a:pt x="1423" y="503"/>
                    </a:lnTo>
                    <a:lnTo>
                      <a:pt x="1434" y="502"/>
                    </a:lnTo>
                    <a:lnTo>
                      <a:pt x="1443" y="500"/>
                    </a:lnTo>
                    <a:lnTo>
                      <a:pt x="1454" y="496"/>
                    </a:lnTo>
                    <a:lnTo>
                      <a:pt x="1464" y="492"/>
                    </a:lnTo>
                    <a:lnTo>
                      <a:pt x="1474" y="487"/>
                    </a:lnTo>
                    <a:lnTo>
                      <a:pt x="1483" y="481"/>
                    </a:lnTo>
                    <a:lnTo>
                      <a:pt x="1494" y="475"/>
                    </a:lnTo>
                    <a:lnTo>
                      <a:pt x="1502" y="468"/>
                    </a:lnTo>
                    <a:lnTo>
                      <a:pt x="1510" y="461"/>
                    </a:lnTo>
                    <a:lnTo>
                      <a:pt x="1517" y="453"/>
                    </a:lnTo>
                    <a:lnTo>
                      <a:pt x="1524" y="444"/>
                    </a:lnTo>
                    <a:lnTo>
                      <a:pt x="1529" y="435"/>
                    </a:lnTo>
                    <a:lnTo>
                      <a:pt x="1533" y="426"/>
                    </a:lnTo>
                    <a:lnTo>
                      <a:pt x="1535" y="416"/>
                    </a:lnTo>
                    <a:lnTo>
                      <a:pt x="1536" y="407"/>
                    </a:lnTo>
                    <a:lnTo>
                      <a:pt x="1536" y="400"/>
                    </a:lnTo>
                    <a:lnTo>
                      <a:pt x="1534" y="391"/>
                    </a:lnTo>
                    <a:lnTo>
                      <a:pt x="1531" y="384"/>
                    </a:lnTo>
                    <a:lnTo>
                      <a:pt x="1528" y="376"/>
                    </a:lnTo>
                    <a:lnTo>
                      <a:pt x="1524" y="368"/>
                    </a:lnTo>
                    <a:lnTo>
                      <a:pt x="1520" y="360"/>
                    </a:lnTo>
                    <a:lnTo>
                      <a:pt x="1514" y="353"/>
                    </a:lnTo>
                    <a:lnTo>
                      <a:pt x="1508" y="345"/>
                    </a:lnTo>
                    <a:lnTo>
                      <a:pt x="1501" y="338"/>
                    </a:lnTo>
                    <a:lnTo>
                      <a:pt x="1494" y="331"/>
                    </a:lnTo>
                    <a:lnTo>
                      <a:pt x="1487" y="325"/>
                    </a:lnTo>
                    <a:lnTo>
                      <a:pt x="1480" y="321"/>
                    </a:lnTo>
                    <a:lnTo>
                      <a:pt x="1472" y="317"/>
                    </a:lnTo>
                    <a:lnTo>
                      <a:pt x="1463" y="314"/>
                    </a:lnTo>
                    <a:lnTo>
                      <a:pt x="1456" y="311"/>
                    </a:lnTo>
                    <a:lnTo>
                      <a:pt x="1448" y="311"/>
                    </a:lnTo>
                    <a:lnTo>
                      <a:pt x="1441" y="311"/>
                    </a:lnTo>
                    <a:lnTo>
                      <a:pt x="1435" y="314"/>
                    </a:lnTo>
                    <a:lnTo>
                      <a:pt x="1430" y="316"/>
                    </a:lnTo>
                    <a:lnTo>
                      <a:pt x="1425" y="320"/>
                    </a:lnTo>
                    <a:lnTo>
                      <a:pt x="1421" y="323"/>
                    </a:lnTo>
                    <a:lnTo>
                      <a:pt x="1417" y="329"/>
                    </a:lnTo>
                    <a:lnTo>
                      <a:pt x="1414" y="334"/>
                    </a:lnTo>
                    <a:lnTo>
                      <a:pt x="1410" y="340"/>
                    </a:lnTo>
                    <a:lnTo>
                      <a:pt x="1402" y="365"/>
                    </a:lnTo>
                    <a:lnTo>
                      <a:pt x="1395" y="390"/>
                    </a:lnTo>
                    <a:lnTo>
                      <a:pt x="1393" y="395"/>
                    </a:lnTo>
                    <a:lnTo>
                      <a:pt x="1390" y="397"/>
                    </a:lnTo>
                    <a:lnTo>
                      <a:pt x="1387" y="397"/>
                    </a:lnTo>
                    <a:lnTo>
                      <a:pt x="1382" y="397"/>
                    </a:lnTo>
                    <a:lnTo>
                      <a:pt x="1379" y="398"/>
                    </a:lnTo>
                    <a:lnTo>
                      <a:pt x="1374" y="400"/>
                    </a:lnTo>
                    <a:lnTo>
                      <a:pt x="1370" y="403"/>
                    </a:lnTo>
                    <a:lnTo>
                      <a:pt x="1367" y="409"/>
                    </a:lnTo>
                    <a:lnTo>
                      <a:pt x="1366" y="416"/>
                    </a:lnTo>
                    <a:lnTo>
                      <a:pt x="1366" y="429"/>
                    </a:lnTo>
                    <a:lnTo>
                      <a:pt x="1365" y="440"/>
                    </a:lnTo>
                    <a:lnTo>
                      <a:pt x="1363" y="446"/>
                    </a:lnTo>
                    <a:lnTo>
                      <a:pt x="1360" y="449"/>
                    </a:lnTo>
                    <a:lnTo>
                      <a:pt x="1356" y="450"/>
                    </a:lnTo>
                    <a:lnTo>
                      <a:pt x="1353" y="452"/>
                    </a:lnTo>
                    <a:lnTo>
                      <a:pt x="1349" y="453"/>
                    </a:lnTo>
                    <a:lnTo>
                      <a:pt x="1340" y="454"/>
                    </a:lnTo>
                    <a:lnTo>
                      <a:pt x="1332" y="456"/>
                    </a:lnTo>
                    <a:lnTo>
                      <a:pt x="1328" y="457"/>
                    </a:lnTo>
                    <a:lnTo>
                      <a:pt x="1325" y="460"/>
                    </a:lnTo>
                    <a:lnTo>
                      <a:pt x="1321" y="463"/>
                    </a:lnTo>
                    <a:lnTo>
                      <a:pt x="1319" y="467"/>
                    </a:lnTo>
                    <a:lnTo>
                      <a:pt x="1316" y="472"/>
                    </a:lnTo>
                    <a:lnTo>
                      <a:pt x="1314" y="477"/>
                    </a:lnTo>
                    <a:lnTo>
                      <a:pt x="1313" y="486"/>
                    </a:lnTo>
                    <a:lnTo>
                      <a:pt x="1313" y="495"/>
                    </a:lnTo>
                    <a:lnTo>
                      <a:pt x="1313" y="501"/>
                    </a:lnTo>
                    <a:lnTo>
                      <a:pt x="1312" y="505"/>
                    </a:lnTo>
                    <a:lnTo>
                      <a:pt x="1311" y="508"/>
                    </a:lnTo>
                    <a:lnTo>
                      <a:pt x="1309" y="512"/>
                    </a:lnTo>
                    <a:lnTo>
                      <a:pt x="1305" y="514"/>
                    </a:lnTo>
                    <a:lnTo>
                      <a:pt x="1300" y="516"/>
                    </a:lnTo>
                    <a:lnTo>
                      <a:pt x="1294" y="518"/>
                    </a:lnTo>
                    <a:lnTo>
                      <a:pt x="1288" y="520"/>
                    </a:lnTo>
                    <a:lnTo>
                      <a:pt x="1285" y="522"/>
                    </a:lnTo>
                    <a:lnTo>
                      <a:pt x="1282" y="525"/>
                    </a:lnTo>
                    <a:lnTo>
                      <a:pt x="1279" y="528"/>
                    </a:lnTo>
                    <a:lnTo>
                      <a:pt x="1276" y="532"/>
                    </a:lnTo>
                    <a:lnTo>
                      <a:pt x="1269" y="542"/>
                    </a:lnTo>
                    <a:lnTo>
                      <a:pt x="1265" y="548"/>
                    </a:lnTo>
                    <a:lnTo>
                      <a:pt x="1259" y="553"/>
                    </a:lnTo>
                    <a:lnTo>
                      <a:pt x="1253" y="556"/>
                    </a:lnTo>
                    <a:lnTo>
                      <a:pt x="1240" y="561"/>
                    </a:lnTo>
                    <a:lnTo>
                      <a:pt x="1224" y="569"/>
                    </a:lnTo>
                    <a:lnTo>
                      <a:pt x="1221" y="572"/>
                    </a:lnTo>
                    <a:lnTo>
                      <a:pt x="1220" y="574"/>
                    </a:lnTo>
                    <a:lnTo>
                      <a:pt x="1219" y="576"/>
                    </a:lnTo>
                    <a:lnTo>
                      <a:pt x="1218" y="580"/>
                    </a:lnTo>
                    <a:lnTo>
                      <a:pt x="1216" y="587"/>
                    </a:lnTo>
                    <a:lnTo>
                      <a:pt x="1216" y="594"/>
                    </a:lnTo>
                    <a:lnTo>
                      <a:pt x="1215" y="598"/>
                    </a:lnTo>
                    <a:lnTo>
                      <a:pt x="1215" y="601"/>
                    </a:lnTo>
                    <a:lnTo>
                      <a:pt x="1213" y="604"/>
                    </a:lnTo>
                    <a:lnTo>
                      <a:pt x="1212" y="606"/>
                    </a:lnTo>
                    <a:lnTo>
                      <a:pt x="1208" y="607"/>
                    </a:lnTo>
                    <a:lnTo>
                      <a:pt x="1205" y="607"/>
                    </a:lnTo>
                    <a:lnTo>
                      <a:pt x="1200" y="607"/>
                    </a:lnTo>
                    <a:lnTo>
                      <a:pt x="1195" y="606"/>
                    </a:lnTo>
                    <a:lnTo>
                      <a:pt x="1188" y="606"/>
                    </a:lnTo>
                    <a:lnTo>
                      <a:pt x="1181" y="606"/>
                    </a:lnTo>
                    <a:lnTo>
                      <a:pt x="1174" y="607"/>
                    </a:lnTo>
                    <a:lnTo>
                      <a:pt x="1168" y="609"/>
                    </a:lnTo>
                    <a:lnTo>
                      <a:pt x="1161" y="614"/>
                    </a:lnTo>
                    <a:lnTo>
                      <a:pt x="1157" y="618"/>
                    </a:lnTo>
                    <a:lnTo>
                      <a:pt x="1153" y="624"/>
                    </a:lnTo>
                    <a:lnTo>
                      <a:pt x="1151" y="630"/>
                    </a:lnTo>
                    <a:lnTo>
                      <a:pt x="1147" y="645"/>
                    </a:lnTo>
                    <a:lnTo>
                      <a:pt x="1144" y="654"/>
                    </a:lnTo>
                    <a:lnTo>
                      <a:pt x="1141" y="655"/>
                    </a:lnTo>
                    <a:lnTo>
                      <a:pt x="1138" y="655"/>
                    </a:lnTo>
                    <a:lnTo>
                      <a:pt x="1132" y="654"/>
                    </a:lnTo>
                    <a:lnTo>
                      <a:pt x="1125" y="650"/>
                    </a:lnTo>
                    <a:lnTo>
                      <a:pt x="1106" y="640"/>
                    </a:lnTo>
                    <a:lnTo>
                      <a:pt x="1093" y="633"/>
                    </a:lnTo>
                    <a:lnTo>
                      <a:pt x="1085" y="628"/>
                    </a:lnTo>
                    <a:lnTo>
                      <a:pt x="1083" y="625"/>
                    </a:lnTo>
                    <a:lnTo>
                      <a:pt x="1085" y="621"/>
                    </a:lnTo>
                    <a:lnTo>
                      <a:pt x="1092" y="618"/>
                    </a:lnTo>
                    <a:lnTo>
                      <a:pt x="1104" y="613"/>
                    </a:lnTo>
                    <a:lnTo>
                      <a:pt x="1120" y="605"/>
                    </a:lnTo>
                    <a:lnTo>
                      <a:pt x="1142" y="593"/>
                    </a:lnTo>
                    <a:lnTo>
                      <a:pt x="1164" y="580"/>
                    </a:lnTo>
                    <a:lnTo>
                      <a:pt x="1185" y="566"/>
                    </a:lnTo>
                    <a:lnTo>
                      <a:pt x="1206" y="552"/>
                    </a:lnTo>
                    <a:lnTo>
                      <a:pt x="1225" y="535"/>
                    </a:lnTo>
                    <a:lnTo>
                      <a:pt x="1245" y="519"/>
                    </a:lnTo>
                    <a:lnTo>
                      <a:pt x="1262" y="502"/>
                    </a:lnTo>
                    <a:lnTo>
                      <a:pt x="1280" y="483"/>
                    </a:lnTo>
                    <a:lnTo>
                      <a:pt x="1296" y="464"/>
                    </a:lnTo>
                    <a:lnTo>
                      <a:pt x="1313" y="444"/>
                    </a:lnTo>
                    <a:lnTo>
                      <a:pt x="1328" y="424"/>
                    </a:lnTo>
                    <a:lnTo>
                      <a:pt x="1342" y="403"/>
                    </a:lnTo>
                    <a:lnTo>
                      <a:pt x="1356" y="381"/>
                    </a:lnTo>
                    <a:lnTo>
                      <a:pt x="1369" y="358"/>
                    </a:lnTo>
                    <a:lnTo>
                      <a:pt x="1381" y="335"/>
                    </a:lnTo>
                    <a:lnTo>
                      <a:pt x="1393" y="311"/>
                    </a:lnTo>
                    <a:lnTo>
                      <a:pt x="1396" y="307"/>
                    </a:lnTo>
                    <a:lnTo>
                      <a:pt x="1400" y="301"/>
                    </a:lnTo>
                    <a:lnTo>
                      <a:pt x="1403" y="294"/>
                    </a:lnTo>
                    <a:lnTo>
                      <a:pt x="1407" y="287"/>
                    </a:lnTo>
                    <a:lnTo>
                      <a:pt x="1413" y="269"/>
                    </a:lnTo>
                    <a:lnTo>
                      <a:pt x="1417" y="251"/>
                    </a:lnTo>
                    <a:lnTo>
                      <a:pt x="1421" y="232"/>
                    </a:lnTo>
                    <a:lnTo>
                      <a:pt x="1423" y="213"/>
                    </a:lnTo>
                    <a:lnTo>
                      <a:pt x="1426" y="197"/>
                    </a:lnTo>
                    <a:lnTo>
                      <a:pt x="1426" y="184"/>
                    </a:lnTo>
                    <a:lnTo>
                      <a:pt x="1426" y="177"/>
                    </a:lnTo>
                    <a:lnTo>
                      <a:pt x="1425" y="171"/>
                    </a:lnTo>
                    <a:lnTo>
                      <a:pt x="1423" y="166"/>
                    </a:lnTo>
                    <a:lnTo>
                      <a:pt x="1421" y="160"/>
                    </a:lnTo>
                    <a:lnTo>
                      <a:pt x="1414" y="151"/>
                    </a:lnTo>
                    <a:lnTo>
                      <a:pt x="1407" y="143"/>
                    </a:lnTo>
                    <a:lnTo>
                      <a:pt x="1400" y="134"/>
                    </a:lnTo>
                    <a:lnTo>
                      <a:pt x="1393" y="126"/>
                    </a:lnTo>
                    <a:lnTo>
                      <a:pt x="1387" y="117"/>
                    </a:lnTo>
                    <a:lnTo>
                      <a:pt x="1383" y="107"/>
                    </a:lnTo>
                    <a:lnTo>
                      <a:pt x="1381" y="105"/>
                    </a:lnTo>
                    <a:lnTo>
                      <a:pt x="1379" y="103"/>
                    </a:lnTo>
                    <a:lnTo>
                      <a:pt x="1373" y="97"/>
                    </a:lnTo>
                    <a:lnTo>
                      <a:pt x="1367" y="91"/>
                    </a:lnTo>
                    <a:lnTo>
                      <a:pt x="1358" y="89"/>
                    </a:lnTo>
                    <a:lnTo>
                      <a:pt x="1342" y="84"/>
                    </a:lnTo>
                    <a:lnTo>
                      <a:pt x="1335" y="81"/>
                    </a:lnTo>
                    <a:lnTo>
                      <a:pt x="1329" y="79"/>
                    </a:lnTo>
                    <a:lnTo>
                      <a:pt x="1325" y="76"/>
                    </a:lnTo>
                    <a:lnTo>
                      <a:pt x="1322" y="73"/>
                    </a:lnTo>
                    <a:lnTo>
                      <a:pt x="1319" y="71"/>
                    </a:lnTo>
                    <a:lnTo>
                      <a:pt x="1314" y="67"/>
                    </a:lnTo>
                    <a:lnTo>
                      <a:pt x="1309" y="58"/>
                    </a:lnTo>
                    <a:lnTo>
                      <a:pt x="1301" y="46"/>
                    </a:lnTo>
                    <a:lnTo>
                      <a:pt x="1296" y="40"/>
                    </a:lnTo>
                    <a:lnTo>
                      <a:pt x="1292" y="33"/>
                    </a:lnTo>
                    <a:lnTo>
                      <a:pt x="1288" y="27"/>
                    </a:lnTo>
                    <a:lnTo>
                      <a:pt x="1286" y="20"/>
                    </a:lnTo>
                    <a:lnTo>
                      <a:pt x="1283" y="11"/>
                    </a:lnTo>
                    <a:lnTo>
                      <a:pt x="1283" y="4"/>
                    </a:lnTo>
                    <a:lnTo>
                      <a:pt x="1285" y="2"/>
                    </a:lnTo>
                    <a:lnTo>
                      <a:pt x="1286" y="0"/>
                    </a:lnTo>
                    <a:lnTo>
                      <a:pt x="1287" y="0"/>
                    </a:lnTo>
                    <a:lnTo>
                      <a:pt x="1289" y="0"/>
                    </a:lnTo>
                    <a:lnTo>
                      <a:pt x="1294" y="1"/>
                    </a:lnTo>
                    <a:lnTo>
                      <a:pt x="1299" y="5"/>
                    </a:lnTo>
                    <a:lnTo>
                      <a:pt x="1306" y="10"/>
                    </a:lnTo>
                    <a:lnTo>
                      <a:pt x="1312" y="15"/>
                    </a:lnTo>
                    <a:lnTo>
                      <a:pt x="1339" y="43"/>
                    </a:lnTo>
                    <a:lnTo>
                      <a:pt x="1354" y="59"/>
                    </a:lnTo>
                    <a:lnTo>
                      <a:pt x="1374" y="78"/>
                    </a:lnTo>
                    <a:lnTo>
                      <a:pt x="1394" y="97"/>
                    </a:lnTo>
                    <a:lnTo>
                      <a:pt x="1402" y="106"/>
                    </a:lnTo>
                    <a:lnTo>
                      <a:pt x="1412" y="117"/>
                    </a:lnTo>
                    <a:lnTo>
                      <a:pt x="1420" y="129"/>
                    </a:lnTo>
                    <a:lnTo>
                      <a:pt x="1427" y="142"/>
                    </a:lnTo>
                    <a:lnTo>
                      <a:pt x="1508" y="292"/>
                    </a:lnTo>
                    <a:lnTo>
                      <a:pt x="1528" y="330"/>
                    </a:lnTo>
                    <a:lnTo>
                      <a:pt x="1547" y="369"/>
                    </a:lnTo>
                    <a:lnTo>
                      <a:pt x="1568" y="407"/>
                    </a:lnTo>
                    <a:lnTo>
                      <a:pt x="1590" y="443"/>
                    </a:lnTo>
                    <a:lnTo>
                      <a:pt x="1597" y="461"/>
                    </a:lnTo>
                    <a:lnTo>
                      <a:pt x="1605" y="479"/>
                    </a:lnTo>
                    <a:lnTo>
                      <a:pt x="1616" y="496"/>
                    </a:lnTo>
                    <a:lnTo>
                      <a:pt x="1627" y="512"/>
                    </a:lnTo>
                    <a:lnTo>
                      <a:pt x="1634" y="522"/>
                    </a:lnTo>
                    <a:lnTo>
                      <a:pt x="1641" y="534"/>
                    </a:lnTo>
                    <a:lnTo>
                      <a:pt x="1648" y="548"/>
                    </a:lnTo>
                    <a:lnTo>
                      <a:pt x="1654" y="562"/>
                    </a:lnTo>
                    <a:lnTo>
                      <a:pt x="1665" y="592"/>
                    </a:lnTo>
                    <a:lnTo>
                      <a:pt x="1677" y="618"/>
                    </a:lnTo>
                    <a:lnTo>
                      <a:pt x="1684" y="631"/>
                    </a:lnTo>
                    <a:lnTo>
                      <a:pt x="1691" y="646"/>
                    </a:lnTo>
                    <a:lnTo>
                      <a:pt x="1698" y="660"/>
                    </a:lnTo>
                    <a:lnTo>
                      <a:pt x="1704" y="673"/>
                    </a:lnTo>
                    <a:lnTo>
                      <a:pt x="1708" y="686"/>
                    </a:lnTo>
                    <a:lnTo>
                      <a:pt x="1712" y="703"/>
                    </a:lnTo>
                    <a:lnTo>
                      <a:pt x="1717" y="719"/>
                    </a:lnTo>
                    <a:lnTo>
                      <a:pt x="1723" y="729"/>
                    </a:lnTo>
                    <a:lnTo>
                      <a:pt x="1723" y="741"/>
                    </a:lnTo>
                    <a:lnTo>
                      <a:pt x="1725" y="753"/>
                    </a:lnTo>
                    <a:lnTo>
                      <a:pt x="1727" y="765"/>
                    </a:lnTo>
                    <a:lnTo>
                      <a:pt x="1730" y="778"/>
                    </a:lnTo>
                    <a:lnTo>
                      <a:pt x="1732" y="791"/>
                    </a:lnTo>
                    <a:lnTo>
                      <a:pt x="1734" y="804"/>
                    </a:lnTo>
                    <a:lnTo>
                      <a:pt x="1735" y="817"/>
                    </a:lnTo>
                    <a:lnTo>
                      <a:pt x="1735" y="831"/>
                    </a:lnTo>
                    <a:lnTo>
                      <a:pt x="1732" y="846"/>
                    </a:lnTo>
                    <a:lnTo>
                      <a:pt x="1730" y="861"/>
                    </a:lnTo>
                    <a:lnTo>
                      <a:pt x="1725" y="876"/>
                    </a:lnTo>
                    <a:lnTo>
                      <a:pt x="1721" y="890"/>
                    </a:lnTo>
                    <a:lnTo>
                      <a:pt x="1715" y="904"/>
                    </a:lnTo>
                    <a:lnTo>
                      <a:pt x="1708" y="918"/>
                    </a:lnTo>
                    <a:lnTo>
                      <a:pt x="1701" y="932"/>
                    </a:lnTo>
                    <a:lnTo>
                      <a:pt x="1692" y="944"/>
                    </a:lnTo>
                    <a:lnTo>
                      <a:pt x="1688" y="949"/>
                    </a:lnTo>
                    <a:lnTo>
                      <a:pt x="1683" y="952"/>
                    </a:lnTo>
                    <a:lnTo>
                      <a:pt x="1682" y="954"/>
                    </a:lnTo>
                    <a:lnTo>
                      <a:pt x="1680" y="955"/>
                    </a:lnTo>
                    <a:lnTo>
                      <a:pt x="1678" y="957"/>
                    </a:lnTo>
                    <a:lnTo>
                      <a:pt x="1676" y="958"/>
                    </a:lnTo>
                    <a:lnTo>
                      <a:pt x="1675" y="958"/>
                    </a:lnTo>
                    <a:lnTo>
                      <a:pt x="1671" y="963"/>
                    </a:lnTo>
                    <a:lnTo>
                      <a:pt x="1665" y="967"/>
                    </a:lnTo>
                    <a:lnTo>
                      <a:pt x="1658" y="971"/>
                    </a:lnTo>
                    <a:lnTo>
                      <a:pt x="1651" y="975"/>
                    </a:lnTo>
                    <a:lnTo>
                      <a:pt x="1635" y="981"/>
                    </a:lnTo>
                    <a:lnTo>
                      <a:pt x="1623" y="984"/>
                    </a:lnTo>
                    <a:lnTo>
                      <a:pt x="1618" y="989"/>
                    </a:lnTo>
                    <a:lnTo>
                      <a:pt x="1614" y="993"/>
                    </a:lnTo>
                    <a:lnTo>
                      <a:pt x="1607" y="996"/>
                    </a:lnTo>
                    <a:lnTo>
                      <a:pt x="1600" y="1000"/>
                    </a:lnTo>
                    <a:lnTo>
                      <a:pt x="1584" y="1004"/>
                    </a:lnTo>
                    <a:lnTo>
                      <a:pt x="1566" y="1008"/>
                    </a:lnTo>
                    <a:lnTo>
                      <a:pt x="1544" y="1010"/>
                    </a:lnTo>
                    <a:lnTo>
                      <a:pt x="1522" y="1010"/>
                    </a:lnTo>
                    <a:lnTo>
                      <a:pt x="1499" y="1010"/>
                    </a:lnTo>
                    <a:lnTo>
                      <a:pt x="1474" y="1010"/>
                    </a:lnTo>
                    <a:lnTo>
                      <a:pt x="1426" y="1007"/>
                    </a:lnTo>
                    <a:lnTo>
                      <a:pt x="1380" y="1002"/>
                    </a:lnTo>
                    <a:lnTo>
                      <a:pt x="1342" y="997"/>
                    </a:lnTo>
                    <a:lnTo>
                      <a:pt x="1314" y="995"/>
                    </a:lnTo>
                    <a:lnTo>
                      <a:pt x="1149" y="978"/>
                    </a:lnTo>
                    <a:lnTo>
                      <a:pt x="1139" y="978"/>
                    </a:lnTo>
                    <a:lnTo>
                      <a:pt x="1130" y="978"/>
                    </a:lnTo>
                    <a:lnTo>
                      <a:pt x="1119" y="978"/>
                    </a:lnTo>
                    <a:lnTo>
                      <a:pt x="1108" y="981"/>
                    </a:lnTo>
                    <a:lnTo>
                      <a:pt x="1099" y="983"/>
                    </a:lnTo>
                    <a:lnTo>
                      <a:pt x="1090" y="985"/>
                    </a:lnTo>
                    <a:lnTo>
                      <a:pt x="1080" y="990"/>
                    </a:lnTo>
                    <a:lnTo>
                      <a:pt x="1071" y="995"/>
                    </a:lnTo>
                    <a:lnTo>
                      <a:pt x="1059" y="1002"/>
                    </a:lnTo>
                    <a:lnTo>
                      <a:pt x="1050" y="1007"/>
                    </a:lnTo>
                    <a:lnTo>
                      <a:pt x="1041" y="1010"/>
                    </a:lnTo>
                    <a:lnTo>
                      <a:pt x="1033" y="1010"/>
                    </a:lnTo>
                    <a:lnTo>
                      <a:pt x="1025" y="1009"/>
                    </a:lnTo>
                    <a:lnTo>
                      <a:pt x="1016" y="1007"/>
                    </a:lnTo>
                    <a:lnTo>
                      <a:pt x="1005" y="1003"/>
                    </a:lnTo>
                    <a:lnTo>
                      <a:pt x="992" y="1000"/>
                    </a:lnTo>
                    <a:lnTo>
                      <a:pt x="795" y="930"/>
                    </a:lnTo>
                    <a:close/>
                    <a:moveTo>
                      <a:pt x="295" y="552"/>
                    </a:moveTo>
                    <a:lnTo>
                      <a:pt x="270" y="551"/>
                    </a:lnTo>
                    <a:lnTo>
                      <a:pt x="246" y="549"/>
                    </a:lnTo>
                    <a:lnTo>
                      <a:pt x="234" y="548"/>
                    </a:lnTo>
                    <a:lnTo>
                      <a:pt x="223" y="545"/>
                    </a:lnTo>
                    <a:lnTo>
                      <a:pt x="212" y="541"/>
                    </a:lnTo>
                    <a:lnTo>
                      <a:pt x="201" y="536"/>
                    </a:lnTo>
                    <a:lnTo>
                      <a:pt x="190" y="532"/>
                    </a:lnTo>
                    <a:lnTo>
                      <a:pt x="179" y="528"/>
                    </a:lnTo>
                    <a:lnTo>
                      <a:pt x="174" y="527"/>
                    </a:lnTo>
                    <a:lnTo>
                      <a:pt x="169" y="527"/>
                    </a:lnTo>
                    <a:lnTo>
                      <a:pt x="165" y="528"/>
                    </a:lnTo>
                    <a:lnTo>
                      <a:pt x="161" y="529"/>
                    </a:lnTo>
                    <a:lnTo>
                      <a:pt x="158" y="531"/>
                    </a:lnTo>
                    <a:lnTo>
                      <a:pt x="155" y="533"/>
                    </a:lnTo>
                    <a:lnTo>
                      <a:pt x="155" y="536"/>
                    </a:lnTo>
                    <a:lnTo>
                      <a:pt x="155" y="540"/>
                    </a:lnTo>
                    <a:lnTo>
                      <a:pt x="156" y="545"/>
                    </a:lnTo>
                    <a:lnTo>
                      <a:pt x="159" y="551"/>
                    </a:lnTo>
                    <a:lnTo>
                      <a:pt x="162" y="556"/>
                    </a:lnTo>
                    <a:lnTo>
                      <a:pt x="168" y="564"/>
                    </a:lnTo>
                    <a:lnTo>
                      <a:pt x="178" y="574"/>
                    </a:lnTo>
                    <a:lnTo>
                      <a:pt x="188" y="585"/>
                    </a:lnTo>
                    <a:lnTo>
                      <a:pt x="198" y="595"/>
                    </a:lnTo>
                    <a:lnTo>
                      <a:pt x="207" y="606"/>
                    </a:lnTo>
                    <a:lnTo>
                      <a:pt x="219" y="622"/>
                    </a:lnTo>
                    <a:lnTo>
                      <a:pt x="232" y="639"/>
                    </a:lnTo>
                    <a:lnTo>
                      <a:pt x="239" y="645"/>
                    </a:lnTo>
                    <a:lnTo>
                      <a:pt x="248" y="650"/>
                    </a:lnTo>
                    <a:lnTo>
                      <a:pt x="259" y="654"/>
                    </a:lnTo>
                    <a:lnTo>
                      <a:pt x="267" y="657"/>
                    </a:lnTo>
                    <a:lnTo>
                      <a:pt x="277" y="660"/>
                    </a:lnTo>
                    <a:lnTo>
                      <a:pt x="292" y="667"/>
                    </a:lnTo>
                    <a:lnTo>
                      <a:pt x="306" y="675"/>
                    </a:lnTo>
                    <a:lnTo>
                      <a:pt x="314" y="683"/>
                    </a:lnTo>
                    <a:lnTo>
                      <a:pt x="320" y="688"/>
                    </a:lnTo>
                    <a:lnTo>
                      <a:pt x="329" y="694"/>
                    </a:lnTo>
                    <a:lnTo>
                      <a:pt x="334" y="697"/>
                    </a:lnTo>
                    <a:lnTo>
                      <a:pt x="339" y="699"/>
                    </a:lnTo>
                    <a:lnTo>
                      <a:pt x="343" y="699"/>
                    </a:lnTo>
                    <a:lnTo>
                      <a:pt x="347" y="699"/>
                    </a:lnTo>
                    <a:lnTo>
                      <a:pt x="346" y="696"/>
                    </a:lnTo>
                    <a:lnTo>
                      <a:pt x="342" y="692"/>
                    </a:lnTo>
                    <a:lnTo>
                      <a:pt x="336" y="687"/>
                    </a:lnTo>
                    <a:lnTo>
                      <a:pt x="330" y="683"/>
                    </a:lnTo>
                    <a:lnTo>
                      <a:pt x="324" y="677"/>
                    </a:lnTo>
                    <a:lnTo>
                      <a:pt x="320" y="671"/>
                    </a:lnTo>
                    <a:lnTo>
                      <a:pt x="316" y="666"/>
                    </a:lnTo>
                    <a:lnTo>
                      <a:pt x="314" y="660"/>
                    </a:lnTo>
                    <a:lnTo>
                      <a:pt x="320" y="660"/>
                    </a:lnTo>
                    <a:lnTo>
                      <a:pt x="326" y="659"/>
                    </a:lnTo>
                    <a:lnTo>
                      <a:pt x="330" y="658"/>
                    </a:lnTo>
                    <a:lnTo>
                      <a:pt x="335" y="655"/>
                    </a:lnTo>
                    <a:lnTo>
                      <a:pt x="339" y="653"/>
                    </a:lnTo>
                    <a:lnTo>
                      <a:pt x="342" y="651"/>
                    </a:lnTo>
                    <a:lnTo>
                      <a:pt x="346" y="647"/>
                    </a:lnTo>
                    <a:lnTo>
                      <a:pt x="348" y="644"/>
                    </a:lnTo>
                    <a:lnTo>
                      <a:pt x="351" y="635"/>
                    </a:lnTo>
                    <a:lnTo>
                      <a:pt x="354" y="627"/>
                    </a:lnTo>
                    <a:lnTo>
                      <a:pt x="355" y="617"/>
                    </a:lnTo>
                    <a:lnTo>
                      <a:pt x="355" y="606"/>
                    </a:lnTo>
                    <a:lnTo>
                      <a:pt x="353" y="600"/>
                    </a:lnTo>
                    <a:lnTo>
                      <a:pt x="350" y="593"/>
                    </a:lnTo>
                    <a:lnTo>
                      <a:pt x="346" y="585"/>
                    </a:lnTo>
                    <a:lnTo>
                      <a:pt x="340" y="576"/>
                    </a:lnTo>
                    <a:lnTo>
                      <a:pt x="334" y="569"/>
                    </a:lnTo>
                    <a:lnTo>
                      <a:pt x="327" y="564"/>
                    </a:lnTo>
                    <a:lnTo>
                      <a:pt x="321" y="559"/>
                    </a:lnTo>
                    <a:lnTo>
                      <a:pt x="315" y="556"/>
                    </a:lnTo>
                    <a:lnTo>
                      <a:pt x="295" y="552"/>
                    </a:lnTo>
                    <a:close/>
                    <a:moveTo>
                      <a:pt x="85" y="353"/>
                    </a:moveTo>
                    <a:lnTo>
                      <a:pt x="71" y="354"/>
                    </a:lnTo>
                    <a:lnTo>
                      <a:pt x="55" y="355"/>
                    </a:lnTo>
                    <a:lnTo>
                      <a:pt x="44" y="355"/>
                    </a:lnTo>
                    <a:lnTo>
                      <a:pt x="32" y="355"/>
                    </a:lnTo>
                    <a:lnTo>
                      <a:pt x="21" y="354"/>
                    </a:lnTo>
                    <a:lnTo>
                      <a:pt x="11" y="354"/>
                    </a:lnTo>
                    <a:lnTo>
                      <a:pt x="7" y="355"/>
                    </a:lnTo>
                    <a:lnTo>
                      <a:pt x="4" y="358"/>
                    </a:lnTo>
                    <a:lnTo>
                      <a:pt x="2" y="363"/>
                    </a:lnTo>
                    <a:lnTo>
                      <a:pt x="0" y="367"/>
                    </a:lnTo>
                    <a:lnTo>
                      <a:pt x="2" y="373"/>
                    </a:lnTo>
                    <a:lnTo>
                      <a:pt x="6" y="378"/>
                    </a:lnTo>
                    <a:lnTo>
                      <a:pt x="11" y="382"/>
                    </a:lnTo>
                    <a:lnTo>
                      <a:pt x="18" y="386"/>
                    </a:lnTo>
                    <a:lnTo>
                      <a:pt x="26" y="388"/>
                    </a:lnTo>
                    <a:lnTo>
                      <a:pt x="32" y="390"/>
                    </a:lnTo>
                    <a:lnTo>
                      <a:pt x="41" y="395"/>
                    </a:lnTo>
                    <a:lnTo>
                      <a:pt x="49" y="397"/>
                    </a:lnTo>
                    <a:lnTo>
                      <a:pt x="61" y="398"/>
                    </a:lnTo>
                    <a:lnTo>
                      <a:pt x="78" y="400"/>
                    </a:lnTo>
                    <a:lnTo>
                      <a:pt x="86" y="398"/>
                    </a:lnTo>
                    <a:lnTo>
                      <a:pt x="93" y="397"/>
                    </a:lnTo>
                    <a:lnTo>
                      <a:pt x="96" y="396"/>
                    </a:lnTo>
                    <a:lnTo>
                      <a:pt x="99" y="395"/>
                    </a:lnTo>
                    <a:lnTo>
                      <a:pt x="101" y="393"/>
                    </a:lnTo>
                    <a:lnTo>
                      <a:pt x="102" y="390"/>
                    </a:lnTo>
                    <a:lnTo>
                      <a:pt x="107" y="389"/>
                    </a:lnTo>
                    <a:lnTo>
                      <a:pt x="109" y="384"/>
                    </a:lnTo>
                    <a:lnTo>
                      <a:pt x="111" y="380"/>
                    </a:lnTo>
                    <a:lnTo>
                      <a:pt x="112" y="376"/>
                    </a:lnTo>
                    <a:lnTo>
                      <a:pt x="111" y="370"/>
                    </a:lnTo>
                    <a:lnTo>
                      <a:pt x="108" y="364"/>
                    </a:lnTo>
                    <a:lnTo>
                      <a:pt x="105" y="360"/>
                    </a:lnTo>
                    <a:lnTo>
                      <a:pt x="100" y="357"/>
                    </a:lnTo>
                    <a:lnTo>
                      <a:pt x="85" y="35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19">
                <a:extLst>
                  <a:ext uri="{FF2B5EF4-FFF2-40B4-BE49-F238E27FC236}">
                    <a16:creationId xmlns:a16="http://schemas.microsoft.com/office/drawing/2014/main" id="{F5F3C69D-44FA-40FB-8424-F35B8227CB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495365" y="4642615"/>
                <a:ext cx="606680" cy="439762"/>
              </a:xfrm>
              <a:custGeom>
                <a:avLst/>
                <a:gdLst>
                  <a:gd name="T0" fmla="*/ 721 w 2475"/>
                  <a:gd name="T1" fmla="*/ 1767 h 1794"/>
                  <a:gd name="T2" fmla="*/ 577 w 2475"/>
                  <a:gd name="T3" fmla="*/ 1733 h 1794"/>
                  <a:gd name="T4" fmla="*/ 2316 w 2475"/>
                  <a:gd name="T5" fmla="*/ 1151 h 1794"/>
                  <a:gd name="T6" fmla="*/ 2368 w 2475"/>
                  <a:gd name="T7" fmla="*/ 1121 h 1794"/>
                  <a:gd name="T8" fmla="*/ 2204 w 2475"/>
                  <a:gd name="T9" fmla="*/ 987 h 1794"/>
                  <a:gd name="T10" fmla="*/ 2305 w 2475"/>
                  <a:gd name="T11" fmla="*/ 894 h 1794"/>
                  <a:gd name="T12" fmla="*/ 2429 w 2475"/>
                  <a:gd name="T13" fmla="*/ 933 h 1794"/>
                  <a:gd name="T14" fmla="*/ 2417 w 2475"/>
                  <a:gd name="T15" fmla="*/ 682 h 1794"/>
                  <a:gd name="T16" fmla="*/ 2471 w 2475"/>
                  <a:gd name="T17" fmla="*/ 862 h 1794"/>
                  <a:gd name="T18" fmla="*/ 1879 w 2475"/>
                  <a:gd name="T19" fmla="*/ 1118 h 1794"/>
                  <a:gd name="T20" fmla="*/ 1922 w 2475"/>
                  <a:gd name="T21" fmla="*/ 1046 h 1794"/>
                  <a:gd name="T22" fmla="*/ 1974 w 2475"/>
                  <a:gd name="T23" fmla="*/ 1082 h 1794"/>
                  <a:gd name="T24" fmla="*/ 2016 w 2475"/>
                  <a:gd name="T25" fmla="*/ 1143 h 1794"/>
                  <a:gd name="T26" fmla="*/ 2197 w 2475"/>
                  <a:gd name="T27" fmla="*/ 1081 h 1794"/>
                  <a:gd name="T28" fmla="*/ 2180 w 2475"/>
                  <a:gd name="T29" fmla="*/ 870 h 1794"/>
                  <a:gd name="T30" fmla="*/ 2081 w 2475"/>
                  <a:gd name="T31" fmla="*/ 764 h 1794"/>
                  <a:gd name="T32" fmla="*/ 2043 w 2475"/>
                  <a:gd name="T33" fmla="*/ 772 h 1794"/>
                  <a:gd name="T34" fmla="*/ 1882 w 2475"/>
                  <a:gd name="T35" fmla="*/ 693 h 1794"/>
                  <a:gd name="T36" fmla="*/ 1920 w 2475"/>
                  <a:gd name="T37" fmla="*/ 578 h 1794"/>
                  <a:gd name="T38" fmla="*/ 1925 w 2475"/>
                  <a:gd name="T39" fmla="*/ 424 h 1794"/>
                  <a:gd name="T40" fmla="*/ 1800 w 2475"/>
                  <a:gd name="T41" fmla="*/ 422 h 1794"/>
                  <a:gd name="T42" fmla="*/ 1747 w 2475"/>
                  <a:gd name="T43" fmla="*/ 505 h 1794"/>
                  <a:gd name="T44" fmla="*/ 1721 w 2475"/>
                  <a:gd name="T45" fmla="*/ 457 h 1794"/>
                  <a:gd name="T46" fmla="*/ 1707 w 2475"/>
                  <a:gd name="T47" fmla="*/ 263 h 1794"/>
                  <a:gd name="T48" fmla="*/ 1596 w 2475"/>
                  <a:gd name="T49" fmla="*/ 467 h 1794"/>
                  <a:gd name="T50" fmla="*/ 1508 w 2475"/>
                  <a:gd name="T51" fmla="*/ 405 h 1794"/>
                  <a:gd name="T52" fmla="*/ 1361 w 2475"/>
                  <a:gd name="T53" fmla="*/ 547 h 1794"/>
                  <a:gd name="T54" fmla="*/ 1221 w 2475"/>
                  <a:gd name="T55" fmla="*/ 614 h 1794"/>
                  <a:gd name="T56" fmla="*/ 1090 w 2475"/>
                  <a:gd name="T57" fmla="*/ 820 h 1794"/>
                  <a:gd name="T58" fmla="*/ 961 w 2475"/>
                  <a:gd name="T59" fmla="*/ 994 h 1794"/>
                  <a:gd name="T60" fmla="*/ 918 w 2475"/>
                  <a:gd name="T61" fmla="*/ 1220 h 1794"/>
                  <a:gd name="T62" fmla="*/ 815 w 2475"/>
                  <a:gd name="T63" fmla="*/ 1224 h 1794"/>
                  <a:gd name="T64" fmla="*/ 883 w 2475"/>
                  <a:gd name="T65" fmla="*/ 1125 h 1794"/>
                  <a:gd name="T66" fmla="*/ 621 w 2475"/>
                  <a:gd name="T67" fmla="*/ 1114 h 1794"/>
                  <a:gd name="T68" fmla="*/ 645 w 2475"/>
                  <a:gd name="T69" fmla="*/ 1280 h 1794"/>
                  <a:gd name="T70" fmla="*/ 836 w 2475"/>
                  <a:gd name="T71" fmla="*/ 1442 h 1794"/>
                  <a:gd name="T72" fmla="*/ 828 w 2475"/>
                  <a:gd name="T73" fmla="*/ 1385 h 1794"/>
                  <a:gd name="T74" fmla="*/ 799 w 2475"/>
                  <a:gd name="T75" fmla="*/ 1299 h 1794"/>
                  <a:gd name="T76" fmla="*/ 943 w 2475"/>
                  <a:gd name="T77" fmla="*/ 1318 h 1794"/>
                  <a:gd name="T78" fmla="*/ 1193 w 2475"/>
                  <a:gd name="T79" fmla="*/ 1188 h 1794"/>
                  <a:gd name="T80" fmla="*/ 1271 w 2475"/>
                  <a:gd name="T81" fmla="*/ 1126 h 1794"/>
                  <a:gd name="T82" fmla="*/ 1472 w 2475"/>
                  <a:gd name="T83" fmla="*/ 1147 h 1794"/>
                  <a:gd name="T84" fmla="*/ 1444 w 2475"/>
                  <a:gd name="T85" fmla="*/ 1078 h 1794"/>
                  <a:gd name="T86" fmla="*/ 1665 w 2475"/>
                  <a:gd name="T87" fmla="*/ 1145 h 1794"/>
                  <a:gd name="T88" fmla="*/ 51 w 2475"/>
                  <a:gd name="T89" fmla="*/ 651 h 1794"/>
                  <a:gd name="T90" fmla="*/ 42 w 2475"/>
                  <a:gd name="T91" fmla="*/ 734 h 1794"/>
                  <a:gd name="T92" fmla="*/ 390 w 2475"/>
                  <a:gd name="T93" fmla="*/ 541 h 1794"/>
                  <a:gd name="T94" fmla="*/ 231 w 2475"/>
                  <a:gd name="T95" fmla="*/ 623 h 1794"/>
                  <a:gd name="T96" fmla="*/ 466 w 2475"/>
                  <a:gd name="T97" fmla="*/ 619 h 1794"/>
                  <a:gd name="T98" fmla="*/ 674 w 2475"/>
                  <a:gd name="T99" fmla="*/ 454 h 1794"/>
                  <a:gd name="T100" fmla="*/ 600 w 2475"/>
                  <a:gd name="T101" fmla="*/ 432 h 1794"/>
                  <a:gd name="T102" fmla="*/ 548 w 2475"/>
                  <a:gd name="T103" fmla="*/ 531 h 1794"/>
                  <a:gd name="T104" fmla="*/ 694 w 2475"/>
                  <a:gd name="T105" fmla="*/ 514 h 1794"/>
                  <a:gd name="T106" fmla="*/ 721 w 2475"/>
                  <a:gd name="T107" fmla="*/ 365 h 1794"/>
                  <a:gd name="T108" fmla="*/ 887 w 2475"/>
                  <a:gd name="T109" fmla="*/ 254 h 1794"/>
                  <a:gd name="T110" fmla="*/ 1068 w 2475"/>
                  <a:gd name="T111" fmla="*/ 123 h 1794"/>
                  <a:gd name="T112" fmla="*/ 1185 w 2475"/>
                  <a:gd name="T113" fmla="*/ 28 h 1794"/>
                  <a:gd name="T114" fmla="*/ 1242 w 2475"/>
                  <a:gd name="T115" fmla="*/ 65 h 1794"/>
                  <a:gd name="T116" fmla="*/ 1322 w 2475"/>
                  <a:gd name="T117" fmla="*/ 105 h 1794"/>
                  <a:gd name="T118" fmla="*/ 1213 w 2475"/>
                  <a:gd name="T119" fmla="*/ 124 h 1794"/>
                  <a:gd name="T120" fmla="*/ 1073 w 2475"/>
                  <a:gd name="T121" fmla="*/ 230 h 1794"/>
                  <a:gd name="T122" fmla="*/ 941 w 2475"/>
                  <a:gd name="T123" fmla="*/ 346 h 1794"/>
                  <a:gd name="T124" fmla="*/ 824 w 2475"/>
                  <a:gd name="T125" fmla="*/ 477 h 1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75" h="1794">
                    <a:moveTo>
                      <a:pt x="597" y="1725"/>
                    </a:moveTo>
                    <a:lnTo>
                      <a:pt x="601" y="1727"/>
                    </a:lnTo>
                    <a:lnTo>
                      <a:pt x="607" y="1728"/>
                    </a:lnTo>
                    <a:lnTo>
                      <a:pt x="613" y="1729"/>
                    </a:lnTo>
                    <a:lnTo>
                      <a:pt x="619" y="1729"/>
                    </a:lnTo>
                    <a:lnTo>
                      <a:pt x="631" y="1729"/>
                    </a:lnTo>
                    <a:lnTo>
                      <a:pt x="643" y="1726"/>
                    </a:lnTo>
                    <a:lnTo>
                      <a:pt x="654" y="1720"/>
                    </a:lnTo>
                    <a:lnTo>
                      <a:pt x="665" y="1713"/>
                    </a:lnTo>
                    <a:lnTo>
                      <a:pt x="678" y="1704"/>
                    </a:lnTo>
                    <a:lnTo>
                      <a:pt x="687" y="1694"/>
                    </a:lnTo>
                    <a:lnTo>
                      <a:pt x="694" y="1707"/>
                    </a:lnTo>
                    <a:lnTo>
                      <a:pt x="700" y="1722"/>
                    </a:lnTo>
                    <a:lnTo>
                      <a:pt x="702" y="1726"/>
                    </a:lnTo>
                    <a:lnTo>
                      <a:pt x="705" y="1729"/>
                    </a:lnTo>
                    <a:lnTo>
                      <a:pt x="707" y="1732"/>
                    </a:lnTo>
                    <a:lnTo>
                      <a:pt x="711" y="1733"/>
                    </a:lnTo>
                    <a:lnTo>
                      <a:pt x="719" y="1734"/>
                    </a:lnTo>
                    <a:lnTo>
                      <a:pt x="727" y="1735"/>
                    </a:lnTo>
                    <a:lnTo>
                      <a:pt x="725" y="1746"/>
                    </a:lnTo>
                    <a:lnTo>
                      <a:pt x="722" y="1757"/>
                    </a:lnTo>
                    <a:lnTo>
                      <a:pt x="721" y="1767"/>
                    </a:lnTo>
                    <a:lnTo>
                      <a:pt x="720" y="1780"/>
                    </a:lnTo>
                    <a:lnTo>
                      <a:pt x="718" y="1786"/>
                    </a:lnTo>
                    <a:lnTo>
                      <a:pt x="714" y="1791"/>
                    </a:lnTo>
                    <a:lnTo>
                      <a:pt x="711" y="1793"/>
                    </a:lnTo>
                    <a:lnTo>
                      <a:pt x="705" y="1794"/>
                    </a:lnTo>
                    <a:lnTo>
                      <a:pt x="693" y="1794"/>
                    </a:lnTo>
                    <a:lnTo>
                      <a:pt x="681" y="1793"/>
                    </a:lnTo>
                    <a:lnTo>
                      <a:pt x="670" y="1791"/>
                    </a:lnTo>
                    <a:lnTo>
                      <a:pt x="659" y="1788"/>
                    </a:lnTo>
                    <a:lnTo>
                      <a:pt x="644" y="1785"/>
                    </a:lnTo>
                    <a:lnTo>
                      <a:pt x="631" y="1783"/>
                    </a:lnTo>
                    <a:lnTo>
                      <a:pt x="625" y="1780"/>
                    </a:lnTo>
                    <a:lnTo>
                      <a:pt x="619" y="1778"/>
                    </a:lnTo>
                    <a:lnTo>
                      <a:pt x="612" y="1774"/>
                    </a:lnTo>
                    <a:lnTo>
                      <a:pt x="607" y="1770"/>
                    </a:lnTo>
                    <a:lnTo>
                      <a:pt x="597" y="1762"/>
                    </a:lnTo>
                    <a:lnTo>
                      <a:pt x="585" y="1752"/>
                    </a:lnTo>
                    <a:lnTo>
                      <a:pt x="580" y="1747"/>
                    </a:lnTo>
                    <a:lnTo>
                      <a:pt x="577" y="1741"/>
                    </a:lnTo>
                    <a:lnTo>
                      <a:pt x="576" y="1739"/>
                    </a:lnTo>
                    <a:lnTo>
                      <a:pt x="576" y="1735"/>
                    </a:lnTo>
                    <a:lnTo>
                      <a:pt x="577" y="1733"/>
                    </a:lnTo>
                    <a:lnTo>
                      <a:pt x="578" y="1731"/>
                    </a:lnTo>
                    <a:lnTo>
                      <a:pt x="597" y="1725"/>
                    </a:lnTo>
                    <a:close/>
                    <a:moveTo>
                      <a:pt x="2471" y="949"/>
                    </a:moveTo>
                    <a:lnTo>
                      <a:pt x="2471" y="967"/>
                    </a:lnTo>
                    <a:lnTo>
                      <a:pt x="2470" y="985"/>
                    </a:lnTo>
                    <a:lnTo>
                      <a:pt x="2468" y="1002"/>
                    </a:lnTo>
                    <a:lnTo>
                      <a:pt x="2464" y="1020"/>
                    </a:lnTo>
                    <a:lnTo>
                      <a:pt x="2458" y="1056"/>
                    </a:lnTo>
                    <a:lnTo>
                      <a:pt x="2455" y="1093"/>
                    </a:lnTo>
                    <a:lnTo>
                      <a:pt x="2455" y="1099"/>
                    </a:lnTo>
                    <a:lnTo>
                      <a:pt x="2454" y="1105"/>
                    </a:lnTo>
                    <a:lnTo>
                      <a:pt x="2451" y="1110"/>
                    </a:lnTo>
                    <a:lnTo>
                      <a:pt x="2450" y="1114"/>
                    </a:lnTo>
                    <a:lnTo>
                      <a:pt x="2443" y="1122"/>
                    </a:lnTo>
                    <a:lnTo>
                      <a:pt x="2436" y="1130"/>
                    </a:lnTo>
                    <a:lnTo>
                      <a:pt x="2427" y="1135"/>
                    </a:lnTo>
                    <a:lnTo>
                      <a:pt x="2416" y="1140"/>
                    </a:lnTo>
                    <a:lnTo>
                      <a:pt x="2404" y="1144"/>
                    </a:lnTo>
                    <a:lnTo>
                      <a:pt x="2392" y="1146"/>
                    </a:lnTo>
                    <a:lnTo>
                      <a:pt x="2367" y="1150"/>
                    </a:lnTo>
                    <a:lnTo>
                      <a:pt x="2341" y="1151"/>
                    </a:lnTo>
                    <a:lnTo>
                      <a:pt x="2316" y="1151"/>
                    </a:lnTo>
                    <a:lnTo>
                      <a:pt x="2296" y="1151"/>
                    </a:lnTo>
                    <a:lnTo>
                      <a:pt x="2284" y="1151"/>
                    </a:lnTo>
                    <a:lnTo>
                      <a:pt x="2268" y="1151"/>
                    </a:lnTo>
                    <a:lnTo>
                      <a:pt x="2250" y="1152"/>
                    </a:lnTo>
                    <a:lnTo>
                      <a:pt x="2235" y="1152"/>
                    </a:lnTo>
                    <a:lnTo>
                      <a:pt x="2228" y="1152"/>
                    </a:lnTo>
                    <a:lnTo>
                      <a:pt x="2223" y="1151"/>
                    </a:lnTo>
                    <a:lnTo>
                      <a:pt x="2220" y="1150"/>
                    </a:lnTo>
                    <a:lnTo>
                      <a:pt x="2217" y="1148"/>
                    </a:lnTo>
                    <a:lnTo>
                      <a:pt x="2219" y="1147"/>
                    </a:lnTo>
                    <a:lnTo>
                      <a:pt x="2222" y="1144"/>
                    </a:lnTo>
                    <a:lnTo>
                      <a:pt x="2228" y="1141"/>
                    </a:lnTo>
                    <a:lnTo>
                      <a:pt x="2237" y="1138"/>
                    </a:lnTo>
                    <a:lnTo>
                      <a:pt x="2249" y="1135"/>
                    </a:lnTo>
                    <a:lnTo>
                      <a:pt x="2267" y="1134"/>
                    </a:lnTo>
                    <a:lnTo>
                      <a:pt x="2288" y="1132"/>
                    </a:lnTo>
                    <a:lnTo>
                      <a:pt x="2310" y="1131"/>
                    </a:lnTo>
                    <a:lnTo>
                      <a:pt x="2333" y="1130"/>
                    </a:lnTo>
                    <a:lnTo>
                      <a:pt x="2350" y="1127"/>
                    </a:lnTo>
                    <a:lnTo>
                      <a:pt x="2358" y="1126"/>
                    </a:lnTo>
                    <a:lnTo>
                      <a:pt x="2364" y="1124"/>
                    </a:lnTo>
                    <a:lnTo>
                      <a:pt x="2368" y="1121"/>
                    </a:lnTo>
                    <a:lnTo>
                      <a:pt x="2369" y="1119"/>
                    </a:lnTo>
                    <a:lnTo>
                      <a:pt x="2369" y="1115"/>
                    </a:lnTo>
                    <a:lnTo>
                      <a:pt x="2368" y="1111"/>
                    </a:lnTo>
                    <a:lnTo>
                      <a:pt x="2365" y="1106"/>
                    </a:lnTo>
                    <a:lnTo>
                      <a:pt x="2363" y="1102"/>
                    </a:lnTo>
                    <a:lnTo>
                      <a:pt x="2356" y="1093"/>
                    </a:lnTo>
                    <a:lnTo>
                      <a:pt x="2348" y="1084"/>
                    </a:lnTo>
                    <a:lnTo>
                      <a:pt x="2338" y="1074"/>
                    </a:lnTo>
                    <a:lnTo>
                      <a:pt x="2329" y="1067"/>
                    </a:lnTo>
                    <a:lnTo>
                      <a:pt x="2320" y="1061"/>
                    </a:lnTo>
                    <a:lnTo>
                      <a:pt x="2313" y="1058"/>
                    </a:lnTo>
                    <a:lnTo>
                      <a:pt x="2282" y="1047"/>
                    </a:lnTo>
                    <a:lnTo>
                      <a:pt x="2253" y="1040"/>
                    </a:lnTo>
                    <a:lnTo>
                      <a:pt x="2247" y="1038"/>
                    </a:lnTo>
                    <a:lnTo>
                      <a:pt x="2240" y="1035"/>
                    </a:lnTo>
                    <a:lnTo>
                      <a:pt x="2234" y="1032"/>
                    </a:lnTo>
                    <a:lnTo>
                      <a:pt x="2228" y="1027"/>
                    </a:lnTo>
                    <a:lnTo>
                      <a:pt x="2222" y="1022"/>
                    </a:lnTo>
                    <a:lnTo>
                      <a:pt x="2217" y="1015"/>
                    </a:lnTo>
                    <a:lnTo>
                      <a:pt x="2213" y="1008"/>
                    </a:lnTo>
                    <a:lnTo>
                      <a:pt x="2208" y="1000"/>
                    </a:lnTo>
                    <a:lnTo>
                      <a:pt x="2204" y="987"/>
                    </a:lnTo>
                    <a:lnTo>
                      <a:pt x="2203" y="973"/>
                    </a:lnTo>
                    <a:lnTo>
                      <a:pt x="2203" y="956"/>
                    </a:lnTo>
                    <a:lnTo>
                      <a:pt x="2202" y="940"/>
                    </a:lnTo>
                    <a:lnTo>
                      <a:pt x="2201" y="923"/>
                    </a:lnTo>
                    <a:lnTo>
                      <a:pt x="2199" y="908"/>
                    </a:lnTo>
                    <a:lnTo>
                      <a:pt x="2196" y="902"/>
                    </a:lnTo>
                    <a:lnTo>
                      <a:pt x="2193" y="895"/>
                    </a:lnTo>
                    <a:lnTo>
                      <a:pt x="2189" y="890"/>
                    </a:lnTo>
                    <a:lnTo>
                      <a:pt x="2184" y="886"/>
                    </a:lnTo>
                    <a:lnTo>
                      <a:pt x="2193" y="887"/>
                    </a:lnTo>
                    <a:lnTo>
                      <a:pt x="2202" y="889"/>
                    </a:lnTo>
                    <a:lnTo>
                      <a:pt x="2210" y="893"/>
                    </a:lnTo>
                    <a:lnTo>
                      <a:pt x="2219" y="897"/>
                    </a:lnTo>
                    <a:lnTo>
                      <a:pt x="2228" y="902"/>
                    </a:lnTo>
                    <a:lnTo>
                      <a:pt x="2236" y="906"/>
                    </a:lnTo>
                    <a:lnTo>
                      <a:pt x="2246" y="908"/>
                    </a:lnTo>
                    <a:lnTo>
                      <a:pt x="2256" y="909"/>
                    </a:lnTo>
                    <a:lnTo>
                      <a:pt x="2264" y="909"/>
                    </a:lnTo>
                    <a:lnTo>
                      <a:pt x="2274" y="908"/>
                    </a:lnTo>
                    <a:lnTo>
                      <a:pt x="2282" y="906"/>
                    </a:lnTo>
                    <a:lnTo>
                      <a:pt x="2289" y="902"/>
                    </a:lnTo>
                    <a:lnTo>
                      <a:pt x="2305" y="894"/>
                    </a:lnTo>
                    <a:lnTo>
                      <a:pt x="2320" y="884"/>
                    </a:lnTo>
                    <a:lnTo>
                      <a:pt x="2334" y="873"/>
                    </a:lnTo>
                    <a:lnTo>
                      <a:pt x="2348" y="860"/>
                    </a:lnTo>
                    <a:lnTo>
                      <a:pt x="2361" y="848"/>
                    </a:lnTo>
                    <a:lnTo>
                      <a:pt x="2372" y="836"/>
                    </a:lnTo>
                    <a:lnTo>
                      <a:pt x="2380" y="821"/>
                    </a:lnTo>
                    <a:lnTo>
                      <a:pt x="2384" y="810"/>
                    </a:lnTo>
                    <a:lnTo>
                      <a:pt x="2387" y="814"/>
                    </a:lnTo>
                    <a:lnTo>
                      <a:pt x="2387" y="823"/>
                    </a:lnTo>
                    <a:lnTo>
                      <a:pt x="2387" y="836"/>
                    </a:lnTo>
                    <a:lnTo>
                      <a:pt x="2387" y="851"/>
                    </a:lnTo>
                    <a:lnTo>
                      <a:pt x="2384" y="882"/>
                    </a:lnTo>
                    <a:lnTo>
                      <a:pt x="2385" y="902"/>
                    </a:lnTo>
                    <a:lnTo>
                      <a:pt x="2388" y="912"/>
                    </a:lnTo>
                    <a:lnTo>
                      <a:pt x="2391" y="919"/>
                    </a:lnTo>
                    <a:lnTo>
                      <a:pt x="2396" y="924"/>
                    </a:lnTo>
                    <a:lnTo>
                      <a:pt x="2401" y="929"/>
                    </a:lnTo>
                    <a:lnTo>
                      <a:pt x="2405" y="932"/>
                    </a:lnTo>
                    <a:lnTo>
                      <a:pt x="2411" y="934"/>
                    </a:lnTo>
                    <a:lnTo>
                      <a:pt x="2417" y="935"/>
                    </a:lnTo>
                    <a:lnTo>
                      <a:pt x="2423" y="934"/>
                    </a:lnTo>
                    <a:lnTo>
                      <a:pt x="2429" y="933"/>
                    </a:lnTo>
                    <a:lnTo>
                      <a:pt x="2434" y="930"/>
                    </a:lnTo>
                    <a:lnTo>
                      <a:pt x="2439" y="926"/>
                    </a:lnTo>
                    <a:lnTo>
                      <a:pt x="2444" y="921"/>
                    </a:lnTo>
                    <a:lnTo>
                      <a:pt x="2448" y="916"/>
                    </a:lnTo>
                    <a:lnTo>
                      <a:pt x="2451" y="909"/>
                    </a:lnTo>
                    <a:lnTo>
                      <a:pt x="2454" y="901"/>
                    </a:lnTo>
                    <a:lnTo>
                      <a:pt x="2455" y="893"/>
                    </a:lnTo>
                    <a:lnTo>
                      <a:pt x="2457" y="871"/>
                    </a:lnTo>
                    <a:lnTo>
                      <a:pt x="2458" y="851"/>
                    </a:lnTo>
                    <a:lnTo>
                      <a:pt x="2458" y="833"/>
                    </a:lnTo>
                    <a:lnTo>
                      <a:pt x="2457" y="812"/>
                    </a:lnTo>
                    <a:lnTo>
                      <a:pt x="2456" y="794"/>
                    </a:lnTo>
                    <a:lnTo>
                      <a:pt x="2452" y="775"/>
                    </a:lnTo>
                    <a:lnTo>
                      <a:pt x="2448" y="756"/>
                    </a:lnTo>
                    <a:lnTo>
                      <a:pt x="2442" y="736"/>
                    </a:lnTo>
                    <a:lnTo>
                      <a:pt x="2434" y="723"/>
                    </a:lnTo>
                    <a:lnTo>
                      <a:pt x="2421" y="704"/>
                    </a:lnTo>
                    <a:lnTo>
                      <a:pt x="2418" y="698"/>
                    </a:lnTo>
                    <a:lnTo>
                      <a:pt x="2417" y="693"/>
                    </a:lnTo>
                    <a:lnTo>
                      <a:pt x="2416" y="690"/>
                    </a:lnTo>
                    <a:lnTo>
                      <a:pt x="2416" y="685"/>
                    </a:lnTo>
                    <a:lnTo>
                      <a:pt x="2417" y="682"/>
                    </a:lnTo>
                    <a:lnTo>
                      <a:pt x="2421" y="679"/>
                    </a:lnTo>
                    <a:lnTo>
                      <a:pt x="2425" y="677"/>
                    </a:lnTo>
                    <a:lnTo>
                      <a:pt x="2431" y="676"/>
                    </a:lnTo>
                    <a:lnTo>
                      <a:pt x="2436" y="673"/>
                    </a:lnTo>
                    <a:lnTo>
                      <a:pt x="2444" y="670"/>
                    </a:lnTo>
                    <a:lnTo>
                      <a:pt x="2448" y="669"/>
                    </a:lnTo>
                    <a:lnTo>
                      <a:pt x="2451" y="669"/>
                    </a:lnTo>
                    <a:lnTo>
                      <a:pt x="2454" y="670"/>
                    </a:lnTo>
                    <a:lnTo>
                      <a:pt x="2455" y="672"/>
                    </a:lnTo>
                    <a:lnTo>
                      <a:pt x="2459" y="676"/>
                    </a:lnTo>
                    <a:lnTo>
                      <a:pt x="2463" y="679"/>
                    </a:lnTo>
                    <a:lnTo>
                      <a:pt x="2465" y="685"/>
                    </a:lnTo>
                    <a:lnTo>
                      <a:pt x="2468" y="691"/>
                    </a:lnTo>
                    <a:lnTo>
                      <a:pt x="2471" y="706"/>
                    </a:lnTo>
                    <a:lnTo>
                      <a:pt x="2474" y="723"/>
                    </a:lnTo>
                    <a:lnTo>
                      <a:pt x="2475" y="757"/>
                    </a:lnTo>
                    <a:lnTo>
                      <a:pt x="2475" y="783"/>
                    </a:lnTo>
                    <a:lnTo>
                      <a:pt x="2475" y="800"/>
                    </a:lnTo>
                    <a:lnTo>
                      <a:pt x="2472" y="816"/>
                    </a:lnTo>
                    <a:lnTo>
                      <a:pt x="2471" y="833"/>
                    </a:lnTo>
                    <a:lnTo>
                      <a:pt x="2471" y="849"/>
                    </a:lnTo>
                    <a:lnTo>
                      <a:pt x="2471" y="862"/>
                    </a:lnTo>
                    <a:lnTo>
                      <a:pt x="2471" y="876"/>
                    </a:lnTo>
                    <a:lnTo>
                      <a:pt x="2472" y="889"/>
                    </a:lnTo>
                    <a:lnTo>
                      <a:pt x="2472" y="901"/>
                    </a:lnTo>
                    <a:lnTo>
                      <a:pt x="2471" y="949"/>
                    </a:lnTo>
                    <a:close/>
                    <a:moveTo>
                      <a:pt x="1866" y="1140"/>
                    </a:moveTo>
                    <a:lnTo>
                      <a:pt x="1879" y="1139"/>
                    </a:lnTo>
                    <a:lnTo>
                      <a:pt x="1900" y="1137"/>
                    </a:lnTo>
                    <a:lnTo>
                      <a:pt x="1912" y="1137"/>
                    </a:lnTo>
                    <a:lnTo>
                      <a:pt x="1921" y="1135"/>
                    </a:lnTo>
                    <a:lnTo>
                      <a:pt x="1928" y="1133"/>
                    </a:lnTo>
                    <a:lnTo>
                      <a:pt x="1932" y="1131"/>
                    </a:lnTo>
                    <a:lnTo>
                      <a:pt x="1933" y="1131"/>
                    </a:lnTo>
                    <a:lnTo>
                      <a:pt x="1933" y="1130"/>
                    </a:lnTo>
                    <a:lnTo>
                      <a:pt x="1933" y="1130"/>
                    </a:lnTo>
                    <a:lnTo>
                      <a:pt x="1932" y="1130"/>
                    </a:lnTo>
                    <a:lnTo>
                      <a:pt x="1927" y="1127"/>
                    </a:lnTo>
                    <a:lnTo>
                      <a:pt x="1921" y="1126"/>
                    </a:lnTo>
                    <a:lnTo>
                      <a:pt x="1908" y="1122"/>
                    </a:lnTo>
                    <a:lnTo>
                      <a:pt x="1898" y="1120"/>
                    </a:lnTo>
                    <a:lnTo>
                      <a:pt x="1891" y="1120"/>
                    </a:lnTo>
                    <a:lnTo>
                      <a:pt x="1884" y="1119"/>
                    </a:lnTo>
                    <a:lnTo>
                      <a:pt x="1879" y="1118"/>
                    </a:lnTo>
                    <a:lnTo>
                      <a:pt x="1874" y="1114"/>
                    </a:lnTo>
                    <a:lnTo>
                      <a:pt x="1871" y="1111"/>
                    </a:lnTo>
                    <a:lnTo>
                      <a:pt x="1868" y="1105"/>
                    </a:lnTo>
                    <a:lnTo>
                      <a:pt x="1867" y="1098"/>
                    </a:lnTo>
                    <a:lnTo>
                      <a:pt x="1866" y="1089"/>
                    </a:lnTo>
                    <a:lnTo>
                      <a:pt x="1878" y="1089"/>
                    </a:lnTo>
                    <a:lnTo>
                      <a:pt x="1887" y="1089"/>
                    </a:lnTo>
                    <a:lnTo>
                      <a:pt x="1897" y="1088"/>
                    </a:lnTo>
                    <a:lnTo>
                      <a:pt x="1908" y="1086"/>
                    </a:lnTo>
                    <a:lnTo>
                      <a:pt x="1914" y="1086"/>
                    </a:lnTo>
                    <a:lnTo>
                      <a:pt x="1921" y="1086"/>
                    </a:lnTo>
                    <a:lnTo>
                      <a:pt x="1926" y="1086"/>
                    </a:lnTo>
                    <a:lnTo>
                      <a:pt x="1932" y="1087"/>
                    </a:lnTo>
                    <a:lnTo>
                      <a:pt x="1942" y="1089"/>
                    </a:lnTo>
                    <a:lnTo>
                      <a:pt x="1954" y="1091"/>
                    </a:lnTo>
                    <a:lnTo>
                      <a:pt x="1952" y="1084"/>
                    </a:lnTo>
                    <a:lnTo>
                      <a:pt x="1949" y="1077"/>
                    </a:lnTo>
                    <a:lnTo>
                      <a:pt x="1944" y="1071"/>
                    </a:lnTo>
                    <a:lnTo>
                      <a:pt x="1939" y="1065"/>
                    </a:lnTo>
                    <a:lnTo>
                      <a:pt x="1933" y="1059"/>
                    </a:lnTo>
                    <a:lnTo>
                      <a:pt x="1927" y="1053"/>
                    </a:lnTo>
                    <a:lnTo>
                      <a:pt x="1922" y="1046"/>
                    </a:lnTo>
                    <a:lnTo>
                      <a:pt x="1920" y="1038"/>
                    </a:lnTo>
                    <a:lnTo>
                      <a:pt x="1918" y="1026"/>
                    </a:lnTo>
                    <a:lnTo>
                      <a:pt x="1913" y="1006"/>
                    </a:lnTo>
                    <a:lnTo>
                      <a:pt x="1911" y="998"/>
                    </a:lnTo>
                    <a:lnTo>
                      <a:pt x="1911" y="992"/>
                    </a:lnTo>
                    <a:lnTo>
                      <a:pt x="1911" y="989"/>
                    </a:lnTo>
                    <a:lnTo>
                      <a:pt x="1912" y="989"/>
                    </a:lnTo>
                    <a:lnTo>
                      <a:pt x="1913" y="990"/>
                    </a:lnTo>
                    <a:lnTo>
                      <a:pt x="1914" y="994"/>
                    </a:lnTo>
                    <a:lnTo>
                      <a:pt x="1919" y="1005"/>
                    </a:lnTo>
                    <a:lnTo>
                      <a:pt x="1924" y="1015"/>
                    </a:lnTo>
                    <a:lnTo>
                      <a:pt x="1928" y="1026"/>
                    </a:lnTo>
                    <a:lnTo>
                      <a:pt x="1934" y="1036"/>
                    </a:lnTo>
                    <a:lnTo>
                      <a:pt x="1939" y="1042"/>
                    </a:lnTo>
                    <a:lnTo>
                      <a:pt x="1944" y="1046"/>
                    </a:lnTo>
                    <a:lnTo>
                      <a:pt x="1948" y="1047"/>
                    </a:lnTo>
                    <a:lnTo>
                      <a:pt x="1952" y="1048"/>
                    </a:lnTo>
                    <a:lnTo>
                      <a:pt x="1961" y="1047"/>
                    </a:lnTo>
                    <a:lnTo>
                      <a:pt x="1971" y="1048"/>
                    </a:lnTo>
                    <a:lnTo>
                      <a:pt x="1972" y="1060"/>
                    </a:lnTo>
                    <a:lnTo>
                      <a:pt x="1972" y="1072"/>
                    </a:lnTo>
                    <a:lnTo>
                      <a:pt x="1974" y="1082"/>
                    </a:lnTo>
                    <a:lnTo>
                      <a:pt x="1978" y="1093"/>
                    </a:lnTo>
                    <a:lnTo>
                      <a:pt x="1980" y="1099"/>
                    </a:lnTo>
                    <a:lnTo>
                      <a:pt x="1983" y="1102"/>
                    </a:lnTo>
                    <a:lnTo>
                      <a:pt x="1986" y="1107"/>
                    </a:lnTo>
                    <a:lnTo>
                      <a:pt x="1991" y="1111"/>
                    </a:lnTo>
                    <a:lnTo>
                      <a:pt x="1995" y="1114"/>
                    </a:lnTo>
                    <a:lnTo>
                      <a:pt x="2000" y="1117"/>
                    </a:lnTo>
                    <a:lnTo>
                      <a:pt x="2006" y="1119"/>
                    </a:lnTo>
                    <a:lnTo>
                      <a:pt x="2012" y="1121"/>
                    </a:lnTo>
                    <a:lnTo>
                      <a:pt x="2007" y="1125"/>
                    </a:lnTo>
                    <a:lnTo>
                      <a:pt x="1995" y="1130"/>
                    </a:lnTo>
                    <a:lnTo>
                      <a:pt x="1983" y="1133"/>
                    </a:lnTo>
                    <a:lnTo>
                      <a:pt x="1975" y="1135"/>
                    </a:lnTo>
                    <a:lnTo>
                      <a:pt x="1968" y="1135"/>
                    </a:lnTo>
                    <a:lnTo>
                      <a:pt x="1955" y="1135"/>
                    </a:lnTo>
                    <a:lnTo>
                      <a:pt x="1945" y="1137"/>
                    </a:lnTo>
                    <a:lnTo>
                      <a:pt x="1939" y="1138"/>
                    </a:lnTo>
                    <a:lnTo>
                      <a:pt x="1953" y="1139"/>
                    </a:lnTo>
                    <a:lnTo>
                      <a:pt x="1968" y="1140"/>
                    </a:lnTo>
                    <a:lnTo>
                      <a:pt x="1983" y="1141"/>
                    </a:lnTo>
                    <a:lnTo>
                      <a:pt x="1999" y="1143"/>
                    </a:lnTo>
                    <a:lnTo>
                      <a:pt x="2016" y="1143"/>
                    </a:lnTo>
                    <a:lnTo>
                      <a:pt x="2033" y="1141"/>
                    </a:lnTo>
                    <a:lnTo>
                      <a:pt x="2050" y="1141"/>
                    </a:lnTo>
                    <a:lnTo>
                      <a:pt x="2067" y="1144"/>
                    </a:lnTo>
                    <a:lnTo>
                      <a:pt x="2081" y="1146"/>
                    </a:lnTo>
                    <a:lnTo>
                      <a:pt x="2097" y="1147"/>
                    </a:lnTo>
                    <a:lnTo>
                      <a:pt x="2114" y="1148"/>
                    </a:lnTo>
                    <a:lnTo>
                      <a:pt x="2133" y="1148"/>
                    </a:lnTo>
                    <a:lnTo>
                      <a:pt x="2150" y="1148"/>
                    </a:lnTo>
                    <a:lnTo>
                      <a:pt x="2168" y="1146"/>
                    </a:lnTo>
                    <a:lnTo>
                      <a:pt x="2183" y="1144"/>
                    </a:lnTo>
                    <a:lnTo>
                      <a:pt x="2196" y="1139"/>
                    </a:lnTo>
                    <a:lnTo>
                      <a:pt x="2206" y="1132"/>
                    </a:lnTo>
                    <a:lnTo>
                      <a:pt x="2215" y="1124"/>
                    </a:lnTo>
                    <a:lnTo>
                      <a:pt x="2220" y="1120"/>
                    </a:lnTo>
                    <a:lnTo>
                      <a:pt x="2224" y="1117"/>
                    </a:lnTo>
                    <a:lnTo>
                      <a:pt x="2230" y="1113"/>
                    </a:lnTo>
                    <a:lnTo>
                      <a:pt x="2236" y="1111"/>
                    </a:lnTo>
                    <a:lnTo>
                      <a:pt x="2233" y="1106"/>
                    </a:lnTo>
                    <a:lnTo>
                      <a:pt x="2229" y="1100"/>
                    </a:lnTo>
                    <a:lnTo>
                      <a:pt x="2219" y="1097"/>
                    </a:lnTo>
                    <a:lnTo>
                      <a:pt x="2208" y="1089"/>
                    </a:lnTo>
                    <a:lnTo>
                      <a:pt x="2197" y="1081"/>
                    </a:lnTo>
                    <a:lnTo>
                      <a:pt x="2188" y="1074"/>
                    </a:lnTo>
                    <a:lnTo>
                      <a:pt x="2186" y="1065"/>
                    </a:lnTo>
                    <a:lnTo>
                      <a:pt x="2183" y="1055"/>
                    </a:lnTo>
                    <a:lnTo>
                      <a:pt x="2182" y="1046"/>
                    </a:lnTo>
                    <a:lnTo>
                      <a:pt x="2181" y="1036"/>
                    </a:lnTo>
                    <a:lnTo>
                      <a:pt x="2181" y="1019"/>
                    </a:lnTo>
                    <a:lnTo>
                      <a:pt x="2182" y="1001"/>
                    </a:lnTo>
                    <a:lnTo>
                      <a:pt x="2183" y="983"/>
                    </a:lnTo>
                    <a:lnTo>
                      <a:pt x="2183" y="966"/>
                    </a:lnTo>
                    <a:lnTo>
                      <a:pt x="2182" y="957"/>
                    </a:lnTo>
                    <a:lnTo>
                      <a:pt x="2181" y="948"/>
                    </a:lnTo>
                    <a:lnTo>
                      <a:pt x="2179" y="940"/>
                    </a:lnTo>
                    <a:lnTo>
                      <a:pt x="2176" y="933"/>
                    </a:lnTo>
                    <a:lnTo>
                      <a:pt x="2170" y="919"/>
                    </a:lnTo>
                    <a:lnTo>
                      <a:pt x="2166" y="907"/>
                    </a:lnTo>
                    <a:lnTo>
                      <a:pt x="2162" y="897"/>
                    </a:lnTo>
                    <a:lnTo>
                      <a:pt x="2161" y="890"/>
                    </a:lnTo>
                    <a:lnTo>
                      <a:pt x="2161" y="887"/>
                    </a:lnTo>
                    <a:lnTo>
                      <a:pt x="2163" y="883"/>
                    </a:lnTo>
                    <a:lnTo>
                      <a:pt x="2166" y="880"/>
                    </a:lnTo>
                    <a:lnTo>
                      <a:pt x="2169" y="877"/>
                    </a:lnTo>
                    <a:lnTo>
                      <a:pt x="2180" y="870"/>
                    </a:lnTo>
                    <a:lnTo>
                      <a:pt x="2196" y="864"/>
                    </a:lnTo>
                    <a:lnTo>
                      <a:pt x="2199" y="863"/>
                    </a:lnTo>
                    <a:lnTo>
                      <a:pt x="2200" y="861"/>
                    </a:lnTo>
                    <a:lnTo>
                      <a:pt x="2201" y="858"/>
                    </a:lnTo>
                    <a:lnTo>
                      <a:pt x="2201" y="856"/>
                    </a:lnTo>
                    <a:lnTo>
                      <a:pt x="2200" y="849"/>
                    </a:lnTo>
                    <a:lnTo>
                      <a:pt x="2196" y="841"/>
                    </a:lnTo>
                    <a:lnTo>
                      <a:pt x="2189" y="827"/>
                    </a:lnTo>
                    <a:lnTo>
                      <a:pt x="2182" y="817"/>
                    </a:lnTo>
                    <a:lnTo>
                      <a:pt x="2166" y="817"/>
                    </a:lnTo>
                    <a:lnTo>
                      <a:pt x="2149" y="817"/>
                    </a:lnTo>
                    <a:lnTo>
                      <a:pt x="2144" y="812"/>
                    </a:lnTo>
                    <a:lnTo>
                      <a:pt x="2141" y="808"/>
                    </a:lnTo>
                    <a:lnTo>
                      <a:pt x="2140" y="803"/>
                    </a:lnTo>
                    <a:lnTo>
                      <a:pt x="2137" y="798"/>
                    </a:lnTo>
                    <a:lnTo>
                      <a:pt x="2136" y="794"/>
                    </a:lnTo>
                    <a:lnTo>
                      <a:pt x="2134" y="790"/>
                    </a:lnTo>
                    <a:lnTo>
                      <a:pt x="2130" y="785"/>
                    </a:lnTo>
                    <a:lnTo>
                      <a:pt x="2125" y="782"/>
                    </a:lnTo>
                    <a:lnTo>
                      <a:pt x="2109" y="776"/>
                    </a:lnTo>
                    <a:lnTo>
                      <a:pt x="2095" y="770"/>
                    </a:lnTo>
                    <a:lnTo>
                      <a:pt x="2081" y="764"/>
                    </a:lnTo>
                    <a:lnTo>
                      <a:pt x="2067" y="756"/>
                    </a:lnTo>
                    <a:lnTo>
                      <a:pt x="2052" y="746"/>
                    </a:lnTo>
                    <a:lnTo>
                      <a:pt x="2036" y="737"/>
                    </a:lnTo>
                    <a:lnTo>
                      <a:pt x="2028" y="731"/>
                    </a:lnTo>
                    <a:lnTo>
                      <a:pt x="2021" y="726"/>
                    </a:lnTo>
                    <a:lnTo>
                      <a:pt x="2014" y="721"/>
                    </a:lnTo>
                    <a:lnTo>
                      <a:pt x="2008" y="715"/>
                    </a:lnTo>
                    <a:lnTo>
                      <a:pt x="1952" y="647"/>
                    </a:lnTo>
                    <a:lnTo>
                      <a:pt x="1952" y="658"/>
                    </a:lnTo>
                    <a:lnTo>
                      <a:pt x="1954" y="668"/>
                    </a:lnTo>
                    <a:lnTo>
                      <a:pt x="1956" y="677"/>
                    </a:lnTo>
                    <a:lnTo>
                      <a:pt x="1961" y="685"/>
                    </a:lnTo>
                    <a:lnTo>
                      <a:pt x="1966" y="693"/>
                    </a:lnTo>
                    <a:lnTo>
                      <a:pt x="1972" y="702"/>
                    </a:lnTo>
                    <a:lnTo>
                      <a:pt x="1978" y="709"/>
                    </a:lnTo>
                    <a:lnTo>
                      <a:pt x="1985" y="716"/>
                    </a:lnTo>
                    <a:lnTo>
                      <a:pt x="2015" y="742"/>
                    </a:lnTo>
                    <a:lnTo>
                      <a:pt x="2046" y="767"/>
                    </a:lnTo>
                    <a:lnTo>
                      <a:pt x="2047" y="769"/>
                    </a:lnTo>
                    <a:lnTo>
                      <a:pt x="2048" y="770"/>
                    </a:lnTo>
                    <a:lnTo>
                      <a:pt x="2047" y="771"/>
                    </a:lnTo>
                    <a:lnTo>
                      <a:pt x="2043" y="772"/>
                    </a:lnTo>
                    <a:lnTo>
                      <a:pt x="2036" y="774"/>
                    </a:lnTo>
                    <a:lnTo>
                      <a:pt x="2026" y="775"/>
                    </a:lnTo>
                    <a:lnTo>
                      <a:pt x="2014" y="774"/>
                    </a:lnTo>
                    <a:lnTo>
                      <a:pt x="2003" y="772"/>
                    </a:lnTo>
                    <a:lnTo>
                      <a:pt x="1994" y="770"/>
                    </a:lnTo>
                    <a:lnTo>
                      <a:pt x="1987" y="767"/>
                    </a:lnTo>
                    <a:lnTo>
                      <a:pt x="1975" y="756"/>
                    </a:lnTo>
                    <a:lnTo>
                      <a:pt x="1955" y="737"/>
                    </a:lnTo>
                    <a:lnTo>
                      <a:pt x="1938" y="718"/>
                    </a:lnTo>
                    <a:lnTo>
                      <a:pt x="1929" y="708"/>
                    </a:lnTo>
                    <a:lnTo>
                      <a:pt x="1931" y="697"/>
                    </a:lnTo>
                    <a:lnTo>
                      <a:pt x="1932" y="684"/>
                    </a:lnTo>
                    <a:lnTo>
                      <a:pt x="1931" y="677"/>
                    </a:lnTo>
                    <a:lnTo>
                      <a:pt x="1929" y="672"/>
                    </a:lnTo>
                    <a:lnTo>
                      <a:pt x="1928" y="671"/>
                    </a:lnTo>
                    <a:lnTo>
                      <a:pt x="1926" y="670"/>
                    </a:lnTo>
                    <a:lnTo>
                      <a:pt x="1924" y="670"/>
                    </a:lnTo>
                    <a:lnTo>
                      <a:pt x="1920" y="670"/>
                    </a:lnTo>
                    <a:lnTo>
                      <a:pt x="1905" y="679"/>
                    </a:lnTo>
                    <a:lnTo>
                      <a:pt x="1888" y="690"/>
                    </a:lnTo>
                    <a:lnTo>
                      <a:pt x="1885" y="692"/>
                    </a:lnTo>
                    <a:lnTo>
                      <a:pt x="1882" y="693"/>
                    </a:lnTo>
                    <a:lnTo>
                      <a:pt x="1880" y="693"/>
                    </a:lnTo>
                    <a:lnTo>
                      <a:pt x="1878" y="693"/>
                    </a:lnTo>
                    <a:lnTo>
                      <a:pt x="1877" y="692"/>
                    </a:lnTo>
                    <a:lnTo>
                      <a:pt x="1877" y="689"/>
                    </a:lnTo>
                    <a:lnTo>
                      <a:pt x="1878" y="684"/>
                    </a:lnTo>
                    <a:lnTo>
                      <a:pt x="1880" y="678"/>
                    </a:lnTo>
                    <a:lnTo>
                      <a:pt x="1888" y="657"/>
                    </a:lnTo>
                    <a:lnTo>
                      <a:pt x="1895" y="646"/>
                    </a:lnTo>
                    <a:lnTo>
                      <a:pt x="1895" y="642"/>
                    </a:lnTo>
                    <a:lnTo>
                      <a:pt x="1894" y="636"/>
                    </a:lnTo>
                    <a:lnTo>
                      <a:pt x="1891" y="627"/>
                    </a:lnTo>
                    <a:lnTo>
                      <a:pt x="1885" y="617"/>
                    </a:lnTo>
                    <a:lnTo>
                      <a:pt x="1884" y="613"/>
                    </a:lnTo>
                    <a:lnTo>
                      <a:pt x="1884" y="611"/>
                    </a:lnTo>
                    <a:lnTo>
                      <a:pt x="1884" y="607"/>
                    </a:lnTo>
                    <a:lnTo>
                      <a:pt x="1885" y="604"/>
                    </a:lnTo>
                    <a:lnTo>
                      <a:pt x="1888" y="597"/>
                    </a:lnTo>
                    <a:lnTo>
                      <a:pt x="1893" y="591"/>
                    </a:lnTo>
                    <a:lnTo>
                      <a:pt x="1900" y="585"/>
                    </a:lnTo>
                    <a:lnTo>
                      <a:pt x="1907" y="581"/>
                    </a:lnTo>
                    <a:lnTo>
                      <a:pt x="1914" y="579"/>
                    </a:lnTo>
                    <a:lnTo>
                      <a:pt x="1920" y="578"/>
                    </a:lnTo>
                    <a:lnTo>
                      <a:pt x="1922" y="579"/>
                    </a:lnTo>
                    <a:lnTo>
                      <a:pt x="1925" y="580"/>
                    </a:lnTo>
                    <a:lnTo>
                      <a:pt x="1927" y="583"/>
                    </a:lnTo>
                    <a:lnTo>
                      <a:pt x="1931" y="586"/>
                    </a:lnTo>
                    <a:lnTo>
                      <a:pt x="1935" y="593"/>
                    </a:lnTo>
                    <a:lnTo>
                      <a:pt x="1940" y="603"/>
                    </a:lnTo>
                    <a:lnTo>
                      <a:pt x="1948" y="622"/>
                    </a:lnTo>
                    <a:lnTo>
                      <a:pt x="1953" y="636"/>
                    </a:lnTo>
                    <a:lnTo>
                      <a:pt x="1954" y="635"/>
                    </a:lnTo>
                    <a:lnTo>
                      <a:pt x="1955" y="632"/>
                    </a:lnTo>
                    <a:lnTo>
                      <a:pt x="1955" y="630"/>
                    </a:lnTo>
                    <a:lnTo>
                      <a:pt x="1955" y="627"/>
                    </a:lnTo>
                    <a:lnTo>
                      <a:pt x="1953" y="619"/>
                    </a:lnTo>
                    <a:lnTo>
                      <a:pt x="1951" y="611"/>
                    </a:lnTo>
                    <a:lnTo>
                      <a:pt x="1944" y="593"/>
                    </a:lnTo>
                    <a:lnTo>
                      <a:pt x="1940" y="584"/>
                    </a:lnTo>
                    <a:lnTo>
                      <a:pt x="1940" y="543"/>
                    </a:lnTo>
                    <a:lnTo>
                      <a:pt x="1936" y="503"/>
                    </a:lnTo>
                    <a:lnTo>
                      <a:pt x="1935" y="484"/>
                    </a:lnTo>
                    <a:lnTo>
                      <a:pt x="1933" y="464"/>
                    </a:lnTo>
                    <a:lnTo>
                      <a:pt x="1929" y="444"/>
                    </a:lnTo>
                    <a:lnTo>
                      <a:pt x="1925" y="424"/>
                    </a:lnTo>
                    <a:lnTo>
                      <a:pt x="1921" y="405"/>
                    </a:lnTo>
                    <a:lnTo>
                      <a:pt x="1918" y="386"/>
                    </a:lnTo>
                    <a:lnTo>
                      <a:pt x="1915" y="376"/>
                    </a:lnTo>
                    <a:lnTo>
                      <a:pt x="1912" y="368"/>
                    </a:lnTo>
                    <a:lnTo>
                      <a:pt x="1908" y="361"/>
                    </a:lnTo>
                    <a:lnTo>
                      <a:pt x="1905" y="354"/>
                    </a:lnTo>
                    <a:lnTo>
                      <a:pt x="1900" y="348"/>
                    </a:lnTo>
                    <a:lnTo>
                      <a:pt x="1895" y="343"/>
                    </a:lnTo>
                    <a:lnTo>
                      <a:pt x="1889" y="340"/>
                    </a:lnTo>
                    <a:lnTo>
                      <a:pt x="1884" y="339"/>
                    </a:lnTo>
                    <a:lnTo>
                      <a:pt x="1877" y="340"/>
                    </a:lnTo>
                    <a:lnTo>
                      <a:pt x="1868" y="343"/>
                    </a:lnTo>
                    <a:lnTo>
                      <a:pt x="1859" y="348"/>
                    </a:lnTo>
                    <a:lnTo>
                      <a:pt x="1849" y="356"/>
                    </a:lnTo>
                    <a:lnTo>
                      <a:pt x="1834" y="369"/>
                    </a:lnTo>
                    <a:lnTo>
                      <a:pt x="1811" y="391"/>
                    </a:lnTo>
                    <a:lnTo>
                      <a:pt x="1798" y="401"/>
                    </a:lnTo>
                    <a:lnTo>
                      <a:pt x="1788" y="412"/>
                    </a:lnTo>
                    <a:lnTo>
                      <a:pt x="1781" y="420"/>
                    </a:lnTo>
                    <a:lnTo>
                      <a:pt x="1778" y="425"/>
                    </a:lnTo>
                    <a:lnTo>
                      <a:pt x="1787" y="424"/>
                    </a:lnTo>
                    <a:lnTo>
                      <a:pt x="1800" y="422"/>
                    </a:lnTo>
                    <a:lnTo>
                      <a:pt x="1807" y="422"/>
                    </a:lnTo>
                    <a:lnTo>
                      <a:pt x="1812" y="422"/>
                    </a:lnTo>
                    <a:lnTo>
                      <a:pt x="1817" y="424"/>
                    </a:lnTo>
                    <a:lnTo>
                      <a:pt x="1819" y="426"/>
                    </a:lnTo>
                    <a:lnTo>
                      <a:pt x="1821" y="432"/>
                    </a:lnTo>
                    <a:lnTo>
                      <a:pt x="1821" y="439"/>
                    </a:lnTo>
                    <a:lnTo>
                      <a:pt x="1821" y="446"/>
                    </a:lnTo>
                    <a:lnTo>
                      <a:pt x="1819" y="454"/>
                    </a:lnTo>
                    <a:lnTo>
                      <a:pt x="1817" y="462"/>
                    </a:lnTo>
                    <a:lnTo>
                      <a:pt x="1813" y="471"/>
                    </a:lnTo>
                    <a:lnTo>
                      <a:pt x="1810" y="477"/>
                    </a:lnTo>
                    <a:lnTo>
                      <a:pt x="1806" y="481"/>
                    </a:lnTo>
                    <a:lnTo>
                      <a:pt x="1712" y="611"/>
                    </a:lnTo>
                    <a:lnTo>
                      <a:pt x="1713" y="596"/>
                    </a:lnTo>
                    <a:lnTo>
                      <a:pt x="1714" y="581"/>
                    </a:lnTo>
                    <a:lnTo>
                      <a:pt x="1717" y="570"/>
                    </a:lnTo>
                    <a:lnTo>
                      <a:pt x="1720" y="557"/>
                    </a:lnTo>
                    <a:lnTo>
                      <a:pt x="1724" y="546"/>
                    </a:lnTo>
                    <a:lnTo>
                      <a:pt x="1730" y="534"/>
                    </a:lnTo>
                    <a:lnTo>
                      <a:pt x="1735" y="523"/>
                    </a:lnTo>
                    <a:lnTo>
                      <a:pt x="1744" y="510"/>
                    </a:lnTo>
                    <a:lnTo>
                      <a:pt x="1747" y="505"/>
                    </a:lnTo>
                    <a:lnTo>
                      <a:pt x="1753" y="495"/>
                    </a:lnTo>
                    <a:lnTo>
                      <a:pt x="1757" y="492"/>
                    </a:lnTo>
                    <a:lnTo>
                      <a:pt x="1758" y="487"/>
                    </a:lnTo>
                    <a:lnTo>
                      <a:pt x="1759" y="485"/>
                    </a:lnTo>
                    <a:lnTo>
                      <a:pt x="1758" y="482"/>
                    </a:lnTo>
                    <a:lnTo>
                      <a:pt x="1752" y="485"/>
                    </a:lnTo>
                    <a:lnTo>
                      <a:pt x="1745" y="488"/>
                    </a:lnTo>
                    <a:lnTo>
                      <a:pt x="1741" y="490"/>
                    </a:lnTo>
                    <a:lnTo>
                      <a:pt x="1738" y="490"/>
                    </a:lnTo>
                    <a:lnTo>
                      <a:pt x="1737" y="486"/>
                    </a:lnTo>
                    <a:lnTo>
                      <a:pt x="1738" y="479"/>
                    </a:lnTo>
                    <a:lnTo>
                      <a:pt x="1743" y="467"/>
                    </a:lnTo>
                    <a:lnTo>
                      <a:pt x="1750" y="455"/>
                    </a:lnTo>
                    <a:lnTo>
                      <a:pt x="1754" y="449"/>
                    </a:lnTo>
                    <a:lnTo>
                      <a:pt x="1757" y="444"/>
                    </a:lnTo>
                    <a:lnTo>
                      <a:pt x="1759" y="439"/>
                    </a:lnTo>
                    <a:lnTo>
                      <a:pt x="1760" y="434"/>
                    </a:lnTo>
                    <a:lnTo>
                      <a:pt x="1752" y="439"/>
                    </a:lnTo>
                    <a:lnTo>
                      <a:pt x="1738" y="448"/>
                    </a:lnTo>
                    <a:lnTo>
                      <a:pt x="1731" y="453"/>
                    </a:lnTo>
                    <a:lnTo>
                      <a:pt x="1724" y="455"/>
                    </a:lnTo>
                    <a:lnTo>
                      <a:pt x="1721" y="457"/>
                    </a:lnTo>
                    <a:lnTo>
                      <a:pt x="1719" y="457"/>
                    </a:lnTo>
                    <a:lnTo>
                      <a:pt x="1717" y="457"/>
                    </a:lnTo>
                    <a:lnTo>
                      <a:pt x="1716" y="455"/>
                    </a:lnTo>
                    <a:lnTo>
                      <a:pt x="1714" y="448"/>
                    </a:lnTo>
                    <a:lnTo>
                      <a:pt x="1716" y="439"/>
                    </a:lnTo>
                    <a:lnTo>
                      <a:pt x="1719" y="427"/>
                    </a:lnTo>
                    <a:lnTo>
                      <a:pt x="1724" y="414"/>
                    </a:lnTo>
                    <a:lnTo>
                      <a:pt x="1733" y="389"/>
                    </a:lnTo>
                    <a:lnTo>
                      <a:pt x="1739" y="372"/>
                    </a:lnTo>
                    <a:lnTo>
                      <a:pt x="1744" y="349"/>
                    </a:lnTo>
                    <a:lnTo>
                      <a:pt x="1746" y="325"/>
                    </a:lnTo>
                    <a:lnTo>
                      <a:pt x="1746" y="314"/>
                    </a:lnTo>
                    <a:lnTo>
                      <a:pt x="1745" y="302"/>
                    </a:lnTo>
                    <a:lnTo>
                      <a:pt x="1744" y="293"/>
                    </a:lnTo>
                    <a:lnTo>
                      <a:pt x="1740" y="283"/>
                    </a:lnTo>
                    <a:lnTo>
                      <a:pt x="1737" y="276"/>
                    </a:lnTo>
                    <a:lnTo>
                      <a:pt x="1731" y="269"/>
                    </a:lnTo>
                    <a:lnTo>
                      <a:pt x="1728" y="267"/>
                    </a:lnTo>
                    <a:lnTo>
                      <a:pt x="1725" y="266"/>
                    </a:lnTo>
                    <a:lnTo>
                      <a:pt x="1721" y="264"/>
                    </a:lnTo>
                    <a:lnTo>
                      <a:pt x="1717" y="263"/>
                    </a:lnTo>
                    <a:lnTo>
                      <a:pt x="1707" y="263"/>
                    </a:lnTo>
                    <a:lnTo>
                      <a:pt x="1697" y="267"/>
                    </a:lnTo>
                    <a:lnTo>
                      <a:pt x="1684" y="273"/>
                    </a:lnTo>
                    <a:lnTo>
                      <a:pt x="1669" y="281"/>
                    </a:lnTo>
                    <a:lnTo>
                      <a:pt x="1647" y="296"/>
                    </a:lnTo>
                    <a:lnTo>
                      <a:pt x="1618" y="320"/>
                    </a:lnTo>
                    <a:lnTo>
                      <a:pt x="1604" y="333"/>
                    </a:lnTo>
                    <a:lnTo>
                      <a:pt x="1592" y="345"/>
                    </a:lnTo>
                    <a:lnTo>
                      <a:pt x="1589" y="349"/>
                    </a:lnTo>
                    <a:lnTo>
                      <a:pt x="1585" y="354"/>
                    </a:lnTo>
                    <a:lnTo>
                      <a:pt x="1584" y="358"/>
                    </a:lnTo>
                    <a:lnTo>
                      <a:pt x="1585" y="360"/>
                    </a:lnTo>
                    <a:lnTo>
                      <a:pt x="1593" y="375"/>
                    </a:lnTo>
                    <a:lnTo>
                      <a:pt x="1600" y="388"/>
                    </a:lnTo>
                    <a:lnTo>
                      <a:pt x="1604" y="402"/>
                    </a:lnTo>
                    <a:lnTo>
                      <a:pt x="1605" y="415"/>
                    </a:lnTo>
                    <a:lnTo>
                      <a:pt x="1606" y="445"/>
                    </a:lnTo>
                    <a:lnTo>
                      <a:pt x="1605" y="481"/>
                    </a:lnTo>
                    <a:lnTo>
                      <a:pt x="1604" y="480"/>
                    </a:lnTo>
                    <a:lnTo>
                      <a:pt x="1602" y="479"/>
                    </a:lnTo>
                    <a:lnTo>
                      <a:pt x="1600" y="477"/>
                    </a:lnTo>
                    <a:lnTo>
                      <a:pt x="1598" y="474"/>
                    </a:lnTo>
                    <a:lnTo>
                      <a:pt x="1596" y="467"/>
                    </a:lnTo>
                    <a:lnTo>
                      <a:pt x="1592" y="459"/>
                    </a:lnTo>
                    <a:lnTo>
                      <a:pt x="1589" y="442"/>
                    </a:lnTo>
                    <a:lnTo>
                      <a:pt x="1587" y="431"/>
                    </a:lnTo>
                    <a:lnTo>
                      <a:pt x="1586" y="419"/>
                    </a:lnTo>
                    <a:lnTo>
                      <a:pt x="1584" y="412"/>
                    </a:lnTo>
                    <a:lnTo>
                      <a:pt x="1580" y="407"/>
                    </a:lnTo>
                    <a:lnTo>
                      <a:pt x="1577" y="405"/>
                    </a:lnTo>
                    <a:lnTo>
                      <a:pt x="1571" y="404"/>
                    </a:lnTo>
                    <a:lnTo>
                      <a:pt x="1566" y="402"/>
                    </a:lnTo>
                    <a:lnTo>
                      <a:pt x="1560" y="400"/>
                    </a:lnTo>
                    <a:lnTo>
                      <a:pt x="1555" y="395"/>
                    </a:lnTo>
                    <a:lnTo>
                      <a:pt x="1553" y="393"/>
                    </a:lnTo>
                    <a:lnTo>
                      <a:pt x="1553" y="391"/>
                    </a:lnTo>
                    <a:lnTo>
                      <a:pt x="1555" y="386"/>
                    </a:lnTo>
                    <a:lnTo>
                      <a:pt x="1556" y="382"/>
                    </a:lnTo>
                    <a:lnTo>
                      <a:pt x="1559" y="374"/>
                    </a:lnTo>
                    <a:lnTo>
                      <a:pt x="1562" y="368"/>
                    </a:lnTo>
                    <a:lnTo>
                      <a:pt x="1551" y="378"/>
                    </a:lnTo>
                    <a:lnTo>
                      <a:pt x="1539" y="388"/>
                    </a:lnTo>
                    <a:lnTo>
                      <a:pt x="1530" y="395"/>
                    </a:lnTo>
                    <a:lnTo>
                      <a:pt x="1519" y="400"/>
                    </a:lnTo>
                    <a:lnTo>
                      <a:pt x="1508" y="405"/>
                    </a:lnTo>
                    <a:lnTo>
                      <a:pt x="1496" y="408"/>
                    </a:lnTo>
                    <a:lnTo>
                      <a:pt x="1475" y="406"/>
                    </a:lnTo>
                    <a:lnTo>
                      <a:pt x="1451" y="402"/>
                    </a:lnTo>
                    <a:lnTo>
                      <a:pt x="1441" y="402"/>
                    </a:lnTo>
                    <a:lnTo>
                      <a:pt x="1430" y="404"/>
                    </a:lnTo>
                    <a:lnTo>
                      <a:pt x="1425" y="406"/>
                    </a:lnTo>
                    <a:lnTo>
                      <a:pt x="1421" y="408"/>
                    </a:lnTo>
                    <a:lnTo>
                      <a:pt x="1417" y="412"/>
                    </a:lnTo>
                    <a:lnTo>
                      <a:pt x="1413" y="416"/>
                    </a:lnTo>
                    <a:lnTo>
                      <a:pt x="1408" y="426"/>
                    </a:lnTo>
                    <a:lnTo>
                      <a:pt x="1403" y="438"/>
                    </a:lnTo>
                    <a:lnTo>
                      <a:pt x="1397" y="449"/>
                    </a:lnTo>
                    <a:lnTo>
                      <a:pt x="1392" y="464"/>
                    </a:lnTo>
                    <a:lnTo>
                      <a:pt x="1384" y="490"/>
                    </a:lnTo>
                    <a:lnTo>
                      <a:pt x="1378" y="513"/>
                    </a:lnTo>
                    <a:lnTo>
                      <a:pt x="1377" y="525"/>
                    </a:lnTo>
                    <a:lnTo>
                      <a:pt x="1375" y="541"/>
                    </a:lnTo>
                    <a:lnTo>
                      <a:pt x="1374" y="558"/>
                    </a:lnTo>
                    <a:lnTo>
                      <a:pt x="1371" y="566"/>
                    </a:lnTo>
                    <a:lnTo>
                      <a:pt x="1369" y="566"/>
                    </a:lnTo>
                    <a:lnTo>
                      <a:pt x="1365" y="556"/>
                    </a:lnTo>
                    <a:lnTo>
                      <a:pt x="1361" y="547"/>
                    </a:lnTo>
                    <a:lnTo>
                      <a:pt x="1356" y="541"/>
                    </a:lnTo>
                    <a:lnTo>
                      <a:pt x="1351" y="536"/>
                    </a:lnTo>
                    <a:lnTo>
                      <a:pt x="1345" y="532"/>
                    </a:lnTo>
                    <a:lnTo>
                      <a:pt x="1339" y="531"/>
                    </a:lnTo>
                    <a:lnTo>
                      <a:pt x="1334" y="530"/>
                    </a:lnTo>
                    <a:lnTo>
                      <a:pt x="1327" y="530"/>
                    </a:lnTo>
                    <a:lnTo>
                      <a:pt x="1321" y="532"/>
                    </a:lnTo>
                    <a:lnTo>
                      <a:pt x="1314" y="534"/>
                    </a:lnTo>
                    <a:lnTo>
                      <a:pt x="1307" y="538"/>
                    </a:lnTo>
                    <a:lnTo>
                      <a:pt x="1299" y="541"/>
                    </a:lnTo>
                    <a:lnTo>
                      <a:pt x="1287" y="552"/>
                    </a:lnTo>
                    <a:lnTo>
                      <a:pt x="1274" y="563"/>
                    </a:lnTo>
                    <a:lnTo>
                      <a:pt x="1269" y="567"/>
                    </a:lnTo>
                    <a:lnTo>
                      <a:pt x="1263" y="571"/>
                    </a:lnTo>
                    <a:lnTo>
                      <a:pt x="1258" y="572"/>
                    </a:lnTo>
                    <a:lnTo>
                      <a:pt x="1254" y="574"/>
                    </a:lnTo>
                    <a:lnTo>
                      <a:pt x="1245" y="577"/>
                    </a:lnTo>
                    <a:lnTo>
                      <a:pt x="1237" y="581"/>
                    </a:lnTo>
                    <a:lnTo>
                      <a:pt x="1231" y="589"/>
                    </a:lnTo>
                    <a:lnTo>
                      <a:pt x="1227" y="596"/>
                    </a:lnTo>
                    <a:lnTo>
                      <a:pt x="1223" y="605"/>
                    </a:lnTo>
                    <a:lnTo>
                      <a:pt x="1221" y="614"/>
                    </a:lnTo>
                    <a:lnTo>
                      <a:pt x="1218" y="624"/>
                    </a:lnTo>
                    <a:lnTo>
                      <a:pt x="1216" y="633"/>
                    </a:lnTo>
                    <a:lnTo>
                      <a:pt x="1213" y="643"/>
                    </a:lnTo>
                    <a:lnTo>
                      <a:pt x="1208" y="651"/>
                    </a:lnTo>
                    <a:lnTo>
                      <a:pt x="1201" y="663"/>
                    </a:lnTo>
                    <a:lnTo>
                      <a:pt x="1195" y="676"/>
                    </a:lnTo>
                    <a:lnTo>
                      <a:pt x="1190" y="689"/>
                    </a:lnTo>
                    <a:lnTo>
                      <a:pt x="1185" y="702"/>
                    </a:lnTo>
                    <a:lnTo>
                      <a:pt x="1182" y="715"/>
                    </a:lnTo>
                    <a:lnTo>
                      <a:pt x="1177" y="728"/>
                    </a:lnTo>
                    <a:lnTo>
                      <a:pt x="1171" y="741"/>
                    </a:lnTo>
                    <a:lnTo>
                      <a:pt x="1166" y="752"/>
                    </a:lnTo>
                    <a:lnTo>
                      <a:pt x="1160" y="759"/>
                    </a:lnTo>
                    <a:lnTo>
                      <a:pt x="1151" y="771"/>
                    </a:lnTo>
                    <a:lnTo>
                      <a:pt x="1140" y="784"/>
                    </a:lnTo>
                    <a:lnTo>
                      <a:pt x="1127" y="798"/>
                    </a:lnTo>
                    <a:lnTo>
                      <a:pt x="1121" y="804"/>
                    </a:lnTo>
                    <a:lnTo>
                      <a:pt x="1114" y="810"/>
                    </a:lnTo>
                    <a:lnTo>
                      <a:pt x="1108" y="815"/>
                    </a:lnTo>
                    <a:lnTo>
                      <a:pt x="1101" y="818"/>
                    </a:lnTo>
                    <a:lnTo>
                      <a:pt x="1095" y="820"/>
                    </a:lnTo>
                    <a:lnTo>
                      <a:pt x="1090" y="820"/>
                    </a:lnTo>
                    <a:lnTo>
                      <a:pt x="1084" y="818"/>
                    </a:lnTo>
                    <a:lnTo>
                      <a:pt x="1081" y="814"/>
                    </a:lnTo>
                    <a:lnTo>
                      <a:pt x="1079" y="815"/>
                    </a:lnTo>
                    <a:lnTo>
                      <a:pt x="1076" y="816"/>
                    </a:lnTo>
                    <a:lnTo>
                      <a:pt x="1073" y="820"/>
                    </a:lnTo>
                    <a:lnTo>
                      <a:pt x="1070" y="823"/>
                    </a:lnTo>
                    <a:lnTo>
                      <a:pt x="1064" y="833"/>
                    </a:lnTo>
                    <a:lnTo>
                      <a:pt x="1057" y="844"/>
                    </a:lnTo>
                    <a:lnTo>
                      <a:pt x="1047" y="868"/>
                    </a:lnTo>
                    <a:lnTo>
                      <a:pt x="1041" y="884"/>
                    </a:lnTo>
                    <a:lnTo>
                      <a:pt x="1036" y="894"/>
                    </a:lnTo>
                    <a:lnTo>
                      <a:pt x="1034" y="903"/>
                    </a:lnTo>
                    <a:lnTo>
                      <a:pt x="1030" y="914"/>
                    </a:lnTo>
                    <a:lnTo>
                      <a:pt x="1026" y="923"/>
                    </a:lnTo>
                    <a:lnTo>
                      <a:pt x="1020" y="937"/>
                    </a:lnTo>
                    <a:lnTo>
                      <a:pt x="1015" y="952"/>
                    </a:lnTo>
                    <a:lnTo>
                      <a:pt x="1006" y="966"/>
                    </a:lnTo>
                    <a:lnTo>
                      <a:pt x="993" y="979"/>
                    </a:lnTo>
                    <a:lnTo>
                      <a:pt x="982" y="981"/>
                    </a:lnTo>
                    <a:lnTo>
                      <a:pt x="973" y="983"/>
                    </a:lnTo>
                    <a:lnTo>
                      <a:pt x="967" y="988"/>
                    </a:lnTo>
                    <a:lnTo>
                      <a:pt x="961" y="994"/>
                    </a:lnTo>
                    <a:lnTo>
                      <a:pt x="956" y="999"/>
                    </a:lnTo>
                    <a:lnTo>
                      <a:pt x="952" y="1006"/>
                    </a:lnTo>
                    <a:lnTo>
                      <a:pt x="945" y="1018"/>
                    </a:lnTo>
                    <a:lnTo>
                      <a:pt x="938" y="1032"/>
                    </a:lnTo>
                    <a:lnTo>
                      <a:pt x="933" y="1044"/>
                    </a:lnTo>
                    <a:lnTo>
                      <a:pt x="929" y="1055"/>
                    </a:lnTo>
                    <a:lnTo>
                      <a:pt x="926" y="1067"/>
                    </a:lnTo>
                    <a:lnTo>
                      <a:pt x="920" y="1079"/>
                    </a:lnTo>
                    <a:lnTo>
                      <a:pt x="914" y="1088"/>
                    </a:lnTo>
                    <a:lnTo>
                      <a:pt x="909" y="1097"/>
                    </a:lnTo>
                    <a:lnTo>
                      <a:pt x="906" y="1102"/>
                    </a:lnTo>
                    <a:lnTo>
                      <a:pt x="903" y="1110"/>
                    </a:lnTo>
                    <a:lnTo>
                      <a:pt x="903" y="1115"/>
                    </a:lnTo>
                    <a:lnTo>
                      <a:pt x="902" y="1122"/>
                    </a:lnTo>
                    <a:lnTo>
                      <a:pt x="903" y="1131"/>
                    </a:lnTo>
                    <a:lnTo>
                      <a:pt x="903" y="1141"/>
                    </a:lnTo>
                    <a:lnTo>
                      <a:pt x="909" y="1164"/>
                    </a:lnTo>
                    <a:lnTo>
                      <a:pt x="916" y="1186"/>
                    </a:lnTo>
                    <a:lnTo>
                      <a:pt x="919" y="1198"/>
                    </a:lnTo>
                    <a:lnTo>
                      <a:pt x="920" y="1209"/>
                    </a:lnTo>
                    <a:lnTo>
                      <a:pt x="919" y="1214"/>
                    </a:lnTo>
                    <a:lnTo>
                      <a:pt x="918" y="1220"/>
                    </a:lnTo>
                    <a:lnTo>
                      <a:pt x="916" y="1226"/>
                    </a:lnTo>
                    <a:lnTo>
                      <a:pt x="913" y="1232"/>
                    </a:lnTo>
                    <a:lnTo>
                      <a:pt x="908" y="1244"/>
                    </a:lnTo>
                    <a:lnTo>
                      <a:pt x="902" y="1259"/>
                    </a:lnTo>
                    <a:lnTo>
                      <a:pt x="898" y="1273"/>
                    </a:lnTo>
                    <a:lnTo>
                      <a:pt x="892" y="1284"/>
                    </a:lnTo>
                    <a:lnTo>
                      <a:pt x="887" y="1276"/>
                    </a:lnTo>
                    <a:lnTo>
                      <a:pt x="879" y="1267"/>
                    </a:lnTo>
                    <a:lnTo>
                      <a:pt x="874" y="1263"/>
                    </a:lnTo>
                    <a:lnTo>
                      <a:pt x="869" y="1260"/>
                    </a:lnTo>
                    <a:lnTo>
                      <a:pt x="863" y="1258"/>
                    </a:lnTo>
                    <a:lnTo>
                      <a:pt x="859" y="1257"/>
                    </a:lnTo>
                    <a:lnTo>
                      <a:pt x="846" y="1258"/>
                    </a:lnTo>
                    <a:lnTo>
                      <a:pt x="832" y="1259"/>
                    </a:lnTo>
                    <a:lnTo>
                      <a:pt x="825" y="1258"/>
                    </a:lnTo>
                    <a:lnTo>
                      <a:pt x="820" y="1257"/>
                    </a:lnTo>
                    <a:lnTo>
                      <a:pt x="818" y="1254"/>
                    </a:lnTo>
                    <a:lnTo>
                      <a:pt x="815" y="1253"/>
                    </a:lnTo>
                    <a:lnTo>
                      <a:pt x="814" y="1251"/>
                    </a:lnTo>
                    <a:lnTo>
                      <a:pt x="814" y="1249"/>
                    </a:lnTo>
                    <a:lnTo>
                      <a:pt x="815" y="1236"/>
                    </a:lnTo>
                    <a:lnTo>
                      <a:pt x="815" y="1224"/>
                    </a:lnTo>
                    <a:lnTo>
                      <a:pt x="816" y="1211"/>
                    </a:lnTo>
                    <a:lnTo>
                      <a:pt x="818" y="1198"/>
                    </a:lnTo>
                    <a:lnTo>
                      <a:pt x="818" y="1193"/>
                    </a:lnTo>
                    <a:lnTo>
                      <a:pt x="819" y="1188"/>
                    </a:lnTo>
                    <a:lnTo>
                      <a:pt x="820" y="1186"/>
                    </a:lnTo>
                    <a:lnTo>
                      <a:pt x="821" y="1184"/>
                    </a:lnTo>
                    <a:lnTo>
                      <a:pt x="825" y="1181"/>
                    </a:lnTo>
                    <a:lnTo>
                      <a:pt x="831" y="1180"/>
                    </a:lnTo>
                    <a:lnTo>
                      <a:pt x="843" y="1183"/>
                    </a:lnTo>
                    <a:lnTo>
                      <a:pt x="860" y="1185"/>
                    </a:lnTo>
                    <a:lnTo>
                      <a:pt x="866" y="1185"/>
                    </a:lnTo>
                    <a:lnTo>
                      <a:pt x="871" y="1184"/>
                    </a:lnTo>
                    <a:lnTo>
                      <a:pt x="875" y="1181"/>
                    </a:lnTo>
                    <a:lnTo>
                      <a:pt x="879" y="1179"/>
                    </a:lnTo>
                    <a:lnTo>
                      <a:pt x="881" y="1177"/>
                    </a:lnTo>
                    <a:lnTo>
                      <a:pt x="883" y="1173"/>
                    </a:lnTo>
                    <a:lnTo>
                      <a:pt x="885" y="1170"/>
                    </a:lnTo>
                    <a:lnTo>
                      <a:pt x="886" y="1165"/>
                    </a:lnTo>
                    <a:lnTo>
                      <a:pt x="887" y="1146"/>
                    </a:lnTo>
                    <a:lnTo>
                      <a:pt x="887" y="1126"/>
                    </a:lnTo>
                    <a:lnTo>
                      <a:pt x="886" y="1125"/>
                    </a:lnTo>
                    <a:lnTo>
                      <a:pt x="883" y="1125"/>
                    </a:lnTo>
                    <a:lnTo>
                      <a:pt x="879" y="1125"/>
                    </a:lnTo>
                    <a:lnTo>
                      <a:pt x="874" y="1126"/>
                    </a:lnTo>
                    <a:lnTo>
                      <a:pt x="863" y="1128"/>
                    </a:lnTo>
                    <a:lnTo>
                      <a:pt x="856" y="1130"/>
                    </a:lnTo>
                    <a:lnTo>
                      <a:pt x="826" y="1132"/>
                    </a:lnTo>
                    <a:lnTo>
                      <a:pt x="798" y="1133"/>
                    </a:lnTo>
                    <a:lnTo>
                      <a:pt x="784" y="1132"/>
                    </a:lnTo>
                    <a:lnTo>
                      <a:pt x="768" y="1131"/>
                    </a:lnTo>
                    <a:lnTo>
                      <a:pt x="754" y="1127"/>
                    </a:lnTo>
                    <a:lnTo>
                      <a:pt x="739" y="1122"/>
                    </a:lnTo>
                    <a:lnTo>
                      <a:pt x="721" y="1114"/>
                    </a:lnTo>
                    <a:lnTo>
                      <a:pt x="705" y="1104"/>
                    </a:lnTo>
                    <a:lnTo>
                      <a:pt x="695" y="1100"/>
                    </a:lnTo>
                    <a:lnTo>
                      <a:pt x="687" y="1098"/>
                    </a:lnTo>
                    <a:lnTo>
                      <a:pt x="682" y="1098"/>
                    </a:lnTo>
                    <a:lnTo>
                      <a:pt x="678" y="1098"/>
                    </a:lnTo>
                    <a:lnTo>
                      <a:pt x="673" y="1099"/>
                    </a:lnTo>
                    <a:lnTo>
                      <a:pt x="668" y="1101"/>
                    </a:lnTo>
                    <a:lnTo>
                      <a:pt x="655" y="1106"/>
                    </a:lnTo>
                    <a:lnTo>
                      <a:pt x="644" y="1110"/>
                    </a:lnTo>
                    <a:lnTo>
                      <a:pt x="633" y="1113"/>
                    </a:lnTo>
                    <a:lnTo>
                      <a:pt x="621" y="1114"/>
                    </a:lnTo>
                    <a:lnTo>
                      <a:pt x="611" y="1117"/>
                    </a:lnTo>
                    <a:lnTo>
                      <a:pt x="600" y="1118"/>
                    </a:lnTo>
                    <a:lnTo>
                      <a:pt x="588" y="1120"/>
                    </a:lnTo>
                    <a:lnTo>
                      <a:pt x="578" y="1125"/>
                    </a:lnTo>
                    <a:lnTo>
                      <a:pt x="571" y="1128"/>
                    </a:lnTo>
                    <a:lnTo>
                      <a:pt x="565" y="1132"/>
                    </a:lnTo>
                    <a:lnTo>
                      <a:pt x="561" y="1134"/>
                    </a:lnTo>
                    <a:lnTo>
                      <a:pt x="558" y="1135"/>
                    </a:lnTo>
                    <a:lnTo>
                      <a:pt x="554" y="1135"/>
                    </a:lnTo>
                    <a:lnTo>
                      <a:pt x="551" y="1135"/>
                    </a:lnTo>
                    <a:lnTo>
                      <a:pt x="552" y="1147"/>
                    </a:lnTo>
                    <a:lnTo>
                      <a:pt x="553" y="1159"/>
                    </a:lnTo>
                    <a:lnTo>
                      <a:pt x="557" y="1171"/>
                    </a:lnTo>
                    <a:lnTo>
                      <a:pt x="561" y="1184"/>
                    </a:lnTo>
                    <a:lnTo>
                      <a:pt x="566" y="1196"/>
                    </a:lnTo>
                    <a:lnTo>
                      <a:pt x="573" y="1206"/>
                    </a:lnTo>
                    <a:lnTo>
                      <a:pt x="579" y="1217"/>
                    </a:lnTo>
                    <a:lnTo>
                      <a:pt x="586" y="1225"/>
                    </a:lnTo>
                    <a:lnTo>
                      <a:pt x="605" y="1244"/>
                    </a:lnTo>
                    <a:lnTo>
                      <a:pt x="625" y="1262"/>
                    </a:lnTo>
                    <a:lnTo>
                      <a:pt x="635" y="1271"/>
                    </a:lnTo>
                    <a:lnTo>
                      <a:pt x="645" y="1280"/>
                    </a:lnTo>
                    <a:lnTo>
                      <a:pt x="653" y="1290"/>
                    </a:lnTo>
                    <a:lnTo>
                      <a:pt x="661" y="1299"/>
                    </a:lnTo>
                    <a:lnTo>
                      <a:pt x="670" y="1311"/>
                    </a:lnTo>
                    <a:lnTo>
                      <a:pt x="678" y="1322"/>
                    </a:lnTo>
                    <a:lnTo>
                      <a:pt x="687" y="1332"/>
                    </a:lnTo>
                    <a:lnTo>
                      <a:pt x="697" y="1342"/>
                    </a:lnTo>
                    <a:lnTo>
                      <a:pt x="704" y="1346"/>
                    </a:lnTo>
                    <a:lnTo>
                      <a:pt x="711" y="1353"/>
                    </a:lnTo>
                    <a:lnTo>
                      <a:pt x="718" y="1361"/>
                    </a:lnTo>
                    <a:lnTo>
                      <a:pt x="724" y="1368"/>
                    </a:lnTo>
                    <a:lnTo>
                      <a:pt x="729" y="1376"/>
                    </a:lnTo>
                    <a:lnTo>
                      <a:pt x="735" y="1383"/>
                    </a:lnTo>
                    <a:lnTo>
                      <a:pt x="742" y="1390"/>
                    </a:lnTo>
                    <a:lnTo>
                      <a:pt x="749" y="1395"/>
                    </a:lnTo>
                    <a:lnTo>
                      <a:pt x="760" y="1402"/>
                    </a:lnTo>
                    <a:lnTo>
                      <a:pt x="773" y="1407"/>
                    </a:lnTo>
                    <a:lnTo>
                      <a:pt x="787" y="1411"/>
                    </a:lnTo>
                    <a:lnTo>
                      <a:pt x="799" y="1415"/>
                    </a:lnTo>
                    <a:lnTo>
                      <a:pt x="809" y="1420"/>
                    </a:lnTo>
                    <a:lnTo>
                      <a:pt x="819" y="1427"/>
                    </a:lnTo>
                    <a:lnTo>
                      <a:pt x="827" y="1434"/>
                    </a:lnTo>
                    <a:lnTo>
                      <a:pt x="836" y="1442"/>
                    </a:lnTo>
                    <a:lnTo>
                      <a:pt x="845" y="1448"/>
                    </a:lnTo>
                    <a:lnTo>
                      <a:pt x="854" y="1453"/>
                    </a:lnTo>
                    <a:lnTo>
                      <a:pt x="860" y="1455"/>
                    </a:lnTo>
                    <a:lnTo>
                      <a:pt x="865" y="1455"/>
                    </a:lnTo>
                    <a:lnTo>
                      <a:pt x="871" y="1455"/>
                    </a:lnTo>
                    <a:lnTo>
                      <a:pt x="878" y="1454"/>
                    </a:lnTo>
                    <a:lnTo>
                      <a:pt x="881" y="1453"/>
                    </a:lnTo>
                    <a:lnTo>
                      <a:pt x="885" y="1449"/>
                    </a:lnTo>
                    <a:lnTo>
                      <a:pt x="888" y="1445"/>
                    </a:lnTo>
                    <a:lnTo>
                      <a:pt x="890" y="1442"/>
                    </a:lnTo>
                    <a:lnTo>
                      <a:pt x="894" y="1431"/>
                    </a:lnTo>
                    <a:lnTo>
                      <a:pt x="896" y="1418"/>
                    </a:lnTo>
                    <a:lnTo>
                      <a:pt x="896" y="1407"/>
                    </a:lnTo>
                    <a:lnTo>
                      <a:pt x="896" y="1394"/>
                    </a:lnTo>
                    <a:lnTo>
                      <a:pt x="895" y="1384"/>
                    </a:lnTo>
                    <a:lnTo>
                      <a:pt x="894" y="1376"/>
                    </a:lnTo>
                    <a:lnTo>
                      <a:pt x="846" y="1374"/>
                    </a:lnTo>
                    <a:lnTo>
                      <a:pt x="841" y="1375"/>
                    </a:lnTo>
                    <a:lnTo>
                      <a:pt x="836" y="1375"/>
                    </a:lnTo>
                    <a:lnTo>
                      <a:pt x="834" y="1377"/>
                    </a:lnTo>
                    <a:lnTo>
                      <a:pt x="832" y="1379"/>
                    </a:lnTo>
                    <a:lnTo>
                      <a:pt x="828" y="1385"/>
                    </a:lnTo>
                    <a:lnTo>
                      <a:pt x="826" y="1391"/>
                    </a:lnTo>
                    <a:lnTo>
                      <a:pt x="824" y="1397"/>
                    </a:lnTo>
                    <a:lnTo>
                      <a:pt x="819" y="1401"/>
                    </a:lnTo>
                    <a:lnTo>
                      <a:pt x="816" y="1402"/>
                    </a:lnTo>
                    <a:lnTo>
                      <a:pt x="813" y="1403"/>
                    </a:lnTo>
                    <a:lnTo>
                      <a:pt x="808" y="1402"/>
                    </a:lnTo>
                    <a:lnTo>
                      <a:pt x="802" y="1401"/>
                    </a:lnTo>
                    <a:lnTo>
                      <a:pt x="794" y="1397"/>
                    </a:lnTo>
                    <a:lnTo>
                      <a:pt x="785" y="1390"/>
                    </a:lnTo>
                    <a:lnTo>
                      <a:pt x="774" y="1382"/>
                    </a:lnTo>
                    <a:lnTo>
                      <a:pt x="765" y="1371"/>
                    </a:lnTo>
                    <a:lnTo>
                      <a:pt x="757" y="1361"/>
                    </a:lnTo>
                    <a:lnTo>
                      <a:pt x="749" y="1350"/>
                    </a:lnTo>
                    <a:lnTo>
                      <a:pt x="745" y="1339"/>
                    </a:lnTo>
                    <a:lnTo>
                      <a:pt x="744" y="1330"/>
                    </a:lnTo>
                    <a:lnTo>
                      <a:pt x="753" y="1330"/>
                    </a:lnTo>
                    <a:lnTo>
                      <a:pt x="762" y="1328"/>
                    </a:lnTo>
                    <a:lnTo>
                      <a:pt x="771" y="1324"/>
                    </a:lnTo>
                    <a:lnTo>
                      <a:pt x="779" y="1319"/>
                    </a:lnTo>
                    <a:lnTo>
                      <a:pt x="786" y="1313"/>
                    </a:lnTo>
                    <a:lnTo>
                      <a:pt x="792" y="1306"/>
                    </a:lnTo>
                    <a:lnTo>
                      <a:pt x="799" y="1299"/>
                    </a:lnTo>
                    <a:lnTo>
                      <a:pt x="804" y="1291"/>
                    </a:lnTo>
                    <a:lnTo>
                      <a:pt x="807" y="1286"/>
                    </a:lnTo>
                    <a:lnTo>
                      <a:pt x="811" y="1283"/>
                    </a:lnTo>
                    <a:lnTo>
                      <a:pt x="813" y="1282"/>
                    </a:lnTo>
                    <a:lnTo>
                      <a:pt x="814" y="1280"/>
                    </a:lnTo>
                    <a:lnTo>
                      <a:pt x="816" y="1282"/>
                    </a:lnTo>
                    <a:lnTo>
                      <a:pt x="818" y="1283"/>
                    </a:lnTo>
                    <a:lnTo>
                      <a:pt x="819" y="1284"/>
                    </a:lnTo>
                    <a:lnTo>
                      <a:pt x="820" y="1286"/>
                    </a:lnTo>
                    <a:lnTo>
                      <a:pt x="824" y="1300"/>
                    </a:lnTo>
                    <a:lnTo>
                      <a:pt x="831" y="1313"/>
                    </a:lnTo>
                    <a:lnTo>
                      <a:pt x="840" y="1324"/>
                    </a:lnTo>
                    <a:lnTo>
                      <a:pt x="849" y="1331"/>
                    </a:lnTo>
                    <a:lnTo>
                      <a:pt x="858" y="1336"/>
                    </a:lnTo>
                    <a:lnTo>
                      <a:pt x="866" y="1338"/>
                    </a:lnTo>
                    <a:lnTo>
                      <a:pt x="883" y="1342"/>
                    </a:lnTo>
                    <a:lnTo>
                      <a:pt x="908" y="1348"/>
                    </a:lnTo>
                    <a:lnTo>
                      <a:pt x="912" y="1348"/>
                    </a:lnTo>
                    <a:lnTo>
                      <a:pt x="916" y="1344"/>
                    </a:lnTo>
                    <a:lnTo>
                      <a:pt x="922" y="1338"/>
                    </a:lnTo>
                    <a:lnTo>
                      <a:pt x="929" y="1331"/>
                    </a:lnTo>
                    <a:lnTo>
                      <a:pt x="943" y="1318"/>
                    </a:lnTo>
                    <a:lnTo>
                      <a:pt x="954" y="1309"/>
                    </a:lnTo>
                    <a:lnTo>
                      <a:pt x="961" y="1306"/>
                    </a:lnTo>
                    <a:lnTo>
                      <a:pt x="967" y="1302"/>
                    </a:lnTo>
                    <a:lnTo>
                      <a:pt x="973" y="1298"/>
                    </a:lnTo>
                    <a:lnTo>
                      <a:pt x="977" y="1293"/>
                    </a:lnTo>
                    <a:lnTo>
                      <a:pt x="986" y="1284"/>
                    </a:lnTo>
                    <a:lnTo>
                      <a:pt x="994" y="1273"/>
                    </a:lnTo>
                    <a:lnTo>
                      <a:pt x="1002" y="1263"/>
                    </a:lnTo>
                    <a:lnTo>
                      <a:pt x="1010" y="1253"/>
                    </a:lnTo>
                    <a:lnTo>
                      <a:pt x="1015" y="1249"/>
                    </a:lnTo>
                    <a:lnTo>
                      <a:pt x="1021" y="1245"/>
                    </a:lnTo>
                    <a:lnTo>
                      <a:pt x="1026" y="1242"/>
                    </a:lnTo>
                    <a:lnTo>
                      <a:pt x="1032" y="1238"/>
                    </a:lnTo>
                    <a:lnTo>
                      <a:pt x="1048" y="1231"/>
                    </a:lnTo>
                    <a:lnTo>
                      <a:pt x="1067" y="1224"/>
                    </a:lnTo>
                    <a:lnTo>
                      <a:pt x="1086" y="1217"/>
                    </a:lnTo>
                    <a:lnTo>
                      <a:pt x="1106" y="1210"/>
                    </a:lnTo>
                    <a:lnTo>
                      <a:pt x="1127" y="1204"/>
                    </a:lnTo>
                    <a:lnTo>
                      <a:pt x="1147" y="1199"/>
                    </a:lnTo>
                    <a:lnTo>
                      <a:pt x="1166" y="1196"/>
                    </a:lnTo>
                    <a:lnTo>
                      <a:pt x="1182" y="1194"/>
                    </a:lnTo>
                    <a:lnTo>
                      <a:pt x="1193" y="1188"/>
                    </a:lnTo>
                    <a:lnTo>
                      <a:pt x="1207" y="1184"/>
                    </a:lnTo>
                    <a:lnTo>
                      <a:pt x="1221" y="1180"/>
                    </a:lnTo>
                    <a:lnTo>
                      <a:pt x="1232" y="1179"/>
                    </a:lnTo>
                    <a:lnTo>
                      <a:pt x="1237" y="1179"/>
                    </a:lnTo>
                    <a:lnTo>
                      <a:pt x="1238" y="1179"/>
                    </a:lnTo>
                    <a:lnTo>
                      <a:pt x="1237" y="1178"/>
                    </a:lnTo>
                    <a:lnTo>
                      <a:pt x="1234" y="1177"/>
                    </a:lnTo>
                    <a:lnTo>
                      <a:pt x="1224" y="1174"/>
                    </a:lnTo>
                    <a:lnTo>
                      <a:pt x="1215" y="1172"/>
                    </a:lnTo>
                    <a:lnTo>
                      <a:pt x="1210" y="1170"/>
                    </a:lnTo>
                    <a:lnTo>
                      <a:pt x="1209" y="1167"/>
                    </a:lnTo>
                    <a:lnTo>
                      <a:pt x="1210" y="1165"/>
                    </a:lnTo>
                    <a:lnTo>
                      <a:pt x="1213" y="1163"/>
                    </a:lnTo>
                    <a:lnTo>
                      <a:pt x="1221" y="1158"/>
                    </a:lnTo>
                    <a:lnTo>
                      <a:pt x="1228" y="1153"/>
                    </a:lnTo>
                    <a:lnTo>
                      <a:pt x="1241" y="1140"/>
                    </a:lnTo>
                    <a:lnTo>
                      <a:pt x="1256" y="1126"/>
                    </a:lnTo>
                    <a:lnTo>
                      <a:pt x="1261" y="1124"/>
                    </a:lnTo>
                    <a:lnTo>
                      <a:pt x="1263" y="1122"/>
                    </a:lnTo>
                    <a:lnTo>
                      <a:pt x="1267" y="1122"/>
                    </a:lnTo>
                    <a:lnTo>
                      <a:pt x="1269" y="1124"/>
                    </a:lnTo>
                    <a:lnTo>
                      <a:pt x="1271" y="1126"/>
                    </a:lnTo>
                    <a:lnTo>
                      <a:pt x="1272" y="1131"/>
                    </a:lnTo>
                    <a:lnTo>
                      <a:pt x="1274" y="1137"/>
                    </a:lnTo>
                    <a:lnTo>
                      <a:pt x="1274" y="1144"/>
                    </a:lnTo>
                    <a:lnTo>
                      <a:pt x="1267" y="1154"/>
                    </a:lnTo>
                    <a:lnTo>
                      <a:pt x="1256" y="1166"/>
                    </a:lnTo>
                    <a:lnTo>
                      <a:pt x="1252" y="1172"/>
                    </a:lnTo>
                    <a:lnTo>
                      <a:pt x="1252" y="1176"/>
                    </a:lnTo>
                    <a:lnTo>
                      <a:pt x="1254" y="1176"/>
                    </a:lnTo>
                    <a:lnTo>
                      <a:pt x="1256" y="1176"/>
                    </a:lnTo>
                    <a:lnTo>
                      <a:pt x="1261" y="1176"/>
                    </a:lnTo>
                    <a:lnTo>
                      <a:pt x="1267" y="1173"/>
                    </a:lnTo>
                    <a:lnTo>
                      <a:pt x="1282" y="1168"/>
                    </a:lnTo>
                    <a:lnTo>
                      <a:pt x="1297" y="1166"/>
                    </a:lnTo>
                    <a:lnTo>
                      <a:pt x="1314" y="1165"/>
                    </a:lnTo>
                    <a:lnTo>
                      <a:pt x="1330" y="1164"/>
                    </a:lnTo>
                    <a:lnTo>
                      <a:pt x="1363" y="1163"/>
                    </a:lnTo>
                    <a:lnTo>
                      <a:pt x="1396" y="1160"/>
                    </a:lnTo>
                    <a:lnTo>
                      <a:pt x="1418" y="1157"/>
                    </a:lnTo>
                    <a:lnTo>
                      <a:pt x="1444" y="1154"/>
                    </a:lnTo>
                    <a:lnTo>
                      <a:pt x="1468" y="1153"/>
                    </a:lnTo>
                    <a:lnTo>
                      <a:pt x="1491" y="1153"/>
                    </a:lnTo>
                    <a:lnTo>
                      <a:pt x="1472" y="1147"/>
                    </a:lnTo>
                    <a:lnTo>
                      <a:pt x="1452" y="1140"/>
                    </a:lnTo>
                    <a:lnTo>
                      <a:pt x="1444" y="1135"/>
                    </a:lnTo>
                    <a:lnTo>
                      <a:pt x="1436" y="1130"/>
                    </a:lnTo>
                    <a:lnTo>
                      <a:pt x="1432" y="1126"/>
                    </a:lnTo>
                    <a:lnTo>
                      <a:pt x="1430" y="1121"/>
                    </a:lnTo>
                    <a:lnTo>
                      <a:pt x="1428" y="1118"/>
                    </a:lnTo>
                    <a:lnTo>
                      <a:pt x="1425" y="1112"/>
                    </a:lnTo>
                    <a:lnTo>
                      <a:pt x="1422" y="1102"/>
                    </a:lnTo>
                    <a:lnTo>
                      <a:pt x="1417" y="1094"/>
                    </a:lnTo>
                    <a:lnTo>
                      <a:pt x="1413" y="1084"/>
                    </a:lnTo>
                    <a:lnTo>
                      <a:pt x="1410" y="1074"/>
                    </a:lnTo>
                    <a:lnTo>
                      <a:pt x="1406" y="1062"/>
                    </a:lnTo>
                    <a:lnTo>
                      <a:pt x="1405" y="1049"/>
                    </a:lnTo>
                    <a:lnTo>
                      <a:pt x="1405" y="1047"/>
                    </a:lnTo>
                    <a:lnTo>
                      <a:pt x="1406" y="1046"/>
                    </a:lnTo>
                    <a:lnTo>
                      <a:pt x="1408" y="1047"/>
                    </a:lnTo>
                    <a:lnTo>
                      <a:pt x="1409" y="1048"/>
                    </a:lnTo>
                    <a:lnTo>
                      <a:pt x="1412" y="1052"/>
                    </a:lnTo>
                    <a:lnTo>
                      <a:pt x="1415" y="1055"/>
                    </a:lnTo>
                    <a:lnTo>
                      <a:pt x="1425" y="1062"/>
                    </a:lnTo>
                    <a:lnTo>
                      <a:pt x="1435" y="1069"/>
                    </a:lnTo>
                    <a:lnTo>
                      <a:pt x="1444" y="1078"/>
                    </a:lnTo>
                    <a:lnTo>
                      <a:pt x="1456" y="1084"/>
                    </a:lnTo>
                    <a:lnTo>
                      <a:pt x="1463" y="1085"/>
                    </a:lnTo>
                    <a:lnTo>
                      <a:pt x="1469" y="1086"/>
                    </a:lnTo>
                    <a:lnTo>
                      <a:pt x="1476" y="1087"/>
                    </a:lnTo>
                    <a:lnTo>
                      <a:pt x="1482" y="1087"/>
                    </a:lnTo>
                    <a:lnTo>
                      <a:pt x="1495" y="1086"/>
                    </a:lnTo>
                    <a:lnTo>
                      <a:pt x="1509" y="1086"/>
                    </a:lnTo>
                    <a:lnTo>
                      <a:pt x="1512" y="1100"/>
                    </a:lnTo>
                    <a:lnTo>
                      <a:pt x="1517" y="1115"/>
                    </a:lnTo>
                    <a:lnTo>
                      <a:pt x="1519" y="1125"/>
                    </a:lnTo>
                    <a:lnTo>
                      <a:pt x="1518" y="1131"/>
                    </a:lnTo>
                    <a:lnTo>
                      <a:pt x="1517" y="1137"/>
                    </a:lnTo>
                    <a:lnTo>
                      <a:pt x="1517" y="1144"/>
                    </a:lnTo>
                    <a:lnTo>
                      <a:pt x="1511" y="1146"/>
                    </a:lnTo>
                    <a:lnTo>
                      <a:pt x="1506" y="1151"/>
                    </a:lnTo>
                    <a:lnTo>
                      <a:pt x="1529" y="1151"/>
                    </a:lnTo>
                    <a:lnTo>
                      <a:pt x="1551" y="1150"/>
                    </a:lnTo>
                    <a:lnTo>
                      <a:pt x="1573" y="1150"/>
                    </a:lnTo>
                    <a:lnTo>
                      <a:pt x="1597" y="1148"/>
                    </a:lnTo>
                    <a:lnTo>
                      <a:pt x="1619" y="1147"/>
                    </a:lnTo>
                    <a:lnTo>
                      <a:pt x="1641" y="1146"/>
                    </a:lnTo>
                    <a:lnTo>
                      <a:pt x="1665" y="1145"/>
                    </a:lnTo>
                    <a:lnTo>
                      <a:pt x="1687" y="1145"/>
                    </a:lnTo>
                    <a:lnTo>
                      <a:pt x="1866" y="1140"/>
                    </a:lnTo>
                    <a:close/>
                    <a:moveTo>
                      <a:pt x="168" y="646"/>
                    </a:moveTo>
                    <a:lnTo>
                      <a:pt x="165" y="649"/>
                    </a:lnTo>
                    <a:lnTo>
                      <a:pt x="162" y="647"/>
                    </a:lnTo>
                    <a:lnTo>
                      <a:pt x="158" y="646"/>
                    </a:lnTo>
                    <a:lnTo>
                      <a:pt x="154" y="643"/>
                    </a:lnTo>
                    <a:lnTo>
                      <a:pt x="151" y="639"/>
                    </a:lnTo>
                    <a:lnTo>
                      <a:pt x="145" y="631"/>
                    </a:lnTo>
                    <a:lnTo>
                      <a:pt x="141" y="624"/>
                    </a:lnTo>
                    <a:lnTo>
                      <a:pt x="134" y="614"/>
                    </a:lnTo>
                    <a:lnTo>
                      <a:pt x="128" y="607"/>
                    </a:lnTo>
                    <a:lnTo>
                      <a:pt x="121" y="603"/>
                    </a:lnTo>
                    <a:lnTo>
                      <a:pt x="111" y="598"/>
                    </a:lnTo>
                    <a:lnTo>
                      <a:pt x="101" y="612"/>
                    </a:lnTo>
                    <a:lnTo>
                      <a:pt x="89" y="629"/>
                    </a:lnTo>
                    <a:lnTo>
                      <a:pt x="82" y="635"/>
                    </a:lnTo>
                    <a:lnTo>
                      <a:pt x="75" y="639"/>
                    </a:lnTo>
                    <a:lnTo>
                      <a:pt x="67" y="643"/>
                    </a:lnTo>
                    <a:lnTo>
                      <a:pt x="58" y="646"/>
                    </a:lnTo>
                    <a:lnTo>
                      <a:pt x="54" y="649"/>
                    </a:lnTo>
                    <a:lnTo>
                      <a:pt x="51" y="651"/>
                    </a:lnTo>
                    <a:lnTo>
                      <a:pt x="49" y="655"/>
                    </a:lnTo>
                    <a:lnTo>
                      <a:pt x="47" y="658"/>
                    </a:lnTo>
                    <a:lnTo>
                      <a:pt x="43" y="664"/>
                    </a:lnTo>
                    <a:lnTo>
                      <a:pt x="41" y="672"/>
                    </a:lnTo>
                    <a:lnTo>
                      <a:pt x="38" y="679"/>
                    </a:lnTo>
                    <a:lnTo>
                      <a:pt x="35" y="686"/>
                    </a:lnTo>
                    <a:lnTo>
                      <a:pt x="30" y="693"/>
                    </a:lnTo>
                    <a:lnTo>
                      <a:pt x="23" y="698"/>
                    </a:lnTo>
                    <a:lnTo>
                      <a:pt x="14" y="702"/>
                    </a:lnTo>
                    <a:lnTo>
                      <a:pt x="6" y="706"/>
                    </a:lnTo>
                    <a:lnTo>
                      <a:pt x="2" y="715"/>
                    </a:lnTo>
                    <a:lnTo>
                      <a:pt x="0" y="726"/>
                    </a:lnTo>
                    <a:lnTo>
                      <a:pt x="0" y="732"/>
                    </a:lnTo>
                    <a:lnTo>
                      <a:pt x="0" y="737"/>
                    </a:lnTo>
                    <a:lnTo>
                      <a:pt x="1" y="742"/>
                    </a:lnTo>
                    <a:lnTo>
                      <a:pt x="3" y="744"/>
                    </a:lnTo>
                    <a:lnTo>
                      <a:pt x="7" y="745"/>
                    </a:lnTo>
                    <a:lnTo>
                      <a:pt x="10" y="745"/>
                    </a:lnTo>
                    <a:lnTo>
                      <a:pt x="15" y="745"/>
                    </a:lnTo>
                    <a:lnTo>
                      <a:pt x="20" y="744"/>
                    </a:lnTo>
                    <a:lnTo>
                      <a:pt x="30" y="739"/>
                    </a:lnTo>
                    <a:lnTo>
                      <a:pt x="42" y="734"/>
                    </a:lnTo>
                    <a:lnTo>
                      <a:pt x="62" y="721"/>
                    </a:lnTo>
                    <a:lnTo>
                      <a:pt x="76" y="710"/>
                    </a:lnTo>
                    <a:lnTo>
                      <a:pt x="90" y="693"/>
                    </a:lnTo>
                    <a:lnTo>
                      <a:pt x="103" y="678"/>
                    </a:lnTo>
                    <a:lnTo>
                      <a:pt x="114" y="670"/>
                    </a:lnTo>
                    <a:lnTo>
                      <a:pt x="122" y="662"/>
                    </a:lnTo>
                    <a:lnTo>
                      <a:pt x="130" y="658"/>
                    </a:lnTo>
                    <a:lnTo>
                      <a:pt x="138" y="657"/>
                    </a:lnTo>
                    <a:lnTo>
                      <a:pt x="144" y="657"/>
                    </a:lnTo>
                    <a:lnTo>
                      <a:pt x="149" y="658"/>
                    </a:lnTo>
                    <a:lnTo>
                      <a:pt x="154" y="658"/>
                    </a:lnTo>
                    <a:lnTo>
                      <a:pt x="159" y="656"/>
                    </a:lnTo>
                    <a:lnTo>
                      <a:pt x="168" y="646"/>
                    </a:lnTo>
                    <a:close/>
                    <a:moveTo>
                      <a:pt x="457" y="479"/>
                    </a:moveTo>
                    <a:lnTo>
                      <a:pt x="447" y="493"/>
                    </a:lnTo>
                    <a:lnTo>
                      <a:pt x="437" y="507"/>
                    </a:lnTo>
                    <a:lnTo>
                      <a:pt x="431" y="514"/>
                    </a:lnTo>
                    <a:lnTo>
                      <a:pt x="424" y="520"/>
                    </a:lnTo>
                    <a:lnTo>
                      <a:pt x="417" y="525"/>
                    </a:lnTo>
                    <a:lnTo>
                      <a:pt x="410" y="530"/>
                    </a:lnTo>
                    <a:lnTo>
                      <a:pt x="399" y="534"/>
                    </a:lnTo>
                    <a:lnTo>
                      <a:pt x="390" y="541"/>
                    </a:lnTo>
                    <a:lnTo>
                      <a:pt x="382" y="550"/>
                    </a:lnTo>
                    <a:lnTo>
                      <a:pt x="372" y="558"/>
                    </a:lnTo>
                    <a:lnTo>
                      <a:pt x="364" y="566"/>
                    </a:lnTo>
                    <a:lnTo>
                      <a:pt x="356" y="573"/>
                    </a:lnTo>
                    <a:lnTo>
                      <a:pt x="352" y="577"/>
                    </a:lnTo>
                    <a:lnTo>
                      <a:pt x="348" y="579"/>
                    </a:lnTo>
                    <a:lnTo>
                      <a:pt x="343" y="581"/>
                    </a:lnTo>
                    <a:lnTo>
                      <a:pt x="338" y="583"/>
                    </a:lnTo>
                    <a:lnTo>
                      <a:pt x="326" y="585"/>
                    </a:lnTo>
                    <a:lnTo>
                      <a:pt x="312" y="585"/>
                    </a:lnTo>
                    <a:lnTo>
                      <a:pt x="298" y="585"/>
                    </a:lnTo>
                    <a:lnTo>
                      <a:pt x="286" y="584"/>
                    </a:lnTo>
                    <a:lnTo>
                      <a:pt x="277" y="580"/>
                    </a:lnTo>
                    <a:lnTo>
                      <a:pt x="268" y="578"/>
                    </a:lnTo>
                    <a:lnTo>
                      <a:pt x="263" y="577"/>
                    </a:lnTo>
                    <a:lnTo>
                      <a:pt x="258" y="576"/>
                    </a:lnTo>
                    <a:lnTo>
                      <a:pt x="254" y="576"/>
                    </a:lnTo>
                    <a:lnTo>
                      <a:pt x="248" y="577"/>
                    </a:lnTo>
                    <a:lnTo>
                      <a:pt x="248" y="578"/>
                    </a:lnTo>
                    <a:lnTo>
                      <a:pt x="242" y="596"/>
                    </a:lnTo>
                    <a:lnTo>
                      <a:pt x="234" y="613"/>
                    </a:lnTo>
                    <a:lnTo>
                      <a:pt x="231" y="623"/>
                    </a:lnTo>
                    <a:lnTo>
                      <a:pt x="228" y="631"/>
                    </a:lnTo>
                    <a:lnTo>
                      <a:pt x="226" y="642"/>
                    </a:lnTo>
                    <a:lnTo>
                      <a:pt x="225" y="651"/>
                    </a:lnTo>
                    <a:lnTo>
                      <a:pt x="226" y="655"/>
                    </a:lnTo>
                    <a:lnTo>
                      <a:pt x="228" y="658"/>
                    </a:lnTo>
                    <a:lnTo>
                      <a:pt x="230" y="660"/>
                    </a:lnTo>
                    <a:lnTo>
                      <a:pt x="234" y="662"/>
                    </a:lnTo>
                    <a:lnTo>
                      <a:pt x="242" y="665"/>
                    </a:lnTo>
                    <a:lnTo>
                      <a:pt x="252" y="666"/>
                    </a:lnTo>
                    <a:lnTo>
                      <a:pt x="273" y="665"/>
                    </a:lnTo>
                    <a:lnTo>
                      <a:pt x="290" y="664"/>
                    </a:lnTo>
                    <a:lnTo>
                      <a:pt x="325" y="662"/>
                    </a:lnTo>
                    <a:lnTo>
                      <a:pt x="362" y="660"/>
                    </a:lnTo>
                    <a:lnTo>
                      <a:pt x="379" y="658"/>
                    </a:lnTo>
                    <a:lnTo>
                      <a:pt x="397" y="655"/>
                    </a:lnTo>
                    <a:lnTo>
                      <a:pt x="405" y="652"/>
                    </a:lnTo>
                    <a:lnTo>
                      <a:pt x="413" y="649"/>
                    </a:lnTo>
                    <a:lnTo>
                      <a:pt x="422" y="645"/>
                    </a:lnTo>
                    <a:lnTo>
                      <a:pt x="430" y="640"/>
                    </a:lnTo>
                    <a:lnTo>
                      <a:pt x="442" y="633"/>
                    </a:lnTo>
                    <a:lnTo>
                      <a:pt x="454" y="626"/>
                    </a:lnTo>
                    <a:lnTo>
                      <a:pt x="466" y="619"/>
                    </a:lnTo>
                    <a:lnTo>
                      <a:pt x="478" y="611"/>
                    </a:lnTo>
                    <a:lnTo>
                      <a:pt x="482" y="607"/>
                    </a:lnTo>
                    <a:lnTo>
                      <a:pt x="485" y="602"/>
                    </a:lnTo>
                    <a:lnTo>
                      <a:pt x="490" y="594"/>
                    </a:lnTo>
                    <a:lnTo>
                      <a:pt x="493" y="587"/>
                    </a:lnTo>
                    <a:lnTo>
                      <a:pt x="496" y="580"/>
                    </a:lnTo>
                    <a:lnTo>
                      <a:pt x="496" y="573"/>
                    </a:lnTo>
                    <a:lnTo>
                      <a:pt x="496" y="571"/>
                    </a:lnTo>
                    <a:lnTo>
                      <a:pt x="494" y="569"/>
                    </a:lnTo>
                    <a:lnTo>
                      <a:pt x="492" y="566"/>
                    </a:lnTo>
                    <a:lnTo>
                      <a:pt x="490" y="566"/>
                    </a:lnTo>
                    <a:lnTo>
                      <a:pt x="473" y="551"/>
                    </a:lnTo>
                    <a:lnTo>
                      <a:pt x="457" y="534"/>
                    </a:lnTo>
                    <a:lnTo>
                      <a:pt x="456" y="524"/>
                    </a:lnTo>
                    <a:lnTo>
                      <a:pt x="457" y="513"/>
                    </a:lnTo>
                    <a:lnTo>
                      <a:pt x="459" y="503"/>
                    </a:lnTo>
                    <a:lnTo>
                      <a:pt x="460" y="492"/>
                    </a:lnTo>
                    <a:lnTo>
                      <a:pt x="457" y="479"/>
                    </a:lnTo>
                    <a:close/>
                    <a:moveTo>
                      <a:pt x="682" y="460"/>
                    </a:moveTo>
                    <a:lnTo>
                      <a:pt x="680" y="459"/>
                    </a:lnTo>
                    <a:lnTo>
                      <a:pt x="678" y="458"/>
                    </a:lnTo>
                    <a:lnTo>
                      <a:pt x="674" y="454"/>
                    </a:lnTo>
                    <a:lnTo>
                      <a:pt x="671" y="451"/>
                    </a:lnTo>
                    <a:lnTo>
                      <a:pt x="668" y="449"/>
                    </a:lnTo>
                    <a:lnTo>
                      <a:pt x="666" y="447"/>
                    </a:lnTo>
                    <a:lnTo>
                      <a:pt x="664" y="446"/>
                    </a:lnTo>
                    <a:lnTo>
                      <a:pt x="661" y="444"/>
                    </a:lnTo>
                    <a:lnTo>
                      <a:pt x="657" y="441"/>
                    </a:lnTo>
                    <a:lnTo>
                      <a:pt x="653" y="438"/>
                    </a:lnTo>
                    <a:lnTo>
                      <a:pt x="650" y="434"/>
                    </a:lnTo>
                    <a:lnTo>
                      <a:pt x="648" y="429"/>
                    </a:lnTo>
                    <a:lnTo>
                      <a:pt x="646" y="427"/>
                    </a:lnTo>
                    <a:lnTo>
                      <a:pt x="643" y="427"/>
                    </a:lnTo>
                    <a:lnTo>
                      <a:pt x="640" y="426"/>
                    </a:lnTo>
                    <a:lnTo>
                      <a:pt x="638" y="426"/>
                    </a:lnTo>
                    <a:lnTo>
                      <a:pt x="638" y="428"/>
                    </a:lnTo>
                    <a:lnTo>
                      <a:pt x="633" y="429"/>
                    </a:lnTo>
                    <a:lnTo>
                      <a:pt x="628" y="432"/>
                    </a:lnTo>
                    <a:lnTo>
                      <a:pt x="625" y="432"/>
                    </a:lnTo>
                    <a:lnTo>
                      <a:pt x="623" y="432"/>
                    </a:lnTo>
                    <a:lnTo>
                      <a:pt x="620" y="432"/>
                    </a:lnTo>
                    <a:lnTo>
                      <a:pt x="619" y="433"/>
                    </a:lnTo>
                    <a:lnTo>
                      <a:pt x="610" y="433"/>
                    </a:lnTo>
                    <a:lnTo>
                      <a:pt x="600" y="432"/>
                    </a:lnTo>
                    <a:lnTo>
                      <a:pt x="598" y="432"/>
                    </a:lnTo>
                    <a:lnTo>
                      <a:pt x="594" y="432"/>
                    </a:lnTo>
                    <a:lnTo>
                      <a:pt x="591" y="431"/>
                    </a:lnTo>
                    <a:lnTo>
                      <a:pt x="587" y="431"/>
                    </a:lnTo>
                    <a:lnTo>
                      <a:pt x="579" y="431"/>
                    </a:lnTo>
                    <a:lnTo>
                      <a:pt x="571" y="431"/>
                    </a:lnTo>
                    <a:lnTo>
                      <a:pt x="567" y="431"/>
                    </a:lnTo>
                    <a:lnTo>
                      <a:pt x="564" y="432"/>
                    </a:lnTo>
                    <a:lnTo>
                      <a:pt x="560" y="433"/>
                    </a:lnTo>
                    <a:lnTo>
                      <a:pt x="556" y="437"/>
                    </a:lnTo>
                    <a:lnTo>
                      <a:pt x="550" y="441"/>
                    </a:lnTo>
                    <a:lnTo>
                      <a:pt x="545" y="448"/>
                    </a:lnTo>
                    <a:lnTo>
                      <a:pt x="541" y="454"/>
                    </a:lnTo>
                    <a:lnTo>
                      <a:pt x="538" y="462"/>
                    </a:lnTo>
                    <a:lnTo>
                      <a:pt x="537" y="471"/>
                    </a:lnTo>
                    <a:lnTo>
                      <a:pt x="537" y="478"/>
                    </a:lnTo>
                    <a:lnTo>
                      <a:pt x="537" y="486"/>
                    </a:lnTo>
                    <a:lnTo>
                      <a:pt x="538" y="494"/>
                    </a:lnTo>
                    <a:lnTo>
                      <a:pt x="539" y="506"/>
                    </a:lnTo>
                    <a:lnTo>
                      <a:pt x="543" y="519"/>
                    </a:lnTo>
                    <a:lnTo>
                      <a:pt x="545" y="526"/>
                    </a:lnTo>
                    <a:lnTo>
                      <a:pt x="548" y="531"/>
                    </a:lnTo>
                    <a:lnTo>
                      <a:pt x="552" y="536"/>
                    </a:lnTo>
                    <a:lnTo>
                      <a:pt x="557" y="538"/>
                    </a:lnTo>
                    <a:lnTo>
                      <a:pt x="561" y="539"/>
                    </a:lnTo>
                    <a:lnTo>
                      <a:pt x="566" y="539"/>
                    </a:lnTo>
                    <a:lnTo>
                      <a:pt x="571" y="539"/>
                    </a:lnTo>
                    <a:lnTo>
                      <a:pt x="576" y="538"/>
                    </a:lnTo>
                    <a:lnTo>
                      <a:pt x="586" y="534"/>
                    </a:lnTo>
                    <a:lnTo>
                      <a:pt x="596" y="530"/>
                    </a:lnTo>
                    <a:lnTo>
                      <a:pt x="613" y="517"/>
                    </a:lnTo>
                    <a:lnTo>
                      <a:pt x="631" y="507"/>
                    </a:lnTo>
                    <a:lnTo>
                      <a:pt x="640" y="505"/>
                    </a:lnTo>
                    <a:lnTo>
                      <a:pt x="647" y="504"/>
                    </a:lnTo>
                    <a:lnTo>
                      <a:pt x="655" y="506"/>
                    </a:lnTo>
                    <a:lnTo>
                      <a:pt x="664" y="508"/>
                    </a:lnTo>
                    <a:lnTo>
                      <a:pt x="670" y="512"/>
                    </a:lnTo>
                    <a:lnTo>
                      <a:pt x="674" y="517"/>
                    </a:lnTo>
                    <a:lnTo>
                      <a:pt x="678" y="519"/>
                    </a:lnTo>
                    <a:lnTo>
                      <a:pt x="680" y="521"/>
                    </a:lnTo>
                    <a:lnTo>
                      <a:pt x="684" y="523"/>
                    </a:lnTo>
                    <a:lnTo>
                      <a:pt x="687" y="523"/>
                    </a:lnTo>
                    <a:lnTo>
                      <a:pt x="691" y="518"/>
                    </a:lnTo>
                    <a:lnTo>
                      <a:pt x="694" y="514"/>
                    </a:lnTo>
                    <a:lnTo>
                      <a:pt x="698" y="508"/>
                    </a:lnTo>
                    <a:lnTo>
                      <a:pt x="699" y="503"/>
                    </a:lnTo>
                    <a:lnTo>
                      <a:pt x="700" y="495"/>
                    </a:lnTo>
                    <a:lnTo>
                      <a:pt x="699" y="487"/>
                    </a:lnTo>
                    <a:lnTo>
                      <a:pt x="697" y="480"/>
                    </a:lnTo>
                    <a:lnTo>
                      <a:pt x="693" y="474"/>
                    </a:lnTo>
                    <a:lnTo>
                      <a:pt x="682" y="460"/>
                    </a:lnTo>
                    <a:close/>
                    <a:moveTo>
                      <a:pt x="714" y="471"/>
                    </a:moveTo>
                    <a:lnTo>
                      <a:pt x="711" y="461"/>
                    </a:lnTo>
                    <a:lnTo>
                      <a:pt x="705" y="447"/>
                    </a:lnTo>
                    <a:lnTo>
                      <a:pt x="702" y="441"/>
                    </a:lnTo>
                    <a:lnTo>
                      <a:pt x="700" y="434"/>
                    </a:lnTo>
                    <a:lnTo>
                      <a:pt x="700" y="429"/>
                    </a:lnTo>
                    <a:lnTo>
                      <a:pt x="701" y="425"/>
                    </a:lnTo>
                    <a:lnTo>
                      <a:pt x="705" y="426"/>
                    </a:lnTo>
                    <a:lnTo>
                      <a:pt x="708" y="426"/>
                    </a:lnTo>
                    <a:lnTo>
                      <a:pt x="713" y="419"/>
                    </a:lnTo>
                    <a:lnTo>
                      <a:pt x="715" y="412"/>
                    </a:lnTo>
                    <a:lnTo>
                      <a:pt x="718" y="405"/>
                    </a:lnTo>
                    <a:lnTo>
                      <a:pt x="718" y="398"/>
                    </a:lnTo>
                    <a:lnTo>
                      <a:pt x="719" y="381"/>
                    </a:lnTo>
                    <a:lnTo>
                      <a:pt x="721" y="365"/>
                    </a:lnTo>
                    <a:lnTo>
                      <a:pt x="739" y="360"/>
                    </a:lnTo>
                    <a:lnTo>
                      <a:pt x="754" y="356"/>
                    </a:lnTo>
                    <a:lnTo>
                      <a:pt x="766" y="353"/>
                    </a:lnTo>
                    <a:lnTo>
                      <a:pt x="775" y="347"/>
                    </a:lnTo>
                    <a:lnTo>
                      <a:pt x="780" y="345"/>
                    </a:lnTo>
                    <a:lnTo>
                      <a:pt x="784" y="340"/>
                    </a:lnTo>
                    <a:lnTo>
                      <a:pt x="787" y="335"/>
                    </a:lnTo>
                    <a:lnTo>
                      <a:pt x="791" y="329"/>
                    </a:lnTo>
                    <a:lnTo>
                      <a:pt x="798" y="315"/>
                    </a:lnTo>
                    <a:lnTo>
                      <a:pt x="805" y="295"/>
                    </a:lnTo>
                    <a:lnTo>
                      <a:pt x="825" y="295"/>
                    </a:lnTo>
                    <a:lnTo>
                      <a:pt x="841" y="295"/>
                    </a:lnTo>
                    <a:lnTo>
                      <a:pt x="849" y="295"/>
                    </a:lnTo>
                    <a:lnTo>
                      <a:pt x="855" y="294"/>
                    </a:lnTo>
                    <a:lnTo>
                      <a:pt x="862" y="292"/>
                    </a:lnTo>
                    <a:lnTo>
                      <a:pt x="867" y="289"/>
                    </a:lnTo>
                    <a:lnTo>
                      <a:pt x="873" y="287"/>
                    </a:lnTo>
                    <a:lnTo>
                      <a:pt x="876" y="282"/>
                    </a:lnTo>
                    <a:lnTo>
                      <a:pt x="880" y="277"/>
                    </a:lnTo>
                    <a:lnTo>
                      <a:pt x="883" y="270"/>
                    </a:lnTo>
                    <a:lnTo>
                      <a:pt x="886" y="263"/>
                    </a:lnTo>
                    <a:lnTo>
                      <a:pt x="887" y="254"/>
                    </a:lnTo>
                    <a:lnTo>
                      <a:pt x="888" y="243"/>
                    </a:lnTo>
                    <a:lnTo>
                      <a:pt x="888" y="231"/>
                    </a:lnTo>
                    <a:lnTo>
                      <a:pt x="908" y="227"/>
                    </a:lnTo>
                    <a:lnTo>
                      <a:pt x="926" y="221"/>
                    </a:lnTo>
                    <a:lnTo>
                      <a:pt x="935" y="217"/>
                    </a:lnTo>
                    <a:lnTo>
                      <a:pt x="945" y="213"/>
                    </a:lnTo>
                    <a:lnTo>
                      <a:pt x="953" y="208"/>
                    </a:lnTo>
                    <a:lnTo>
                      <a:pt x="962" y="201"/>
                    </a:lnTo>
                    <a:lnTo>
                      <a:pt x="972" y="193"/>
                    </a:lnTo>
                    <a:lnTo>
                      <a:pt x="980" y="180"/>
                    </a:lnTo>
                    <a:lnTo>
                      <a:pt x="989" y="165"/>
                    </a:lnTo>
                    <a:lnTo>
                      <a:pt x="999" y="151"/>
                    </a:lnTo>
                    <a:lnTo>
                      <a:pt x="1004" y="144"/>
                    </a:lnTo>
                    <a:lnTo>
                      <a:pt x="1009" y="138"/>
                    </a:lnTo>
                    <a:lnTo>
                      <a:pt x="1015" y="132"/>
                    </a:lnTo>
                    <a:lnTo>
                      <a:pt x="1021" y="128"/>
                    </a:lnTo>
                    <a:lnTo>
                      <a:pt x="1028" y="124"/>
                    </a:lnTo>
                    <a:lnTo>
                      <a:pt x="1034" y="122"/>
                    </a:lnTo>
                    <a:lnTo>
                      <a:pt x="1042" y="122"/>
                    </a:lnTo>
                    <a:lnTo>
                      <a:pt x="1049" y="122"/>
                    </a:lnTo>
                    <a:lnTo>
                      <a:pt x="1060" y="124"/>
                    </a:lnTo>
                    <a:lnTo>
                      <a:pt x="1068" y="123"/>
                    </a:lnTo>
                    <a:lnTo>
                      <a:pt x="1076" y="122"/>
                    </a:lnTo>
                    <a:lnTo>
                      <a:pt x="1082" y="118"/>
                    </a:lnTo>
                    <a:lnTo>
                      <a:pt x="1094" y="109"/>
                    </a:lnTo>
                    <a:lnTo>
                      <a:pt x="1108" y="96"/>
                    </a:lnTo>
                    <a:lnTo>
                      <a:pt x="1117" y="84"/>
                    </a:lnTo>
                    <a:lnTo>
                      <a:pt x="1131" y="64"/>
                    </a:lnTo>
                    <a:lnTo>
                      <a:pt x="1138" y="55"/>
                    </a:lnTo>
                    <a:lnTo>
                      <a:pt x="1146" y="49"/>
                    </a:lnTo>
                    <a:lnTo>
                      <a:pt x="1148" y="46"/>
                    </a:lnTo>
                    <a:lnTo>
                      <a:pt x="1150" y="45"/>
                    </a:lnTo>
                    <a:lnTo>
                      <a:pt x="1151" y="45"/>
                    </a:lnTo>
                    <a:lnTo>
                      <a:pt x="1153" y="46"/>
                    </a:lnTo>
                    <a:lnTo>
                      <a:pt x="1156" y="49"/>
                    </a:lnTo>
                    <a:lnTo>
                      <a:pt x="1160" y="52"/>
                    </a:lnTo>
                    <a:lnTo>
                      <a:pt x="1189" y="75"/>
                    </a:lnTo>
                    <a:lnTo>
                      <a:pt x="1188" y="58"/>
                    </a:lnTo>
                    <a:lnTo>
                      <a:pt x="1185" y="46"/>
                    </a:lnTo>
                    <a:lnTo>
                      <a:pt x="1183" y="39"/>
                    </a:lnTo>
                    <a:lnTo>
                      <a:pt x="1182" y="33"/>
                    </a:lnTo>
                    <a:lnTo>
                      <a:pt x="1182" y="31"/>
                    </a:lnTo>
                    <a:lnTo>
                      <a:pt x="1183" y="30"/>
                    </a:lnTo>
                    <a:lnTo>
                      <a:pt x="1185" y="28"/>
                    </a:lnTo>
                    <a:lnTo>
                      <a:pt x="1189" y="25"/>
                    </a:lnTo>
                    <a:lnTo>
                      <a:pt x="1200" y="18"/>
                    </a:lnTo>
                    <a:lnTo>
                      <a:pt x="1217" y="9"/>
                    </a:lnTo>
                    <a:lnTo>
                      <a:pt x="1225" y="4"/>
                    </a:lnTo>
                    <a:lnTo>
                      <a:pt x="1231" y="2"/>
                    </a:lnTo>
                    <a:lnTo>
                      <a:pt x="1236" y="0"/>
                    </a:lnTo>
                    <a:lnTo>
                      <a:pt x="1240" y="0"/>
                    </a:lnTo>
                    <a:lnTo>
                      <a:pt x="1241" y="2"/>
                    </a:lnTo>
                    <a:lnTo>
                      <a:pt x="1241" y="4"/>
                    </a:lnTo>
                    <a:lnTo>
                      <a:pt x="1241" y="7"/>
                    </a:lnTo>
                    <a:lnTo>
                      <a:pt x="1240" y="12"/>
                    </a:lnTo>
                    <a:lnTo>
                      <a:pt x="1229" y="33"/>
                    </a:lnTo>
                    <a:lnTo>
                      <a:pt x="1218" y="55"/>
                    </a:lnTo>
                    <a:lnTo>
                      <a:pt x="1214" y="71"/>
                    </a:lnTo>
                    <a:lnTo>
                      <a:pt x="1213" y="79"/>
                    </a:lnTo>
                    <a:lnTo>
                      <a:pt x="1213" y="81"/>
                    </a:lnTo>
                    <a:lnTo>
                      <a:pt x="1214" y="81"/>
                    </a:lnTo>
                    <a:lnTo>
                      <a:pt x="1216" y="81"/>
                    </a:lnTo>
                    <a:lnTo>
                      <a:pt x="1218" y="78"/>
                    </a:lnTo>
                    <a:lnTo>
                      <a:pt x="1227" y="73"/>
                    </a:lnTo>
                    <a:lnTo>
                      <a:pt x="1236" y="68"/>
                    </a:lnTo>
                    <a:lnTo>
                      <a:pt x="1242" y="65"/>
                    </a:lnTo>
                    <a:lnTo>
                      <a:pt x="1248" y="63"/>
                    </a:lnTo>
                    <a:lnTo>
                      <a:pt x="1254" y="62"/>
                    </a:lnTo>
                    <a:lnTo>
                      <a:pt x="1261" y="62"/>
                    </a:lnTo>
                    <a:lnTo>
                      <a:pt x="1272" y="62"/>
                    </a:lnTo>
                    <a:lnTo>
                      <a:pt x="1282" y="61"/>
                    </a:lnTo>
                    <a:lnTo>
                      <a:pt x="1289" y="59"/>
                    </a:lnTo>
                    <a:lnTo>
                      <a:pt x="1296" y="58"/>
                    </a:lnTo>
                    <a:lnTo>
                      <a:pt x="1310" y="53"/>
                    </a:lnTo>
                    <a:lnTo>
                      <a:pt x="1330" y="45"/>
                    </a:lnTo>
                    <a:lnTo>
                      <a:pt x="1338" y="43"/>
                    </a:lnTo>
                    <a:lnTo>
                      <a:pt x="1344" y="42"/>
                    </a:lnTo>
                    <a:lnTo>
                      <a:pt x="1349" y="44"/>
                    </a:lnTo>
                    <a:lnTo>
                      <a:pt x="1352" y="46"/>
                    </a:lnTo>
                    <a:lnTo>
                      <a:pt x="1354" y="51"/>
                    </a:lnTo>
                    <a:lnTo>
                      <a:pt x="1354" y="57"/>
                    </a:lnTo>
                    <a:lnTo>
                      <a:pt x="1352" y="64"/>
                    </a:lnTo>
                    <a:lnTo>
                      <a:pt x="1350" y="71"/>
                    </a:lnTo>
                    <a:lnTo>
                      <a:pt x="1346" y="78"/>
                    </a:lnTo>
                    <a:lnTo>
                      <a:pt x="1342" y="85"/>
                    </a:lnTo>
                    <a:lnTo>
                      <a:pt x="1336" y="92"/>
                    </a:lnTo>
                    <a:lnTo>
                      <a:pt x="1329" y="99"/>
                    </a:lnTo>
                    <a:lnTo>
                      <a:pt x="1322" y="105"/>
                    </a:lnTo>
                    <a:lnTo>
                      <a:pt x="1314" y="110"/>
                    </a:lnTo>
                    <a:lnTo>
                      <a:pt x="1304" y="112"/>
                    </a:lnTo>
                    <a:lnTo>
                      <a:pt x="1295" y="115"/>
                    </a:lnTo>
                    <a:lnTo>
                      <a:pt x="1288" y="114"/>
                    </a:lnTo>
                    <a:lnTo>
                      <a:pt x="1281" y="112"/>
                    </a:lnTo>
                    <a:lnTo>
                      <a:pt x="1272" y="110"/>
                    </a:lnTo>
                    <a:lnTo>
                      <a:pt x="1265" y="106"/>
                    </a:lnTo>
                    <a:lnTo>
                      <a:pt x="1258" y="103"/>
                    </a:lnTo>
                    <a:lnTo>
                      <a:pt x="1250" y="101"/>
                    </a:lnTo>
                    <a:lnTo>
                      <a:pt x="1242" y="98"/>
                    </a:lnTo>
                    <a:lnTo>
                      <a:pt x="1232" y="98"/>
                    </a:lnTo>
                    <a:lnTo>
                      <a:pt x="1228" y="98"/>
                    </a:lnTo>
                    <a:lnTo>
                      <a:pt x="1223" y="98"/>
                    </a:lnTo>
                    <a:lnTo>
                      <a:pt x="1221" y="99"/>
                    </a:lnTo>
                    <a:lnTo>
                      <a:pt x="1218" y="101"/>
                    </a:lnTo>
                    <a:lnTo>
                      <a:pt x="1216" y="104"/>
                    </a:lnTo>
                    <a:lnTo>
                      <a:pt x="1217" y="109"/>
                    </a:lnTo>
                    <a:lnTo>
                      <a:pt x="1217" y="114"/>
                    </a:lnTo>
                    <a:lnTo>
                      <a:pt x="1217" y="118"/>
                    </a:lnTo>
                    <a:lnTo>
                      <a:pt x="1216" y="121"/>
                    </a:lnTo>
                    <a:lnTo>
                      <a:pt x="1215" y="123"/>
                    </a:lnTo>
                    <a:lnTo>
                      <a:pt x="1213" y="124"/>
                    </a:lnTo>
                    <a:lnTo>
                      <a:pt x="1210" y="127"/>
                    </a:lnTo>
                    <a:lnTo>
                      <a:pt x="1196" y="131"/>
                    </a:lnTo>
                    <a:lnTo>
                      <a:pt x="1193" y="132"/>
                    </a:lnTo>
                    <a:lnTo>
                      <a:pt x="1196" y="137"/>
                    </a:lnTo>
                    <a:lnTo>
                      <a:pt x="1201" y="151"/>
                    </a:lnTo>
                    <a:lnTo>
                      <a:pt x="1202" y="157"/>
                    </a:lnTo>
                    <a:lnTo>
                      <a:pt x="1202" y="162"/>
                    </a:lnTo>
                    <a:lnTo>
                      <a:pt x="1201" y="168"/>
                    </a:lnTo>
                    <a:lnTo>
                      <a:pt x="1200" y="172"/>
                    </a:lnTo>
                    <a:lnTo>
                      <a:pt x="1195" y="182"/>
                    </a:lnTo>
                    <a:lnTo>
                      <a:pt x="1187" y="191"/>
                    </a:lnTo>
                    <a:lnTo>
                      <a:pt x="1178" y="200"/>
                    </a:lnTo>
                    <a:lnTo>
                      <a:pt x="1168" y="207"/>
                    </a:lnTo>
                    <a:lnTo>
                      <a:pt x="1157" y="214"/>
                    </a:lnTo>
                    <a:lnTo>
                      <a:pt x="1147" y="220"/>
                    </a:lnTo>
                    <a:lnTo>
                      <a:pt x="1136" y="224"/>
                    </a:lnTo>
                    <a:lnTo>
                      <a:pt x="1126" y="227"/>
                    </a:lnTo>
                    <a:lnTo>
                      <a:pt x="1114" y="228"/>
                    </a:lnTo>
                    <a:lnTo>
                      <a:pt x="1103" y="228"/>
                    </a:lnTo>
                    <a:lnTo>
                      <a:pt x="1094" y="228"/>
                    </a:lnTo>
                    <a:lnTo>
                      <a:pt x="1083" y="228"/>
                    </a:lnTo>
                    <a:lnTo>
                      <a:pt x="1073" y="230"/>
                    </a:lnTo>
                    <a:lnTo>
                      <a:pt x="1063" y="233"/>
                    </a:lnTo>
                    <a:lnTo>
                      <a:pt x="1057" y="236"/>
                    </a:lnTo>
                    <a:lnTo>
                      <a:pt x="1052" y="242"/>
                    </a:lnTo>
                    <a:lnTo>
                      <a:pt x="1046" y="249"/>
                    </a:lnTo>
                    <a:lnTo>
                      <a:pt x="1039" y="257"/>
                    </a:lnTo>
                    <a:lnTo>
                      <a:pt x="1026" y="274"/>
                    </a:lnTo>
                    <a:lnTo>
                      <a:pt x="1014" y="288"/>
                    </a:lnTo>
                    <a:lnTo>
                      <a:pt x="1008" y="292"/>
                    </a:lnTo>
                    <a:lnTo>
                      <a:pt x="1001" y="294"/>
                    </a:lnTo>
                    <a:lnTo>
                      <a:pt x="994" y="295"/>
                    </a:lnTo>
                    <a:lnTo>
                      <a:pt x="987" y="295"/>
                    </a:lnTo>
                    <a:lnTo>
                      <a:pt x="972" y="295"/>
                    </a:lnTo>
                    <a:lnTo>
                      <a:pt x="956" y="294"/>
                    </a:lnTo>
                    <a:lnTo>
                      <a:pt x="950" y="294"/>
                    </a:lnTo>
                    <a:lnTo>
                      <a:pt x="945" y="294"/>
                    </a:lnTo>
                    <a:lnTo>
                      <a:pt x="940" y="296"/>
                    </a:lnTo>
                    <a:lnTo>
                      <a:pt x="936" y="300"/>
                    </a:lnTo>
                    <a:lnTo>
                      <a:pt x="934" y="306"/>
                    </a:lnTo>
                    <a:lnTo>
                      <a:pt x="934" y="313"/>
                    </a:lnTo>
                    <a:lnTo>
                      <a:pt x="935" y="322"/>
                    </a:lnTo>
                    <a:lnTo>
                      <a:pt x="938" y="334"/>
                    </a:lnTo>
                    <a:lnTo>
                      <a:pt x="941" y="346"/>
                    </a:lnTo>
                    <a:lnTo>
                      <a:pt x="943" y="356"/>
                    </a:lnTo>
                    <a:lnTo>
                      <a:pt x="945" y="366"/>
                    </a:lnTo>
                    <a:lnTo>
                      <a:pt x="945" y="375"/>
                    </a:lnTo>
                    <a:lnTo>
                      <a:pt x="943" y="383"/>
                    </a:lnTo>
                    <a:lnTo>
                      <a:pt x="942" y="391"/>
                    </a:lnTo>
                    <a:lnTo>
                      <a:pt x="940" y="398"/>
                    </a:lnTo>
                    <a:lnTo>
                      <a:pt x="936" y="404"/>
                    </a:lnTo>
                    <a:lnTo>
                      <a:pt x="932" y="408"/>
                    </a:lnTo>
                    <a:lnTo>
                      <a:pt x="926" y="413"/>
                    </a:lnTo>
                    <a:lnTo>
                      <a:pt x="919" y="416"/>
                    </a:lnTo>
                    <a:lnTo>
                      <a:pt x="910" y="419"/>
                    </a:lnTo>
                    <a:lnTo>
                      <a:pt x="902" y="421"/>
                    </a:lnTo>
                    <a:lnTo>
                      <a:pt x="893" y="422"/>
                    </a:lnTo>
                    <a:lnTo>
                      <a:pt x="882" y="424"/>
                    </a:lnTo>
                    <a:lnTo>
                      <a:pt x="871" y="424"/>
                    </a:lnTo>
                    <a:lnTo>
                      <a:pt x="867" y="425"/>
                    </a:lnTo>
                    <a:lnTo>
                      <a:pt x="863" y="427"/>
                    </a:lnTo>
                    <a:lnTo>
                      <a:pt x="860" y="429"/>
                    </a:lnTo>
                    <a:lnTo>
                      <a:pt x="856" y="433"/>
                    </a:lnTo>
                    <a:lnTo>
                      <a:pt x="848" y="442"/>
                    </a:lnTo>
                    <a:lnTo>
                      <a:pt x="840" y="453"/>
                    </a:lnTo>
                    <a:lnTo>
                      <a:pt x="824" y="477"/>
                    </a:lnTo>
                    <a:lnTo>
                      <a:pt x="811" y="492"/>
                    </a:lnTo>
                    <a:lnTo>
                      <a:pt x="808" y="494"/>
                    </a:lnTo>
                    <a:lnTo>
                      <a:pt x="804" y="497"/>
                    </a:lnTo>
                    <a:lnTo>
                      <a:pt x="799" y="499"/>
                    </a:lnTo>
                    <a:lnTo>
                      <a:pt x="793" y="500"/>
                    </a:lnTo>
                    <a:lnTo>
                      <a:pt x="780" y="503"/>
                    </a:lnTo>
                    <a:lnTo>
                      <a:pt x="767" y="503"/>
                    </a:lnTo>
                    <a:lnTo>
                      <a:pt x="754" y="501"/>
                    </a:lnTo>
                    <a:lnTo>
                      <a:pt x="742" y="498"/>
                    </a:lnTo>
                    <a:lnTo>
                      <a:pt x="737" y="495"/>
                    </a:lnTo>
                    <a:lnTo>
                      <a:pt x="733" y="493"/>
                    </a:lnTo>
                    <a:lnTo>
                      <a:pt x="729" y="490"/>
                    </a:lnTo>
                    <a:lnTo>
                      <a:pt x="726" y="486"/>
                    </a:lnTo>
                    <a:lnTo>
                      <a:pt x="714" y="471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27">
                <a:extLst>
                  <a:ext uri="{FF2B5EF4-FFF2-40B4-BE49-F238E27FC236}">
                    <a16:creationId xmlns:a16="http://schemas.microsoft.com/office/drawing/2014/main" id="{8A76539F-C737-4A44-B7D6-A683533703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38680" y="3296120"/>
                <a:ext cx="867001" cy="595664"/>
              </a:xfrm>
              <a:custGeom>
                <a:avLst/>
                <a:gdLst>
                  <a:gd name="T0" fmla="*/ 2399 w 3537"/>
                  <a:gd name="T1" fmla="*/ 301 h 2430"/>
                  <a:gd name="T2" fmla="*/ 2395 w 3537"/>
                  <a:gd name="T3" fmla="*/ 399 h 2430"/>
                  <a:gd name="T4" fmla="*/ 2368 w 3537"/>
                  <a:gd name="T5" fmla="*/ 378 h 2430"/>
                  <a:gd name="T6" fmla="*/ 2809 w 3537"/>
                  <a:gd name="T7" fmla="*/ 532 h 2430"/>
                  <a:gd name="T8" fmla="*/ 2830 w 3537"/>
                  <a:gd name="T9" fmla="*/ 543 h 2430"/>
                  <a:gd name="T10" fmla="*/ 1692 w 3537"/>
                  <a:gd name="T11" fmla="*/ 135 h 2430"/>
                  <a:gd name="T12" fmla="*/ 1872 w 3537"/>
                  <a:gd name="T13" fmla="*/ 9 h 2430"/>
                  <a:gd name="T14" fmla="*/ 1948 w 3537"/>
                  <a:gd name="T15" fmla="*/ 17 h 2430"/>
                  <a:gd name="T16" fmla="*/ 1850 w 3537"/>
                  <a:gd name="T17" fmla="*/ 217 h 2430"/>
                  <a:gd name="T18" fmla="*/ 1725 w 3537"/>
                  <a:gd name="T19" fmla="*/ 360 h 2430"/>
                  <a:gd name="T20" fmla="*/ 1598 w 3537"/>
                  <a:gd name="T21" fmla="*/ 239 h 2430"/>
                  <a:gd name="T22" fmla="*/ 2172 w 3537"/>
                  <a:gd name="T23" fmla="*/ 538 h 2430"/>
                  <a:gd name="T24" fmla="*/ 2055 w 3537"/>
                  <a:gd name="T25" fmla="*/ 529 h 2430"/>
                  <a:gd name="T26" fmla="*/ 1932 w 3537"/>
                  <a:gd name="T27" fmla="*/ 622 h 2430"/>
                  <a:gd name="T28" fmla="*/ 1878 w 3537"/>
                  <a:gd name="T29" fmla="*/ 713 h 2430"/>
                  <a:gd name="T30" fmla="*/ 1802 w 3537"/>
                  <a:gd name="T31" fmla="*/ 796 h 2430"/>
                  <a:gd name="T32" fmla="*/ 1755 w 3537"/>
                  <a:gd name="T33" fmla="*/ 690 h 2430"/>
                  <a:gd name="T34" fmla="*/ 1639 w 3537"/>
                  <a:gd name="T35" fmla="*/ 580 h 2430"/>
                  <a:gd name="T36" fmla="*/ 1569 w 3537"/>
                  <a:gd name="T37" fmla="*/ 495 h 2430"/>
                  <a:gd name="T38" fmla="*/ 1435 w 3537"/>
                  <a:gd name="T39" fmla="*/ 345 h 2430"/>
                  <a:gd name="T40" fmla="*/ 1361 w 3537"/>
                  <a:gd name="T41" fmla="*/ 284 h 2430"/>
                  <a:gd name="T42" fmla="*/ 1348 w 3537"/>
                  <a:gd name="T43" fmla="*/ 220 h 2430"/>
                  <a:gd name="T44" fmla="*/ 1212 w 3537"/>
                  <a:gd name="T45" fmla="*/ 171 h 2430"/>
                  <a:gd name="T46" fmla="*/ 927 w 3537"/>
                  <a:gd name="T47" fmla="*/ 217 h 2430"/>
                  <a:gd name="T48" fmla="*/ 860 w 3537"/>
                  <a:gd name="T49" fmla="*/ 313 h 2430"/>
                  <a:gd name="T50" fmla="*/ 836 w 3537"/>
                  <a:gd name="T51" fmla="*/ 796 h 2430"/>
                  <a:gd name="T52" fmla="*/ 738 w 3537"/>
                  <a:gd name="T53" fmla="*/ 925 h 2430"/>
                  <a:gd name="T54" fmla="*/ 734 w 3537"/>
                  <a:gd name="T55" fmla="*/ 1006 h 2430"/>
                  <a:gd name="T56" fmla="*/ 571 w 3537"/>
                  <a:gd name="T57" fmla="*/ 1048 h 2430"/>
                  <a:gd name="T58" fmla="*/ 474 w 3537"/>
                  <a:gd name="T59" fmla="*/ 1115 h 2430"/>
                  <a:gd name="T60" fmla="*/ 300 w 3537"/>
                  <a:gd name="T61" fmla="*/ 1150 h 2430"/>
                  <a:gd name="T62" fmla="*/ 3 w 3537"/>
                  <a:gd name="T63" fmla="*/ 1573 h 2430"/>
                  <a:gd name="T64" fmla="*/ 21 w 3537"/>
                  <a:gd name="T65" fmla="*/ 1675 h 2430"/>
                  <a:gd name="T66" fmla="*/ 2865 w 3537"/>
                  <a:gd name="T67" fmla="*/ 872 h 2430"/>
                  <a:gd name="T68" fmla="*/ 2776 w 3537"/>
                  <a:gd name="T69" fmla="*/ 705 h 2430"/>
                  <a:gd name="T70" fmla="*/ 2777 w 3537"/>
                  <a:gd name="T71" fmla="*/ 648 h 2430"/>
                  <a:gd name="T72" fmla="*/ 2802 w 3537"/>
                  <a:gd name="T73" fmla="*/ 607 h 2430"/>
                  <a:gd name="T74" fmla="*/ 2696 w 3537"/>
                  <a:gd name="T75" fmla="*/ 662 h 2430"/>
                  <a:gd name="T76" fmla="*/ 2605 w 3537"/>
                  <a:gd name="T77" fmla="*/ 733 h 2430"/>
                  <a:gd name="T78" fmla="*/ 2676 w 3537"/>
                  <a:gd name="T79" fmla="*/ 771 h 2430"/>
                  <a:gd name="T80" fmla="*/ 2570 w 3537"/>
                  <a:gd name="T81" fmla="*/ 742 h 2430"/>
                  <a:gd name="T82" fmla="*/ 2564 w 3537"/>
                  <a:gd name="T83" fmla="*/ 649 h 2430"/>
                  <a:gd name="T84" fmla="*/ 2513 w 3537"/>
                  <a:gd name="T85" fmla="*/ 629 h 2430"/>
                  <a:gd name="T86" fmla="*/ 2598 w 3537"/>
                  <a:gd name="T87" fmla="*/ 656 h 2430"/>
                  <a:gd name="T88" fmla="*/ 2640 w 3537"/>
                  <a:gd name="T89" fmla="*/ 637 h 2430"/>
                  <a:gd name="T90" fmla="*/ 2608 w 3537"/>
                  <a:gd name="T91" fmla="*/ 598 h 2430"/>
                  <a:gd name="T92" fmla="*/ 2678 w 3537"/>
                  <a:gd name="T93" fmla="*/ 547 h 2430"/>
                  <a:gd name="T94" fmla="*/ 2660 w 3537"/>
                  <a:gd name="T95" fmla="*/ 488 h 2430"/>
                  <a:gd name="T96" fmla="*/ 2515 w 3537"/>
                  <a:gd name="T97" fmla="*/ 574 h 2430"/>
                  <a:gd name="T98" fmla="*/ 2414 w 3537"/>
                  <a:gd name="T99" fmla="*/ 491 h 2430"/>
                  <a:gd name="T100" fmla="*/ 2303 w 3537"/>
                  <a:gd name="T101" fmla="*/ 321 h 2430"/>
                  <a:gd name="T102" fmla="*/ 2247 w 3537"/>
                  <a:gd name="T103" fmla="*/ 344 h 2430"/>
                  <a:gd name="T104" fmla="*/ 2254 w 3537"/>
                  <a:gd name="T105" fmla="*/ 444 h 2430"/>
                  <a:gd name="T106" fmla="*/ 3308 w 3537"/>
                  <a:gd name="T107" fmla="*/ 569 h 2430"/>
                  <a:gd name="T108" fmla="*/ 3425 w 3537"/>
                  <a:gd name="T109" fmla="*/ 628 h 2430"/>
                  <a:gd name="T110" fmla="*/ 3389 w 3537"/>
                  <a:gd name="T111" fmla="*/ 654 h 2430"/>
                  <a:gd name="T112" fmla="*/ 3429 w 3537"/>
                  <a:gd name="T113" fmla="*/ 663 h 2430"/>
                  <a:gd name="T114" fmla="*/ 3496 w 3537"/>
                  <a:gd name="T115" fmla="*/ 674 h 2430"/>
                  <a:gd name="T116" fmla="*/ 3527 w 3537"/>
                  <a:gd name="T117" fmla="*/ 779 h 2430"/>
                  <a:gd name="T118" fmla="*/ 3398 w 3537"/>
                  <a:gd name="T119" fmla="*/ 940 h 2430"/>
                  <a:gd name="T120" fmla="*/ 3316 w 3537"/>
                  <a:gd name="T121" fmla="*/ 980 h 2430"/>
                  <a:gd name="T122" fmla="*/ 3215 w 3537"/>
                  <a:gd name="T123" fmla="*/ 788 h 2430"/>
                  <a:gd name="T124" fmla="*/ 3234 w 3537"/>
                  <a:gd name="T125" fmla="*/ 667 h 24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537" h="2430">
                    <a:moveTo>
                      <a:pt x="2335" y="364"/>
                    </a:moveTo>
                    <a:lnTo>
                      <a:pt x="2343" y="358"/>
                    </a:lnTo>
                    <a:lnTo>
                      <a:pt x="2352" y="352"/>
                    </a:lnTo>
                    <a:lnTo>
                      <a:pt x="2359" y="346"/>
                    </a:lnTo>
                    <a:lnTo>
                      <a:pt x="2363" y="338"/>
                    </a:lnTo>
                    <a:lnTo>
                      <a:pt x="2369" y="325"/>
                    </a:lnTo>
                    <a:lnTo>
                      <a:pt x="2375" y="313"/>
                    </a:lnTo>
                    <a:lnTo>
                      <a:pt x="2383" y="303"/>
                    </a:lnTo>
                    <a:lnTo>
                      <a:pt x="2390" y="292"/>
                    </a:lnTo>
                    <a:lnTo>
                      <a:pt x="2393" y="292"/>
                    </a:lnTo>
                    <a:lnTo>
                      <a:pt x="2395" y="293"/>
                    </a:lnTo>
                    <a:lnTo>
                      <a:pt x="2399" y="301"/>
                    </a:lnTo>
                    <a:lnTo>
                      <a:pt x="2403" y="311"/>
                    </a:lnTo>
                    <a:lnTo>
                      <a:pt x="2407" y="320"/>
                    </a:lnTo>
                    <a:lnTo>
                      <a:pt x="2407" y="331"/>
                    </a:lnTo>
                    <a:lnTo>
                      <a:pt x="2408" y="342"/>
                    </a:lnTo>
                    <a:lnTo>
                      <a:pt x="2409" y="352"/>
                    </a:lnTo>
                    <a:lnTo>
                      <a:pt x="2409" y="358"/>
                    </a:lnTo>
                    <a:lnTo>
                      <a:pt x="2409" y="365"/>
                    </a:lnTo>
                    <a:lnTo>
                      <a:pt x="2407" y="372"/>
                    </a:lnTo>
                    <a:lnTo>
                      <a:pt x="2404" y="379"/>
                    </a:lnTo>
                    <a:lnTo>
                      <a:pt x="2402" y="386"/>
                    </a:lnTo>
                    <a:lnTo>
                      <a:pt x="2399" y="393"/>
                    </a:lnTo>
                    <a:lnTo>
                      <a:pt x="2395" y="399"/>
                    </a:lnTo>
                    <a:lnTo>
                      <a:pt x="2390" y="404"/>
                    </a:lnTo>
                    <a:lnTo>
                      <a:pt x="2388" y="406"/>
                    </a:lnTo>
                    <a:lnTo>
                      <a:pt x="2386" y="408"/>
                    </a:lnTo>
                    <a:lnTo>
                      <a:pt x="2383" y="408"/>
                    </a:lnTo>
                    <a:lnTo>
                      <a:pt x="2381" y="408"/>
                    </a:lnTo>
                    <a:lnTo>
                      <a:pt x="2379" y="406"/>
                    </a:lnTo>
                    <a:lnTo>
                      <a:pt x="2376" y="405"/>
                    </a:lnTo>
                    <a:lnTo>
                      <a:pt x="2374" y="403"/>
                    </a:lnTo>
                    <a:lnTo>
                      <a:pt x="2373" y="400"/>
                    </a:lnTo>
                    <a:lnTo>
                      <a:pt x="2372" y="392"/>
                    </a:lnTo>
                    <a:lnTo>
                      <a:pt x="2370" y="383"/>
                    </a:lnTo>
                    <a:lnTo>
                      <a:pt x="2368" y="378"/>
                    </a:lnTo>
                    <a:lnTo>
                      <a:pt x="2366" y="373"/>
                    </a:lnTo>
                    <a:lnTo>
                      <a:pt x="2363" y="373"/>
                    </a:lnTo>
                    <a:lnTo>
                      <a:pt x="2360" y="373"/>
                    </a:lnTo>
                    <a:lnTo>
                      <a:pt x="2354" y="373"/>
                    </a:lnTo>
                    <a:lnTo>
                      <a:pt x="2348" y="372"/>
                    </a:lnTo>
                    <a:lnTo>
                      <a:pt x="2342" y="371"/>
                    </a:lnTo>
                    <a:lnTo>
                      <a:pt x="2335" y="364"/>
                    </a:lnTo>
                    <a:close/>
                    <a:moveTo>
                      <a:pt x="2833" y="527"/>
                    </a:moveTo>
                    <a:lnTo>
                      <a:pt x="2829" y="528"/>
                    </a:lnTo>
                    <a:lnTo>
                      <a:pt x="2824" y="528"/>
                    </a:lnTo>
                    <a:lnTo>
                      <a:pt x="2816" y="530"/>
                    </a:lnTo>
                    <a:lnTo>
                      <a:pt x="2809" y="532"/>
                    </a:lnTo>
                    <a:lnTo>
                      <a:pt x="2803" y="535"/>
                    </a:lnTo>
                    <a:lnTo>
                      <a:pt x="2798" y="537"/>
                    </a:lnTo>
                    <a:lnTo>
                      <a:pt x="2796" y="540"/>
                    </a:lnTo>
                    <a:lnTo>
                      <a:pt x="2795" y="541"/>
                    </a:lnTo>
                    <a:lnTo>
                      <a:pt x="2793" y="543"/>
                    </a:lnTo>
                    <a:lnTo>
                      <a:pt x="2793" y="547"/>
                    </a:lnTo>
                    <a:lnTo>
                      <a:pt x="2795" y="548"/>
                    </a:lnTo>
                    <a:lnTo>
                      <a:pt x="2798" y="549"/>
                    </a:lnTo>
                    <a:lnTo>
                      <a:pt x="2803" y="550"/>
                    </a:lnTo>
                    <a:lnTo>
                      <a:pt x="2805" y="550"/>
                    </a:lnTo>
                    <a:lnTo>
                      <a:pt x="2818" y="548"/>
                    </a:lnTo>
                    <a:lnTo>
                      <a:pt x="2830" y="543"/>
                    </a:lnTo>
                    <a:lnTo>
                      <a:pt x="2836" y="541"/>
                    </a:lnTo>
                    <a:lnTo>
                      <a:pt x="2840" y="540"/>
                    </a:lnTo>
                    <a:lnTo>
                      <a:pt x="2844" y="537"/>
                    </a:lnTo>
                    <a:lnTo>
                      <a:pt x="2846" y="535"/>
                    </a:lnTo>
                    <a:lnTo>
                      <a:pt x="2846" y="532"/>
                    </a:lnTo>
                    <a:lnTo>
                      <a:pt x="2846" y="528"/>
                    </a:lnTo>
                    <a:lnTo>
                      <a:pt x="2845" y="527"/>
                    </a:lnTo>
                    <a:lnTo>
                      <a:pt x="2844" y="527"/>
                    </a:lnTo>
                    <a:lnTo>
                      <a:pt x="2833" y="527"/>
                    </a:lnTo>
                    <a:close/>
                    <a:moveTo>
                      <a:pt x="1675" y="143"/>
                    </a:moveTo>
                    <a:lnTo>
                      <a:pt x="1683" y="140"/>
                    </a:lnTo>
                    <a:lnTo>
                      <a:pt x="1692" y="135"/>
                    </a:lnTo>
                    <a:lnTo>
                      <a:pt x="1703" y="128"/>
                    </a:lnTo>
                    <a:lnTo>
                      <a:pt x="1713" y="121"/>
                    </a:lnTo>
                    <a:lnTo>
                      <a:pt x="1733" y="105"/>
                    </a:lnTo>
                    <a:lnTo>
                      <a:pt x="1749" y="90"/>
                    </a:lnTo>
                    <a:lnTo>
                      <a:pt x="1762" y="79"/>
                    </a:lnTo>
                    <a:lnTo>
                      <a:pt x="1773" y="68"/>
                    </a:lnTo>
                    <a:lnTo>
                      <a:pt x="1786" y="59"/>
                    </a:lnTo>
                    <a:lnTo>
                      <a:pt x="1799" y="49"/>
                    </a:lnTo>
                    <a:lnTo>
                      <a:pt x="1825" y="32"/>
                    </a:lnTo>
                    <a:lnTo>
                      <a:pt x="1853" y="16"/>
                    </a:lnTo>
                    <a:lnTo>
                      <a:pt x="1860" y="13"/>
                    </a:lnTo>
                    <a:lnTo>
                      <a:pt x="1872" y="9"/>
                    </a:lnTo>
                    <a:lnTo>
                      <a:pt x="1886" y="6"/>
                    </a:lnTo>
                    <a:lnTo>
                      <a:pt x="1901" y="3"/>
                    </a:lnTo>
                    <a:lnTo>
                      <a:pt x="1917" y="1"/>
                    </a:lnTo>
                    <a:lnTo>
                      <a:pt x="1930" y="0"/>
                    </a:lnTo>
                    <a:lnTo>
                      <a:pt x="1934" y="0"/>
                    </a:lnTo>
                    <a:lnTo>
                      <a:pt x="1939" y="0"/>
                    </a:lnTo>
                    <a:lnTo>
                      <a:pt x="1943" y="1"/>
                    </a:lnTo>
                    <a:lnTo>
                      <a:pt x="1944" y="2"/>
                    </a:lnTo>
                    <a:lnTo>
                      <a:pt x="1946" y="4"/>
                    </a:lnTo>
                    <a:lnTo>
                      <a:pt x="1948" y="7"/>
                    </a:lnTo>
                    <a:lnTo>
                      <a:pt x="1948" y="11"/>
                    </a:lnTo>
                    <a:lnTo>
                      <a:pt x="1948" y="17"/>
                    </a:lnTo>
                    <a:lnTo>
                      <a:pt x="1946" y="32"/>
                    </a:lnTo>
                    <a:lnTo>
                      <a:pt x="1943" y="47"/>
                    </a:lnTo>
                    <a:lnTo>
                      <a:pt x="1932" y="79"/>
                    </a:lnTo>
                    <a:lnTo>
                      <a:pt x="1924" y="98"/>
                    </a:lnTo>
                    <a:lnTo>
                      <a:pt x="1913" y="119"/>
                    </a:lnTo>
                    <a:lnTo>
                      <a:pt x="1903" y="141"/>
                    </a:lnTo>
                    <a:lnTo>
                      <a:pt x="1898" y="153"/>
                    </a:lnTo>
                    <a:lnTo>
                      <a:pt x="1892" y="164"/>
                    </a:lnTo>
                    <a:lnTo>
                      <a:pt x="1885" y="174"/>
                    </a:lnTo>
                    <a:lnTo>
                      <a:pt x="1877" y="184"/>
                    </a:lnTo>
                    <a:lnTo>
                      <a:pt x="1863" y="200"/>
                    </a:lnTo>
                    <a:lnTo>
                      <a:pt x="1850" y="217"/>
                    </a:lnTo>
                    <a:lnTo>
                      <a:pt x="1837" y="234"/>
                    </a:lnTo>
                    <a:lnTo>
                      <a:pt x="1824" y="252"/>
                    </a:lnTo>
                    <a:lnTo>
                      <a:pt x="1799" y="286"/>
                    </a:lnTo>
                    <a:lnTo>
                      <a:pt x="1775" y="320"/>
                    </a:lnTo>
                    <a:lnTo>
                      <a:pt x="1764" y="336"/>
                    </a:lnTo>
                    <a:lnTo>
                      <a:pt x="1756" y="347"/>
                    </a:lnTo>
                    <a:lnTo>
                      <a:pt x="1749" y="357"/>
                    </a:lnTo>
                    <a:lnTo>
                      <a:pt x="1743" y="362"/>
                    </a:lnTo>
                    <a:lnTo>
                      <a:pt x="1739" y="363"/>
                    </a:lnTo>
                    <a:lnTo>
                      <a:pt x="1735" y="363"/>
                    </a:lnTo>
                    <a:lnTo>
                      <a:pt x="1731" y="363"/>
                    </a:lnTo>
                    <a:lnTo>
                      <a:pt x="1725" y="360"/>
                    </a:lnTo>
                    <a:lnTo>
                      <a:pt x="1713" y="354"/>
                    </a:lnTo>
                    <a:lnTo>
                      <a:pt x="1698" y="343"/>
                    </a:lnTo>
                    <a:lnTo>
                      <a:pt x="1658" y="306"/>
                    </a:lnTo>
                    <a:lnTo>
                      <a:pt x="1658" y="306"/>
                    </a:lnTo>
                    <a:lnTo>
                      <a:pt x="1650" y="298"/>
                    </a:lnTo>
                    <a:lnTo>
                      <a:pt x="1642" y="292"/>
                    </a:lnTo>
                    <a:lnTo>
                      <a:pt x="1636" y="286"/>
                    </a:lnTo>
                    <a:lnTo>
                      <a:pt x="1630" y="280"/>
                    </a:lnTo>
                    <a:lnTo>
                      <a:pt x="1621" y="268"/>
                    </a:lnTo>
                    <a:lnTo>
                      <a:pt x="1611" y="257"/>
                    </a:lnTo>
                    <a:lnTo>
                      <a:pt x="1605" y="247"/>
                    </a:lnTo>
                    <a:lnTo>
                      <a:pt x="1598" y="239"/>
                    </a:lnTo>
                    <a:lnTo>
                      <a:pt x="1598" y="234"/>
                    </a:lnTo>
                    <a:lnTo>
                      <a:pt x="1601" y="230"/>
                    </a:lnTo>
                    <a:lnTo>
                      <a:pt x="1610" y="221"/>
                    </a:lnTo>
                    <a:lnTo>
                      <a:pt x="1619" y="213"/>
                    </a:lnTo>
                    <a:lnTo>
                      <a:pt x="1624" y="207"/>
                    </a:lnTo>
                    <a:lnTo>
                      <a:pt x="1629" y="202"/>
                    </a:lnTo>
                    <a:lnTo>
                      <a:pt x="1634" y="200"/>
                    </a:lnTo>
                    <a:lnTo>
                      <a:pt x="1638" y="197"/>
                    </a:lnTo>
                    <a:lnTo>
                      <a:pt x="1675" y="143"/>
                    </a:lnTo>
                    <a:lnTo>
                      <a:pt x="1675" y="143"/>
                    </a:lnTo>
                    <a:close/>
                    <a:moveTo>
                      <a:pt x="2212" y="508"/>
                    </a:moveTo>
                    <a:lnTo>
                      <a:pt x="2172" y="538"/>
                    </a:lnTo>
                    <a:lnTo>
                      <a:pt x="2164" y="540"/>
                    </a:lnTo>
                    <a:lnTo>
                      <a:pt x="2155" y="538"/>
                    </a:lnTo>
                    <a:lnTo>
                      <a:pt x="2147" y="537"/>
                    </a:lnTo>
                    <a:lnTo>
                      <a:pt x="2139" y="536"/>
                    </a:lnTo>
                    <a:lnTo>
                      <a:pt x="2121" y="531"/>
                    </a:lnTo>
                    <a:lnTo>
                      <a:pt x="2105" y="528"/>
                    </a:lnTo>
                    <a:lnTo>
                      <a:pt x="2097" y="525"/>
                    </a:lnTo>
                    <a:lnTo>
                      <a:pt x="2087" y="524"/>
                    </a:lnTo>
                    <a:lnTo>
                      <a:pt x="2079" y="524"/>
                    </a:lnTo>
                    <a:lnTo>
                      <a:pt x="2071" y="524"/>
                    </a:lnTo>
                    <a:lnTo>
                      <a:pt x="2062" y="527"/>
                    </a:lnTo>
                    <a:lnTo>
                      <a:pt x="2055" y="529"/>
                    </a:lnTo>
                    <a:lnTo>
                      <a:pt x="2047" y="532"/>
                    </a:lnTo>
                    <a:lnTo>
                      <a:pt x="2039" y="537"/>
                    </a:lnTo>
                    <a:lnTo>
                      <a:pt x="1993" y="573"/>
                    </a:lnTo>
                    <a:lnTo>
                      <a:pt x="1985" y="577"/>
                    </a:lnTo>
                    <a:lnTo>
                      <a:pt x="1978" y="581"/>
                    </a:lnTo>
                    <a:lnTo>
                      <a:pt x="1970" y="583"/>
                    </a:lnTo>
                    <a:lnTo>
                      <a:pt x="1963" y="585"/>
                    </a:lnTo>
                    <a:lnTo>
                      <a:pt x="1954" y="589"/>
                    </a:lnTo>
                    <a:lnTo>
                      <a:pt x="1947" y="593"/>
                    </a:lnTo>
                    <a:lnTo>
                      <a:pt x="1940" y="597"/>
                    </a:lnTo>
                    <a:lnTo>
                      <a:pt x="1933" y="603"/>
                    </a:lnTo>
                    <a:lnTo>
                      <a:pt x="1932" y="622"/>
                    </a:lnTo>
                    <a:lnTo>
                      <a:pt x="1931" y="643"/>
                    </a:lnTo>
                    <a:lnTo>
                      <a:pt x="1928" y="653"/>
                    </a:lnTo>
                    <a:lnTo>
                      <a:pt x="1926" y="662"/>
                    </a:lnTo>
                    <a:lnTo>
                      <a:pt x="1924" y="672"/>
                    </a:lnTo>
                    <a:lnTo>
                      <a:pt x="1919" y="680"/>
                    </a:lnTo>
                    <a:lnTo>
                      <a:pt x="1913" y="686"/>
                    </a:lnTo>
                    <a:lnTo>
                      <a:pt x="1909" y="690"/>
                    </a:lnTo>
                    <a:lnTo>
                      <a:pt x="1901" y="694"/>
                    </a:lnTo>
                    <a:lnTo>
                      <a:pt x="1896" y="697"/>
                    </a:lnTo>
                    <a:lnTo>
                      <a:pt x="1890" y="702"/>
                    </a:lnTo>
                    <a:lnTo>
                      <a:pt x="1884" y="707"/>
                    </a:lnTo>
                    <a:lnTo>
                      <a:pt x="1878" y="713"/>
                    </a:lnTo>
                    <a:lnTo>
                      <a:pt x="1874" y="721"/>
                    </a:lnTo>
                    <a:lnTo>
                      <a:pt x="1866" y="747"/>
                    </a:lnTo>
                    <a:lnTo>
                      <a:pt x="1856" y="778"/>
                    </a:lnTo>
                    <a:lnTo>
                      <a:pt x="1852" y="783"/>
                    </a:lnTo>
                    <a:lnTo>
                      <a:pt x="1849" y="789"/>
                    </a:lnTo>
                    <a:lnTo>
                      <a:pt x="1844" y="794"/>
                    </a:lnTo>
                    <a:lnTo>
                      <a:pt x="1838" y="799"/>
                    </a:lnTo>
                    <a:lnTo>
                      <a:pt x="1832" y="801"/>
                    </a:lnTo>
                    <a:lnTo>
                      <a:pt x="1825" y="802"/>
                    </a:lnTo>
                    <a:lnTo>
                      <a:pt x="1818" y="802"/>
                    </a:lnTo>
                    <a:lnTo>
                      <a:pt x="1809" y="800"/>
                    </a:lnTo>
                    <a:lnTo>
                      <a:pt x="1802" y="796"/>
                    </a:lnTo>
                    <a:lnTo>
                      <a:pt x="1796" y="794"/>
                    </a:lnTo>
                    <a:lnTo>
                      <a:pt x="1790" y="791"/>
                    </a:lnTo>
                    <a:lnTo>
                      <a:pt x="1785" y="787"/>
                    </a:lnTo>
                    <a:lnTo>
                      <a:pt x="1777" y="779"/>
                    </a:lnTo>
                    <a:lnTo>
                      <a:pt x="1771" y="769"/>
                    </a:lnTo>
                    <a:lnTo>
                      <a:pt x="1767" y="759"/>
                    </a:lnTo>
                    <a:lnTo>
                      <a:pt x="1764" y="748"/>
                    </a:lnTo>
                    <a:lnTo>
                      <a:pt x="1763" y="738"/>
                    </a:lnTo>
                    <a:lnTo>
                      <a:pt x="1760" y="726"/>
                    </a:lnTo>
                    <a:lnTo>
                      <a:pt x="1759" y="714"/>
                    </a:lnTo>
                    <a:lnTo>
                      <a:pt x="1758" y="702"/>
                    </a:lnTo>
                    <a:lnTo>
                      <a:pt x="1755" y="690"/>
                    </a:lnTo>
                    <a:lnTo>
                      <a:pt x="1751" y="680"/>
                    </a:lnTo>
                    <a:lnTo>
                      <a:pt x="1745" y="668"/>
                    </a:lnTo>
                    <a:lnTo>
                      <a:pt x="1738" y="659"/>
                    </a:lnTo>
                    <a:lnTo>
                      <a:pt x="1733" y="654"/>
                    </a:lnTo>
                    <a:lnTo>
                      <a:pt x="1728" y="649"/>
                    </a:lnTo>
                    <a:lnTo>
                      <a:pt x="1722" y="644"/>
                    </a:lnTo>
                    <a:lnTo>
                      <a:pt x="1715" y="641"/>
                    </a:lnTo>
                    <a:lnTo>
                      <a:pt x="1697" y="631"/>
                    </a:lnTo>
                    <a:lnTo>
                      <a:pt x="1681" y="618"/>
                    </a:lnTo>
                    <a:lnTo>
                      <a:pt x="1663" y="604"/>
                    </a:lnTo>
                    <a:lnTo>
                      <a:pt x="1648" y="588"/>
                    </a:lnTo>
                    <a:lnTo>
                      <a:pt x="1639" y="580"/>
                    </a:lnTo>
                    <a:lnTo>
                      <a:pt x="1632" y="570"/>
                    </a:lnTo>
                    <a:lnTo>
                      <a:pt x="1626" y="561"/>
                    </a:lnTo>
                    <a:lnTo>
                      <a:pt x="1621" y="551"/>
                    </a:lnTo>
                    <a:lnTo>
                      <a:pt x="1616" y="542"/>
                    </a:lnTo>
                    <a:lnTo>
                      <a:pt x="1611" y="532"/>
                    </a:lnTo>
                    <a:lnTo>
                      <a:pt x="1609" y="522"/>
                    </a:lnTo>
                    <a:lnTo>
                      <a:pt x="1606" y="512"/>
                    </a:lnTo>
                    <a:lnTo>
                      <a:pt x="1604" y="509"/>
                    </a:lnTo>
                    <a:lnTo>
                      <a:pt x="1602" y="507"/>
                    </a:lnTo>
                    <a:lnTo>
                      <a:pt x="1589" y="503"/>
                    </a:lnTo>
                    <a:lnTo>
                      <a:pt x="1575" y="498"/>
                    </a:lnTo>
                    <a:lnTo>
                      <a:pt x="1569" y="495"/>
                    </a:lnTo>
                    <a:lnTo>
                      <a:pt x="1563" y="491"/>
                    </a:lnTo>
                    <a:lnTo>
                      <a:pt x="1558" y="485"/>
                    </a:lnTo>
                    <a:lnTo>
                      <a:pt x="1555" y="479"/>
                    </a:lnTo>
                    <a:lnTo>
                      <a:pt x="1525" y="438"/>
                    </a:lnTo>
                    <a:lnTo>
                      <a:pt x="1525" y="438"/>
                    </a:lnTo>
                    <a:lnTo>
                      <a:pt x="1477" y="403"/>
                    </a:lnTo>
                    <a:lnTo>
                      <a:pt x="1464" y="391"/>
                    </a:lnTo>
                    <a:lnTo>
                      <a:pt x="1451" y="377"/>
                    </a:lnTo>
                    <a:lnTo>
                      <a:pt x="1447" y="369"/>
                    </a:lnTo>
                    <a:lnTo>
                      <a:pt x="1441" y="360"/>
                    </a:lnTo>
                    <a:lnTo>
                      <a:pt x="1437" y="352"/>
                    </a:lnTo>
                    <a:lnTo>
                      <a:pt x="1435" y="345"/>
                    </a:lnTo>
                    <a:lnTo>
                      <a:pt x="1431" y="330"/>
                    </a:lnTo>
                    <a:lnTo>
                      <a:pt x="1428" y="316"/>
                    </a:lnTo>
                    <a:lnTo>
                      <a:pt x="1424" y="303"/>
                    </a:lnTo>
                    <a:lnTo>
                      <a:pt x="1418" y="290"/>
                    </a:lnTo>
                    <a:lnTo>
                      <a:pt x="1408" y="290"/>
                    </a:lnTo>
                    <a:lnTo>
                      <a:pt x="1397" y="288"/>
                    </a:lnTo>
                    <a:lnTo>
                      <a:pt x="1388" y="288"/>
                    </a:lnTo>
                    <a:lnTo>
                      <a:pt x="1377" y="288"/>
                    </a:lnTo>
                    <a:lnTo>
                      <a:pt x="1371" y="288"/>
                    </a:lnTo>
                    <a:lnTo>
                      <a:pt x="1367" y="287"/>
                    </a:lnTo>
                    <a:lnTo>
                      <a:pt x="1363" y="286"/>
                    </a:lnTo>
                    <a:lnTo>
                      <a:pt x="1361" y="284"/>
                    </a:lnTo>
                    <a:lnTo>
                      <a:pt x="1358" y="281"/>
                    </a:lnTo>
                    <a:lnTo>
                      <a:pt x="1358" y="278"/>
                    </a:lnTo>
                    <a:lnTo>
                      <a:pt x="1357" y="273"/>
                    </a:lnTo>
                    <a:lnTo>
                      <a:pt x="1357" y="267"/>
                    </a:lnTo>
                    <a:lnTo>
                      <a:pt x="1356" y="258"/>
                    </a:lnTo>
                    <a:lnTo>
                      <a:pt x="1356" y="246"/>
                    </a:lnTo>
                    <a:lnTo>
                      <a:pt x="1355" y="241"/>
                    </a:lnTo>
                    <a:lnTo>
                      <a:pt x="1354" y="235"/>
                    </a:lnTo>
                    <a:lnTo>
                      <a:pt x="1353" y="232"/>
                    </a:lnTo>
                    <a:lnTo>
                      <a:pt x="1350" y="227"/>
                    </a:lnTo>
                    <a:lnTo>
                      <a:pt x="1349" y="224"/>
                    </a:lnTo>
                    <a:lnTo>
                      <a:pt x="1348" y="220"/>
                    </a:lnTo>
                    <a:lnTo>
                      <a:pt x="1346" y="217"/>
                    </a:lnTo>
                    <a:lnTo>
                      <a:pt x="1343" y="213"/>
                    </a:lnTo>
                    <a:lnTo>
                      <a:pt x="1336" y="207"/>
                    </a:lnTo>
                    <a:lnTo>
                      <a:pt x="1328" y="201"/>
                    </a:lnTo>
                    <a:lnTo>
                      <a:pt x="1319" y="198"/>
                    </a:lnTo>
                    <a:lnTo>
                      <a:pt x="1307" y="193"/>
                    </a:lnTo>
                    <a:lnTo>
                      <a:pt x="1295" y="189"/>
                    </a:lnTo>
                    <a:lnTo>
                      <a:pt x="1283" y="187"/>
                    </a:lnTo>
                    <a:lnTo>
                      <a:pt x="1257" y="181"/>
                    </a:lnTo>
                    <a:lnTo>
                      <a:pt x="1233" y="176"/>
                    </a:lnTo>
                    <a:lnTo>
                      <a:pt x="1222" y="173"/>
                    </a:lnTo>
                    <a:lnTo>
                      <a:pt x="1212" y="171"/>
                    </a:lnTo>
                    <a:lnTo>
                      <a:pt x="1203" y="167"/>
                    </a:lnTo>
                    <a:lnTo>
                      <a:pt x="1197" y="162"/>
                    </a:lnTo>
                    <a:lnTo>
                      <a:pt x="1173" y="160"/>
                    </a:lnTo>
                    <a:lnTo>
                      <a:pt x="1150" y="159"/>
                    </a:lnTo>
                    <a:lnTo>
                      <a:pt x="1128" y="161"/>
                    </a:lnTo>
                    <a:lnTo>
                      <a:pt x="1106" y="164"/>
                    </a:lnTo>
                    <a:lnTo>
                      <a:pt x="1085" y="168"/>
                    </a:lnTo>
                    <a:lnTo>
                      <a:pt x="1062" y="175"/>
                    </a:lnTo>
                    <a:lnTo>
                      <a:pt x="1040" y="182"/>
                    </a:lnTo>
                    <a:lnTo>
                      <a:pt x="1017" y="191"/>
                    </a:lnTo>
                    <a:lnTo>
                      <a:pt x="981" y="200"/>
                    </a:lnTo>
                    <a:lnTo>
                      <a:pt x="927" y="217"/>
                    </a:lnTo>
                    <a:lnTo>
                      <a:pt x="900" y="226"/>
                    </a:lnTo>
                    <a:lnTo>
                      <a:pt x="877" y="235"/>
                    </a:lnTo>
                    <a:lnTo>
                      <a:pt x="867" y="241"/>
                    </a:lnTo>
                    <a:lnTo>
                      <a:pt x="860" y="246"/>
                    </a:lnTo>
                    <a:lnTo>
                      <a:pt x="855" y="251"/>
                    </a:lnTo>
                    <a:lnTo>
                      <a:pt x="853" y="255"/>
                    </a:lnTo>
                    <a:lnTo>
                      <a:pt x="851" y="259"/>
                    </a:lnTo>
                    <a:lnTo>
                      <a:pt x="850" y="264"/>
                    </a:lnTo>
                    <a:lnTo>
                      <a:pt x="850" y="270"/>
                    </a:lnTo>
                    <a:lnTo>
                      <a:pt x="851" y="275"/>
                    </a:lnTo>
                    <a:lnTo>
                      <a:pt x="854" y="293"/>
                    </a:lnTo>
                    <a:lnTo>
                      <a:pt x="860" y="313"/>
                    </a:lnTo>
                    <a:lnTo>
                      <a:pt x="878" y="362"/>
                    </a:lnTo>
                    <a:lnTo>
                      <a:pt x="900" y="417"/>
                    </a:lnTo>
                    <a:lnTo>
                      <a:pt x="924" y="472"/>
                    </a:lnTo>
                    <a:lnTo>
                      <a:pt x="945" y="524"/>
                    </a:lnTo>
                    <a:lnTo>
                      <a:pt x="954" y="548"/>
                    </a:lnTo>
                    <a:lnTo>
                      <a:pt x="961" y="567"/>
                    </a:lnTo>
                    <a:lnTo>
                      <a:pt x="966" y="583"/>
                    </a:lnTo>
                    <a:lnTo>
                      <a:pt x="969" y="596"/>
                    </a:lnTo>
                    <a:lnTo>
                      <a:pt x="969" y="677"/>
                    </a:lnTo>
                    <a:lnTo>
                      <a:pt x="837" y="677"/>
                    </a:lnTo>
                    <a:lnTo>
                      <a:pt x="837" y="791"/>
                    </a:lnTo>
                    <a:lnTo>
                      <a:pt x="836" y="796"/>
                    </a:lnTo>
                    <a:lnTo>
                      <a:pt x="833" y="802"/>
                    </a:lnTo>
                    <a:lnTo>
                      <a:pt x="830" y="809"/>
                    </a:lnTo>
                    <a:lnTo>
                      <a:pt x="826" y="818"/>
                    </a:lnTo>
                    <a:lnTo>
                      <a:pt x="817" y="834"/>
                    </a:lnTo>
                    <a:lnTo>
                      <a:pt x="805" y="851"/>
                    </a:lnTo>
                    <a:lnTo>
                      <a:pt x="793" y="867"/>
                    </a:lnTo>
                    <a:lnTo>
                      <a:pt x="780" y="881"/>
                    </a:lnTo>
                    <a:lnTo>
                      <a:pt x="769" y="894"/>
                    </a:lnTo>
                    <a:lnTo>
                      <a:pt x="759" y="904"/>
                    </a:lnTo>
                    <a:lnTo>
                      <a:pt x="750" y="911"/>
                    </a:lnTo>
                    <a:lnTo>
                      <a:pt x="743" y="919"/>
                    </a:lnTo>
                    <a:lnTo>
                      <a:pt x="738" y="925"/>
                    </a:lnTo>
                    <a:lnTo>
                      <a:pt x="736" y="931"/>
                    </a:lnTo>
                    <a:lnTo>
                      <a:pt x="733" y="937"/>
                    </a:lnTo>
                    <a:lnTo>
                      <a:pt x="733" y="943"/>
                    </a:lnTo>
                    <a:lnTo>
                      <a:pt x="734" y="947"/>
                    </a:lnTo>
                    <a:lnTo>
                      <a:pt x="737" y="953"/>
                    </a:lnTo>
                    <a:lnTo>
                      <a:pt x="741" y="963"/>
                    </a:lnTo>
                    <a:lnTo>
                      <a:pt x="745" y="973"/>
                    </a:lnTo>
                    <a:lnTo>
                      <a:pt x="746" y="980"/>
                    </a:lnTo>
                    <a:lnTo>
                      <a:pt x="747" y="986"/>
                    </a:lnTo>
                    <a:lnTo>
                      <a:pt x="746" y="993"/>
                    </a:lnTo>
                    <a:lnTo>
                      <a:pt x="744" y="1002"/>
                    </a:lnTo>
                    <a:lnTo>
                      <a:pt x="734" y="1006"/>
                    </a:lnTo>
                    <a:lnTo>
                      <a:pt x="722" y="1012"/>
                    </a:lnTo>
                    <a:lnTo>
                      <a:pt x="709" y="1017"/>
                    </a:lnTo>
                    <a:lnTo>
                      <a:pt x="694" y="1022"/>
                    </a:lnTo>
                    <a:lnTo>
                      <a:pt x="680" y="1025"/>
                    </a:lnTo>
                    <a:lnTo>
                      <a:pt x="666" y="1029"/>
                    </a:lnTo>
                    <a:lnTo>
                      <a:pt x="653" y="1031"/>
                    </a:lnTo>
                    <a:lnTo>
                      <a:pt x="642" y="1031"/>
                    </a:lnTo>
                    <a:lnTo>
                      <a:pt x="627" y="1032"/>
                    </a:lnTo>
                    <a:lnTo>
                      <a:pt x="613" y="1035"/>
                    </a:lnTo>
                    <a:lnTo>
                      <a:pt x="599" y="1038"/>
                    </a:lnTo>
                    <a:lnTo>
                      <a:pt x="585" y="1043"/>
                    </a:lnTo>
                    <a:lnTo>
                      <a:pt x="571" y="1048"/>
                    </a:lnTo>
                    <a:lnTo>
                      <a:pt x="556" y="1052"/>
                    </a:lnTo>
                    <a:lnTo>
                      <a:pt x="542" y="1056"/>
                    </a:lnTo>
                    <a:lnTo>
                      <a:pt x="528" y="1059"/>
                    </a:lnTo>
                    <a:lnTo>
                      <a:pt x="518" y="1060"/>
                    </a:lnTo>
                    <a:lnTo>
                      <a:pt x="510" y="1064"/>
                    </a:lnTo>
                    <a:lnTo>
                      <a:pt x="502" y="1068"/>
                    </a:lnTo>
                    <a:lnTo>
                      <a:pt x="496" y="1072"/>
                    </a:lnTo>
                    <a:lnTo>
                      <a:pt x="491" y="1079"/>
                    </a:lnTo>
                    <a:lnTo>
                      <a:pt x="486" y="1085"/>
                    </a:lnTo>
                    <a:lnTo>
                      <a:pt x="482" y="1093"/>
                    </a:lnTo>
                    <a:lnTo>
                      <a:pt x="478" y="1102"/>
                    </a:lnTo>
                    <a:lnTo>
                      <a:pt x="474" y="1115"/>
                    </a:lnTo>
                    <a:lnTo>
                      <a:pt x="470" y="1125"/>
                    </a:lnTo>
                    <a:lnTo>
                      <a:pt x="465" y="1135"/>
                    </a:lnTo>
                    <a:lnTo>
                      <a:pt x="461" y="1142"/>
                    </a:lnTo>
                    <a:lnTo>
                      <a:pt x="458" y="1145"/>
                    </a:lnTo>
                    <a:lnTo>
                      <a:pt x="455" y="1148"/>
                    </a:lnTo>
                    <a:lnTo>
                      <a:pt x="451" y="1150"/>
                    </a:lnTo>
                    <a:lnTo>
                      <a:pt x="447" y="1152"/>
                    </a:lnTo>
                    <a:lnTo>
                      <a:pt x="442" y="1154"/>
                    </a:lnTo>
                    <a:lnTo>
                      <a:pt x="436" y="1155"/>
                    </a:lnTo>
                    <a:lnTo>
                      <a:pt x="430" y="1155"/>
                    </a:lnTo>
                    <a:lnTo>
                      <a:pt x="423" y="1155"/>
                    </a:lnTo>
                    <a:lnTo>
                      <a:pt x="300" y="1150"/>
                    </a:lnTo>
                    <a:lnTo>
                      <a:pt x="177" y="1287"/>
                    </a:lnTo>
                    <a:lnTo>
                      <a:pt x="108" y="1286"/>
                    </a:lnTo>
                    <a:lnTo>
                      <a:pt x="108" y="1286"/>
                    </a:lnTo>
                    <a:lnTo>
                      <a:pt x="109" y="1453"/>
                    </a:lnTo>
                    <a:lnTo>
                      <a:pt x="87" y="1478"/>
                    </a:lnTo>
                    <a:lnTo>
                      <a:pt x="60" y="1504"/>
                    </a:lnTo>
                    <a:lnTo>
                      <a:pt x="47" y="1517"/>
                    </a:lnTo>
                    <a:lnTo>
                      <a:pt x="34" y="1530"/>
                    </a:lnTo>
                    <a:lnTo>
                      <a:pt x="22" y="1543"/>
                    </a:lnTo>
                    <a:lnTo>
                      <a:pt x="13" y="1554"/>
                    </a:lnTo>
                    <a:lnTo>
                      <a:pt x="7" y="1564"/>
                    </a:lnTo>
                    <a:lnTo>
                      <a:pt x="3" y="1573"/>
                    </a:lnTo>
                    <a:lnTo>
                      <a:pt x="1" y="1581"/>
                    </a:lnTo>
                    <a:lnTo>
                      <a:pt x="0" y="1591"/>
                    </a:lnTo>
                    <a:lnTo>
                      <a:pt x="1" y="1600"/>
                    </a:lnTo>
                    <a:lnTo>
                      <a:pt x="3" y="1609"/>
                    </a:lnTo>
                    <a:lnTo>
                      <a:pt x="7" y="1618"/>
                    </a:lnTo>
                    <a:lnTo>
                      <a:pt x="12" y="1629"/>
                    </a:lnTo>
                    <a:lnTo>
                      <a:pt x="19" y="1639"/>
                    </a:lnTo>
                    <a:lnTo>
                      <a:pt x="22" y="1650"/>
                    </a:lnTo>
                    <a:lnTo>
                      <a:pt x="25" y="1656"/>
                    </a:lnTo>
                    <a:lnTo>
                      <a:pt x="25" y="1662"/>
                    </a:lnTo>
                    <a:lnTo>
                      <a:pt x="23" y="1667"/>
                    </a:lnTo>
                    <a:lnTo>
                      <a:pt x="21" y="1675"/>
                    </a:lnTo>
                    <a:lnTo>
                      <a:pt x="20" y="1678"/>
                    </a:lnTo>
                    <a:lnTo>
                      <a:pt x="18" y="1682"/>
                    </a:lnTo>
                    <a:lnTo>
                      <a:pt x="15" y="2223"/>
                    </a:lnTo>
                    <a:lnTo>
                      <a:pt x="15" y="2223"/>
                    </a:lnTo>
                    <a:lnTo>
                      <a:pt x="561" y="2207"/>
                    </a:lnTo>
                    <a:lnTo>
                      <a:pt x="562" y="2430"/>
                    </a:lnTo>
                    <a:lnTo>
                      <a:pt x="562" y="2430"/>
                    </a:lnTo>
                    <a:lnTo>
                      <a:pt x="684" y="2430"/>
                    </a:lnTo>
                    <a:lnTo>
                      <a:pt x="2079" y="1689"/>
                    </a:lnTo>
                    <a:lnTo>
                      <a:pt x="2079" y="1689"/>
                    </a:lnTo>
                    <a:lnTo>
                      <a:pt x="2839" y="1280"/>
                    </a:lnTo>
                    <a:lnTo>
                      <a:pt x="2865" y="872"/>
                    </a:lnTo>
                    <a:lnTo>
                      <a:pt x="2808" y="816"/>
                    </a:lnTo>
                    <a:lnTo>
                      <a:pt x="2808" y="816"/>
                    </a:lnTo>
                    <a:lnTo>
                      <a:pt x="2802" y="814"/>
                    </a:lnTo>
                    <a:lnTo>
                      <a:pt x="2797" y="809"/>
                    </a:lnTo>
                    <a:lnTo>
                      <a:pt x="2793" y="804"/>
                    </a:lnTo>
                    <a:lnTo>
                      <a:pt x="2791" y="796"/>
                    </a:lnTo>
                    <a:lnTo>
                      <a:pt x="2788" y="779"/>
                    </a:lnTo>
                    <a:lnTo>
                      <a:pt x="2786" y="760"/>
                    </a:lnTo>
                    <a:lnTo>
                      <a:pt x="2784" y="740"/>
                    </a:lnTo>
                    <a:lnTo>
                      <a:pt x="2782" y="720"/>
                    </a:lnTo>
                    <a:lnTo>
                      <a:pt x="2779" y="712"/>
                    </a:lnTo>
                    <a:lnTo>
                      <a:pt x="2776" y="705"/>
                    </a:lnTo>
                    <a:lnTo>
                      <a:pt x="2772" y="697"/>
                    </a:lnTo>
                    <a:lnTo>
                      <a:pt x="2768" y="692"/>
                    </a:lnTo>
                    <a:lnTo>
                      <a:pt x="2759" y="684"/>
                    </a:lnTo>
                    <a:lnTo>
                      <a:pt x="2755" y="677"/>
                    </a:lnTo>
                    <a:lnTo>
                      <a:pt x="2754" y="675"/>
                    </a:lnTo>
                    <a:lnTo>
                      <a:pt x="2754" y="672"/>
                    </a:lnTo>
                    <a:lnTo>
                      <a:pt x="2754" y="669"/>
                    </a:lnTo>
                    <a:lnTo>
                      <a:pt x="2755" y="666"/>
                    </a:lnTo>
                    <a:lnTo>
                      <a:pt x="2758" y="661"/>
                    </a:lnTo>
                    <a:lnTo>
                      <a:pt x="2763" y="656"/>
                    </a:lnTo>
                    <a:lnTo>
                      <a:pt x="2770" y="651"/>
                    </a:lnTo>
                    <a:lnTo>
                      <a:pt x="2777" y="648"/>
                    </a:lnTo>
                    <a:lnTo>
                      <a:pt x="2793" y="641"/>
                    </a:lnTo>
                    <a:lnTo>
                      <a:pt x="2809" y="634"/>
                    </a:lnTo>
                    <a:lnTo>
                      <a:pt x="2816" y="630"/>
                    </a:lnTo>
                    <a:lnTo>
                      <a:pt x="2821" y="627"/>
                    </a:lnTo>
                    <a:lnTo>
                      <a:pt x="2823" y="623"/>
                    </a:lnTo>
                    <a:lnTo>
                      <a:pt x="2823" y="620"/>
                    </a:lnTo>
                    <a:lnTo>
                      <a:pt x="2821" y="611"/>
                    </a:lnTo>
                    <a:lnTo>
                      <a:pt x="2816" y="601"/>
                    </a:lnTo>
                    <a:lnTo>
                      <a:pt x="2811" y="590"/>
                    </a:lnTo>
                    <a:lnTo>
                      <a:pt x="2806" y="584"/>
                    </a:lnTo>
                    <a:lnTo>
                      <a:pt x="2804" y="597"/>
                    </a:lnTo>
                    <a:lnTo>
                      <a:pt x="2802" y="607"/>
                    </a:lnTo>
                    <a:lnTo>
                      <a:pt x="2799" y="613"/>
                    </a:lnTo>
                    <a:lnTo>
                      <a:pt x="2797" y="616"/>
                    </a:lnTo>
                    <a:lnTo>
                      <a:pt x="2793" y="618"/>
                    </a:lnTo>
                    <a:lnTo>
                      <a:pt x="2788" y="620"/>
                    </a:lnTo>
                    <a:lnTo>
                      <a:pt x="2779" y="620"/>
                    </a:lnTo>
                    <a:lnTo>
                      <a:pt x="2768" y="621"/>
                    </a:lnTo>
                    <a:lnTo>
                      <a:pt x="2758" y="622"/>
                    </a:lnTo>
                    <a:lnTo>
                      <a:pt x="2750" y="624"/>
                    </a:lnTo>
                    <a:lnTo>
                      <a:pt x="2741" y="629"/>
                    </a:lnTo>
                    <a:lnTo>
                      <a:pt x="2731" y="634"/>
                    </a:lnTo>
                    <a:lnTo>
                      <a:pt x="2714" y="647"/>
                    </a:lnTo>
                    <a:lnTo>
                      <a:pt x="2696" y="662"/>
                    </a:lnTo>
                    <a:lnTo>
                      <a:pt x="2678" y="676"/>
                    </a:lnTo>
                    <a:lnTo>
                      <a:pt x="2661" y="689"/>
                    </a:lnTo>
                    <a:lnTo>
                      <a:pt x="2651" y="694"/>
                    </a:lnTo>
                    <a:lnTo>
                      <a:pt x="2643" y="699"/>
                    </a:lnTo>
                    <a:lnTo>
                      <a:pt x="2635" y="700"/>
                    </a:lnTo>
                    <a:lnTo>
                      <a:pt x="2625" y="701"/>
                    </a:lnTo>
                    <a:lnTo>
                      <a:pt x="2614" y="699"/>
                    </a:lnTo>
                    <a:lnTo>
                      <a:pt x="2610" y="700"/>
                    </a:lnTo>
                    <a:lnTo>
                      <a:pt x="2610" y="707"/>
                    </a:lnTo>
                    <a:lnTo>
                      <a:pt x="2605" y="728"/>
                    </a:lnTo>
                    <a:lnTo>
                      <a:pt x="2605" y="730"/>
                    </a:lnTo>
                    <a:lnTo>
                      <a:pt x="2605" y="733"/>
                    </a:lnTo>
                    <a:lnTo>
                      <a:pt x="2608" y="736"/>
                    </a:lnTo>
                    <a:lnTo>
                      <a:pt x="2610" y="739"/>
                    </a:lnTo>
                    <a:lnTo>
                      <a:pt x="2617" y="742"/>
                    </a:lnTo>
                    <a:lnTo>
                      <a:pt x="2627" y="746"/>
                    </a:lnTo>
                    <a:lnTo>
                      <a:pt x="2647" y="750"/>
                    </a:lnTo>
                    <a:lnTo>
                      <a:pt x="2661" y="754"/>
                    </a:lnTo>
                    <a:lnTo>
                      <a:pt x="2669" y="758"/>
                    </a:lnTo>
                    <a:lnTo>
                      <a:pt x="2674" y="761"/>
                    </a:lnTo>
                    <a:lnTo>
                      <a:pt x="2677" y="763"/>
                    </a:lnTo>
                    <a:lnTo>
                      <a:pt x="2678" y="766"/>
                    </a:lnTo>
                    <a:lnTo>
                      <a:pt x="2678" y="768"/>
                    </a:lnTo>
                    <a:lnTo>
                      <a:pt x="2676" y="771"/>
                    </a:lnTo>
                    <a:lnTo>
                      <a:pt x="2674" y="772"/>
                    </a:lnTo>
                    <a:lnTo>
                      <a:pt x="2670" y="773"/>
                    </a:lnTo>
                    <a:lnTo>
                      <a:pt x="2649" y="778"/>
                    </a:lnTo>
                    <a:lnTo>
                      <a:pt x="2628" y="781"/>
                    </a:lnTo>
                    <a:lnTo>
                      <a:pt x="2622" y="780"/>
                    </a:lnTo>
                    <a:lnTo>
                      <a:pt x="2614" y="776"/>
                    </a:lnTo>
                    <a:lnTo>
                      <a:pt x="2603" y="772"/>
                    </a:lnTo>
                    <a:lnTo>
                      <a:pt x="2591" y="765"/>
                    </a:lnTo>
                    <a:lnTo>
                      <a:pt x="2582" y="758"/>
                    </a:lnTo>
                    <a:lnTo>
                      <a:pt x="2574" y="749"/>
                    </a:lnTo>
                    <a:lnTo>
                      <a:pt x="2571" y="746"/>
                    </a:lnTo>
                    <a:lnTo>
                      <a:pt x="2570" y="742"/>
                    </a:lnTo>
                    <a:lnTo>
                      <a:pt x="2569" y="739"/>
                    </a:lnTo>
                    <a:lnTo>
                      <a:pt x="2570" y="735"/>
                    </a:lnTo>
                    <a:lnTo>
                      <a:pt x="2575" y="726"/>
                    </a:lnTo>
                    <a:lnTo>
                      <a:pt x="2578" y="716"/>
                    </a:lnTo>
                    <a:lnTo>
                      <a:pt x="2580" y="707"/>
                    </a:lnTo>
                    <a:lnTo>
                      <a:pt x="2581" y="697"/>
                    </a:lnTo>
                    <a:lnTo>
                      <a:pt x="2581" y="688"/>
                    </a:lnTo>
                    <a:lnTo>
                      <a:pt x="2580" y="679"/>
                    </a:lnTo>
                    <a:lnTo>
                      <a:pt x="2577" y="670"/>
                    </a:lnTo>
                    <a:lnTo>
                      <a:pt x="2574" y="662"/>
                    </a:lnTo>
                    <a:lnTo>
                      <a:pt x="2569" y="655"/>
                    </a:lnTo>
                    <a:lnTo>
                      <a:pt x="2564" y="649"/>
                    </a:lnTo>
                    <a:lnTo>
                      <a:pt x="2557" y="643"/>
                    </a:lnTo>
                    <a:lnTo>
                      <a:pt x="2549" y="640"/>
                    </a:lnTo>
                    <a:lnTo>
                      <a:pt x="2541" y="637"/>
                    </a:lnTo>
                    <a:lnTo>
                      <a:pt x="2530" y="636"/>
                    </a:lnTo>
                    <a:lnTo>
                      <a:pt x="2520" y="637"/>
                    </a:lnTo>
                    <a:lnTo>
                      <a:pt x="2507" y="641"/>
                    </a:lnTo>
                    <a:lnTo>
                      <a:pt x="2502" y="642"/>
                    </a:lnTo>
                    <a:lnTo>
                      <a:pt x="2500" y="641"/>
                    </a:lnTo>
                    <a:lnTo>
                      <a:pt x="2501" y="639"/>
                    </a:lnTo>
                    <a:lnTo>
                      <a:pt x="2503" y="636"/>
                    </a:lnTo>
                    <a:lnTo>
                      <a:pt x="2508" y="633"/>
                    </a:lnTo>
                    <a:lnTo>
                      <a:pt x="2513" y="629"/>
                    </a:lnTo>
                    <a:lnTo>
                      <a:pt x="2518" y="628"/>
                    </a:lnTo>
                    <a:lnTo>
                      <a:pt x="2526" y="627"/>
                    </a:lnTo>
                    <a:lnTo>
                      <a:pt x="2536" y="627"/>
                    </a:lnTo>
                    <a:lnTo>
                      <a:pt x="2547" y="626"/>
                    </a:lnTo>
                    <a:lnTo>
                      <a:pt x="2557" y="624"/>
                    </a:lnTo>
                    <a:lnTo>
                      <a:pt x="2567" y="623"/>
                    </a:lnTo>
                    <a:lnTo>
                      <a:pt x="2569" y="623"/>
                    </a:lnTo>
                    <a:lnTo>
                      <a:pt x="2573" y="626"/>
                    </a:lnTo>
                    <a:lnTo>
                      <a:pt x="2576" y="628"/>
                    </a:lnTo>
                    <a:lnTo>
                      <a:pt x="2580" y="633"/>
                    </a:lnTo>
                    <a:lnTo>
                      <a:pt x="2589" y="643"/>
                    </a:lnTo>
                    <a:lnTo>
                      <a:pt x="2598" y="656"/>
                    </a:lnTo>
                    <a:lnTo>
                      <a:pt x="2603" y="661"/>
                    </a:lnTo>
                    <a:lnTo>
                      <a:pt x="2608" y="666"/>
                    </a:lnTo>
                    <a:lnTo>
                      <a:pt x="2612" y="670"/>
                    </a:lnTo>
                    <a:lnTo>
                      <a:pt x="2617" y="673"/>
                    </a:lnTo>
                    <a:lnTo>
                      <a:pt x="2622" y="674"/>
                    </a:lnTo>
                    <a:lnTo>
                      <a:pt x="2627" y="673"/>
                    </a:lnTo>
                    <a:lnTo>
                      <a:pt x="2630" y="670"/>
                    </a:lnTo>
                    <a:lnTo>
                      <a:pt x="2634" y="664"/>
                    </a:lnTo>
                    <a:lnTo>
                      <a:pt x="2637" y="656"/>
                    </a:lnTo>
                    <a:lnTo>
                      <a:pt x="2640" y="649"/>
                    </a:lnTo>
                    <a:lnTo>
                      <a:pt x="2640" y="643"/>
                    </a:lnTo>
                    <a:lnTo>
                      <a:pt x="2640" y="637"/>
                    </a:lnTo>
                    <a:lnTo>
                      <a:pt x="2637" y="634"/>
                    </a:lnTo>
                    <a:lnTo>
                      <a:pt x="2635" y="630"/>
                    </a:lnTo>
                    <a:lnTo>
                      <a:pt x="2630" y="627"/>
                    </a:lnTo>
                    <a:lnTo>
                      <a:pt x="2627" y="623"/>
                    </a:lnTo>
                    <a:lnTo>
                      <a:pt x="2615" y="618"/>
                    </a:lnTo>
                    <a:lnTo>
                      <a:pt x="2603" y="614"/>
                    </a:lnTo>
                    <a:lnTo>
                      <a:pt x="2590" y="608"/>
                    </a:lnTo>
                    <a:lnTo>
                      <a:pt x="2577" y="600"/>
                    </a:lnTo>
                    <a:lnTo>
                      <a:pt x="2585" y="598"/>
                    </a:lnTo>
                    <a:lnTo>
                      <a:pt x="2593" y="598"/>
                    </a:lnTo>
                    <a:lnTo>
                      <a:pt x="2600" y="598"/>
                    </a:lnTo>
                    <a:lnTo>
                      <a:pt x="2608" y="598"/>
                    </a:lnTo>
                    <a:lnTo>
                      <a:pt x="2623" y="601"/>
                    </a:lnTo>
                    <a:lnTo>
                      <a:pt x="2637" y="602"/>
                    </a:lnTo>
                    <a:lnTo>
                      <a:pt x="2644" y="602"/>
                    </a:lnTo>
                    <a:lnTo>
                      <a:pt x="2650" y="602"/>
                    </a:lnTo>
                    <a:lnTo>
                      <a:pt x="2656" y="601"/>
                    </a:lnTo>
                    <a:lnTo>
                      <a:pt x="2662" y="598"/>
                    </a:lnTo>
                    <a:lnTo>
                      <a:pt x="2667" y="595"/>
                    </a:lnTo>
                    <a:lnTo>
                      <a:pt x="2671" y="590"/>
                    </a:lnTo>
                    <a:lnTo>
                      <a:pt x="2675" y="583"/>
                    </a:lnTo>
                    <a:lnTo>
                      <a:pt x="2677" y="575"/>
                    </a:lnTo>
                    <a:lnTo>
                      <a:pt x="2678" y="564"/>
                    </a:lnTo>
                    <a:lnTo>
                      <a:pt x="2678" y="547"/>
                    </a:lnTo>
                    <a:lnTo>
                      <a:pt x="2678" y="527"/>
                    </a:lnTo>
                    <a:lnTo>
                      <a:pt x="2677" y="505"/>
                    </a:lnTo>
                    <a:lnTo>
                      <a:pt x="2676" y="496"/>
                    </a:lnTo>
                    <a:lnTo>
                      <a:pt x="2675" y="488"/>
                    </a:lnTo>
                    <a:lnTo>
                      <a:pt x="2672" y="482"/>
                    </a:lnTo>
                    <a:lnTo>
                      <a:pt x="2671" y="477"/>
                    </a:lnTo>
                    <a:lnTo>
                      <a:pt x="2670" y="476"/>
                    </a:lnTo>
                    <a:lnTo>
                      <a:pt x="2669" y="475"/>
                    </a:lnTo>
                    <a:lnTo>
                      <a:pt x="2668" y="475"/>
                    </a:lnTo>
                    <a:lnTo>
                      <a:pt x="2665" y="476"/>
                    </a:lnTo>
                    <a:lnTo>
                      <a:pt x="2663" y="479"/>
                    </a:lnTo>
                    <a:lnTo>
                      <a:pt x="2660" y="488"/>
                    </a:lnTo>
                    <a:lnTo>
                      <a:pt x="2654" y="501"/>
                    </a:lnTo>
                    <a:lnTo>
                      <a:pt x="2647" y="514"/>
                    </a:lnTo>
                    <a:lnTo>
                      <a:pt x="2637" y="524"/>
                    </a:lnTo>
                    <a:lnTo>
                      <a:pt x="2627" y="536"/>
                    </a:lnTo>
                    <a:lnTo>
                      <a:pt x="2615" y="545"/>
                    </a:lnTo>
                    <a:lnTo>
                      <a:pt x="2602" y="554"/>
                    </a:lnTo>
                    <a:lnTo>
                      <a:pt x="2589" y="561"/>
                    </a:lnTo>
                    <a:lnTo>
                      <a:pt x="2575" y="567"/>
                    </a:lnTo>
                    <a:lnTo>
                      <a:pt x="2560" y="571"/>
                    </a:lnTo>
                    <a:lnTo>
                      <a:pt x="2546" y="574"/>
                    </a:lnTo>
                    <a:lnTo>
                      <a:pt x="2530" y="575"/>
                    </a:lnTo>
                    <a:lnTo>
                      <a:pt x="2515" y="574"/>
                    </a:lnTo>
                    <a:lnTo>
                      <a:pt x="2500" y="571"/>
                    </a:lnTo>
                    <a:lnTo>
                      <a:pt x="2486" y="567"/>
                    </a:lnTo>
                    <a:lnTo>
                      <a:pt x="2471" y="560"/>
                    </a:lnTo>
                    <a:lnTo>
                      <a:pt x="2459" y="550"/>
                    </a:lnTo>
                    <a:lnTo>
                      <a:pt x="2453" y="544"/>
                    </a:lnTo>
                    <a:lnTo>
                      <a:pt x="2448" y="537"/>
                    </a:lnTo>
                    <a:lnTo>
                      <a:pt x="2443" y="529"/>
                    </a:lnTo>
                    <a:lnTo>
                      <a:pt x="2440" y="521"/>
                    </a:lnTo>
                    <a:lnTo>
                      <a:pt x="2435" y="514"/>
                    </a:lnTo>
                    <a:lnTo>
                      <a:pt x="2430" y="505"/>
                    </a:lnTo>
                    <a:lnTo>
                      <a:pt x="2423" y="498"/>
                    </a:lnTo>
                    <a:lnTo>
                      <a:pt x="2414" y="491"/>
                    </a:lnTo>
                    <a:lnTo>
                      <a:pt x="2399" y="483"/>
                    </a:lnTo>
                    <a:lnTo>
                      <a:pt x="2386" y="474"/>
                    </a:lnTo>
                    <a:lnTo>
                      <a:pt x="2374" y="465"/>
                    </a:lnTo>
                    <a:lnTo>
                      <a:pt x="2365" y="457"/>
                    </a:lnTo>
                    <a:lnTo>
                      <a:pt x="2357" y="448"/>
                    </a:lnTo>
                    <a:lnTo>
                      <a:pt x="2350" y="439"/>
                    </a:lnTo>
                    <a:lnTo>
                      <a:pt x="2345" y="430"/>
                    </a:lnTo>
                    <a:lnTo>
                      <a:pt x="2340" y="420"/>
                    </a:lnTo>
                    <a:lnTo>
                      <a:pt x="2326" y="379"/>
                    </a:lnTo>
                    <a:lnTo>
                      <a:pt x="2308" y="327"/>
                    </a:lnTo>
                    <a:lnTo>
                      <a:pt x="2306" y="325"/>
                    </a:lnTo>
                    <a:lnTo>
                      <a:pt x="2303" y="321"/>
                    </a:lnTo>
                    <a:lnTo>
                      <a:pt x="2299" y="320"/>
                    </a:lnTo>
                    <a:lnTo>
                      <a:pt x="2293" y="318"/>
                    </a:lnTo>
                    <a:lnTo>
                      <a:pt x="2281" y="316"/>
                    </a:lnTo>
                    <a:lnTo>
                      <a:pt x="2268" y="316"/>
                    </a:lnTo>
                    <a:lnTo>
                      <a:pt x="2262" y="317"/>
                    </a:lnTo>
                    <a:lnTo>
                      <a:pt x="2256" y="318"/>
                    </a:lnTo>
                    <a:lnTo>
                      <a:pt x="2252" y="320"/>
                    </a:lnTo>
                    <a:lnTo>
                      <a:pt x="2248" y="324"/>
                    </a:lnTo>
                    <a:lnTo>
                      <a:pt x="2245" y="327"/>
                    </a:lnTo>
                    <a:lnTo>
                      <a:pt x="2243" y="332"/>
                    </a:lnTo>
                    <a:lnTo>
                      <a:pt x="2245" y="337"/>
                    </a:lnTo>
                    <a:lnTo>
                      <a:pt x="2247" y="344"/>
                    </a:lnTo>
                    <a:lnTo>
                      <a:pt x="2251" y="357"/>
                    </a:lnTo>
                    <a:lnTo>
                      <a:pt x="2253" y="371"/>
                    </a:lnTo>
                    <a:lnTo>
                      <a:pt x="2255" y="379"/>
                    </a:lnTo>
                    <a:lnTo>
                      <a:pt x="2256" y="385"/>
                    </a:lnTo>
                    <a:lnTo>
                      <a:pt x="2260" y="391"/>
                    </a:lnTo>
                    <a:lnTo>
                      <a:pt x="2263" y="396"/>
                    </a:lnTo>
                    <a:lnTo>
                      <a:pt x="2270" y="403"/>
                    </a:lnTo>
                    <a:lnTo>
                      <a:pt x="2274" y="409"/>
                    </a:lnTo>
                    <a:lnTo>
                      <a:pt x="2275" y="415"/>
                    </a:lnTo>
                    <a:lnTo>
                      <a:pt x="2273" y="419"/>
                    </a:lnTo>
                    <a:lnTo>
                      <a:pt x="2266" y="431"/>
                    </a:lnTo>
                    <a:lnTo>
                      <a:pt x="2254" y="444"/>
                    </a:lnTo>
                    <a:lnTo>
                      <a:pt x="2246" y="458"/>
                    </a:lnTo>
                    <a:lnTo>
                      <a:pt x="2234" y="479"/>
                    </a:lnTo>
                    <a:lnTo>
                      <a:pt x="2228" y="489"/>
                    </a:lnTo>
                    <a:lnTo>
                      <a:pt x="2222" y="498"/>
                    </a:lnTo>
                    <a:lnTo>
                      <a:pt x="2216" y="504"/>
                    </a:lnTo>
                    <a:lnTo>
                      <a:pt x="2212" y="508"/>
                    </a:lnTo>
                    <a:lnTo>
                      <a:pt x="2212" y="508"/>
                    </a:lnTo>
                    <a:close/>
                    <a:moveTo>
                      <a:pt x="3275" y="552"/>
                    </a:moveTo>
                    <a:lnTo>
                      <a:pt x="3279" y="554"/>
                    </a:lnTo>
                    <a:lnTo>
                      <a:pt x="3284" y="556"/>
                    </a:lnTo>
                    <a:lnTo>
                      <a:pt x="3298" y="562"/>
                    </a:lnTo>
                    <a:lnTo>
                      <a:pt x="3308" y="569"/>
                    </a:lnTo>
                    <a:lnTo>
                      <a:pt x="3314" y="573"/>
                    </a:lnTo>
                    <a:lnTo>
                      <a:pt x="3320" y="575"/>
                    </a:lnTo>
                    <a:lnTo>
                      <a:pt x="3328" y="578"/>
                    </a:lnTo>
                    <a:lnTo>
                      <a:pt x="3339" y="580"/>
                    </a:lnTo>
                    <a:lnTo>
                      <a:pt x="3349" y="582"/>
                    </a:lnTo>
                    <a:lnTo>
                      <a:pt x="3359" y="585"/>
                    </a:lnTo>
                    <a:lnTo>
                      <a:pt x="3367" y="589"/>
                    </a:lnTo>
                    <a:lnTo>
                      <a:pt x="3374" y="593"/>
                    </a:lnTo>
                    <a:lnTo>
                      <a:pt x="3389" y="603"/>
                    </a:lnTo>
                    <a:lnTo>
                      <a:pt x="3407" y="613"/>
                    </a:lnTo>
                    <a:lnTo>
                      <a:pt x="3415" y="620"/>
                    </a:lnTo>
                    <a:lnTo>
                      <a:pt x="3425" y="628"/>
                    </a:lnTo>
                    <a:lnTo>
                      <a:pt x="3429" y="633"/>
                    </a:lnTo>
                    <a:lnTo>
                      <a:pt x="3433" y="637"/>
                    </a:lnTo>
                    <a:lnTo>
                      <a:pt x="3435" y="642"/>
                    </a:lnTo>
                    <a:lnTo>
                      <a:pt x="3435" y="647"/>
                    </a:lnTo>
                    <a:lnTo>
                      <a:pt x="3423" y="644"/>
                    </a:lnTo>
                    <a:lnTo>
                      <a:pt x="3410" y="642"/>
                    </a:lnTo>
                    <a:lnTo>
                      <a:pt x="3405" y="642"/>
                    </a:lnTo>
                    <a:lnTo>
                      <a:pt x="3399" y="643"/>
                    </a:lnTo>
                    <a:lnTo>
                      <a:pt x="3396" y="644"/>
                    </a:lnTo>
                    <a:lnTo>
                      <a:pt x="3394" y="647"/>
                    </a:lnTo>
                    <a:lnTo>
                      <a:pt x="3392" y="650"/>
                    </a:lnTo>
                    <a:lnTo>
                      <a:pt x="3389" y="654"/>
                    </a:lnTo>
                    <a:lnTo>
                      <a:pt x="3386" y="661"/>
                    </a:lnTo>
                    <a:lnTo>
                      <a:pt x="3385" y="668"/>
                    </a:lnTo>
                    <a:lnTo>
                      <a:pt x="3386" y="674"/>
                    </a:lnTo>
                    <a:lnTo>
                      <a:pt x="3388" y="679"/>
                    </a:lnTo>
                    <a:lnTo>
                      <a:pt x="3391" y="681"/>
                    </a:lnTo>
                    <a:lnTo>
                      <a:pt x="3392" y="682"/>
                    </a:lnTo>
                    <a:lnTo>
                      <a:pt x="3394" y="683"/>
                    </a:lnTo>
                    <a:lnTo>
                      <a:pt x="3398" y="683"/>
                    </a:lnTo>
                    <a:lnTo>
                      <a:pt x="3403" y="682"/>
                    </a:lnTo>
                    <a:lnTo>
                      <a:pt x="3412" y="679"/>
                    </a:lnTo>
                    <a:lnTo>
                      <a:pt x="3420" y="672"/>
                    </a:lnTo>
                    <a:lnTo>
                      <a:pt x="3429" y="663"/>
                    </a:lnTo>
                    <a:lnTo>
                      <a:pt x="3438" y="654"/>
                    </a:lnTo>
                    <a:lnTo>
                      <a:pt x="3447" y="648"/>
                    </a:lnTo>
                    <a:lnTo>
                      <a:pt x="3452" y="647"/>
                    </a:lnTo>
                    <a:lnTo>
                      <a:pt x="3459" y="648"/>
                    </a:lnTo>
                    <a:lnTo>
                      <a:pt x="3467" y="649"/>
                    </a:lnTo>
                    <a:lnTo>
                      <a:pt x="3475" y="653"/>
                    </a:lnTo>
                    <a:lnTo>
                      <a:pt x="3483" y="657"/>
                    </a:lnTo>
                    <a:lnTo>
                      <a:pt x="3490" y="662"/>
                    </a:lnTo>
                    <a:lnTo>
                      <a:pt x="3493" y="664"/>
                    </a:lnTo>
                    <a:lnTo>
                      <a:pt x="3495" y="668"/>
                    </a:lnTo>
                    <a:lnTo>
                      <a:pt x="3496" y="670"/>
                    </a:lnTo>
                    <a:lnTo>
                      <a:pt x="3496" y="674"/>
                    </a:lnTo>
                    <a:lnTo>
                      <a:pt x="3490" y="706"/>
                    </a:lnTo>
                    <a:lnTo>
                      <a:pt x="3487" y="729"/>
                    </a:lnTo>
                    <a:lnTo>
                      <a:pt x="3488" y="734"/>
                    </a:lnTo>
                    <a:lnTo>
                      <a:pt x="3490" y="739"/>
                    </a:lnTo>
                    <a:lnTo>
                      <a:pt x="3494" y="742"/>
                    </a:lnTo>
                    <a:lnTo>
                      <a:pt x="3499" y="745"/>
                    </a:lnTo>
                    <a:lnTo>
                      <a:pt x="3506" y="747"/>
                    </a:lnTo>
                    <a:lnTo>
                      <a:pt x="3514" y="749"/>
                    </a:lnTo>
                    <a:lnTo>
                      <a:pt x="3524" y="750"/>
                    </a:lnTo>
                    <a:lnTo>
                      <a:pt x="3537" y="750"/>
                    </a:lnTo>
                    <a:lnTo>
                      <a:pt x="3537" y="750"/>
                    </a:lnTo>
                    <a:lnTo>
                      <a:pt x="3527" y="779"/>
                    </a:lnTo>
                    <a:lnTo>
                      <a:pt x="3516" y="809"/>
                    </a:lnTo>
                    <a:lnTo>
                      <a:pt x="3510" y="824"/>
                    </a:lnTo>
                    <a:lnTo>
                      <a:pt x="3505" y="838"/>
                    </a:lnTo>
                    <a:lnTo>
                      <a:pt x="3496" y="852"/>
                    </a:lnTo>
                    <a:lnTo>
                      <a:pt x="3487" y="865"/>
                    </a:lnTo>
                    <a:lnTo>
                      <a:pt x="3476" y="877"/>
                    </a:lnTo>
                    <a:lnTo>
                      <a:pt x="3463" y="887"/>
                    </a:lnTo>
                    <a:lnTo>
                      <a:pt x="3450" y="898"/>
                    </a:lnTo>
                    <a:lnTo>
                      <a:pt x="3438" y="907"/>
                    </a:lnTo>
                    <a:lnTo>
                      <a:pt x="3423" y="918"/>
                    </a:lnTo>
                    <a:lnTo>
                      <a:pt x="3410" y="928"/>
                    </a:lnTo>
                    <a:lnTo>
                      <a:pt x="3398" y="940"/>
                    </a:lnTo>
                    <a:lnTo>
                      <a:pt x="3386" y="953"/>
                    </a:lnTo>
                    <a:lnTo>
                      <a:pt x="3379" y="961"/>
                    </a:lnTo>
                    <a:lnTo>
                      <a:pt x="3372" y="969"/>
                    </a:lnTo>
                    <a:lnTo>
                      <a:pt x="3365" y="974"/>
                    </a:lnTo>
                    <a:lnTo>
                      <a:pt x="3358" y="979"/>
                    </a:lnTo>
                    <a:lnTo>
                      <a:pt x="3352" y="982"/>
                    </a:lnTo>
                    <a:lnTo>
                      <a:pt x="3345" y="984"/>
                    </a:lnTo>
                    <a:lnTo>
                      <a:pt x="3339" y="985"/>
                    </a:lnTo>
                    <a:lnTo>
                      <a:pt x="3333" y="985"/>
                    </a:lnTo>
                    <a:lnTo>
                      <a:pt x="3327" y="984"/>
                    </a:lnTo>
                    <a:lnTo>
                      <a:pt x="3321" y="983"/>
                    </a:lnTo>
                    <a:lnTo>
                      <a:pt x="3316" y="980"/>
                    </a:lnTo>
                    <a:lnTo>
                      <a:pt x="3311" y="977"/>
                    </a:lnTo>
                    <a:lnTo>
                      <a:pt x="3301" y="967"/>
                    </a:lnTo>
                    <a:lnTo>
                      <a:pt x="3292" y="957"/>
                    </a:lnTo>
                    <a:lnTo>
                      <a:pt x="3282" y="944"/>
                    </a:lnTo>
                    <a:lnTo>
                      <a:pt x="3274" y="930"/>
                    </a:lnTo>
                    <a:lnTo>
                      <a:pt x="3267" y="914"/>
                    </a:lnTo>
                    <a:lnTo>
                      <a:pt x="3260" y="899"/>
                    </a:lnTo>
                    <a:lnTo>
                      <a:pt x="3247" y="870"/>
                    </a:lnTo>
                    <a:lnTo>
                      <a:pt x="3238" y="846"/>
                    </a:lnTo>
                    <a:lnTo>
                      <a:pt x="3231" y="829"/>
                    </a:lnTo>
                    <a:lnTo>
                      <a:pt x="3222" y="811"/>
                    </a:lnTo>
                    <a:lnTo>
                      <a:pt x="3215" y="788"/>
                    </a:lnTo>
                    <a:lnTo>
                      <a:pt x="3210" y="766"/>
                    </a:lnTo>
                    <a:lnTo>
                      <a:pt x="3207" y="754"/>
                    </a:lnTo>
                    <a:lnTo>
                      <a:pt x="3206" y="743"/>
                    </a:lnTo>
                    <a:lnTo>
                      <a:pt x="3207" y="733"/>
                    </a:lnTo>
                    <a:lnTo>
                      <a:pt x="3208" y="723"/>
                    </a:lnTo>
                    <a:lnTo>
                      <a:pt x="3212" y="714"/>
                    </a:lnTo>
                    <a:lnTo>
                      <a:pt x="3217" y="706"/>
                    </a:lnTo>
                    <a:lnTo>
                      <a:pt x="3222" y="700"/>
                    </a:lnTo>
                    <a:lnTo>
                      <a:pt x="3231" y="694"/>
                    </a:lnTo>
                    <a:lnTo>
                      <a:pt x="3234" y="684"/>
                    </a:lnTo>
                    <a:lnTo>
                      <a:pt x="3235" y="675"/>
                    </a:lnTo>
                    <a:lnTo>
                      <a:pt x="3234" y="667"/>
                    </a:lnTo>
                    <a:lnTo>
                      <a:pt x="3233" y="660"/>
                    </a:lnTo>
                    <a:lnTo>
                      <a:pt x="3231" y="651"/>
                    </a:lnTo>
                    <a:lnTo>
                      <a:pt x="3228" y="643"/>
                    </a:lnTo>
                    <a:lnTo>
                      <a:pt x="3227" y="635"/>
                    </a:lnTo>
                    <a:lnTo>
                      <a:pt x="3228" y="627"/>
                    </a:lnTo>
                    <a:lnTo>
                      <a:pt x="3231" y="617"/>
                    </a:lnTo>
                    <a:lnTo>
                      <a:pt x="3232" y="616"/>
                    </a:lnTo>
                    <a:lnTo>
                      <a:pt x="3275" y="552"/>
                    </a:lnTo>
                    <a:lnTo>
                      <a:pt x="3275" y="552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3">
                <a:extLst>
                  <a:ext uri="{FF2B5EF4-FFF2-40B4-BE49-F238E27FC236}">
                    <a16:creationId xmlns:a16="http://schemas.microsoft.com/office/drawing/2014/main" id="{7D0A9380-BDA7-40A1-83B7-8581DA6BCA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12248" y="3143895"/>
                <a:ext cx="314738" cy="348574"/>
              </a:xfrm>
              <a:custGeom>
                <a:avLst/>
                <a:gdLst>
                  <a:gd name="T0" fmla="*/ 1253 w 1284"/>
                  <a:gd name="T1" fmla="*/ 760 h 1422"/>
                  <a:gd name="T2" fmla="*/ 1274 w 1284"/>
                  <a:gd name="T3" fmla="*/ 815 h 1422"/>
                  <a:gd name="T4" fmla="*/ 1271 w 1284"/>
                  <a:gd name="T5" fmla="*/ 838 h 1422"/>
                  <a:gd name="T6" fmla="*/ 1107 w 1284"/>
                  <a:gd name="T7" fmla="*/ 761 h 1422"/>
                  <a:gd name="T8" fmla="*/ 1080 w 1284"/>
                  <a:gd name="T9" fmla="*/ 851 h 1422"/>
                  <a:gd name="T10" fmla="*/ 992 w 1284"/>
                  <a:gd name="T11" fmla="*/ 785 h 1422"/>
                  <a:gd name="T12" fmla="*/ 946 w 1284"/>
                  <a:gd name="T13" fmla="*/ 778 h 1422"/>
                  <a:gd name="T14" fmla="*/ 976 w 1284"/>
                  <a:gd name="T15" fmla="*/ 824 h 1422"/>
                  <a:gd name="T16" fmla="*/ 850 w 1284"/>
                  <a:gd name="T17" fmla="*/ 852 h 1422"/>
                  <a:gd name="T18" fmla="*/ 859 w 1284"/>
                  <a:gd name="T19" fmla="*/ 868 h 1422"/>
                  <a:gd name="T20" fmla="*/ 914 w 1284"/>
                  <a:gd name="T21" fmla="*/ 812 h 1422"/>
                  <a:gd name="T22" fmla="*/ 328 w 1284"/>
                  <a:gd name="T23" fmla="*/ 636 h 1422"/>
                  <a:gd name="T24" fmla="*/ 421 w 1284"/>
                  <a:gd name="T25" fmla="*/ 652 h 1422"/>
                  <a:gd name="T26" fmla="*/ 250 w 1284"/>
                  <a:gd name="T27" fmla="*/ 940 h 1422"/>
                  <a:gd name="T28" fmla="*/ 30 w 1284"/>
                  <a:gd name="T29" fmla="*/ 1099 h 1422"/>
                  <a:gd name="T30" fmla="*/ 114 w 1284"/>
                  <a:gd name="T31" fmla="*/ 1200 h 1422"/>
                  <a:gd name="T32" fmla="*/ 235 w 1284"/>
                  <a:gd name="T33" fmla="*/ 1346 h 1422"/>
                  <a:gd name="T34" fmla="*/ 319 w 1284"/>
                  <a:gd name="T35" fmla="*/ 1414 h 1422"/>
                  <a:gd name="T36" fmla="*/ 401 w 1284"/>
                  <a:gd name="T37" fmla="*/ 1282 h 1422"/>
                  <a:gd name="T38" fmla="*/ 530 w 1284"/>
                  <a:gd name="T39" fmla="*/ 1149 h 1422"/>
                  <a:gd name="T40" fmla="*/ 687 w 1284"/>
                  <a:gd name="T41" fmla="*/ 1121 h 1422"/>
                  <a:gd name="T42" fmla="*/ 718 w 1284"/>
                  <a:gd name="T43" fmla="*/ 1013 h 1422"/>
                  <a:gd name="T44" fmla="*/ 689 w 1284"/>
                  <a:gd name="T45" fmla="*/ 937 h 1422"/>
                  <a:gd name="T46" fmla="*/ 693 w 1284"/>
                  <a:gd name="T47" fmla="*/ 899 h 1422"/>
                  <a:gd name="T48" fmla="*/ 745 w 1284"/>
                  <a:gd name="T49" fmla="*/ 879 h 1422"/>
                  <a:gd name="T50" fmla="*/ 684 w 1284"/>
                  <a:gd name="T51" fmla="*/ 795 h 1422"/>
                  <a:gd name="T52" fmla="*/ 783 w 1284"/>
                  <a:gd name="T53" fmla="*/ 745 h 1422"/>
                  <a:gd name="T54" fmla="*/ 843 w 1284"/>
                  <a:gd name="T55" fmla="*/ 705 h 1422"/>
                  <a:gd name="T56" fmla="*/ 820 w 1284"/>
                  <a:gd name="T57" fmla="*/ 664 h 1422"/>
                  <a:gd name="T58" fmla="*/ 671 w 1284"/>
                  <a:gd name="T59" fmla="*/ 588 h 1422"/>
                  <a:gd name="T60" fmla="*/ 630 w 1284"/>
                  <a:gd name="T61" fmla="*/ 487 h 1422"/>
                  <a:gd name="T62" fmla="*/ 675 w 1284"/>
                  <a:gd name="T63" fmla="*/ 405 h 1422"/>
                  <a:gd name="T64" fmla="*/ 553 w 1284"/>
                  <a:gd name="T65" fmla="*/ 362 h 1422"/>
                  <a:gd name="T66" fmla="*/ 612 w 1284"/>
                  <a:gd name="T67" fmla="*/ 367 h 1422"/>
                  <a:gd name="T68" fmla="*/ 707 w 1284"/>
                  <a:gd name="T69" fmla="*/ 411 h 1422"/>
                  <a:gd name="T70" fmla="*/ 717 w 1284"/>
                  <a:gd name="T71" fmla="*/ 518 h 1422"/>
                  <a:gd name="T72" fmla="*/ 793 w 1284"/>
                  <a:gd name="T73" fmla="*/ 584 h 1422"/>
                  <a:gd name="T74" fmla="*/ 888 w 1284"/>
                  <a:gd name="T75" fmla="*/ 601 h 1422"/>
                  <a:gd name="T76" fmla="*/ 969 w 1284"/>
                  <a:gd name="T77" fmla="*/ 593 h 1422"/>
                  <a:gd name="T78" fmla="*/ 917 w 1284"/>
                  <a:gd name="T79" fmla="*/ 544 h 1422"/>
                  <a:gd name="T80" fmla="*/ 895 w 1284"/>
                  <a:gd name="T81" fmla="*/ 432 h 1422"/>
                  <a:gd name="T82" fmla="*/ 834 w 1284"/>
                  <a:gd name="T83" fmla="*/ 420 h 1422"/>
                  <a:gd name="T84" fmla="*/ 937 w 1284"/>
                  <a:gd name="T85" fmla="*/ 428 h 1422"/>
                  <a:gd name="T86" fmla="*/ 985 w 1284"/>
                  <a:gd name="T87" fmla="*/ 494 h 1422"/>
                  <a:gd name="T88" fmla="*/ 1032 w 1284"/>
                  <a:gd name="T89" fmla="*/ 558 h 1422"/>
                  <a:gd name="T90" fmla="*/ 1138 w 1284"/>
                  <a:gd name="T91" fmla="*/ 634 h 1422"/>
                  <a:gd name="T92" fmla="*/ 1052 w 1284"/>
                  <a:gd name="T93" fmla="*/ 543 h 1422"/>
                  <a:gd name="T94" fmla="*/ 1040 w 1284"/>
                  <a:gd name="T95" fmla="*/ 371 h 1422"/>
                  <a:gd name="T96" fmla="*/ 990 w 1284"/>
                  <a:gd name="T97" fmla="*/ 299 h 1422"/>
                  <a:gd name="T98" fmla="*/ 986 w 1284"/>
                  <a:gd name="T99" fmla="*/ 164 h 1422"/>
                  <a:gd name="T100" fmla="*/ 1090 w 1284"/>
                  <a:gd name="T101" fmla="*/ 8 h 1422"/>
                  <a:gd name="T102" fmla="*/ 1039 w 1284"/>
                  <a:gd name="T103" fmla="*/ 62 h 1422"/>
                  <a:gd name="T104" fmla="*/ 875 w 1284"/>
                  <a:gd name="T105" fmla="*/ 100 h 1422"/>
                  <a:gd name="T106" fmla="*/ 778 w 1284"/>
                  <a:gd name="T107" fmla="*/ 207 h 1422"/>
                  <a:gd name="T108" fmla="*/ 713 w 1284"/>
                  <a:gd name="T109" fmla="*/ 329 h 1422"/>
                  <a:gd name="T110" fmla="*/ 650 w 1284"/>
                  <a:gd name="T111" fmla="*/ 339 h 1422"/>
                  <a:gd name="T112" fmla="*/ 577 w 1284"/>
                  <a:gd name="T113" fmla="*/ 320 h 1422"/>
                  <a:gd name="T114" fmla="*/ 545 w 1284"/>
                  <a:gd name="T115" fmla="*/ 391 h 1422"/>
                  <a:gd name="T116" fmla="*/ 579 w 1284"/>
                  <a:gd name="T117" fmla="*/ 437 h 1422"/>
                  <a:gd name="T118" fmla="*/ 562 w 1284"/>
                  <a:gd name="T119" fmla="*/ 580 h 1422"/>
                  <a:gd name="T120" fmla="*/ 386 w 1284"/>
                  <a:gd name="T121" fmla="*/ 563 h 1422"/>
                  <a:gd name="T122" fmla="*/ 273 w 1284"/>
                  <a:gd name="T123" fmla="*/ 499 h 1422"/>
                  <a:gd name="T124" fmla="*/ 150 w 1284"/>
                  <a:gd name="T125" fmla="*/ 763 h 1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84" h="1422">
                    <a:moveTo>
                      <a:pt x="1268" y="753"/>
                    </a:moveTo>
                    <a:lnTo>
                      <a:pt x="1265" y="747"/>
                    </a:lnTo>
                    <a:lnTo>
                      <a:pt x="1260" y="741"/>
                    </a:lnTo>
                    <a:lnTo>
                      <a:pt x="1258" y="738"/>
                    </a:lnTo>
                    <a:lnTo>
                      <a:pt x="1256" y="735"/>
                    </a:lnTo>
                    <a:lnTo>
                      <a:pt x="1253" y="733"/>
                    </a:lnTo>
                    <a:lnTo>
                      <a:pt x="1249" y="732"/>
                    </a:lnTo>
                    <a:lnTo>
                      <a:pt x="1247" y="733"/>
                    </a:lnTo>
                    <a:lnTo>
                      <a:pt x="1247" y="733"/>
                    </a:lnTo>
                    <a:lnTo>
                      <a:pt x="1246" y="736"/>
                    </a:lnTo>
                    <a:lnTo>
                      <a:pt x="1245" y="740"/>
                    </a:lnTo>
                    <a:lnTo>
                      <a:pt x="1245" y="743"/>
                    </a:lnTo>
                    <a:lnTo>
                      <a:pt x="1246" y="747"/>
                    </a:lnTo>
                    <a:lnTo>
                      <a:pt x="1250" y="754"/>
                    </a:lnTo>
                    <a:lnTo>
                      <a:pt x="1253" y="760"/>
                    </a:lnTo>
                    <a:lnTo>
                      <a:pt x="1258" y="767"/>
                    </a:lnTo>
                    <a:lnTo>
                      <a:pt x="1265" y="773"/>
                    </a:lnTo>
                    <a:lnTo>
                      <a:pt x="1271" y="778"/>
                    </a:lnTo>
                    <a:lnTo>
                      <a:pt x="1276" y="784"/>
                    </a:lnTo>
                    <a:lnTo>
                      <a:pt x="1279" y="785"/>
                    </a:lnTo>
                    <a:lnTo>
                      <a:pt x="1283" y="785"/>
                    </a:lnTo>
                    <a:lnTo>
                      <a:pt x="1284" y="781"/>
                    </a:lnTo>
                    <a:lnTo>
                      <a:pt x="1284" y="779"/>
                    </a:lnTo>
                    <a:lnTo>
                      <a:pt x="1284" y="776"/>
                    </a:lnTo>
                    <a:lnTo>
                      <a:pt x="1283" y="774"/>
                    </a:lnTo>
                    <a:lnTo>
                      <a:pt x="1280" y="767"/>
                    </a:lnTo>
                    <a:lnTo>
                      <a:pt x="1277" y="760"/>
                    </a:lnTo>
                    <a:lnTo>
                      <a:pt x="1277" y="759"/>
                    </a:lnTo>
                    <a:lnTo>
                      <a:pt x="1268" y="753"/>
                    </a:lnTo>
                    <a:close/>
                    <a:moveTo>
                      <a:pt x="1274" y="815"/>
                    </a:moveTo>
                    <a:lnTo>
                      <a:pt x="1268" y="812"/>
                    </a:lnTo>
                    <a:lnTo>
                      <a:pt x="1263" y="811"/>
                    </a:lnTo>
                    <a:lnTo>
                      <a:pt x="1260" y="809"/>
                    </a:lnTo>
                    <a:lnTo>
                      <a:pt x="1257" y="809"/>
                    </a:lnTo>
                    <a:lnTo>
                      <a:pt x="1254" y="811"/>
                    </a:lnTo>
                    <a:lnTo>
                      <a:pt x="1252" y="812"/>
                    </a:lnTo>
                    <a:lnTo>
                      <a:pt x="1251" y="814"/>
                    </a:lnTo>
                    <a:lnTo>
                      <a:pt x="1251" y="817"/>
                    </a:lnTo>
                    <a:lnTo>
                      <a:pt x="1251" y="824"/>
                    </a:lnTo>
                    <a:lnTo>
                      <a:pt x="1253" y="831"/>
                    </a:lnTo>
                    <a:lnTo>
                      <a:pt x="1256" y="834"/>
                    </a:lnTo>
                    <a:lnTo>
                      <a:pt x="1259" y="837"/>
                    </a:lnTo>
                    <a:lnTo>
                      <a:pt x="1263" y="839"/>
                    </a:lnTo>
                    <a:lnTo>
                      <a:pt x="1267" y="839"/>
                    </a:lnTo>
                    <a:lnTo>
                      <a:pt x="1271" y="838"/>
                    </a:lnTo>
                    <a:lnTo>
                      <a:pt x="1274" y="834"/>
                    </a:lnTo>
                    <a:lnTo>
                      <a:pt x="1277" y="827"/>
                    </a:lnTo>
                    <a:lnTo>
                      <a:pt x="1277" y="820"/>
                    </a:lnTo>
                    <a:lnTo>
                      <a:pt x="1274" y="815"/>
                    </a:lnTo>
                    <a:close/>
                    <a:moveTo>
                      <a:pt x="1055" y="852"/>
                    </a:moveTo>
                    <a:lnTo>
                      <a:pt x="1056" y="842"/>
                    </a:lnTo>
                    <a:lnTo>
                      <a:pt x="1059" y="833"/>
                    </a:lnTo>
                    <a:lnTo>
                      <a:pt x="1060" y="826"/>
                    </a:lnTo>
                    <a:lnTo>
                      <a:pt x="1063" y="819"/>
                    </a:lnTo>
                    <a:lnTo>
                      <a:pt x="1065" y="812"/>
                    </a:lnTo>
                    <a:lnTo>
                      <a:pt x="1069" y="805"/>
                    </a:lnTo>
                    <a:lnTo>
                      <a:pt x="1080" y="792"/>
                    </a:lnTo>
                    <a:lnTo>
                      <a:pt x="1095" y="778"/>
                    </a:lnTo>
                    <a:lnTo>
                      <a:pt x="1102" y="769"/>
                    </a:lnTo>
                    <a:lnTo>
                      <a:pt x="1107" y="761"/>
                    </a:lnTo>
                    <a:lnTo>
                      <a:pt x="1111" y="758"/>
                    </a:lnTo>
                    <a:lnTo>
                      <a:pt x="1116" y="755"/>
                    </a:lnTo>
                    <a:lnTo>
                      <a:pt x="1120" y="753"/>
                    </a:lnTo>
                    <a:lnTo>
                      <a:pt x="1126" y="753"/>
                    </a:lnTo>
                    <a:lnTo>
                      <a:pt x="1126" y="754"/>
                    </a:lnTo>
                    <a:lnTo>
                      <a:pt x="1127" y="753"/>
                    </a:lnTo>
                    <a:lnTo>
                      <a:pt x="1124" y="762"/>
                    </a:lnTo>
                    <a:lnTo>
                      <a:pt x="1119" y="772"/>
                    </a:lnTo>
                    <a:lnTo>
                      <a:pt x="1109" y="788"/>
                    </a:lnTo>
                    <a:lnTo>
                      <a:pt x="1100" y="806"/>
                    </a:lnTo>
                    <a:lnTo>
                      <a:pt x="1093" y="825"/>
                    </a:lnTo>
                    <a:lnTo>
                      <a:pt x="1086" y="840"/>
                    </a:lnTo>
                    <a:lnTo>
                      <a:pt x="1086" y="844"/>
                    </a:lnTo>
                    <a:lnTo>
                      <a:pt x="1085" y="846"/>
                    </a:lnTo>
                    <a:lnTo>
                      <a:pt x="1080" y="851"/>
                    </a:lnTo>
                    <a:lnTo>
                      <a:pt x="1075" y="858"/>
                    </a:lnTo>
                    <a:lnTo>
                      <a:pt x="1066" y="866"/>
                    </a:lnTo>
                    <a:lnTo>
                      <a:pt x="1056" y="878"/>
                    </a:lnTo>
                    <a:lnTo>
                      <a:pt x="1050" y="883"/>
                    </a:lnTo>
                    <a:lnTo>
                      <a:pt x="1044" y="887"/>
                    </a:lnTo>
                    <a:lnTo>
                      <a:pt x="1038" y="891"/>
                    </a:lnTo>
                    <a:lnTo>
                      <a:pt x="1033" y="892"/>
                    </a:lnTo>
                    <a:lnTo>
                      <a:pt x="1033" y="893"/>
                    </a:lnTo>
                    <a:lnTo>
                      <a:pt x="1032" y="892"/>
                    </a:lnTo>
                    <a:lnTo>
                      <a:pt x="1031" y="892"/>
                    </a:lnTo>
                    <a:lnTo>
                      <a:pt x="1032" y="888"/>
                    </a:lnTo>
                    <a:lnTo>
                      <a:pt x="1035" y="885"/>
                    </a:lnTo>
                    <a:lnTo>
                      <a:pt x="1055" y="852"/>
                    </a:lnTo>
                    <a:close/>
                    <a:moveTo>
                      <a:pt x="991" y="791"/>
                    </a:moveTo>
                    <a:lnTo>
                      <a:pt x="992" y="785"/>
                    </a:lnTo>
                    <a:lnTo>
                      <a:pt x="992" y="779"/>
                    </a:lnTo>
                    <a:lnTo>
                      <a:pt x="991" y="773"/>
                    </a:lnTo>
                    <a:lnTo>
                      <a:pt x="990" y="768"/>
                    </a:lnTo>
                    <a:lnTo>
                      <a:pt x="989" y="768"/>
                    </a:lnTo>
                    <a:lnTo>
                      <a:pt x="982" y="766"/>
                    </a:lnTo>
                    <a:lnTo>
                      <a:pt x="973" y="766"/>
                    </a:lnTo>
                    <a:lnTo>
                      <a:pt x="970" y="765"/>
                    </a:lnTo>
                    <a:lnTo>
                      <a:pt x="966" y="765"/>
                    </a:lnTo>
                    <a:lnTo>
                      <a:pt x="962" y="765"/>
                    </a:lnTo>
                    <a:lnTo>
                      <a:pt x="958" y="765"/>
                    </a:lnTo>
                    <a:lnTo>
                      <a:pt x="955" y="766"/>
                    </a:lnTo>
                    <a:lnTo>
                      <a:pt x="951" y="768"/>
                    </a:lnTo>
                    <a:lnTo>
                      <a:pt x="949" y="771"/>
                    </a:lnTo>
                    <a:lnTo>
                      <a:pt x="948" y="774"/>
                    </a:lnTo>
                    <a:lnTo>
                      <a:pt x="946" y="778"/>
                    </a:lnTo>
                    <a:lnTo>
                      <a:pt x="945" y="782"/>
                    </a:lnTo>
                    <a:lnTo>
                      <a:pt x="946" y="785"/>
                    </a:lnTo>
                    <a:lnTo>
                      <a:pt x="948" y="788"/>
                    </a:lnTo>
                    <a:lnTo>
                      <a:pt x="950" y="792"/>
                    </a:lnTo>
                    <a:lnTo>
                      <a:pt x="952" y="794"/>
                    </a:lnTo>
                    <a:lnTo>
                      <a:pt x="956" y="799"/>
                    </a:lnTo>
                    <a:lnTo>
                      <a:pt x="961" y="802"/>
                    </a:lnTo>
                    <a:lnTo>
                      <a:pt x="963" y="808"/>
                    </a:lnTo>
                    <a:lnTo>
                      <a:pt x="966" y="813"/>
                    </a:lnTo>
                    <a:lnTo>
                      <a:pt x="968" y="817"/>
                    </a:lnTo>
                    <a:lnTo>
                      <a:pt x="970" y="820"/>
                    </a:lnTo>
                    <a:lnTo>
                      <a:pt x="971" y="822"/>
                    </a:lnTo>
                    <a:lnTo>
                      <a:pt x="972" y="824"/>
                    </a:lnTo>
                    <a:lnTo>
                      <a:pt x="973" y="824"/>
                    </a:lnTo>
                    <a:lnTo>
                      <a:pt x="976" y="824"/>
                    </a:lnTo>
                    <a:lnTo>
                      <a:pt x="983" y="815"/>
                    </a:lnTo>
                    <a:lnTo>
                      <a:pt x="989" y="806"/>
                    </a:lnTo>
                    <a:lnTo>
                      <a:pt x="991" y="791"/>
                    </a:lnTo>
                    <a:close/>
                    <a:moveTo>
                      <a:pt x="897" y="811"/>
                    </a:moveTo>
                    <a:lnTo>
                      <a:pt x="894" y="812"/>
                    </a:lnTo>
                    <a:lnTo>
                      <a:pt x="890" y="812"/>
                    </a:lnTo>
                    <a:lnTo>
                      <a:pt x="884" y="815"/>
                    </a:lnTo>
                    <a:lnTo>
                      <a:pt x="877" y="821"/>
                    </a:lnTo>
                    <a:lnTo>
                      <a:pt x="871" y="827"/>
                    </a:lnTo>
                    <a:lnTo>
                      <a:pt x="867" y="833"/>
                    </a:lnTo>
                    <a:lnTo>
                      <a:pt x="863" y="837"/>
                    </a:lnTo>
                    <a:lnTo>
                      <a:pt x="859" y="842"/>
                    </a:lnTo>
                    <a:lnTo>
                      <a:pt x="856" y="846"/>
                    </a:lnTo>
                    <a:lnTo>
                      <a:pt x="852" y="851"/>
                    </a:lnTo>
                    <a:lnTo>
                      <a:pt x="850" y="852"/>
                    </a:lnTo>
                    <a:lnTo>
                      <a:pt x="848" y="854"/>
                    </a:lnTo>
                    <a:lnTo>
                      <a:pt x="843" y="855"/>
                    </a:lnTo>
                    <a:lnTo>
                      <a:pt x="840" y="859"/>
                    </a:lnTo>
                    <a:lnTo>
                      <a:pt x="836" y="864"/>
                    </a:lnTo>
                    <a:lnTo>
                      <a:pt x="835" y="867"/>
                    </a:lnTo>
                    <a:lnTo>
                      <a:pt x="835" y="872"/>
                    </a:lnTo>
                    <a:lnTo>
                      <a:pt x="834" y="878"/>
                    </a:lnTo>
                    <a:lnTo>
                      <a:pt x="835" y="884"/>
                    </a:lnTo>
                    <a:lnTo>
                      <a:pt x="836" y="888"/>
                    </a:lnTo>
                    <a:lnTo>
                      <a:pt x="841" y="888"/>
                    </a:lnTo>
                    <a:lnTo>
                      <a:pt x="844" y="886"/>
                    </a:lnTo>
                    <a:lnTo>
                      <a:pt x="847" y="883"/>
                    </a:lnTo>
                    <a:lnTo>
                      <a:pt x="849" y="879"/>
                    </a:lnTo>
                    <a:lnTo>
                      <a:pt x="854" y="874"/>
                    </a:lnTo>
                    <a:lnTo>
                      <a:pt x="859" y="868"/>
                    </a:lnTo>
                    <a:lnTo>
                      <a:pt x="867" y="860"/>
                    </a:lnTo>
                    <a:lnTo>
                      <a:pt x="875" y="852"/>
                    </a:lnTo>
                    <a:lnTo>
                      <a:pt x="883" y="846"/>
                    </a:lnTo>
                    <a:lnTo>
                      <a:pt x="891" y="838"/>
                    </a:lnTo>
                    <a:lnTo>
                      <a:pt x="892" y="838"/>
                    </a:lnTo>
                    <a:lnTo>
                      <a:pt x="894" y="838"/>
                    </a:lnTo>
                    <a:lnTo>
                      <a:pt x="899" y="833"/>
                    </a:lnTo>
                    <a:lnTo>
                      <a:pt x="905" y="828"/>
                    </a:lnTo>
                    <a:lnTo>
                      <a:pt x="908" y="828"/>
                    </a:lnTo>
                    <a:lnTo>
                      <a:pt x="910" y="827"/>
                    </a:lnTo>
                    <a:lnTo>
                      <a:pt x="912" y="825"/>
                    </a:lnTo>
                    <a:lnTo>
                      <a:pt x="914" y="822"/>
                    </a:lnTo>
                    <a:lnTo>
                      <a:pt x="915" y="818"/>
                    </a:lnTo>
                    <a:lnTo>
                      <a:pt x="915" y="812"/>
                    </a:lnTo>
                    <a:lnTo>
                      <a:pt x="914" y="812"/>
                    </a:lnTo>
                    <a:lnTo>
                      <a:pt x="912" y="811"/>
                    </a:lnTo>
                    <a:lnTo>
                      <a:pt x="897" y="811"/>
                    </a:lnTo>
                    <a:close/>
                    <a:moveTo>
                      <a:pt x="150" y="763"/>
                    </a:moveTo>
                    <a:lnTo>
                      <a:pt x="158" y="760"/>
                    </a:lnTo>
                    <a:lnTo>
                      <a:pt x="167" y="755"/>
                    </a:lnTo>
                    <a:lnTo>
                      <a:pt x="178" y="748"/>
                    </a:lnTo>
                    <a:lnTo>
                      <a:pt x="188" y="741"/>
                    </a:lnTo>
                    <a:lnTo>
                      <a:pt x="208" y="725"/>
                    </a:lnTo>
                    <a:lnTo>
                      <a:pt x="224" y="710"/>
                    </a:lnTo>
                    <a:lnTo>
                      <a:pt x="237" y="699"/>
                    </a:lnTo>
                    <a:lnTo>
                      <a:pt x="248" y="688"/>
                    </a:lnTo>
                    <a:lnTo>
                      <a:pt x="261" y="679"/>
                    </a:lnTo>
                    <a:lnTo>
                      <a:pt x="274" y="669"/>
                    </a:lnTo>
                    <a:lnTo>
                      <a:pt x="300" y="652"/>
                    </a:lnTo>
                    <a:lnTo>
                      <a:pt x="328" y="636"/>
                    </a:lnTo>
                    <a:lnTo>
                      <a:pt x="335" y="633"/>
                    </a:lnTo>
                    <a:lnTo>
                      <a:pt x="347" y="629"/>
                    </a:lnTo>
                    <a:lnTo>
                      <a:pt x="361" y="626"/>
                    </a:lnTo>
                    <a:lnTo>
                      <a:pt x="376" y="623"/>
                    </a:lnTo>
                    <a:lnTo>
                      <a:pt x="392" y="621"/>
                    </a:lnTo>
                    <a:lnTo>
                      <a:pt x="405" y="620"/>
                    </a:lnTo>
                    <a:lnTo>
                      <a:pt x="409" y="620"/>
                    </a:lnTo>
                    <a:lnTo>
                      <a:pt x="414" y="620"/>
                    </a:lnTo>
                    <a:lnTo>
                      <a:pt x="418" y="621"/>
                    </a:lnTo>
                    <a:lnTo>
                      <a:pt x="419" y="622"/>
                    </a:lnTo>
                    <a:lnTo>
                      <a:pt x="421" y="624"/>
                    </a:lnTo>
                    <a:lnTo>
                      <a:pt x="423" y="627"/>
                    </a:lnTo>
                    <a:lnTo>
                      <a:pt x="423" y="631"/>
                    </a:lnTo>
                    <a:lnTo>
                      <a:pt x="423" y="637"/>
                    </a:lnTo>
                    <a:lnTo>
                      <a:pt x="421" y="652"/>
                    </a:lnTo>
                    <a:lnTo>
                      <a:pt x="418" y="667"/>
                    </a:lnTo>
                    <a:lnTo>
                      <a:pt x="407" y="699"/>
                    </a:lnTo>
                    <a:lnTo>
                      <a:pt x="399" y="718"/>
                    </a:lnTo>
                    <a:lnTo>
                      <a:pt x="388" y="739"/>
                    </a:lnTo>
                    <a:lnTo>
                      <a:pt x="378" y="761"/>
                    </a:lnTo>
                    <a:lnTo>
                      <a:pt x="373" y="773"/>
                    </a:lnTo>
                    <a:lnTo>
                      <a:pt x="367" y="784"/>
                    </a:lnTo>
                    <a:lnTo>
                      <a:pt x="360" y="794"/>
                    </a:lnTo>
                    <a:lnTo>
                      <a:pt x="352" y="804"/>
                    </a:lnTo>
                    <a:lnTo>
                      <a:pt x="338" y="820"/>
                    </a:lnTo>
                    <a:lnTo>
                      <a:pt x="325" y="837"/>
                    </a:lnTo>
                    <a:lnTo>
                      <a:pt x="312" y="854"/>
                    </a:lnTo>
                    <a:lnTo>
                      <a:pt x="299" y="872"/>
                    </a:lnTo>
                    <a:lnTo>
                      <a:pt x="274" y="906"/>
                    </a:lnTo>
                    <a:lnTo>
                      <a:pt x="250" y="940"/>
                    </a:lnTo>
                    <a:lnTo>
                      <a:pt x="239" y="956"/>
                    </a:lnTo>
                    <a:lnTo>
                      <a:pt x="231" y="967"/>
                    </a:lnTo>
                    <a:lnTo>
                      <a:pt x="224" y="977"/>
                    </a:lnTo>
                    <a:lnTo>
                      <a:pt x="218" y="982"/>
                    </a:lnTo>
                    <a:lnTo>
                      <a:pt x="214" y="983"/>
                    </a:lnTo>
                    <a:lnTo>
                      <a:pt x="210" y="983"/>
                    </a:lnTo>
                    <a:lnTo>
                      <a:pt x="206" y="983"/>
                    </a:lnTo>
                    <a:lnTo>
                      <a:pt x="200" y="980"/>
                    </a:lnTo>
                    <a:lnTo>
                      <a:pt x="188" y="974"/>
                    </a:lnTo>
                    <a:lnTo>
                      <a:pt x="173" y="963"/>
                    </a:lnTo>
                    <a:lnTo>
                      <a:pt x="133" y="926"/>
                    </a:lnTo>
                    <a:lnTo>
                      <a:pt x="133" y="926"/>
                    </a:lnTo>
                    <a:lnTo>
                      <a:pt x="0" y="1058"/>
                    </a:lnTo>
                    <a:lnTo>
                      <a:pt x="0" y="1058"/>
                    </a:lnTo>
                    <a:lnTo>
                      <a:pt x="30" y="1099"/>
                    </a:lnTo>
                    <a:lnTo>
                      <a:pt x="33" y="1105"/>
                    </a:lnTo>
                    <a:lnTo>
                      <a:pt x="38" y="1111"/>
                    </a:lnTo>
                    <a:lnTo>
                      <a:pt x="44" y="1115"/>
                    </a:lnTo>
                    <a:lnTo>
                      <a:pt x="50" y="1118"/>
                    </a:lnTo>
                    <a:lnTo>
                      <a:pt x="64" y="1123"/>
                    </a:lnTo>
                    <a:lnTo>
                      <a:pt x="77" y="1127"/>
                    </a:lnTo>
                    <a:lnTo>
                      <a:pt x="79" y="1129"/>
                    </a:lnTo>
                    <a:lnTo>
                      <a:pt x="81" y="1132"/>
                    </a:lnTo>
                    <a:lnTo>
                      <a:pt x="84" y="1142"/>
                    </a:lnTo>
                    <a:lnTo>
                      <a:pt x="86" y="1152"/>
                    </a:lnTo>
                    <a:lnTo>
                      <a:pt x="91" y="1162"/>
                    </a:lnTo>
                    <a:lnTo>
                      <a:pt x="96" y="1171"/>
                    </a:lnTo>
                    <a:lnTo>
                      <a:pt x="101" y="1181"/>
                    </a:lnTo>
                    <a:lnTo>
                      <a:pt x="107" y="1190"/>
                    </a:lnTo>
                    <a:lnTo>
                      <a:pt x="114" y="1200"/>
                    </a:lnTo>
                    <a:lnTo>
                      <a:pt x="123" y="1208"/>
                    </a:lnTo>
                    <a:lnTo>
                      <a:pt x="138" y="1224"/>
                    </a:lnTo>
                    <a:lnTo>
                      <a:pt x="156" y="1238"/>
                    </a:lnTo>
                    <a:lnTo>
                      <a:pt x="172" y="1251"/>
                    </a:lnTo>
                    <a:lnTo>
                      <a:pt x="190" y="1261"/>
                    </a:lnTo>
                    <a:lnTo>
                      <a:pt x="197" y="1264"/>
                    </a:lnTo>
                    <a:lnTo>
                      <a:pt x="203" y="1269"/>
                    </a:lnTo>
                    <a:lnTo>
                      <a:pt x="208" y="1274"/>
                    </a:lnTo>
                    <a:lnTo>
                      <a:pt x="213" y="1279"/>
                    </a:lnTo>
                    <a:lnTo>
                      <a:pt x="220" y="1288"/>
                    </a:lnTo>
                    <a:lnTo>
                      <a:pt x="226" y="1300"/>
                    </a:lnTo>
                    <a:lnTo>
                      <a:pt x="230" y="1310"/>
                    </a:lnTo>
                    <a:lnTo>
                      <a:pt x="233" y="1322"/>
                    </a:lnTo>
                    <a:lnTo>
                      <a:pt x="234" y="1334"/>
                    </a:lnTo>
                    <a:lnTo>
                      <a:pt x="235" y="1346"/>
                    </a:lnTo>
                    <a:lnTo>
                      <a:pt x="238" y="1358"/>
                    </a:lnTo>
                    <a:lnTo>
                      <a:pt x="239" y="1368"/>
                    </a:lnTo>
                    <a:lnTo>
                      <a:pt x="242" y="1379"/>
                    </a:lnTo>
                    <a:lnTo>
                      <a:pt x="246" y="1389"/>
                    </a:lnTo>
                    <a:lnTo>
                      <a:pt x="252" y="1399"/>
                    </a:lnTo>
                    <a:lnTo>
                      <a:pt x="260" y="1407"/>
                    </a:lnTo>
                    <a:lnTo>
                      <a:pt x="265" y="1411"/>
                    </a:lnTo>
                    <a:lnTo>
                      <a:pt x="271" y="1414"/>
                    </a:lnTo>
                    <a:lnTo>
                      <a:pt x="277" y="1416"/>
                    </a:lnTo>
                    <a:lnTo>
                      <a:pt x="284" y="1420"/>
                    </a:lnTo>
                    <a:lnTo>
                      <a:pt x="293" y="1422"/>
                    </a:lnTo>
                    <a:lnTo>
                      <a:pt x="300" y="1422"/>
                    </a:lnTo>
                    <a:lnTo>
                      <a:pt x="307" y="1421"/>
                    </a:lnTo>
                    <a:lnTo>
                      <a:pt x="313" y="1419"/>
                    </a:lnTo>
                    <a:lnTo>
                      <a:pt x="319" y="1414"/>
                    </a:lnTo>
                    <a:lnTo>
                      <a:pt x="324" y="1409"/>
                    </a:lnTo>
                    <a:lnTo>
                      <a:pt x="327" y="1403"/>
                    </a:lnTo>
                    <a:lnTo>
                      <a:pt x="331" y="1398"/>
                    </a:lnTo>
                    <a:lnTo>
                      <a:pt x="341" y="1367"/>
                    </a:lnTo>
                    <a:lnTo>
                      <a:pt x="349" y="1341"/>
                    </a:lnTo>
                    <a:lnTo>
                      <a:pt x="353" y="1333"/>
                    </a:lnTo>
                    <a:lnTo>
                      <a:pt x="359" y="1327"/>
                    </a:lnTo>
                    <a:lnTo>
                      <a:pt x="365" y="1322"/>
                    </a:lnTo>
                    <a:lnTo>
                      <a:pt x="371" y="1317"/>
                    </a:lnTo>
                    <a:lnTo>
                      <a:pt x="376" y="1314"/>
                    </a:lnTo>
                    <a:lnTo>
                      <a:pt x="384" y="1310"/>
                    </a:lnTo>
                    <a:lnTo>
                      <a:pt x="388" y="1306"/>
                    </a:lnTo>
                    <a:lnTo>
                      <a:pt x="394" y="1300"/>
                    </a:lnTo>
                    <a:lnTo>
                      <a:pt x="399" y="1292"/>
                    </a:lnTo>
                    <a:lnTo>
                      <a:pt x="401" y="1282"/>
                    </a:lnTo>
                    <a:lnTo>
                      <a:pt x="403" y="1273"/>
                    </a:lnTo>
                    <a:lnTo>
                      <a:pt x="406" y="1263"/>
                    </a:lnTo>
                    <a:lnTo>
                      <a:pt x="407" y="1242"/>
                    </a:lnTo>
                    <a:lnTo>
                      <a:pt x="408" y="1223"/>
                    </a:lnTo>
                    <a:lnTo>
                      <a:pt x="415" y="1217"/>
                    </a:lnTo>
                    <a:lnTo>
                      <a:pt x="422" y="1213"/>
                    </a:lnTo>
                    <a:lnTo>
                      <a:pt x="429" y="1209"/>
                    </a:lnTo>
                    <a:lnTo>
                      <a:pt x="438" y="1205"/>
                    </a:lnTo>
                    <a:lnTo>
                      <a:pt x="445" y="1203"/>
                    </a:lnTo>
                    <a:lnTo>
                      <a:pt x="453" y="1201"/>
                    </a:lnTo>
                    <a:lnTo>
                      <a:pt x="460" y="1197"/>
                    </a:lnTo>
                    <a:lnTo>
                      <a:pt x="468" y="1193"/>
                    </a:lnTo>
                    <a:lnTo>
                      <a:pt x="514" y="1157"/>
                    </a:lnTo>
                    <a:lnTo>
                      <a:pt x="522" y="1152"/>
                    </a:lnTo>
                    <a:lnTo>
                      <a:pt x="530" y="1149"/>
                    </a:lnTo>
                    <a:lnTo>
                      <a:pt x="537" y="1147"/>
                    </a:lnTo>
                    <a:lnTo>
                      <a:pt x="546" y="1144"/>
                    </a:lnTo>
                    <a:lnTo>
                      <a:pt x="554" y="1144"/>
                    </a:lnTo>
                    <a:lnTo>
                      <a:pt x="562" y="1144"/>
                    </a:lnTo>
                    <a:lnTo>
                      <a:pt x="572" y="1145"/>
                    </a:lnTo>
                    <a:lnTo>
                      <a:pt x="580" y="1148"/>
                    </a:lnTo>
                    <a:lnTo>
                      <a:pt x="596" y="1151"/>
                    </a:lnTo>
                    <a:lnTo>
                      <a:pt x="614" y="1156"/>
                    </a:lnTo>
                    <a:lnTo>
                      <a:pt x="622" y="1157"/>
                    </a:lnTo>
                    <a:lnTo>
                      <a:pt x="630" y="1158"/>
                    </a:lnTo>
                    <a:lnTo>
                      <a:pt x="639" y="1160"/>
                    </a:lnTo>
                    <a:lnTo>
                      <a:pt x="647" y="1158"/>
                    </a:lnTo>
                    <a:lnTo>
                      <a:pt x="687" y="1128"/>
                    </a:lnTo>
                    <a:lnTo>
                      <a:pt x="687" y="1128"/>
                    </a:lnTo>
                    <a:lnTo>
                      <a:pt x="687" y="1121"/>
                    </a:lnTo>
                    <a:lnTo>
                      <a:pt x="690" y="1115"/>
                    </a:lnTo>
                    <a:lnTo>
                      <a:pt x="694" y="1111"/>
                    </a:lnTo>
                    <a:lnTo>
                      <a:pt x="697" y="1108"/>
                    </a:lnTo>
                    <a:lnTo>
                      <a:pt x="702" y="1104"/>
                    </a:lnTo>
                    <a:lnTo>
                      <a:pt x="706" y="1101"/>
                    </a:lnTo>
                    <a:lnTo>
                      <a:pt x="708" y="1096"/>
                    </a:lnTo>
                    <a:lnTo>
                      <a:pt x="709" y="1089"/>
                    </a:lnTo>
                    <a:lnTo>
                      <a:pt x="709" y="1079"/>
                    </a:lnTo>
                    <a:lnTo>
                      <a:pt x="710" y="1069"/>
                    </a:lnTo>
                    <a:lnTo>
                      <a:pt x="711" y="1058"/>
                    </a:lnTo>
                    <a:lnTo>
                      <a:pt x="714" y="1049"/>
                    </a:lnTo>
                    <a:lnTo>
                      <a:pt x="717" y="1037"/>
                    </a:lnTo>
                    <a:lnTo>
                      <a:pt x="718" y="1026"/>
                    </a:lnTo>
                    <a:lnTo>
                      <a:pt x="720" y="1019"/>
                    </a:lnTo>
                    <a:lnTo>
                      <a:pt x="718" y="1013"/>
                    </a:lnTo>
                    <a:lnTo>
                      <a:pt x="716" y="1007"/>
                    </a:lnTo>
                    <a:lnTo>
                      <a:pt x="714" y="1004"/>
                    </a:lnTo>
                    <a:lnTo>
                      <a:pt x="710" y="1002"/>
                    </a:lnTo>
                    <a:lnTo>
                      <a:pt x="706" y="998"/>
                    </a:lnTo>
                    <a:lnTo>
                      <a:pt x="698" y="993"/>
                    </a:lnTo>
                    <a:lnTo>
                      <a:pt x="691" y="987"/>
                    </a:lnTo>
                    <a:lnTo>
                      <a:pt x="689" y="984"/>
                    </a:lnTo>
                    <a:lnTo>
                      <a:pt x="688" y="979"/>
                    </a:lnTo>
                    <a:lnTo>
                      <a:pt x="688" y="972"/>
                    </a:lnTo>
                    <a:lnTo>
                      <a:pt x="689" y="965"/>
                    </a:lnTo>
                    <a:lnTo>
                      <a:pt x="691" y="956"/>
                    </a:lnTo>
                    <a:lnTo>
                      <a:pt x="693" y="949"/>
                    </a:lnTo>
                    <a:lnTo>
                      <a:pt x="691" y="943"/>
                    </a:lnTo>
                    <a:lnTo>
                      <a:pt x="690" y="939"/>
                    </a:lnTo>
                    <a:lnTo>
                      <a:pt x="689" y="937"/>
                    </a:lnTo>
                    <a:lnTo>
                      <a:pt x="687" y="936"/>
                    </a:lnTo>
                    <a:lnTo>
                      <a:pt x="683" y="936"/>
                    </a:lnTo>
                    <a:lnTo>
                      <a:pt x="680" y="936"/>
                    </a:lnTo>
                    <a:lnTo>
                      <a:pt x="674" y="936"/>
                    </a:lnTo>
                    <a:lnTo>
                      <a:pt x="668" y="937"/>
                    </a:lnTo>
                    <a:lnTo>
                      <a:pt x="667" y="936"/>
                    </a:lnTo>
                    <a:lnTo>
                      <a:pt x="666" y="934"/>
                    </a:lnTo>
                    <a:lnTo>
                      <a:pt x="664" y="932"/>
                    </a:lnTo>
                    <a:lnTo>
                      <a:pt x="666" y="928"/>
                    </a:lnTo>
                    <a:lnTo>
                      <a:pt x="667" y="923"/>
                    </a:lnTo>
                    <a:lnTo>
                      <a:pt x="670" y="918"/>
                    </a:lnTo>
                    <a:lnTo>
                      <a:pt x="673" y="913"/>
                    </a:lnTo>
                    <a:lnTo>
                      <a:pt x="676" y="910"/>
                    </a:lnTo>
                    <a:lnTo>
                      <a:pt x="684" y="904"/>
                    </a:lnTo>
                    <a:lnTo>
                      <a:pt x="693" y="899"/>
                    </a:lnTo>
                    <a:lnTo>
                      <a:pt x="696" y="897"/>
                    </a:lnTo>
                    <a:lnTo>
                      <a:pt x="700" y="894"/>
                    </a:lnTo>
                    <a:lnTo>
                      <a:pt x="703" y="891"/>
                    </a:lnTo>
                    <a:lnTo>
                      <a:pt x="706" y="887"/>
                    </a:lnTo>
                    <a:lnTo>
                      <a:pt x="707" y="883"/>
                    </a:lnTo>
                    <a:lnTo>
                      <a:pt x="708" y="877"/>
                    </a:lnTo>
                    <a:lnTo>
                      <a:pt x="708" y="871"/>
                    </a:lnTo>
                    <a:lnTo>
                      <a:pt x="707" y="862"/>
                    </a:lnTo>
                    <a:lnTo>
                      <a:pt x="714" y="867"/>
                    </a:lnTo>
                    <a:lnTo>
                      <a:pt x="723" y="875"/>
                    </a:lnTo>
                    <a:lnTo>
                      <a:pt x="729" y="879"/>
                    </a:lnTo>
                    <a:lnTo>
                      <a:pt x="734" y="881"/>
                    </a:lnTo>
                    <a:lnTo>
                      <a:pt x="738" y="883"/>
                    </a:lnTo>
                    <a:lnTo>
                      <a:pt x="743" y="881"/>
                    </a:lnTo>
                    <a:lnTo>
                      <a:pt x="745" y="879"/>
                    </a:lnTo>
                    <a:lnTo>
                      <a:pt x="748" y="877"/>
                    </a:lnTo>
                    <a:lnTo>
                      <a:pt x="750" y="874"/>
                    </a:lnTo>
                    <a:lnTo>
                      <a:pt x="751" y="871"/>
                    </a:lnTo>
                    <a:lnTo>
                      <a:pt x="751" y="865"/>
                    </a:lnTo>
                    <a:lnTo>
                      <a:pt x="751" y="858"/>
                    </a:lnTo>
                    <a:lnTo>
                      <a:pt x="749" y="851"/>
                    </a:lnTo>
                    <a:lnTo>
                      <a:pt x="745" y="845"/>
                    </a:lnTo>
                    <a:lnTo>
                      <a:pt x="742" y="839"/>
                    </a:lnTo>
                    <a:lnTo>
                      <a:pt x="737" y="835"/>
                    </a:lnTo>
                    <a:lnTo>
                      <a:pt x="733" y="829"/>
                    </a:lnTo>
                    <a:lnTo>
                      <a:pt x="727" y="824"/>
                    </a:lnTo>
                    <a:lnTo>
                      <a:pt x="720" y="819"/>
                    </a:lnTo>
                    <a:lnTo>
                      <a:pt x="713" y="814"/>
                    </a:lnTo>
                    <a:lnTo>
                      <a:pt x="696" y="805"/>
                    </a:lnTo>
                    <a:lnTo>
                      <a:pt x="684" y="795"/>
                    </a:lnTo>
                    <a:lnTo>
                      <a:pt x="683" y="793"/>
                    </a:lnTo>
                    <a:lnTo>
                      <a:pt x="684" y="788"/>
                    </a:lnTo>
                    <a:lnTo>
                      <a:pt x="686" y="782"/>
                    </a:lnTo>
                    <a:lnTo>
                      <a:pt x="689" y="775"/>
                    </a:lnTo>
                    <a:lnTo>
                      <a:pt x="691" y="769"/>
                    </a:lnTo>
                    <a:lnTo>
                      <a:pt x="696" y="765"/>
                    </a:lnTo>
                    <a:lnTo>
                      <a:pt x="700" y="761"/>
                    </a:lnTo>
                    <a:lnTo>
                      <a:pt x="703" y="761"/>
                    </a:lnTo>
                    <a:lnTo>
                      <a:pt x="708" y="761"/>
                    </a:lnTo>
                    <a:lnTo>
                      <a:pt x="714" y="762"/>
                    </a:lnTo>
                    <a:lnTo>
                      <a:pt x="722" y="761"/>
                    </a:lnTo>
                    <a:lnTo>
                      <a:pt x="730" y="760"/>
                    </a:lnTo>
                    <a:lnTo>
                      <a:pt x="748" y="756"/>
                    </a:lnTo>
                    <a:lnTo>
                      <a:pt x="765" y="752"/>
                    </a:lnTo>
                    <a:lnTo>
                      <a:pt x="783" y="745"/>
                    </a:lnTo>
                    <a:lnTo>
                      <a:pt x="797" y="738"/>
                    </a:lnTo>
                    <a:lnTo>
                      <a:pt x="802" y="734"/>
                    </a:lnTo>
                    <a:lnTo>
                      <a:pt x="805" y="730"/>
                    </a:lnTo>
                    <a:lnTo>
                      <a:pt x="808" y="727"/>
                    </a:lnTo>
                    <a:lnTo>
                      <a:pt x="808" y="723"/>
                    </a:lnTo>
                    <a:lnTo>
                      <a:pt x="808" y="719"/>
                    </a:lnTo>
                    <a:lnTo>
                      <a:pt x="808" y="715"/>
                    </a:lnTo>
                    <a:lnTo>
                      <a:pt x="809" y="712"/>
                    </a:lnTo>
                    <a:lnTo>
                      <a:pt x="811" y="708"/>
                    </a:lnTo>
                    <a:lnTo>
                      <a:pt x="814" y="706"/>
                    </a:lnTo>
                    <a:lnTo>
                      <a:pt x="817" y="705"/>
                    </a:lnTo>
                    <a:lnTo>
                      <a:pt x="821" y="703"/>
                    </a:lnTo>
                    <a:lnTo>
                      <a:pt x="825" y="702"/>
                    </a:lnTo>
                    <a:lnTo>
                      <a:pt x="835" y="702"/>
                    </a:lnTo>
                    <a:lnTo>
                      <a:pt x="843" y="705"/>
                    </a:lnTo>
                    <a:lnTo>
                      <a:pt x="851" y="707"/>
                    </a:lnTo>
                    <a:lnTo>
                      <a:pt x="857" y="712"/>
                    </a:lnTo>
                    <a:lnTo>
                      <a:pt x="862" y="715"/>
                    </a:lnTo>
                    <a:lnTo>
                      <a:pt x="864" y="716"/>
                    </a:lnTo>
                    <a:lnTo>
                      <a:pt x="867" y="718"/>
                    </a:lnTo>
                    <a:lnTo>
                      <a:pt x="868" y="716"/>
                    </a:lnTo>
                    <a:lnTo>
                      <a:pt x="868" y="710"/>
                    </a:lnTo>
                    <a:lnTo>
                      <a:pt x="864" y="702"/>
                    </a:lnTo>
                    <a:lnTo>
                      <a:pt x="859" y="693"/>
                    </a:lnTo>
                    <a:lnTo>
                      <a:pt x="851" y="682"/>
                    </a:lnTo>
                    <a:lnTo>
                      <a:pt x="848" y="677"/>
                    </a:lnTo>
                    <a:lnTo>
                      <a:pt x="843" y="674"/>
                    </a:lnTo>
                    <a:lnTo>
                      <a:pt x="837" y="670"/>
                    </a:lnTo>
                    <a:lnTo>
                      <a:pt x="831" y="667"/>
                    </a:lnTo>
                    <a:lnTo>
                      <a:pt x="820" y="664"/>
                    </a:lnTo>
                    <a:lnTo>
                      <a:pt x="807" y="662"/>
                    </a:lnTo>
                    <a:lnTo>
                      <a:pt x="801" y="660"/>
                    </a:lnTo>
                    <a:lnTo>
                      <a:pt x="796" y="656"/>
                    </a:lnTo>
                    <a:lnTo>
                      <a:pt x="793" y="652"/>
                    </a:lnTo>
                    <a:lnTo>
                      <a:pt x="789" y="646"/>
                    </a:lnTo>
                    <a:lnTo>
                      <a:pt x="785" y="637"/>
                    </a:lnTo>
                    <a:lnTo>
                      <a:pt x="782" y="629"/>
                    </a:lnTo>
                    <a:lnTo>
                      <a:pt x="776" y="623"/>
                    </a:lnTo>
                    <a:lnTo>
                      <a:pt x="769" y="620"/>
                    </a:lnTo>
                    <a:lnTo>
                      <a:pt x="754" y="614"/>
                    </a:lnTo>
                    <a:lnTo>
                      <a:pt x="736" y="609"/>
                    </a:lnTo>
                    <a:lnTo>
                      <a:pt x="716" y="604"/>
                    </a:lnTo>
                    <a:lnTo>
                      <a:pt x="691" y="598"/>
                    </a:lnTo>
                    <a:lnTo>
                      <a:pt x="681" y="595"/>
                    </a:lnTo>
                    <a:lnTo>
                      <a:pt x="671" y="588"/>
                    </a:lnTo>
                    <a:lnTo>
                      <a:pt x="668" y="584"/>
                    </a:lnTo>
                    <a:lnTo>
                      <a:pt x="666" y="581"/>
                    </a:lnTo>
                    <a:lnTo>
                      <a:pt x="663" y="576"/>
                    </a:lnTo>
                    <a:lnTo>
                      <a:pt x="662" y="570"/>
                    </a:lnTo>
                    <a:lnTo>
                      <a:pt x="662" y="541"/>
                    </a:lnTo>
                    <a:lnTo>
                      <a:pt x="663" y="515"/>
                    </a:lnTo>
                    <a:lnTo>
                      <a:pt x="662" y="510"/>
                    </a:lnTo>
                    <a:lnTo>
                      <a:pt x="661" y="504"/>
                    </a:lnTo>
                    <a:lnTo>
                      <a:pt x="659" y="501"/>
                    </a:lnTo>
                    <a:lnTo>
                      <a:pt x="655" y="497"/>
                    </a:lnTo>
                    <a:lnTo>
                      <a:pt x="650" y="494"/>
                    </a:lnTo>
                    <a:lnTo>
                      <a:pt x="644" y="491"/>
                    </a:lnTo>
                    <a:lnTo>
                      <a:pt x="637" y="490"/>
                    </a:lnTo>
                    <a:lnTo>
                      <a:pt x="629" y="490"/>
                    </a:lnTo>
                    <a:lnTo>
                      <a:pt x="630" y="487"/>
                    </a:lnTo>
                    <a:lnTo>
                      <a:pt x="631" y="483"/>
                    </a:lnTo>
                    <a:lnTo>
                      <a:pt x="635" y="481"/>
                    </a:lnTo>
                    <a:lnTo>
                      <a:pt x="637" y="479"/>
                    </a:lnTo>
                    <a:lnTo>
                      <a:pt x="644" y="476"/>
                    </a:lnTo>
                    <a:lnTo>
                      <a:pt x="651" y="474"/>
                    </a:lnTo>
                    <a:lnTo>
                      <a:pt x="660" y="471"/>
                    </a:lnTo>
                    <a:lnTo>
                      <a:pt x="667" y="468"/>
                    </a:lnTo>
                    <a:lnTo>
                      <a:pt x="669" y="465"/>
                    </a:lnTo>
                    <a:lnTo>
                      <a:pt x="671" y="463"/>
                    </a:lnTo>
                    <a:lnTo>
                      <a:pt x="674" y="459"/>
                    </a:lnTo>
                    <a:lnTo>
                      <a:pt x="675" y="456"/>
                    </a:lnTo>
                    <a:lnTo>
                      <a:pt x="677" y="443"/>
                    </a:lnTo>
                    <a:lnTo>
                      <a:pt x="677" y="430"/>
                    </a:lnTo>
                    <a:lnTo>
                      <a:pt x="676" y="418"/>
                    </a:lnTo>
                    <a:lnTo>
                      <a:pt x="675" y="405"/>
                    </a:lnTo>
                    <a:lnTo>
                      <a:pt x="674" y="400"/>
                    </a:lnTo>
                    <a:lnTo>
                      <a:pt x="671" y="397"/>
                    </a:lnTo>
                    <a:lnTo>
                      <a:pt x="667" y="393"/>
                    </a:lnTo>
                    <a:lnTo>
                      <a:pt x="661" y="391"/>
                    </a:lnTo>
                    <a:lnTo>
                      <a:pt x="646" y="387"/>
                    </a:lnTo>
                    <a:lnTo>
                      <a:pt x="628" y="385"/>
                    </a:lnTo>
                    <a:lnTo>
                      <a:pt x="608" y="383"/>
                    </a:lnTo>
                    <a:lnTo>
                      <a:pt x="589" y="382"/>
                    </a:lnTo>
                    <a:lnTo>
                      <a:pt x="581" y="379"/>
                    </a:lnTo>
                    <a:lnTo>
                      <a:pt x="574" y="378"/>
                    </a:lnTo>
                    <a:lnTo>
                      <a:pt x="567" y="376"/>
                    </a:lnTo>
                    <a:lnTo>
                      <a:pt x="562" y="372"/>
                    </a:lnTo>
                    <a:lnTo>
                      <a:pt x="559" y="369"/>
                    </a:lnTo>
                    <a:lnTo>
                      <a:pt x="555" y="365"/>
                    </a:lnTo>
                    <a:lnTo>
                      <a:pt x="553" y="362"/>
                    </a:lnTo>
                    <a:lnTo>
                      <a:pt x="550" y="357"/>
                    </a:lnTo>
                    <a:lnTo>
                      <a:pt x="548" y="347"/>
                    </a:lnTo>
                    <a:lnTo>
                      <a:pt x="547" y="339"/>
                    </a:lnTo>
                    <a:lnTo>
                      <a:pt x="548" y="333"/>
                    </a:lnTo>
                    <a:lnTo>
                      <a:pt x="552" y="329"/>
                    </a:lnTo>
                    <a:lnTo>
                      <a:pt x="553" y="329"/>
                    </a:lnTo>
                    <a:lnTo>
                      <a:pt x="555" y="329"/>
                    </a:lnTo>
                    <a:lnTo>
                      <a:pt x="557" y="330"/>
                    </a:lnTo>
                    <a:lnTo>
                      <a:pt x="560" y="333"/>
                    </a:lnTo>
                    <a:lnTo>
                      <a:pt x="569" y="345"/>
                    </a:lnTo>
                    <a:lnTo>
                      <a:pt x="577" y="354"/>
                    </a:lnTo>
                    <a:lnTo>
                      <a:pt x="584" y="360"/>
                    </a:lnTo>
                    <a:lnTo>
                      <a:pt x="593" y="365"/>
                    </a:lnTo>
                    <a:lnTo>
                      <a:pt x="601" y="366"/>
                    </a:lnTo>
                    <a:lnTo>
                      <a:pt x="612" y="367"/>
                    </a:lnTo>
                    <a:lnTo>
                      <a:pt x="623" y="367"/>
                    </a:lnTo>
                    <a:lnTo>
                      <a:pt x="639" y="367"/>
                    </a:lnTo>
                    <a:lnTo>
                      <a:pt x="651" y="370"/>
                    </a:lnTo>
                    <a:lnTo>
                      <a:pt x="666" y="373"/>
                    </a:lnTo>
                    <a:lnTo>
                      <a:pt x="679" y="378"/>
                    </a:lnTo>
                    <a:lnTo>
                      <a:pt x="693" y="382"/>
                    </a:lnTo>
                    <a:lnTo>
                      <a:pt x="697" y="384"/>
                    </a:lnTo>
                    <a:lnTo>
                      <a:pt x="703" y="387"/>
                    </a:lnTo>
                    <a:lnTo>
                      <a:pt x="710" y="391"/>
                    </a:lnTo>
                    <a:lnTo>
                      <a:pt x="715" y="392"/>
                    </a:lnTo>
                    <a:lnTo>
                      <a:pt x="715" y="393"/>
                    </a:lnTo>
                    <a:lnTo>
                      <a:pt x="715" y="398"/>
                    </a:lnTo>
                    <a:lnTo>
                      <a:pt x="713" y="403"/>
                    </a:lnTo>
                    <a:lnTo>
                      <a:pt x="710" y="408"/>
                    </a:lnTo>
                    <a:lnTo>
                      <a:pt x="707" y="411"/>
                    </a:lnTo>
                    <a:lnTo>
                      <a:pt x="704" y="415"/>
                    </a:lnTo>
                    <a:lnTo>
                      <a:pt x="703" y="419"/>
                    </a:lnTo>
                    <a:lnTo>
                      <a:pt x="702" y="424"/>
                    </a:lnTo>
                    <a:lnTo>
                      <a:pt x="703" y="431"/>
                    </a:lnTo>
                    <a:lnTo>
                      <a:pt x="704" y="442"/>
                    </a:lnTo>
                    <a:lnTo>
                      <a:pt x="704" y="455"/>
                    </a:lnTo>
                    <a:lnTo>
                      <a:pt x="703" y="468"/>
                    </a:lnTo>
                    <a:lnTo>
                      <a:pt x="703" y="478"/>
                    </a:lnTo>
                    <a:lnTo>
                      <a:pt x="703" y="487"/>
                    </a:lnTo>
                    <a:lnTo>
                      <a:pt x="704" y="494"/>
                    </a:lnTo>
                    <a:lnTo>
                      <a:pt x="706" y="501"/>
                    </a:lnTo>
                    <a:lnTo>
                      <a:pt x="708" y="507"/>
                    </a:lnTo>
                    <a:lnTo>
                      <a:pt x="710" y="511"/>
                    </a:lnTo>
                    <a:lnTo>
                      <a:pt x="714" y="515"/>
                    </a:lnTo>
                    <a:lnTo>
                      <a:pt x="717" y="518"/>
                    </a:lnTo>
                    <a:lnTo>
                      <a:pt x="721" y="522"/>
                    </a:lnTo>
                    <a:lnTo>
                      <a:pt x="730" y="527"/>
                    </a:lnTo>
                    <a:lnTo>
                      <a:pt x="741" y="530"/>
                    </a:lnTo>
                    <a:lnTo>
                      <a:pt x="753" y="534"/>
                    </a:lnTo>
                    <a:lnTo>
                      <a:pt x="765" y="537"/>
                    </a:lnTo>
                    <a:lnTo>
                      <a:pt x="770" y="538"/>
                    </a:lnTo>
                    <a:lnTo>
                      <a:pt x="773" y="541"/>
                    </a:lnTo>
                    <a:lnTo>
                      <a:pt x="776" y="543"/>
                    </a:lnTo>
                    <a:lnTo>
                      <a:pt x="777" y="545"/>
                    </a:lnTo>
                    <a:lnTo>
                      <a:pt x="780" y="553"/>
                    </a:lnTo>
                    <a:lnTo>
                      <a:pt x="782" y="560"/>
                    </a:lnTo>
                    <a:lnTo>
                      <a:pt x="784" y="568"/>
                    </a:lnTo>
                    <a:lnTo>
                      <a:pt x="788" y="576"/>
                    </a:lnTo>
                    <a:lnTo>
                      <a:pt x="790" y="581"/>
                    </a:lnTo>
                    <a:lnTo>
                      <a:pt x="793" y="584"/>
                    </a:lnTo>
                    <a:lnTo>
                      <a:pt x="797" y="588"/>
                    </a:lnTo>
                    <a:lnTo>
                      <a:pt x="802" y="590"/>
                    </a:lnTo>
                    <a:lnTo>
                      <a:pt x="821" y="604"/>
                    </a:lnTo>
                    <a:lnTo>
                      <a:pt x="847" y="623"/>
                    </a:lnTo>
                    <a:lnTo>
                      <a:pt x="859" y="631"/>
                    </a:lnTo>
                    <a:lnTo>
                      <a:pt x="871" y="639"/>
                    </a:lnTo>
                    <a:lnTo>
                      <a:pt x="876" y="640"/>
                    </a:lnTo>
                    <a:lnTo>
                      <a:pt x="881" y="641"/>
                    </a:lnTo>
                    <a:lnTo>
                      <a:pt x="883" y="640"/>
                    </a:lnTo>
                    <a:lnTo>
                      <a:pt x="887" y="639"/>
                    </a:lnTo>
                    <a:lnTo>
                      <a:pt x="890" y="631"/>
                    </a:lnTo>
                    <a:lnTo>
                      <a:pt x="891" y="624"/>
                    </a:lnTo>
                    <a:lnTo>
                      <a:pt x="891" y="616"/>
                    </a:lnTo>
                    <a:lnTo>
                      <a:pt x="889" y="609"/>
                    </a:lnTo>
                    <a:lnTo>
                      <a:pt x="888" y="601"/>
                    </a:lnTo>
                    <a:lnTo>
                      <a:pt x="888" y="594"/>
                    </a:lnTo>
                    <a:lnTo>
                      <a:pt x="888" y="587"/>
                    </a:lnTo>
                    <a:lnTo>
                      <a:pt x="891" y="580"/>
                    </a:lnTo>
                    <a:lnTo>
                      <a:pt x="894" y="576"/>
                    </a:lnTo>
                    <a:lnTo>
                      <a:pt x="897" y="574"/>
                    </a:lnTo>
                    <a:lnTo>
                      <a:pt x="901" y="573"/>
                    </a:lnTo>
                    <a:lnTo>
                      <a:pt x="904" y="573"/>
                    </a:lnTo>
                    <a:lnTo>
                      <a:pt x="914" y="574"/>
                    </a:lnTo>
                    <a:lnTo>
                      <a:pt x="924" y="577"/>
                    </a:lnTo>
                    <a:lnTo>
                      <a:pt x="943" y="587"/>
                    </a:lnTo>
                    <a:lnTo>
                      <a:pt x="957" y="595"/>
                    </a:lnTo>
                    <a:lnTo>
                      <a:pt x="961" y="596"/>
                    </a:lnTo>
                    <a:lnTo>
                      <a:pt x="964" y="596"/>
                    </a:lnTo>
                    <a:lnTo>
                      <a:pt x="966" y="595"/>
                    </a:lnTo>
                    <a:lnTo>
                      <a:pt x="969" y="593"/>
                    </a:lnTo>
                    <a:lnTo>
                      <a:pt x="972" y="587"/>
                    </a:lnTo>
                    <a:lnTo>
                      <a:pt x="976" y="577"/>
                    </a:lnTo>
                    <a:lnTo>
                      <a:pt x="977" y="558"/>
                    </a:lnTo>
                    <a:lnTo>
                      <a:pt x="977" y="544"/>
                    </a:lnTo>
                    <a:lnTo>
                      <a:pt x="976" y="540"/>
                    </a:lnTo>
                    <a:lnTo>
                      <a:pt x="973" y="537"/>
                    </a:lnTo>
                    <a:lnTo>
                      <a:pt x="971" y="536"/>
                    </a:lnTo>
                    <a:lnTo>
                      <a:pt x="968" y="536"/>
                    </a:lnTo>
                    <a:lnTo>
                      <a:pt x="958" y="538"/>
                    </a:lnTo>
                    <a:lnTo>
                      <a:pt x="948" y="542"/>
                    </a:lnTo>
                    <a:lnTo>
                      <a:pt x="937" y="545"/>
                    </a:lnTo>
                    <a:lnTo>
                      <a:pt x="928" y="548"/>
                    </a:lnTo>
                    <a:lnTo>
                      <a:pt x="923" y="548"/>
                    </a:lnTo>
                    <a:lnTo>
                      <a:pt x="919" y="547"/>
                    </a:lnTo>
                    <a:lnTo>
                      <a:pt x="917" y="544"/>
                    </a:lnTo>
                    <a:lnTo>
                      <a:pt x="915" y="540"/>
                    </a:lnTo>
                    <a:lnTo>
                      <a:pt x="911" y="530"/>
                    </a:lnTo>
                    <a:lnTo>
                      <a:pt x="909" y="520"/>
                    </a:lnTo>
                    <a:lnTo>
                      <a:pt x="908" y="509"/>
                    </a:lnTo>
                    <a:lnTo>
                      <a:pt x="907" y="497"/>
                    </a:lnTo>
                    <a:lnTo>
                      <a:pt x="907" y="475"/>
                    </a:lnTo>
                    <a:lnTo>
                      <a:pt x="909" y="453"/>
                    </a:lnTo>
                    <a:lnTo>
                      <a:pt x="910" y="443"/>
                    </a:lnTo>
                    <a:lnTo>
                      <a:pt x="909" y="437"/>
                    </a:lnTo>
                    <a:lnTo>
                      <a:pt x="908" y="433"/>
                    </a:lnTo>
                    <a:lnTo>
                      <a:pt x="907" y="432"/>
                    </a:lnTo>
                    <a:lnTo>
                      <a:pt x="905" y="431"/>
                    </a:lnTo>
                    <a:lnTo>
                      <a:pt x="904" y="430"/>
                    </a:lnTo>
                    <a:lnTo>
                      <a:pt x="899" y="431"/>
                    </a:lnTo>
                    <a:lnTo>
                      <a:pt x="895" y="432"/>
                    </a:lnTo>
                    <a:lnTo>
                      <a:pt x="889" y="436"/>
                    </a:lnTo>
                    <a:lnTo>
                      <a:pt x="883" y="441"/>
                    </a:lnTo>
                    <a:lnTo>
                      <a:pt x="859" y="463"/>
                    </a:lnTo>
                    <a:lnTo>
                      <a:pt x="843" y="477"/>
                    </a:lnTo>
                    <a:lnTo>
                      <a:pt x="841" y="477"/>
                    </a:lnTo>
                    <a:lnTo>
                      <a:pt x="838" y="477"/>
                    </a:lnTo>
                    <a:lnTo>
                      <a:pt x="837" y="475"/>
                    </a:lnTo>
                    <a:lnTo>
                      <a:pt x="835" y="471"/>
                    </a:lnTo>
                    <a:lnTo>
                      <a:pt x="834" y="464"/>
                    </a:lnTo>
                    <a:lnTo>
                      <a:pt x="832" y="453"/>
                    </a:lnTo>
                    <a:lnTo>
                      <a:pt x="831" y="433"/>
                    </a:lnTo>
                    <a:lnTo>
                      <a:pt x="831" y="422"/>
                    </a:lnTo>
                    <a:lnTo>
                      <a:pt x="831" y="420"/>
                    </a:lnTo>
                    <a:lnTo>
                      <a:pt x="832" y="420"/>
                    </a:lnTo>
                    <a:lnTo>
                      <a:pt x="834" y="420"/>
                    </a:lnTo>
                    <a:lnTo>
                      <a:pt x="844" y="419"/>
                    </a:lnTo>
                    <a:lnTo>
                      <a:pt x="852" y="416"/>
                    </a:lnTo>
                    <a:lnTo>
                      <a:pt x="861" y="411"/>
                    </a:lnTo>
                    <a:lnTo>
                      <a:pt x="867" y="405"/>
                    </a:lnTo>
                    <a:lnTo>
                      <a:pt x="872" y="400"/>
                    </a:lnTo>
                    <a:lnTo>
                      <a:pt x="878" y="396"/>
                    </a:lnTo>
                    <a:lnTo>
                      <a:pt x="883" y="392"/>
                    </a:lnTo>
                    <a:lnTo>
                      <a:pt x="889" y="391"/>
                    </a:lnTo>
                    <a:lnTo>
                      <a:pt x="895" y="393"/>
                    </a:lnTo>
                    <a:lnTo>
                      <a:pt x="902" y="397"/>
                    </a:lnTo>
                    <a:lnTo>
                      <a:pt x="909" y="403"/>
                    </a:lnTo>
                    <a:lnTo>
                      <a:pt x="916" y="409"/>
                    </a:lnTo>
                    <a:lnTo>
                      <a:pt x="924" y="416"/>
                    </a:lnTo>
                    <a:lnTo>
                      <a:pt x="931" y="422"/>
                    </a:lnTo>
                    <a:lnTo>
                      <a:pt x="937" y="428"/>
                    </a:lnTo>
                    <a:lnTo>
                      <a:pt x="943" y="430"/>
                    </a:lnTo>
                    <a:lnTo>
                      <a:pt x="939" y="449"/>
                    </a:lnTo>
                    <a:lnTo>
                      <a:pt x="934" y="466"/>
                    </a:lnTo>
                    <a:lnTo>
                      <a:pt x="934" y="471"/>
                    </a:lnTo>
                    <a:lnTo>
                      <a:pt x="932" y="475"/>
                    </a:lnTo>
                    <a:lnTo>
                      <a:pt x="934" y="479"/>
                    </a:lnTo>
                    <a:lnTo>
                      <a:pt x="935" y="483"/>
                    </a:lnTo>
                    <a:lnTo>
                      <a:pt x="936" y="487"/>
                    </a:lnTo>
                    <a:lnTo>
                      <a:pt x="939" y="490"/>
                    </a:lnTo>
                    <a:lnTo>
                      <a:pt x="943" y="492"/>
                    </a:lnTo>
                    <a:lnTo>
                      <a:pt x="948" y="495"/>
                    </a:lnTo>
                    <a:lnTo>
                      <a:pt x="956" y="497"/>
                    </a:lnTo>
                    <a:lnTo>
                      <a:pt x="965" y="497"/>
                    </a:lnTo>
                    <a:lnTo>
                      <a:pt x="975" y="496"/>
                    </a:lnTo>
                    <a:lnTo>
                      <a:pt x="985" y="494"/>
                    </a:lnTo>
                    <a:lnTo>
                      <a:pt x="995" y="490"/>
                    </a:lnTo>
                    <a:lnTo>
                      <a:pt x="1003" y="485"/>
                    </a:lnTo>
                    <a:lnTo>
                      <a:pt x="1006" y="483"/>
                    </a:lnTo>
                    <a:lnTo>
                      <a:pt x="1009" y="481"/>
                    </a:lnTo>
                    <a:lnTo>
                      <a:pt x="1011" y="477"/>
                    </a:lnTo>
                    <a:lnTo>
                      <a:pt x="1012" y="475"/>
                    </a:lnTo>
                    <a:lnTo>
                      <a:pt x="1019" y="476"/>
                    </a:lnTo>
                    <a:lnTo>
                      <a:pt x="1023" y="478"/>
                    </a:lnTo>
                    <a:lnTo>
                      <a:pt x="1026" y="481"/>
                    </a:lnTo>
                    <a:lnTo>
                      <a:pt x="1030" y="483"/>
                    </a:lnTo>
                    <a:lnTo>
                      <a:pt x="1029" y="505"/>
                    </a:lnTo>
                    <a:lnTo>
                      <a:pt x="1028" y="530"/>
                    </a:lnTo>
                    <a:lnTo>
                      <a:pt x="1029" y="542"/>
                    </a:lnTo>
                    <a:lnTo>
                      <a:pt x="1031" y="553"/>
                    </a:lnTo>
                    <a:lnTo>
                      <a:pt x="1032" y="558"/>
                    </a:lnTo>
                    <a:lnTo>
                      <a:pt x="1035" y="563"/>
                    </a:lnTo>
                    <a:lnTo>
                      <a:pt x="1038" y="568"/>
                    </a:lnTo>
                    <a:lnTo>
                      <a:pt x="1042" y="571"/>
                    </a:lnTo>
                    <a:lnTo>
                      <a:pt x="1062" y="593"/>
                    </a:lnTo>
                    <a:lnTo>
                      <a:pt x="1092" y="622"/>
                    </a:lnTo>
                    <a:lnTo>
                      <a:pt x="1107" y="637"/>
                    </a:lnTo>
                    <a:lnTo>
                      <a:pt x="1123" y="649"/>
                    </a:lnTo>
                    <a:lnTo>
                      <a:pt x="1129" y="654"/>
                    </a:lnTo>
                    <a:lnTo>
                      <a:pt x="1135" y="657"/>
                    </a:lnTo>
                    <a:lnTo>
                      <a:pt x="1140" y="660"/>
                    </a:lnTo>
                    <a:lnTo>
                      <a:pt x="1144" y="661"/>
                    </a:lnTo>
                    <a:lnTo>
                      <a:pt x="1144" y="654"/>
                    </a:lnTo>
                    <a:lnTo>
                      <a:pt x="1143" y="647"/>
                    </a:lnTo>
                    <a:lnTo>
                      <a:pt x="1140" y="640"/>
                    </a:lnTo>
                    <a:lnTo>
                      <a:pt x="1138" y="634"/>
                    </a:lnTo>
                    <a:lnTo>
                      <a:pt x="1133" y="622"/>
                    </a:lnTo>
                    <a:lnTo>
                      <a:pt x="1129" y="609"/>
                    </a:lnTo>
                    <a:lnTo>
                      <a:pt x="1119" y="598"/>
                    </a:lnTo>
                    <a:lnTo>
                      <a:pt x="1110" y="590"/>
                    </a:lnTo>
                    <a:lnTo>
                      <a:pt x="1100" y="584"/>
                    </a:lnTo>
                    <a:lnTo>
                      <a:pt x="1090" y="581"/>
                    </a:lnTo>
                    <a:lnTo>
                      <a:pt x="1084" y="577"/>
                    </a:lnTo>
                    <a:lnTo>
                      <a:pt x="1078" y="576"/>
                    </a:lnTo>
                    <a:lnTo>
                      <a:pt x="1071" y="573"/>
                    </a:lnTo>
                    <a:lnTo>
                      <a:pt x="1065" y="568"/>
                    </a:lnTo>
                    <a:lnTo>
                      <a:pt x="1060" y="562"/>
                    </a:lnTo>
                    <a:lnTo>
                      <a:pt x="1057" y="555"/>
                    </a:lnTo>
                    <a:lnTo>
                      <a:pt x="1055" y="551"/>
                    </a:lnTo>
                    <a:lnTo>
                      <a:pt x="1053" y="548"/>
                    </a:lnTo>
                    <a:lnTo>
                      <a:pt x="1052" y="543"/>
                    </a:lnTo>
                    <a:lnTo>
                      <a:pt x="1052" y="537"/>
                    </a:lnTo>
                    <a:lnTo>
                      <a:pt x="1052" y="525"/>
                    </a:lnTo>
                    <a:lnTo>
                      <a:pt x="1053" y="517"/>
                    </a:lnTo>
                    <a:lnTo>
                      <a:pt x="1057" y="505"/>
                    </a:lnTo>
                    <a:lnTo>
                      <a:pt x="1059" y="495"/>
                    </a:lnTo>
                    <a:lnTo>
                      <a:pt x="1063" y="483"/>
                    </a:lnTo>
                    <a:lnTo>
                      <a:pt x="1065" y="470"/>
                    </a:lnTo>
                    <a:lnTo>
                      <a:pt x="1057" y="456"/>
                    </a:lnTo>
                    <a:lnTo>
                      <a:pt x="1050" y="441"/>
                    </a:lnTo>
                    <a:lnTo>
                      <a:pt x="1046" y="426"/>
                    </a:lnTo>
                    <a:lnTo>
                      <a:pt x="1043" y="413"/>
                    </a:lnTo>
                    <a:lnTo>
                      <a:pt x="1043" y="412"/>
                    </a:lnTo>
                    <a:lnTo>
                      <a:pt x="1043" y="411"/>
                    </a:lnTo>
                    <a:lnTo>
                      <a:pt x="1042" y="391"/>
                    </a:lnTo>
                    <a:lnTo>
                      <a:pt x="1040" y="371"/>
                    </a:lnTo>
                    <a:lnTo>
                      <a:pt x="1040" y="362"/>
                    </a:lnTo>
                    <a:lnTo>
                      <a:pt x="1042" y="351"/>
                    </a:lnTo>
                    <a:lnTo>
                      <a:pt x="1043" y="342"/>
                    </a:lnTo>
                    <a:lnTo>
                      <a:pt x="1045" y="331"/>
                    </a:lnTo>
                    <a:lnTo>
                      <a:pt x="1048" y="319"/>
                    </a:lnTo>
                    <a:lnTo>
                      <a:pt x="1049" y="307"/>
                    </a:lnTo>
                    <a:lnTo>
                      <a:pt x="1048" y="306"/>
                    </a:lnTo>
                    <a:lnTo>
                      <a:pt x="1043" y="305"/>
                    </a:lnTo>
                    <a:lnTo>
                      <a:pt x="1037" y="304"/>
                    </a:lnTo>
                    <a:lnTo>
                      <a:pt x="1030" y="304"/>
                    </a:lnTo>
                    <a:lnTo>
                      <a:pt x="1015" y="304"/>
                    </a:lnTo>
                    <a:lnTo>
                      <a:pt x="1005" y="305"/>
                    </a:lnTo>
                    <a:lnTo>
                      <a:pt x="998" y="304"/>
                    </a:lnTo>
                    <a:lnTo>
                      <a:pt x="993" y="301"/>
                    </a:lnTo>
                    <a:lnTo>
                      <a:pt x="990" y="299"/>
                    </a:lnTo>
                    <a:lnTo>
                      <a:pt x="988" y="294"/>
                    </a:lnTo>
                    <a:lnTo>
                      <a:pt x="984" y="284"/>
                    </a:lnTo>
                    <a:lnTo>
                      <a:pt x="981" y="272"/>
                    </a:lnTo>
                    <a:lnTo>
                      <a:pt x="975" y="267"/>
                    </a:lnTo>
                    <a:lnTo>
                      <a:pt x="969" y="263"/>
                    </a:lnTo>
                    <a:lnTo>
                      <a:pt x="965" y="258"/>
                    </a:lnTo>
                    <a:lnTo>
                      <a:pt x="962" y="252"/>
                    </a:lnTo>
                    <a:lnTo>
                      <a:pt x="959" y="246"/>
                    </a:lnTo>
                    <a:lnTo>
                      <a:pt x="958" y="240"/>
                    </a:lnTo>
                    <a:lnTo>
                      <a:pt x="959" y="233"/>
                    </a:lnTo>
                    <a:lnTo>
                      <a:pt x="963" y="224"/>
                    </a:lnTo>
                    <a:lnTo>
                      <a:pt x="969" y="210"/>
                    </a:lnTo>
                    <a:lnTo>
                      <a:pt x="973" y="194"/>
                    </a:lnTo>
                    <a:lnTo>
                      <a:pt x="979" y="179"/>
                    </a:lnTo>
                    <a:lnTo>
                      <a:pt x="986" y="164"/>
                    </a:lnTo>
                    <a:lnTo>
                      <a:pt x="996" y="146"/>
                    </a:lnTo>
                    <a:lnTo>
                      <a:pt x="1006" y="129"/>
                    </a:lnTo>
                    <a:lnTo>
                      <a:pt x="1018" y="113"/>
                    </a:lnTo>
                    <a:lnTo>
                      <a:pt x="1030" y="98"/>
                    </a:lnTo>
                    <a:lnTo>
                      <a:pt x="1056" y="66"/>
                    </a:lnTo>
                    <a:lnTo>
                      <a:pt x="1080" y="34"/>
                    </a:lnTo>
                    <a:lnTo>
                      <a:pt x="1086" y="29"/>
                    </a:lnTo>
                    <a:lnTo>
                      <a:pt x="1095" y="21"/>
                    </a:lnTo>
                    <a:lnTo>
                      <a:pt x="1099" y="17"/>
                    </a:lnTo>
                    <a:lnTo>
                      <a:pt x="1102" y="13"/>
                    </a:lnTo>
                    <a:lnTo>
                      <a:pt x="1102" y="12"/>
                    </a:lnTo>
                    <a:lnTo>
                      <a:pt x="1102" y="10"/>
                    </a:lnTo>
                    <a:lnTo>
                      <a:pt x="1102" y="9"/>
                    </a:lnTo>
                    <a:lnTo>
                      <a:pt x="1100" y="8"/>
                    </a:lnTo>
                    <a:lnTo>
                      <a:pt x="1090" y="8"/>
                    </a:lnTo>
                    <a:lnTo>
                      <a:pt x="1077" y="9"/>
                    </a:lnTo>
                    <a:lnTo>
                      <a:pt x="1071" y="9"/>
                    </a:lnTo>
                    <a:lnTo>
                      <a:pt x="1065" y="8"/>
                    </a:lnTo>
                    <a:lnTo>
                      <a:pt x="1064" y="7"/>
                    </a:lnTo>
                    <a:lnTo>
                      <a:pt x="1062" y="4"/>
                    </a:lnTo>
                    <a:lnTo>
                      <a:pt x="1060" y="2"/>
                    </a:lnTo>
                    <a:lnTo>
                      <a:pt x="1059" y="0"/>
                    </a:lnTo>
                    <a:lnTo>
                      <a:pt x="1057" y="6"/>
                    </a:lnTo>
                    <a:lnTo>
                      <a:pt x="1055" y="20"/>
                    </a:lnTo>
                    <a:lnTo>
                      <a:pt x="1053" y="35"/>
                    </a:lnTo>
                    <a:lnTo>
                      <a:pt x="1051" y="43"/>
                    </a:lnTo>
                    <a:lnTo>
                      <a:pt x="1049" y="50"/>
                    </a:lnTo>
                    <a:lnTo>
                      <a:pt x="1046" y="55"/>
                    </a:lnTo>
                    <a:lnTo>
                      <a:pt x="1043" y="59"/>
                    </a:lnTo>
                    <a:lnTo>
                      <a:pt x="1039" y="62"/>
                    </a:lnTo>
                    <a:lnTo>
                      <a:pt x="1031" y="68"/>
                    </a:lnTo>
                    <a:lnTo>
                      <a:pt x="1024" y="78"/>
                    </a:lnTo>
                    <a:lnTo>
                      <a:pt x="1019" y="82"/>
                    </a:lnTo>
                    <a:lnTo>
                      <a:pt x="1015" y="87"/>
                    </a:lnTo>
                    <a:lnTo>
                      <a:pt x="1010" y="90"/>
                    </a:lnTo>
                    <a:lnTo>
                      <a:pt x="1005" y="93"/>
                    </a:lnTo>
                    <a:lnTo>
                      <a:pt x="996" y="95"/>
                    </a:lnTo>
                    <a:lnTo>
                      <a:pt x="985" y="96"/>
                    </a:lnTo>
                    <a:lnTo>
                      <a:pt x="963" y="95"/>
                    </a:lnTo>
                    <a:lnTo>
                      <a:pt x="939" y="93"/>
                    </a:lnTo>
                    <a:lnTo>
                      <a:pt x="922" y="95"/>
                    </a:lnTo>
                    <a:lnTo>
                      <a:pt x="899" y="99"/>
                    </a:lnTo>
                    <a:lnTo>
                      <a:pt x="889" y="100"/>
                    </a:lnTo>
                    <a:lnTo>
                      <a:pt x="879" y="100"/>
                    </a:lnTo>
                    <a:lnTo>
                      <a:pt x="875" y="100"/>
                    </a:lnTo>
                    <a:lnTo>
                      <a:pt x="871" y="99"/>
                    </a:lnTo>
                    <a:lnTo>
                      <a:pt x="869" y="96"/>
                    </a:lnTo>
                    <a:lnTo>
                      <a:pt x="868" y="94"/>
                    </a:lnTo>
                    <a:lnTo>
                      <a:pt x="863" y="88"/>
                    </a:lnTo>
                    <a:lnTo>
                      <a:pt x="858" y="83"/>
                    </a:lnTo>
                    <a:lnTo>
                      <a:pt x="854" y="79"/>
                    </a:lnTo>
                    <a:lnTo>
                      <a:pt x="848" y="76"/>
                    </a:lnTo>
                    <a:lnTo>
                      <a:pt x="838" y="72"/>
                    </a:lnTo>
                    <a:lnTo>
                      <a:pt x="830" y="67"/>
                    </a:lnTo>
                    <a:lnTo>
                      <a:pt x="830" y="67"/>
                    </a:lnTo>
                    <a:lnTo>
                      <a:pt x="800" y="131"/>
                    </a:lnTo>
                    <a:lnTo>
                      <a:pt x="797" y="151"/>
                    </a:lnTo>
                    <a:lnTo>
                      <a:pt x="793" y="171"/>
                    </a:lnTo>
                    <a:lnTo>
                      <a:pt x="785" y="189"/>
                    </a:lnTo>
                    <a:lnTo>
                      <a:pt x="778" y="207"/>
                    </a:lnTo>
                    <a:lnTo>
                      <a:pt x="771" y="224"/>
                    </a:lnTo>
                    <a:lnTo>
                      <a:pt x="763" y="241"/>
                    </a:lnTo>
                    <a:lnTo>
                      <a:pt x="757" y="259"/>
                    </a:lnTo>
                    <a:lnTo>
                      <a:pt x="751" y="277"/>
                    </a:lnTo>
                    <a:lnTo>
                      <a:pt x="749" y="279"/>
                    </a:lnTo>
                    <a:lnTo>
                      <a:pt x="745" y="283"/>
                    </a:lnTo>
                    <a:lnTo>
                      <a:pt x="744" y="284"/>
                    </a:lnTo>
                    <a:lnTo>
                      <a:pt x="743" y="286"/>
                    </a:lnTo>
                    <a:lnTo>
                      <a:pt x="740" y="288"/>
                    </a:lnTo>
                    <a:lnTo>
                      <a:pt x="734" y="296"/>
                    </a:lnTo>
                    <a:lnTo>
                      <a:pt x="729" y="303"/>
                    </a:lnTo>
                    <a:lnTo>
                      <a:pt x="727" y="307"/>
                    </a:lnTo>
                    <a:lnTo>
                      <a:pt x="720" y="317"/>
                    </a:lnTo>
                    <a:lnTo>
                      <a:pt x="713" y="325"/>
                    </a:lnTo>
                    <a:lnTo>
                      <a:pt x="713" y="329"/>
                    </a:lnTo>
                    <a:lnTo>
                      <a:pt x="710" y="330"/>
                    </a:lnTo>
                    <a:lnTo>
                      <a:pt x="706" y="333"/>
                    </a:lnTo>
                    <a:lnTo>
                      <a:pt x="700" y="338"/>
                    </a:lnTo>
                    <a:lnTo>
                      <a:pt x="698" y="339"/>
                    </a:lnTo>
                    <a:lnTo>
                      <a:pt x="697" y="342"/>
                    </a:lnTo>
                    <a:lnTo>
                      <a:pt x="695" y="343"/>
                    </a:lnTo>
                    <a:lnTo>
                      <a:pt x="691" y="343"/>
                    </a:lnTo>
                    <a:lnTo>
                      <a:pt x="689" y="344"/>
                    </a:lnTo>
                    <a:lnTo>
                      <a:pt x="687" y="346"/>
                    </a:lnTo>
                    <a:lnTo>
                      <a:pt x="676" y="346"/>
                    </a:lnTo>
                    <a:lnTo>
                      <a:pt x="673" y="344"/>
                    </a:lnTo>
                    <a:lnTo>
                      <a:pt x="666" y="343"/>
                    </a:lnTo>
                    <a:lnTo>
                      <a:pt x="659" y="342"/>
                    </a:lnTo>
                    <a:lnTo>
                      <a:pt x="653" y="342"/>
                    </a:lnTo>
                    <a:lnTo>
                      <a:pt x="650" y="339"/>
                    </a:lnTo>
                    <a:lnTo>
                      <a:pt x="646" y="338"/>
                    </a:lnTo>
                    <a:lnTo>
                      <a:pt x="640" y="336"/>
                    </a:lnTo>
                    <a:lnTo>
                      <a:pt x="633" y="334"/>
                    </a:lnTo>
                    <a:lnTo>
                      <a:pt x="627" y="333"/>
                    </a:lnTo>
                    <a:lnTo>
                      <a:pt x="620" y="332"/>
                    </a:lnTo>
                    <a:lnTo>
                      <a:pt x="615" y="330"/>
                    </a:lnTo>
                    <a:lnTo>
                      <a:pt x="613" y="326"/>
                    </a:lnTo>
                    <a:lnTo>
                      <a:pt x="608" y="326"/>
                    </a:lnTo>
                    <a:lnTo>
                      <a:pt x="602" y="325"/>
                    </a:lnTo>
                    <a:lnTo>
                      <a:pt x="601" y="323"/>
                    </a:lnTo>
                    <a:lnTo>
                      <a:pt x="599" y="321"/>
                    </a:lnTo>
                    <a:lnTo>
                      <a:pt x="596" y="320"/>
                    </a:lnTo>
                    <a:lnTo>
                      <a:pt x="594" y="320"/>
                    </a:lnTo>
                    <a:lnTo>
                      <a:pt x="586" y="320"/>
                    </a:lnTo>
                    <a:lnTo>
                      <a:pt x="577" y="320"/>
                    </a:lnTo>
                    <a:lnTo>
                      <a:pt x="560" y="324"/>
                    </a:lnTo>
                    <a:lnTo>
                      <a:pt x="549" y="325"/>
                    </a:lnTo>
                    <a:lnTo>
                      <a:pt x="547" y="327"/>
                    </a:lnTo>
                    <a:lnTo>
                      <a:pt x="543" y="329"/>
                    </a:lnTo>
                    <a:lnTo>
                      <a:pt x="541" y="332"/>
                    </a:lnTo>
                    <a:lnTo>
                      <a:pt x="540" y="336"/>
                    </a:lnTo>
                    <a:lnTo>
                      <a:pt x="537" y="337"/>
                    </a:lnTo>
                    <a:lnTo>
                      <a:pt x="536" y="339"/>
                    </a:lnTo>
                    <a:lnTo>
                      <a:pt x="536" y="342"/>
                    </a:lnTo>
                    <a:lnTo>
                      <a:pt x="536" y="345"/>
                    </a:lnTo>
                    <a:lnTo>
                      <a:pt x="536" y="353"/>
                    </a:lnTo>
                    <a:lnTo>
                      <a:pt x="537" y="362"/>
                    </a:lnTo>
                    <a:lnTo>
                      <a:pt x="540" y="379"/>
                    </a:lnTo>
                    <a:lnTo>
                      <a:pt x="542" y="390"/>
                    </a:lnTo>
                    <a:lnTo>
                      <a:pt x="545" y="391"/>
                    </a:lnTo>
                    <a:lnTo>
                      <a:pt x="546" y="395"/>
                    </a:lnTo>
                    <a:lnTo>
                      <a:pt x="547" y="396"/>
                    </a:lnTo>
                    <a:lnTo>
                      <a:pt x="549" y="396"/>
                    </a:lnTo>
                    <a:lnTo>
                      <a:pt x="549" y="398"/>
                    </a:lnTo>
                    <a:lnTo>
                      <a:pt x="552" y="399"/>
                    </a:lnTo>
                    <a:lnTo>
                      <a:pt x="553" y="402"/>
                    </a:lnTo>
                    <a:lnTo>
                      <a:pt x="555" y="403"/>
                    </a:lnTo>
                    <a:lnTo>
                      <a:pt x="556" y="405"/>
                    </a:lnTo>
                    <a:lnTo>
                      <a:pt x="560" y="408"/>
                    </a:lnTo>
                    <a:lnTo>
                      <a:pt x="562" y="412"/>
                    </a:lnTo>
                    <a:lnTo>
                      <a:pt x="565" y="417"/>
                    </a:lnTo>
                    <a:lnTo>
                      <a:pt x="569" y="423"/>
                    </a:lnTo>
                    <a:lnTo>
                      <a:pt x="573" y="430"/>
                    </a:lnTo>
                    <a:lnTo>
                      <a:pt x="575" y="433"/>
                    </a:lnTo>
                    <a:lnTo>
                      <a:pt x="579" y="437"/>
                    </a:lnTo>
                    <a:lnTo>
                      <a:pt x="583" y="464"/>
                    </a:lnTo>
                    <a:lnTo>
                      <a:pt x="590" y="505"/>
                    </a:lnTo>
                    <a:lnTo>
                      <a:pt x="592" y="516"/>
                    </a:lnTo>
                    <a:lnTo>
                      <a:pt x="593" y="527"/>
                    </a:lnTo>
                    <a:lnTo>
                      <a:pt x="592" y="536"/>
                    </a:lnTo>
                    <a:lnTo>
                      <a:pt x="590" y="545"/>
                    </a:lnTo>
                    <a:lnTo>
                      <a:pt x="588" y="553"/>
                    </a:lnTo>
                    <a:lnTo>
                      <a:pt x="586" y="560"/>
                    </a:lnTo>
                    <a:lnTo>
                      <a:pt x="583" y="562"/>
                    </a:lnTo>
                    <a:lnTo>
                      <a:pt x="580" y="564"/>
                    </a:lnTo>
                    <a:lnTo>
                      <a:pt x="577" y="565"/>
                    </a:lnTo>
                    <a:lnTo>
                      <a:pt x="574" y="567"/>
                    </a:lnTo>
                    <a:lnTo>
                      <a:pt x="572" y="571"/>
                    </a:lnTo>
                    <a:lnTo>
                      <a:pt x="568" y="576"/>
                    </a:lnTo>
                    <a:lnTo>
                      <a:pt x="562" y="580"/>
                    </a:lnTo>
                    <a:lnTo>
                      <a:pt x="555" y="583"/>
                    </a:lnTo>
                    <a:lnTo>
                      <a:pt x="539" y="589"/>
                    </a:lnTo>
                    <a:lnTo>
                      <a:pt x="519" y="593"/>
                    </a:lnTo>
                    <a:lnTo>
                      <a:pt x="499" y="596"/>
                    </a:lnTo>
                    <a:lnTo>
                      <a:pt x="479" y="597"/>
                    </a:lnTo>
                    <a:lnTo>
                      <a:pt x="462" y="598"/>
                    </a:lnTo>
                    <a:lnTo>
                      <a:pt x="449" y="598"/>
                    </a:lnTo>
                    <a:lnTo>
                      <a:pt x="442" y="598"/>
                    </a:lnTo>
                    <a:lnTo>
                      <a:pt x="434" y="597"/>
                    </a:lnTo>
                    <a:lnTo>
                      <a:pt x="427" y="596"/>
                    </a:lnTo>
                    <a:lnTo>
                      <a:pt x="421" y="594"/>
                    </a:lnTo>
                    <a:lnTo>
                      <a:pt x="411" y="588"/>
                    </a:lnTo>
                    <a:lnTo>
                      <a:pt x="401" y="581"/>
                    </a:lnTo>
                    <a:lnTo>
                      <a:pt x="393" y="573"/>
                    </a:lnTo>
                    <a:lnTo>
                      <a:pt x="386" y="563"/>
                    </a:lnTo>
                    <a:lnTo>
                      <a:pt x="379" y="553"/>
                    </a:lnTo>
                    <a:lnTo>
                      <a:pt x="373" y="542"/>
                    </a:lnTo>
                    <a:lnTo>
                      <a:pt x="368" y="532"/>
                    </a:lnTo>
                    <a:lnTo>
                      <a:pt x="362" y="522"/>
                    </a:lnTo>
                    <a:lnTo>
                      <a:pt x="356" y="512"/>
                    </a:lnTo>
                    <a:lnTo>
                      <a:pt x="349" y="504"/>
                    </a:lnTo>
                    <a:lnTo>
                      <a:pt x="341" y="497"/>
                    </a:lnTo>
                    <a:lnTo>
                      <a:pt x="333" y="491"/>
                    </a:lnTo>
                    <a:lnTo>
                      <a:pt x="327" y="489"/>
                    </a:lnTo>
                    <a:lnTo>
                      <a:pt x="322" y="488"/>
                    </a:lnTo>
                    <a:lnTo>
                      <a:pt x="317" y="487"/>
                    </a:lnTo>
                    <a:lnTo>
                      <a:pt x="309" y="487"/>
                    </a:lnTo>
                    <a:lnTo>
                      <a:pt x="300" y="488"/>
                    </a:lnTo>
                    <a:lnTo>
                      <a:pt x="288" y="492"/>
                    </a:lnTo>
                    <a:lnTo>
                      <a:pt x="273" y="499"/>
                    </a:lnTo>
                    <a:lnTo>
                      <a:pt x="257" y="508"/>
                    </a:lnTo>
                    <a:lnTo>
                      <a:pt x="240" y="516"/>
                    </a:lnTo>
                    <a:lnTo>
                      <a:pt x="224" y="524"/>
                    </a:lnTo>
                    <a:lnTo>
                      <a:pt x="208" y="531"/>
                    </a:lnTo>
                    <a:lnTo>
                      <a:pt x="197" y="535"/>
                    </a:lnTo>
                    <a:lnTo>
                      <a:pt x="186" y="540"/>
                    </a:lnTo>
                    <a:lnTo>
                      <a:pt x="174" y="544"/>
                    </a:lnTo>
                    <a:lnTo>
                      <a:pt x="164" y="549"/>
                    </a:lnTo>
                    <a:lnTo>
                      <a:pt x="153" y="555"/>
                    </a:lnTo>
                    <a:lnTo>
                      <a:pt x="144" y="561"/>
                    </a:lnTo>
                    <a:lnTo>
                      <a:pt x="134" y="567"/>
                    </a:lnTo>
                    <a:lnTo>
                      <a:pt x="125" y="570"/>
                    </a:lnTo>
                    <a:lnTo>
                      <a:pt x="117" y="574"/>
                    </a:lnTo>
                    <a:lnTo>
                      <a:pt x="118" y="657"/>
                    </a:lnTo>
                    <a:lnTo>
                      <a:pt x="150" y="763"/>
                    </a:lnTo>
                    <a:lnTo>
                      <a:pt x="150" y="763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0">
                <a:extLst>
                  <a:ext uri="{FF2B5EF4-FFF2-40B4-BE49-F238E27FC236}">
                    <a16:creationId xmlns:a16="http://schemas.microsoft.com/office/drawing/2014/main" id="{E50EB25D-4322-4B78-83E9-4E4E67475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50394" y="2654127"/>
                <a:ext cx="1065551" cy="957475"/>
              </a:xfrm>
              <a:custGeom>
                <a:avLst/>
                <a:gdLst>
                  <a:gd name="T0" fmla="*/ 2465 w 4346"/>
                  <a:gd name="T1" fmla="*/ 3734 h 3906"/>
                  <a:gd name="T2" fmla="*/ 2604 w 4346"/>
                  <a:gd name="T3" fmla="*/ 3654 h 3906"/>
                  <a:gd name="T4" fmla="*/ 2732 w 4346"/>
                  <a:gd name="T5" fmla="*/ 3582 h 3906"/>
                  <a:gd name="T6" fmla="*/ 2817 w 4346"/>
                  <a:gd name="T7" fmla="*/ 3437 h 3906"/>
                  <a:gd name="T8" fmla="*/ 2851 w 4346"/>
                  <a:gd name="T9" fmla="*/ 2932 h 3906"/>
                  <a:gd name="T10" fmla="*/ 3031 w 4346"/>
                  <a:gd name="T11" fmla="*/ 2801 h 3906"/>
                  <a:gd name="T12" fmla="*/ 3298 w 4346"/>
                  <a:gd name="T13" fmla="*/ 2812 h 3906"/>
                  <a:gd name="T14" fmla="*/ 3348 w 4346"/>
                  <a:gd name="T15" fmla="*/ 2892 h 3906"/>
                  <a:gd name="T16" fmla="*/ 3426 w 4346"/>
                  <a:gd name="T17" fmla="*/ 2964 h 3906"/>
                  <a:gd name="T18" fmla="*/ 3612 w 4346"/>
                  <a:gd name="T19" fmla="*/ 2887 h 3906"/>
                  <a:gd name="T20" fmla="*/ 3633 w 4346"/>
                  <a:gd name="T21" fmla="*/ 2573 h 3906"/>
                  <a:gd name="T22" fmla="*/ 3816 w 4346"/>
                  <a:gd name="T23" fmla="*/ 2487 h 3906"/>
                  <a:gd name="T24" fmla="*/ 3917 w 4346"/>
                  <a:gd name="T25" fmla="*/ 2580 h 3906"/>
                  <a:gd name="T26" fmla="*/ 4088 w 4346"/>
                  <a:gd name="T27" fmla="*/ 2570 h 3906"/>
                  <a:gd name="T28" fmla="*/ 4089 w 4346"/>
                  <a:gd name="T29" fmla="*/ 2429 h 3906"/>
                  <a:gd name="T30" fmla="*/ 4056 w 4346"/>
                  <a:gd name="T31" fmla="*/ 2378 h 3906"/>
                  <a:gd name="T32" fmla="*/ 4110 w 4346"/>
                  <a:gd name="T33" fmla="*/ 2319 h 3906"/>
                  <a:gd name="T34" fmla="*/ 4175 w 4346"/>
                  <a:gd name="T35" fmla="*/ 2341 h 3906"/>
                  <a:gd name="T36" fmla="*/ 4236 w 4346"/>
                  <a:gd name="T37" fmla="*/ 2316 h 3906"/>
                  <a:gd name="T38" fmla="*/ 4309 w 4346"/>
                  <a:gd name="T39" fmla="*/ 2170 h 3906"/>
                  <a:gd name="T40" fmla="*/ 4323 w 4346"/>
                  <a:gd name="T41" fmla="*/ 2002 h 3906"/>
                  <a:gd name="T42" fmla="*/ 4240 w 4346"/>
                  <a:gd name="T43" fmla="*/ 1841 h 3906"/>
                  <a:gd name="T44" fmla="*/ 4240 w 4346"/>
                  <a:gd name="T45" fmla="*/ 1683 h 3906"/>
                  <a:gd name="T46" fmla="*/ 4283 w 4346"/>
                  <a:gd name="T47" fmla="*/ 1540 h 3906"/>
                  <a:gd name="T48" fmla="*/ 4116 w 4346"/>
                  <a:gd name="T49" fmla="*/ 1260 h 3906"/>
                  <a:gd name="T50" fmla="*/ 4227 w 4346"/>
                  <a:gd name="T51" fmla="*/ 1149 h 3906"/>
                  <a:gd name="T52" fmla="*/ 4180 w 4346"/>
                  <a:gd name="T53" fmla="*/ 934 h 3906"/>
                  <a:gd name="T54" fmla="*/ 3944 w 4346"/>
                  <a:gd name="T55" fmla="*/ 949 h 3906"/>
                  <a:gd name="T56" fmla="*/ 3755 w 4346"/>
                  <a:gd name="T57" fmla="*/ 931 h 3906"/>
                  <a:gd name="T58" fmla="*/ 3689 w 4346"/>
                  <a:gd name="T59" fmla="*/ 867 h 3906"/>
                  <a:gd name="T60" fmla="*/ 3590 w 4346"/>
                  <a:gd name="T61" fmla="*/ 923 h 3906"/>
                  <a:gd name="T62" fmla="*/ 3212 w 4346"/>
                  <a:gd name="T63" fmla="*/ 594 h 3906"/>
                  <a:gd name="T64" fmla="*/ 3287 w 4346"/>
                  <a:gd name="T65" fmla="*/ 524 h 3906"/>
                  <a:gd name="T66" fmla="*/ 3126 w 4346"/>
                  <a:gd name="T67" fmla="*/ 85 h 3906"/>
                  <a:gd name="T68" fmla="*/ 3040 w 4346"/>
                  <a:gd name="T69" fmla="*/ 210 h 3906"/>
                  <a:gd name="T70" fmla="*/ 1114 w 4346"/>
                  <a:gd name="T71" fmla="*/ 1421 h 3906"/>
                  <a:gd name="T72" fmla="*/ 1363 w 4346"/>
                  <a:gd name="T73" fmla="*/ 1301 h 3906"/>
                  <a:gd name="T74" fmla="*/ 1489 w 4346"/>
                  <a:gd name="T75" fmla="*/ 1325 h 3906"/>
                  <a:gd name="T76" fmla="*/ 1652 w 4346"/>
                  <a:gd name="T77" fmla="*/ 1306 h 3906"/>
                  <a:gd name="T78" fmla="*/ 1806 w 4346"/>
                  <a:gd name="T79" fmla="*/ 1374 h 3906"/>
                  <a:gd name="T80" fmla="*/ 1792 w 4346"/>
                  <a:gd name="T81" fmla="*/ 1616 h 3906"/>
                  <a:gd name="T82" fmla="*/ 1711 w 4346"/>
                  <a:gd name="T83" fmla="*/ 1787 h 3906"/>
                  <a:gd name="T84" fmla="*/ 1768 w 4346"/>
                  <a:gd name="T85" fmla="*/ 1924 h 3906"/>
                  <a:gd name="T86" fmla="*/ 1711 w 4346"/>
                  <a:gd name="T87" fmla="*/ 2174 h 3906"/>
                  <a:gd name="T88" fmla="*/ 1511 w 4346"/>
                  <a:gd name="T89" fmla="*/ 2278 h 3906"/>
                  <a:gd name="T90" fmla="*/ 1594 w 4346"/>
                  <a:gd name="T91" fmla="*/ 2378 h 3906"/>
                  <a:gd name="T92" fmla="*/ 1475 w 4346"/>
                  <a:gd name="T93" fmla="*/ 2469 h 3906"/>
                  <a:gd name="T94" fmla="*/ 1466 w 4346"/>
                  <a:gd name="T95" fmla="*/ 2554 h 3906"/>
                  <a:gd name="T96" fmla="*/ 1457 w 4346"/>
                  <a:gd name="T97" fmla="*/ 2698 h 3906"/>
                  <a:gd name="T98" fmla="*/ 1612 w 4346"/>
                  <a:gd name="T99" fmla="*/ 2864 h 3906"/>
                  <a:gd name="T100" fmla="*/ 1882 w 4346"/>
                  <a:gd name="T101" fmla="*/ 2773 h 3906"/>
                  <a:gd name="T102" fmla="*/ 1998 w 4346"/>
                  <a:gd name="T103" fmla="*/ 3048 h 3906"/>
                  <a:gd name="T104" fmla="*/ 1918 w 4346"/>
                  <a:gd name="T105" fmla="*/ 3181 h 3906"/>
                  <a:gd name="T106" fmla="*/ 1776 w 4346"/>
                  <a:gd name="T107" fmla="*/ 3194 h 3906"/>
                  <a:gd name="T108" fmla="*/ 1594 w 4346"/>
                  <a:gd name="T109" fmla="*/ 3199 h 3906"/>
                  <a:gd name="T110" fmla="*/ 1501 w 4346"/>
                  <a:gd name="T111" fmla="*/ 3472 h 3906"/>
                  <a:gd name="T112" fmla="*/ 1596 w 4346"/>
                  <a:gd name="T113" fmla="*/ 3629 h 3906"/>
                  <a:gd name="T114" fmla="*/ 1810 w 4346"/>
                  <a:gd name="T115" fmla="*/ 3700 h 3906"/>
                  <a:gd name="T116" fmla="*/ 2005 w 4346"/>
                  <a:gd name="T117" fmla="*/ 3751 h 39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346" h="3906">
                    <a:moveTo>
                      <a:pt x="2099" y="3905"/>
                    </a:moveTo>
                    <a:lnTo>
                      <a:pt x="2168" y="3906"/>
                    </a:lnTo>
                    <a:lnTo>
                      <a:pt x="2291" y="3769"/>
                    </a:lnTo>
                    <a:lnTo>
                      <a:pt x="2414" y="3774"/>
                    </a:lnTo>
                    <a:lnTo>
                      <a:pt x="2421" y="3774"/>
                    </a:lnTo>
                    <a:lnTo>
                      <a:pt x="2427" y="3774"/>
                    </a:lnTo>
                    <a:lnTo>
                      <a:pt x="2433" y="3773"/>
                    </a:lnTo>
                    <a:lnTo>
                      <a:pt x="2438" y="3771"/>
                    </a:lnTo>
                    <a:lnTo>
                      <a:pt x="2442" y="3769"/>
                    </a:lnTo>
                    <a:lnTo>
                      <a:pt x="2446" y="3767"/>
                    </a:lnTo>
                    <a:lnTo>
                      <a:pt x="2449" y="3764"/>
                    </a:lnTo>
                    <a:lnTo>
                      <a:pt x="2452" y="3761"/>
                    </a:lnTo>
                    <a:lnTo>
                      <a:pt x="2456" y="3754"/>
                    </a:lnTo>
                    <a:lnTo>
                      <a:pt x="2461" y="3744"/>
                    </a:lnTo>
                    <a:lnTo>
                      <a:pt x="2465" y="3734"/>
                    </a:lnTo>
                    <a:lnTo>
                      <a:pt x="2469" y="3721"/>
                    </a:lnTo>
                    <a:lnTo>
                      <a:pt x="2473" y="3712"/>
                    </a:lnTo>
                    <a:lnTo>
                      <a:pt x="2477" y="3704"/>
                    </a:lnTo>
                    <a:lnTo>
                      <a:pt x="2482" y="3698"/>
                    </a:lnTo>
                    <a:lnTo>
                      <a:pt x="2487" y="3691"/>
                    </a:lnTo>
                    <a:lnTo>
                      <a:pt x="2493" y="3687"/>
                    </a:lnTo>
                    <a:lnTo>
                      <a:pt x="2501" y="3683"/>
                    </a:lnTo>
                    <a:lnTo>
                      <a:pt x="2509" y="3679"/>
                    </a:lnTo>
                    <a:lnTo>
                      <a:pt x="2519" y="3678"/>
                    </a:lnTo>
                    <a:lnTo>
                      <a:pt x="2533" y="3675"/>
                    </a:lnTo>
                    <a:lnTo>
                      <a:pt x="2547" y="3671"/>
                    </a:lnTo>
                    <a:lnTo>
                      <a:pt x="2562" y="3667"/>
                    </a:lnTo>
                    <a:lnTo>
                      <a:pt x="2576" y="3662"/>
                    </a:lnTo>
                    <a:lnTo>
                      <a:pt x="2590" y="3657"/>
                    </a:lnTo>
                    <a:lnTo>
                      <a:pt x="2604" y="3654"/>
                    </a:lnTo>
                    <a:lnTo>
                      <a:pt x="2618" y="3651"/>
                    </a:lnTo>
                    <a:lnTo>
                      <a:pt x="2633" y="3650"/>
                    </a:lnTo>
                    <a:lnTo>
                      <a:pt x="2644" y="3650"/>
                    </a:lnTo>
                    <a:lnTo>
                      <a:pt x="2657" y="3648"/>
                    </a:lnTo>
                    <a:lnTo>
                      <a:pt x="2671" y="3644"/>
                    </a:lnTo>
                    <a:lnTo>
                      <a:pt x="2685" y="3641"/>
                    </a:lnTo>
                    <a:lnTo>
                      <a:pt x="2700" y="3636"/>
                    </a:lnTo>
                    <a:lnTo>
                      <a:pt x="2713" y="3631"/>
                    </a:lnTo>
                    <a:lnTo>
                      <a:pt x="2725" y="3625"/>
                    </a:lnTo>
                    <a:lnTo>
                      <a:pt x="2735" y="3621"/>
                    </a:lnTo>
                    <a:lnTo>
                      <a:pt x="2737" y="3612"/>
                    </a:lnTo>
                    <a:lnTo>
                      <a:pt x="2738" y="3605"/>
                    </a:lnTo>
                    <a:lnTo>
                      <a:pt x="2737" y="3599"/>
                    </a:lnTo>
                    <a:lnTo>
                      <a:pt x="2736" y="3592"/>
                    </a:lnTo>
                    <a:lnTo>
                      <a:pt x="2732" y="3582"/>
                    </a:lnTo>
                    <a:lnTo>
                      <a:pt x="2728" y="3572"/>
                    </a:lnTo>
                    <a:lnTo>
                      <a:pt x="2725" y="3566"/>
                    </a:lnTo>
                    <a:lnTo>
                      <a:pt x="2724" y="3562"/>
                    </a:lnTo>
                    <a:lnTo>
                      <a:pt x="2724" y="3556"/>
                    </a:lnTo>
                    <a:lnTo>
                      <a:pt x="2727" y="3550"/>
                    </a:lnTo>
                    <a:lnTo>
                      <a:pt x="2729" y="3544"/>
                    </a:lnTo>
                    <a:lnTo>
                      <a:pt x="2734" y="3538"/>
                    </a:lnTo>
                    <a:lnTo>
                      <a:pt x="2741" y="3530"/>
                    </a:lnTo>
                    <a:lnTo>
                      <a:pt x="2750" y="3523"/>
                    </a:lnTo>
                    <a:lnTo>
                      <a:pt x="2760" y="3513"/>
                    </a:lnTo>
                    <a:lnTo>
                      <a:pt x="2771" y="3500"/>
                    </a:lnTo>
                    <a:lnTo>
                      <a:pt x="2784" y="3486"/>
                    </a:lnTo>
                    <a:lnTo>
                      <a:pt x="2796" y="3470"/>
                    </a:lnTo>
                    <a:lnTo>
                      <a:pt x="2808" y="3453"/>
                    </a:lnTo>
                    <a:lnTo>
                      <a:pt x="2817" y="3437"/>
                    </a:lnTo>
                    <a:lnTo>
                      <a:pt x="2821" y="3428"/>
                    </a:lnTo>
                    <a:lnTo>
                      <a:pt x="2824" y="3421"/>
                    </a:lnTo>
                    <a:lnTo>
                      <a:pt x="2827" y="3415"/>
                    </a:lnTo>
                    <a:lnTo>
                      <a:pt x="2828" y="3410"/>
                    </a:lnTo>
                    <a:lnTo>
                      <a:pt x="2828" y="3296"/>
                    </a:lnTo>
                    <a:lnTo>
                      <a:pt x="2960" y="3296"/>
                    </a:lnTo>
                    <a:lnTo>
                      <a:pt x="2960" y="3215"/>
                    </a:lnTo>
                    <a:lnTo>
                      <a:pt x="2957" y="3202"/>
                    </a:lnTo>
                    <a:lnTo>
                      <a:pt x="2952" y="3186"/>
                    </a:lnTo>
                    <a:lnTo>
                      <a:pt x="2945" y="3167"/>
                    </a:lnTo>
                    <a:lnTo>
                      <a:pt x="2936" y="3143"/>
                    </a:lnTo>
                    <a:lnTo>
                      <a:pt x="2915" y="3091"/>
                    </a:lnTo>
                    <a:lnTo>
                      <a:pt x="2891" y="3036"/>
                    </a:lnTo>
                    <a:lnTo>
                      <a:pt x="2869" y="2981"/>
                    </a:lnTo>
                    <a:lnTo>
                      <a:pt x="2851" y="2932"/>
                    </a:lnTo>
                    <a:lnTo>
                      <a:pt x="2845" y="2912"/>
                    </a:lnTo>
                    <a:lnTo>
                      <a:pt x="2842" y="2894"/>
                    </a:lnTo>
                    <a:lnTo>
                      <a:pt x="2841" y="2889"/>
                    </a:lnTo>
                    <a:lnTo>
                      <a:pt x="2841" y="2883"/>
                    </a:lnTo>
                    <a:lnTo>
                      <a:pt x="2842" y="2878"/>
                    </a:lnTo>
                    <a:lnTo>
                      <a:pt x="2844" y="2874"/>
                    </a:lnTo>
                    <a:lnTo>
                      <a:pt x="2846" y="2870"/>
                    </a:lnTo>
                    <a:lnTo>
                      <a:pt x="2851" y="2865"/>
                    </a:lnTo>
                    <a:lnTo>
                      <a:pt x="2858" y="2860"/>
                    </a:lnTo>
                    <a:lnTo>
                      <a:pt x="2868" y="2854"/>
                    </a:lnTo>
                    <a:lnTo>
                      <a:pt x="2891" y="2845"/>
                    </a:lnTo>
                    <a:lnTo>
                      <a:pt x="2918" y="2836"/>
                    </a:lnTo>
                    <a:lnTo>
                      <a:pt x="2972" y="2819"/>
                    </a:lnTo>
                    <a:lnTo>
                      <a:pt x="3008" y="2810"/>
                    </a:lnTo>
                    <a:lnTo>
                      <a:pt x="3031" y="2801"/>
                    </a:lnTo>
                    <a:lnTo>
                      <a:pt x="3053" y="2794"/>
                    </a:lnTo>
                    <a:lnTo>
                      <a:pt x="3076" y="2787"/>
                    </a:lnTo>
                    <a:lnTo>
                      <a:pt x="3097" y="2783"/>
                    </a:lnTo>
                    <a:lnTo>
                      <a:pt x="3119" y="2780"/>
                    </a:lnTo>
                    <a:lnTo>
                      <a:pt x="3141" y="2778"/>
                    </a:lnTo>
                    <a:lnTo>
                      <a:pt x="3164" y="2779"/>
                    </a:lnTo>
                    <a:lnTo>
                      <a:pt x="3188" y="2781"/>
                    </a:lnTo>
                    <a:lnTo>
                      <a:pt x="3194" y="2786"/>
                    </a:lnTo>
                    <a:lnTo>
                      <a:pt x="3203" y="2790"/>
                    </a:lnTo>
                    <a:lnTo>
                      <a:pt x="3213" y="2792"/>
                    </a:lnTo>
                    <a:lnTo>
                      <a:pt x="3224" y="2795"/>
                    </a:lnTo>
                    <a:lnTo>
                      <a:pt x="3248" y="2800"/>
                    </a:lnTo>
                    <a:lnTo>
                      <a:pt x="3274" y="2806"/>
                    </a:lnTo>
                    <a:lnTo>
                      <a:pt x="3286" y="2808"/>
                    </a:lnTo>
                    <a:lnTo>
                      <a:pt x="3298" y="2812"/>
                    </a:lnTo>
                    <a:lnTo>
                      <a:pt x="3310" y="2817"/>
                    </a:lnTo>
                    <a:lnTo>
                      <a:pt x="3319" y="2820"/>
                    </a:lnTo>
                    <a:lnTo>
                      <a:pt x="3327" y="2826"/>
                    </a:lnTo>
                    <a:lnTo>
                      <a:pt x="3334" y="2832"/>
                    </a:lnTo>
                    <a:lnTo>
                      <a:pt x="3337" y="2836"/>
                    </a:lnTo>
                    <a:lnTo>
                      <a:pt x="3339" y="2839"/>
                    </a:lnTo>
                    <a:lnTo>
                      <a:pt x="3340" y="2843"/>
                    </a:lnTo>
                    <a:lnTo>
                      <a:pt x="3341" y="2846"/>
                    </a:lnTo>
                    <a:lnTo>
                      <a:pt x="3344" y="2851"/>
                    </a:lnTo>
                    <a:lnTo>
                      <a:pt x="3345" y="2854"/>
                    </a:lnTo>
                    <a:lnTo>
                      <a:pt x="3346" y="2860"/>
                    </a:lnTo>
                    <a:lnTo>
                      <a:pt x="3347" y="2865"/>
                    </a:lnTo>
                    <a:lnTo>
                      <a:pt x="3347" y="2877"/>
                    </a:lnTo>
                    <a:lnTo>
                      <a:pt x="3348" y="2886"/>
                    </a:lnTo>
                    <a:lnTo>
                      <a:pt x="3348" y="2892"/>
                    </a:lnTo>
                    <a:lnTo>
                      <a:pt x="3349" y="2897"/>
                    </a:lnTo>
                    <a:lnTo>
                      <a:pt x="3349" y="2900"/>
                    </a:lnTo>
                    <a:lnTo>
                      <a:pt x="3352" y="2903"/>
                    </a:lnTo>
                    <a:lnTo>
                      <a:pt x="3354" y="2905"/>
                    </a:lnTo>
                    <a:lnTo>
                      <a:pt x="3358" y="2906"/>
                    </a:lnTo>
                    <a:lnTo>
                      <a:pt x="3362" y="2907"/>
                    </a:lnTo>
                    <a:lnTo>
                      <a:pt x="3368" y="2907"/>
                    </a:lnTo>
                    <a:lnTo>
                      <a:pt x="3379" y="2907"/>
                    </a:lnTo>
                    <a:lnTo>
                      <a:pt x="3388" y="2907"/>
                    </a:lnTo>
                    <a:lnTo>
                      <a:pt x="3399" y="2909"/>
                    </a:lnTo>
                    <a:lnTo>
                      <a:pt x="3409" y="2909"/>
                    </a:lnTo>
                    <a:lnTo>
                      <a:pt x="3415" y="2922"/>
                    </a:lnTo>
                    <a:lnTo>
                      <a:pt x="3419" y="2935"/>
                    </a:lnTo>
                    <a:lnTo>
                      <a:pt x="3422" y="2949"/>
                    </a:lnTo>
                    <a:lnTo>
                      <a:pt x="3426" y="2964"/>
                    </a:lnTo>
                    <a:lnTo>
                      <a:pt x="3428" y="2971"/>
                    </a:lnTo>
                    <a:lnTo>
                      <a:pt x="3432" y="2979"/>
                    </a:lnTo>
                    <a:lnTo>
                      <a:pt x="3438" y="2988"/>
                    </a:lnTo>
                    <a:lnTo>
                      <a:pt x="3442" y="2996"/>
                    </a:lnTo>
                    <a:lnTo>
                      <a:pt x="3455" y="3010"/>
                    </a:lnTo>
                    <a:lnTo>
                      <a:pt x="3468" y="3022"/>
                    </a:lnTo>
                    <a:lnTo>
                      <a:pt x="3516" y="3057"/>
                    </a:lnTo>
                    <a:lnTo>
                      <a:pt x="3516" y="3057"/>
                    </a:lnTo>
                    <a:lnTo>
                      <a:pt x="3649" y="2925"/>
                    </a:lnTo>
                    <a:lnTo>
                      <a:pt x="3649" y="2925"/>
                    </a:lnTo>
                    <a:lnTo>
                      <a:pt x="3641" y="2917"/>
                    </a:lnTo>
                    <a:lnTo>
                      <a:pt x="3633" y="2911"/>
                    </a:lnTo>
                    <a:lnTo>
                      <a:pt x="3627" y="2905"/>
                    </a:lnTo>
                    <a:lnTo>
                      <a:pt x="3621" y="2899"/>
                    </a:lnTo>
                    <a:lnTo>
                      <a:pt x="3612" y="2887"/>
                    </a:lnTo>
                    <a:lnTo>
                      <a:pt x="3602" y="2876"/>
                    </a:lnTo>
                    <a:lnTo>
                      <a:pt x="3596" y="2866"/>
                    </a:lnTo>
                    <a:lnTo>
                      <a:pt x="3589" y="2858"/>
                    </a:lnTo>
                    <a:lnTo>
                      <a:pt x="3589" y="2853"/>
                    </a:lnTo>
                    <a:lnTo>
                      <a:pt x="3592" y="2849"/>
                    </a:lnTo>
                    <a:lnTo>
                      <a:pt x="3601" y="2840"/>
                    </a:lnTo>
                    <a:lnTo>
                      <a:pt x="3610" y="2832"/>
                    </a:lnTo>
                    <a:lnTo>
                      <a:pt x="3615" y="2826"/>
                    </a:lnTo>
                    <a:lnTo>
                      <a:pt x="3620" y="2821"/>
                    </a:lnTo>
                    <a:lnTo>
                      <a:pt x="3625" y="2819"/>
                    </a:lnTo>
                    <a:lnTo>
                      <a:pt x="3629" y="2816"/>
                    </a:lnTo>
                    <a:lnTo>
                      <a:pt x="3666" y="2762"/>
                    </a:lnTo>
                    <a:lnTo>
                      <a:pt x="3666" y="2762"/>
                    </a:lnTo>
                    <a:lnTo>
                      <a:pt x="3634" y="2656"/>
                    </a:lnTo>
                    <a:lnTo>
                      <a:pt x="3633" y="2573"/>
                    </a:lnTo>
                    <a:lnTo>
                      <a:pt x="3641" y="2569"/>
                    </a:lnTo>
                    <a:lnTo>
                      <a:pt x="3650" y="2566"/>
                    </a:lnTo>
                    <a:lnTo>
                      <a:pt x="3660" y="2560"/>
                    </a:lnTo>
                    <a:lnTo>
                      <a:pt x="3669" y="2554"/>
                    </a:lnTo>
                    <a:lnTo>
                      <a:pt x="3680" y="2548"/>
                    </a:lnTo>
                    <a:lnTo>
                      <a:pt x="3690" y="2543"/>
                    </a:lnTo>
                    <a:lnTo>
                      <a:pt x="3702" y="2539"/>
                    </a:lnTo>
                    <a:lnTo>
                      <a:pt x="3713" y="2534"/>
                    </a:lnTo>
                    <a:lnTo>
                      <a:pt x="3724" y="2530"/>
                    </a:lnTo>
                    <a:lnTo>
                      <a:pt x="3740" y="2523"/>
                    </a:lnTo>
                    <a:lnTo>
                      <a:pt x="3756" y="2515"/>
                    </a:lnTo>
                    <a:lnTo>
                      <a:pt x="3773" y="2507"/>
                    </a:lnTo>
                    <a:lnTo>
                      <a:pt x="3789" y="2498"/>
                    </a:lnTo>
                    <a:lnTo>
                      <a:pt x="3804" y="2491"/>
                    </a:lnTo>
                    <a:lnTo>
                      <a:pt x="3816" y="2487"/>
                    </a:lnTo>
                    <a:lnTo>
                      <a:pt x="3825" y="2486"/>
                    </a:lnTo>
                    <a:lnTo>
                      <a:pt x="3833" y="2486"/>
                    </a:lnTo>
                    <a:lnTo>
                      <a:pt x="3838" y="2487"/>
                    </a:lnTo>
                    <a:lnTo>
                      <a:pt x="3843" y="2488"/>
                    </a:lnTo>
                    <a:lnTo>
                      <a:pt x="3849" y="2490"/>
                    </a:lnTo>
                    <a:lnTo>
                      <a:pt x="3857" y="2496"/>
                    </a:lnTo>
                    <a:lnTo>
                      <a:pt x="3865" y="2503"/>
                    </a:lnTo>
                    <a:lnTo>
                      <a:pt x="3872" y="2511"/>
                    </a:lnTo>
                    <a:lnTo>
                      <a:pt x="3878" y="2521"/>
                    </a:lnTo>
                    <a:lnTo>
                      <a:pt x="3884" y="2531"/>
                    </a:lnTo>
                    <a:lnTo>
                      <a:pt x="3889" y="2541"/>
                    </a:lnTo>
                    <a:lnTo>
                      <a:pt x="3895" y="2552"/>
                    </a:lnTo>
                    <a:lnTo>
                      <a:pt x="3902" y="2562"/>
                    </a:lnTo>
                    <a:lnTo>
                      <a:pt x="3909" y="2572"/>
                    </a:lnTo>
                    <a:lnTo>
                      <a:pt x="3917" y="2580"/>
                    </a:lnTo>
                    <a:lnTo>
                      <a:pt x="3927" y="2587"/>
                    </a:lnTo>
                    <a:lnTo>
                      <a:pt x="3937" y="2593"/>
                    </a:lnTo>
                    <a:lnTo>
                      <a:pt x="3943" y="2595"/>
                    </a:lnTo>
                    <a:lnTo>
                      <a:pt x="3950" y="2596"/>
                    </a:lnTo>
                    <a:lnTo>
                      <a:pt x="3958" y="2597"/>
                    </a:lnTo>
                    <a:lnTo>
                      <a:pt x="3965" y="2597"/>
                    </a:lnTo>
                    <a:lnTo>
                      <a:pt x="3978" y="2597"/>
                    </a:lnTo>
                    <a:lnTo>
                      <a:pt x="3995" y="2596"/>
                    </a:lnTo>
                    <a:lnTo>
                      <a:pt x="4015" y="2595"/>
                    </a:lnTo>
                    <a:lnTo>
                      <a:pt x="4035" y="2592"/>
                    </a:lnTo>
                    <a:lnTo>
                      <a:pt x="4055" y="2588"/>
                    </a:lnTo>
                    <a:lnTo>
                      <a:pt x="4071" y="2582"/>
                    </a:lnTo>
                    <a:lnTo>
                      <a:pt x="4078" y="2579"/>
                    </a:lnTo>
                    <a:lnTo>
                      <a:pt x="4084" y="2575"/>
                    </a:lnTo>
                    <a:lnTo>
                      <a:pt x="4088" y="2570"/>
                    </a:lnTo>
                    <a:lnTo>
                      <a:pt x="4090" y="2566"/>
                    </a:lnTo>
                    <a:lnTo>
                      <a:pt x="4093" y="2564"/>
                    </a:lnTo>
                    <a:lnTo>
                      <a:pt x="4096" y="2563"/>
                    </a:lnTo>
                    <a:lnTo>
                      <a:pt x="4099" y="2561"/>
                    </a:lnTo>
                    <a:lnTo>
                      <a:pt x="4102" y="2559"/>
                    </a:lnTo>
                    <a:lnTo>
                      <a:pt x="4104" y="2552"/>
                    </a:lnTo>
                    <a:lnTo>
                      <a:pt x="4106" y="2544"/>
                    </a:lnTo>
                    <a:lnTo>
                      <a:pt x="4108" y="2535"/>
                    </a:lnTo>
                    <a:lnTo>
                      <a:pt x="4109" y="2526"/>
                    </a:lnTo>
                    <a:lnTo>
                      <a:pt x="4108" y="2515"/>
                    </a:lnTo>
                    <a:lnTo>
                      <a:pt x="4106" y="2504"/>
                    </a:lnTo>
                    <a:lnTo>
                      <a:pt x="4099" y="2463"/>
                    </a:lnTo>
                    <a:lnTo>
                      <a:pt x="4095" y="2436"/>
                    </a:lnTo>
                    <a:lnTo>
                      <a:pt x="4091" y="2432"/>
                    </a:lnTo>
                    <a:lnTo>
                      <a:pt x="4089" y="2429"/>
                    </a:lnTo>
                    <a:lnTo>
                      <a:pt x="4085" y="2422"/>
                    </a:lnTo>
                    <a:lnTo>
                      <a:pt x="4081" y="2416"/>
                    </a:lnTo>
                    <a:lnTo>
                      <a:pt x="4078" y="2411"/>
                    </a:lnTo>
                    <a:lnTo>
                      <a:pt x="4076" y="2407"/>
                    </a:lnTo>
                    <a:lnTo>
                      <a:pt x="4072" y="2404"/>
                    </a:lnTo>
                    <a:lnTo>
                      <a:pt x="4071" y="2402"/>
                    </a:lnTo>
                    <a:lnTo>
                      <a:pt x="4069" y="2401"/>
                    </a:lnTo>
                    <a:lnTo>
                      <a:pt x="4068" y="2398"/>
                    </a:lnTo>
                    <a:lnTo>
                      <a:pt x="4065" y="2397"/>
                    </a:lnTo>
                    <a:lnTo>
                      <a:pt x="4065" y="2395"/>
                    </a:lnTo>
                    <a:lnTo>
                      <a:pt x="4063" y="2395"/>
                    </a:lnTo>
                    <a:lnTo>
                      <a:pt x="4062" y="2394"/>
                    </a:lnTo>
                    <a:lnTo>
                      <a:pt x="4061" y="2390"/>
                    </a:lnTo>
                    <a:lnTo>
                      <a:pt x="4058" y="2389"/>
                    </a:lnTo>
                    <a:lnTo>
                      <a:pt x="4056" y="2378"/>
                    </a:lnTo>
                    <a:lnTo>
                      <a:pt x="4053" y="2361"/>
                    </a:lnTo>
                    <a:lnTo>
                      <a:pt x="4052" y="2352"/>
                    </a:lnTo>
                    <a:lnTo>
                      <a:pt x="4052" y="2344"/>
                    </a:lnTo>
                    <a:lnTo>
                      <a:pt x="4052" y="2341"/>
                    </a:lnTo>
                    <a:lnTo>
                      <a:pt x="4052" y="2338"/>
                    </a:lnTo>
                    <a:lnTo>
                      <a:pt x="4053" y="2336"/>
                    </a:lnTo>
                    <a:lnTo>
                      <a:pt x="4056" y="2335"/>
                    </a:lnTo>
                    <a:lnTo>
                      <a:pt x="4057" y="2331"/>
                    </a:lnTo>
                    <a:lnTo>
                      <a:pt x="4059" y="2328"/>
                    </a:lnTo>
                    <a:lnTo>
                      <a:pt x="4063" y="2326"/>
                    </a:lnTo>
                    <a:lnTo>
                      <a:pt x="4065" y="2324"/>
                    </a:lnTo>
                    <a:lnTo>
                      <a:pt x="4076" y="2323"/>
                    </a:lnTo>
                    <a:lnTo>
                      <a:pt x="4093" y="2319"/>
                    </a:lnTo>
                    <a:lnTo>
                      <a:pt x="4102" y="2319"/>
                    </a:lnTo>
                    <a:lnTo>
                      <a:pt x="4110" y="2319"/>
                    </a:lnTo>
                    <a:lnTo>
                      <a:pt x="4112" y="2319"/>
                    </a:lnTo>
                    <a:lnTo>
                      <a:pt x="4115" y="2320"/>
                    </a:lnTo>
                    <a:lnTo>
                      <a:pt x="4117" y="2322"/>
                    </a:lnTo>
                    <a:lnTo>
                      <a:pt x="4118" y="2324"/>
                    </a:lnTo>
                    <a:lnTo>
                      <a:pt x="4124" y="2325"/>
                    </a:lnTo>
                    <a:lnTo>
                      <a:pt x="4129" y="2325"/>
                    </a:lnTo>
                    <a:lnTo>
                      <a:pt x="4131" y="2329"/>
                    </a:lnTo>
                    <a:lnTo>
                      <a:pt x="4136" y="2331"/>
                    </a:lnTo>
                    <a:lnTo>
                      <a:pt x="4143" y="2332"/>
                    </a:lnTo>
                    <a:lnTo>
                      <a:pt x="4149" y="2333"/>
                    </a:lnTo>
                    <a:lnTo>
                      <a:pt x="4156" y="2335"/>
                    </a:lnTo>
                    <a:lnTo>
                      <a:pt x="4162" y="2337"/>
                    </a:lnTo>
                    <a:lnTo>
                      <a:pt x="4166" y="2338"/>
                    </a:lnTo>
                    <a:lnTo>
                      <a:pt x="4169" y="2341"/>
                    </a:lnTo>
                    <a:lnTo>
                      <a:pt x="4175" y="2341"/>
                    </a:lnTo>
                    <a:lnTo>
                      <a:pt x="4182" y="2342"/>
                    </a:lnTo>
                    <a:lnTo>
                      <a:pt x="4189" y="2343"/>
                    </a:lnTo>
                    <a:lnTo>
                      <a:pt x="4192" y="2345"/>
                    </a:lnTo>
                    <a:lnTo>
                      <a:pt x="4203" y="2345"/>
                    </a:lnTo>
                    <a:lnTo>
                      <a:pt x="4205" y="2343"/>
                    </a:lnTo>
                    <a:lnTo>
                      <a:pt x="4207" y="2342"/>
                    </a:lnTo>
                    <a:lnTo>
                      <a:pt x="4211" y="2342"/>
                    </a:lnTo>
                    <a:lnTo>
                      <a:pt x="4213" y="2341"/>
                    </a:lnTo>
                    <a:lnTo>
                      <a:pt x="4214" y="2338"/>
                    </a:lnTo>
                    <a:lnTo>
                      <a:pt x="4216" y="2337"/>
                    </a:lnTo>
                    <a:lnTo>
                      <a:pt x="4222" y="2332"/>
                    </a:lnTo>
                    <a:lnTo>
                      <a:pt x="4226" y="2329"/>
                    </a:lnTo>
                    <a:lnTo>
                      <a:pt x="4229" y="2328"/>
                    </a:lnTo>
                    <a:lnTo>
                      <a:pt x="4229" y="2324"/>
                    </a:lnTo>
                    <a:lnTo>
                      <a:pt x="4236" y="2316"/>
                    </a:lnTo>
                    <a:lnTo>
                      <a:pt x="4243" y="2306"/>
                    </a:lnTo>
                    <a:lnTo>
                      <a:pt x="4245" y="2302"/>
                    </a:lnTo>
                    <a:lnTo>
                      <a:pt x="4250" y="2295"/>
                    </a:lnTo>
                    <a:lnTo>
                      <a:pt x="4256" y="2287"/>
                    </a:lnTo>
                    <a:lnTo>
                      <a:pt x="4259" y="2285"/>
                    </a:lnTo>
                    <a:lnTo>
                      <a:pt x="4260" y="2283"/>
                    </a:lnTo>
                    <a:lnTo>
                      <a:pt x="4261" y="2282"/>
                    </a:lnTo>
                    <a:lnTo>
                      <a:pt x="4265" y="2278"/>
                    </a:lnTo>
                    <a:lnTo>
                      <a:pt x="4267" y="2276"/>
                    </a:lnTo>
                    <a:lnTo>
                      <a:pt x="4273" y="2258"/>
                    </a:lnTo>
                    <a:lnTo>
                      <a:pt x="4279" y="2240"/>
                    </a:lnTo>
                    <a:lnTo>
                      <a:pt x="4287" y="2223"/>
                    </a:lnTo>
                    <a:lnTo>
                      <a:pt x="4294" y="2206"/>
                    </a:lnTo>
                    <a:lnTo>
                      <a:pt x="4301" y="2188"/>
                    </a:lnTo>
                    <a:lnTo>
                      <a:pt x="4309" y="2170"/>
                    </a:lnTo>
                    <a:lnTo>
                      <a:pt x="4313" y="2150"/>
                    </a:lnTo>
                    <a:lnTo>
                      <a:pt x="4316" y="2130"/>
                    </a:lnTo>
                    <a:lnTo>
                      <a:pt x="4346" y="2066"/>
                    </a:lnTo>
                    <a:lnTo>
                      <a:pt x="4346" y="2066"/>
                    </a:lnTo>
                    <a:lnTo>
                      <a:pt x="4331" y="2045"/>
                    </a:lnTo>
                    <a:lnTo>
                      <a:pt x="4328" y="2038"/>
                    </a:lnTo>
                    <a:lnTo>
                      <a:pt x="4326" y="2032"/>
                    </a:lnTo>
                    <a:lnTo>
                      <a:pt x="4327" y="2026"/>
                    </a:lnTo>
                    <a:lnTo>
                      <a:pt x="4326" y="2021"/>
                    </a:lnTo>
                    <a:lnTo>
                      <a:pt x="4325" y="2015"/>
                    </a:lnTo>
                    <a:lnTo>
                      <a:pt x="4324" y="2009"/>
                    </a:lnTo>
                    <a:lnTo>
                      <a:pt x="4324" y="2008"/>
                    </a:lnTo>
                    <a:lnTo>
                      <a:pt x="4324" y="2006"/>
                    </a:lnTo>
                    <a:lnTo>
                      <a:pt x="4323" y="2005"/>
                    </a:lnTo>
                    <a:lnTo>
                      <a:pt x="4323" y="2002"/>
                    </a:lnTo>
                    <a:lnTo>
                      <a:pt x="4319" y="1992"/>
                    </a:lnTo>
                    <a:lnTo>
                      <a:pt x="4317" y="1979"/>
                    </a:lnTo>
                    <a:lnTo>
                      <a:pt x="4314" y="1970"/>
                    </a:lnTo>
                    <a:lnTo>
                      <a:pt x="4311" y="1963"/>
                    </a:lnTo>
                    <a:lnTo>
                      <a:pt x="4307" y="1955"/>
                    </a:lnTo>
                    <a:lnTo>
                      <a:pt x="4303" y="1948"/>
                    </a:lnTo>
                    <a:lnTo>
                      <a:pt x="4293" y="1932"/>
                    </a:lnTo>
                    <a:lnTo>
                      <a:pt x="4285" y="1915"/>
                    </a:lnTo>
                    <a:lnTo>
                      <a:pt x="4277" y="1897"/>
                    </a:lnTo>
                    <a:lnTo>
                      <a:pt x="4267" y="1881"/>
                    </a:lnTo>
                    <a:lnTo>
                      <a:pt x="4260" y="1869"/>
                    </a:lnTo>
                    <a:lnTo>
                      <a:pt x="4253" y="1857"/>
                    </a:lnTo>
                    <a:lnTo>
                      <a:pt x="4249" y="1851"/>
                    </a:lnTo>
                    <a:lnTo>
                      <a:pt x="4245" y="1845"/>
                    </a:lnTo>
                    <a:lnTo>
                      <a:pt x="4240" y="1841"/>
                    </a:lnTo>
                    <a:lnTo>
                      <a:pt x="4236" y="1837"/>
                    </a:lnTo>
                    <a:lnTo>
                      <a:pt x="4225" y="1823"/>
                    </a:lnTo>
                    <a:lnTo>
                      <a:pt x="4214" y="1811"/>
                    </a:lnTo>
                    <a:lnTo>
                      <a:pt x="4210" y="1805"/>
                    </a:lnTo>
                    <a:lnTo>
                      <a:pt x="4206" y="1798"/>
                    </a:lnTo>
                    <a:lnTo>
                      <a:pt x="4204" y="1790"/>
                    </a:lnTo>
                    <a:lnTo>
                      <a:pt x="4203" y="1781"/>
                    </a:lnTo>
                    <a:lnTo>
                      <a:pt x="4203" y="1764"/>
                    </a:lnTo>
                    <a:lnTo>
                      <a:pt x="4203" y="1746"/>
                    </a:lnTo>
                    <a:lnTo>
                      <a:pt x="4204" y="1731"/>
                    </a:lnTo>
                    <a:lnTo>
                      <a:pt x="4205" y="1715"/>
                    </a:lnTo>
                    <a:lnTo>
                      <a:pt x="4212" y="1705"/>
                    </a:lnTo>
                    <a:lnTo>
                      <a:pt x="4220" y="1696"/>
                    </a:lnTo>
                    <a:lnTo>
                      <a:pt x="4231" y="1689"/>
                    </a:lnTo>
                    <a:lnTo>
                      <a:pt x="4240" y="1683"/>
                    </a:lnTo>
                    <a:lnTo>
                      <a:pt x="4245" y="1677"/>
                    </a:lnTo>
                    <a:lnTo>
                      <a:pt x="4250" y="1670"/>
                    </a:lnTo>
                    <a:lnTo>
                      <a:pt x="4252" y="1664"/>
                    </a:lnTo>
                    <a:lnTo>
                      <a:pt x="4254" y="1657"/>
                    </a:lnTo>
                    <a:lnTo>
                      <a:pt x="4259" y="1643"/>
                    </a:lnTo>
                    <a:lnTo>
                      <a:pt x="4261" y="1630"/>
                    </a:lnTo>
                    <a:lnTo>
                      <a:pt x="4264" y="1617"/>
                    </a:lnTo>
                    <a:lnTo>
                      <a:pt x="4267" y="1603"/>
                    </a:lnTo>
                    <a:lnTo>
                      <a:pt x="4269" y="1597"/>
                    </a:lnTo>
                    <a:lnTo>
                      <a:pt x="4272" y="1591"/>
                    </a:lnTo>
                    <a:lnTo>
                      <a:pt x="4276" y="1584"/>
                    </a:lnTo>
                    <a:lnTo>
                      <a:pt x="4279" y="1578"/>
                    </a:lnTo>
                    <a:lnTo>
                      <a:pt x="4283" y="1560"/>
                    </a:lnTo>
                    <a:lnTo>
                      <a:pt x="4284" y="1546"/>
                    </a:lnTo>
                    <a:lnTo>
                      <a:pt x="4283" y="1540"/>
                    </a:lnTo>
                    <a:lnTo>
                      <a:pt x="4281" y="1532"/>
                    </a:lnTo>
                    <a:lnTo>
                      <a:pt x="4279" y="1524"/>
                    </a:lnTo>
                    <a:lnTo>
                      <a:pt x="4276" y="1515"/>
                    </a:lnTo>
                    <a:lnTo>
                      <a:pt x="4273" y="1507"/>
                    </a:lnTo>
                    <a:lnTo>
                      <a:pt x="4271" y="1499"/>
                    </a:lnTo>
                    <a:lnTo>
                      <a:pt x="4271" y="1492"/>
                    </a:lnTo>
                    <a:lnTo>
                      <a:pt x="4270" y="1484"/>
                    </a:lnTo>
                    <a:lnTo>
                      <a:pt x="4270" y="1477"/>
                    </a:lnTo>
                    <a:lnTo>
                      <a:pt x="4270" y="1468"/>
                    </a:lnTo>
                    <a:lnTo>
                      <a:pt x="4269" y="1461"/>
                    </a:lnTo>
                    <a:lnTo>
                      <a:pt x="4266" y="1453"/>
                    </a:lnTo>
                    <a:lnTo>
                      <a:pt x="4108" y="1447"/>
                    </a:lnTo>
                    <a:lnTo>
                      <a:pt x="4100" y="1354"/>
                    </a:lnTo>
                    <a:lnTo>
                      <a:pt x="4109" y="1304"/>
                    </a:lnTo>
                    <a:lnTo>
                      <a:pt x="4116" y="1260"/>
                    </a:lnTo>
                    <a:lnTo>
                      <a:pt x="4119" y="1249"/>
                    </a:lnTo>
                    <a:lnTo>
                      <a:pt x="4123" y="1238"/>
                    </a:lnTo>
                    <a:lnTo>
                      <a:pt x="4126" y="1229"/>
                    </a:lnTo>
                    <a:lnTo>
                      <a:pt x="4131" y="1218"/>
                    </a:lnTo>
                    <a:lnTo>
                      <a:pt x="4137" y="1208"/>
                    </a:lnTo>
                    <a:lnTo>
                      <a:pt x="4144" y="1198"/>
                    </a:lnTo>
                    <a:lnTo>
                      <a:pt x="4152" y="1188"/>
                    </a:lnTo>
                    <a:lnTo>
                      <a:pt x="4162" y="1178"/>
                    </a:lnTo>
                    <a:lnTo>
                      <a:pt x="4169" y="1171"/>
                    </a:lnTo>
                    <a:lnTo>
                      <a:pt x="4178" y="1165"/>
                    </a:lnTo>
                    <a:lnTo>
                      <a:pt x="4186" y="1161"/>
                    </a:lnTo>
                    <a:lnTo>
                      <a:pt x="4197" y="1157"/>
                    </a:lnTo>
                    <a:lnTo>
                      <a:pt x="4206" y="1154"/>
                    </a:lnTo>
                    <a:lnTo>
                      <a:pt x="4217" y="1151"/>
                    </a:lnTo>
                    <a:lnTo>
                      <a:pt x="4227" y="1149"/>
                    </a:lnTo>
                    <a:lnTo>
                      <a:pt x="4239" y="1148"/>
                    </a:lnTo>
                    <a:lnTo>
                      <a:pt x="4284" y="1143"/>
                    </a:lnTo>
                    <a:lnTo>
                      <a:pt x="4326" y="1138"/>
                    </a:lnTo>
                    <a:lnTo>
                      <a:pt x="4327" y="1136"/>
                    </a:lnTo>
                    <a:lnTo>
                      <a:pt x="4328" y="1132"/>
                    </a:lnTo>
                    <a:lnTo>
                      <a:pt x="4327" y="1129"/>
                    </a:lnTo>
                    <a:lnTo>
                      <a:pt x="4326" y="1125"/>
                    </a:lnTo>
                    <a:lnTo>
                      <a:pt x="4323" y="1116"/>
                    </a:lnTo>
                    <a:lnTo>
                      <a:pt x="4316" y="1105"/>
                    </a:lnTo>
                    <a:lnTo>
                      <a:pt x="4297" y="1079"/>
                    </a:lnTo>
                    <a:lnTo>
                      <a:pt x="4274" y="1051"/>
                    </a:lnTo>
                    <a:lnTo>
                      <a:pt x="4226" y="997"/>
                    </a:lnTo>
                    <a:lnTo>
                      <a:pt x="4198" y="962"/>
                    </a:lnTo>
                    <a:lnTo>
                      <a:pt x="4189" y="949"/>
                    </a:lnTo>
                    <a:lnTo>
                      <a:pt x="4180" y="934"/>
                    </a:lnTo>
                    <a:lnTo>
                      <a:pt x="4171" y="920"/>
                    </a:lnTo>
                    <a:lnTo>
                      <a:pt x="4162" y="908"/>
                    </a:lnTo>
                    <a:lnTo>
                      <a:pt x="4153" y="910"/>
                    </a:lnTo>
                    <a:lnTo>
                      <a:pt x="4143" y="912"/>
                    </a:lnTo>
                    <a:lnTo>
                      <a:pt x="4132" y="917"/>
                    </a:lnTo>
                    <a:lnTo>
                      <a:pt x="4120" y="921"/>
                    </a:lnTo>
                    <a:lnTo>
                      <a:pt x="4109" y="927"/>
                    </a:lnTo>
                    <a:lnTo>
                      <a:pt x="4097" y="932"/>
                    </a:lnTo>
                    <a:lnTo>
                      <a:pt x="4085" y="936"/>
                    </a:lnTo>
                    <a:lnTo>
                      <a:pt x="4075" y="938"/>
                    </a:lnTo>
                    <a:lnTo>
                      <a:pt x="3990" y="951"/>
                    </a:lnTo>
                    <a:lnTo>
                      <a:pt x="3981" y="949"/>
                    </a:lnTo>
                    <a:lnTo>
                      <a:pt x="3970" y="949"/>
                    </a:lnTo>
                    <a:lnTo>
                      <a:pt x="3958" y="949"/>
                    </a:lnTo>
                    <a:lnTo>
                      <a:pt x="3944" y="949"/>
                    </a:lnTo>
                    <a:lnTo>
                      <a:pt x="3918" y="950"/>
                    </a:lnTo>
                    <a:lnTo>
                      <a:pt x="3896" y="952"/>
                    </a:lnTo>
                    <a:lnTo>
                      <a:pt x="3877" y="952"/>
                    </a:lnTo>
                    <a:lnTo>
                      <a:pt x="3858" y="952"/>
                    </a:lnTo>
                    <a:lnTo>
                      <a:pt x="3840" y="953"/>
                    </a:lnTo>
                    <a:lnTo>
                      <a:pt x="3821" y="956"/>
                    </a:lnTo>
                    <a:lnTo>
                      <a:pt x="3813" y="956"/>
                    </a:lnTo>
                    <a:lnTo>
                      <a:pt x="3804" y="956"/>
                    </a:lnTo>
                    <a:lnTo>
                      <a:pt x="3797" y="956"/>
                    </a:lnTo>
                    <a:lnTo>
                      <a:pt x="3789" y="953"/>
                    </a:lnTo>
                    <a:lnTo>
                      <a:pt x="3783" y="951"/>
                    </a:lnTo>
                    <a:lnTo>
                      <a:pt x="3776" y="949"/>
                    </a:lnTo>
                    <a:lnTo>
                      <a:pt x="3770" y="945"/>
                    </a:lnTo>
                    <a:lnTo>
                      <a:pt x="3766" y="940"/>
                    </a:lnTo>
                    <a:lnTo>
                      <a:pt x="3755" y="931"/>
                    </a:lnTo>
                    <a:lnTo>
                      <a:pt x="3747" y="919"/>
                    </a:lnTo>
                    <a:lnTo>
                      <a:pt x="3740" y="906"/>
                    </a:lnTo>
                    <a:lnTo>
                      <a:pt x="3733" y="892"/>
                    </a:lnTo>
                    <a:lnTo>
                      <a:pt x="3729" y="884"/>
                    </a:lnTo>
                    <a:lnTo>
                      <a:pt x="3724" y="875"/>
                    </a:lnTo>
                    <a:lnTo>
                      <a:pt x="3720" y="866"/>
                    </a:lnTo>
                    <a:lnTo>
                      <a:pt x="3714" y="859"/>
                    </a:lnTo>
                    <a:lnTo>
                      <a:pt x="3711" y="857"/>
                    </a:lnTo>
                    <a:lnTo>
                      <a:pt x="3708" y="854"/>
                    </a:lnTo>
                    <a:lnTo>
                      <a:pt x="3706" y="854"/>
                    </a:lnTo>
                    <a:lnTo>
                      <a:pt x="3702" y="854"/>
                    </a:lnTo>
                    <a:lnTo>
                      <a:pt x="3699" y="855"/>
                    </a:lnTo>
                    <a:lnTo>
                      <a:pt x="3695" y="858"/>
                    </a:lnTo>
                    <a:lnTo>
                      <a:pt x="3693" y="862"/>
                    </a:lnTo>
                    <a:lnTo>
                      <a:pt x="3689" y="867"/>
                    </a:lnTo>
                    <a:lnTo>
                      <a:pt x="3677" y="893"/>
                    </a:lnTo>
                    <a:lnTo>
                      <a:pt x="3657" y="930"/>
                    </a:lnTo>
                    <a:lnTo>
                      <a:pt x="3652" y="938"/>
                    </a:lnTo>
                    <a:lnTo>
                      <a:pt x="3646" y="945"/>
                    </a:lnTo>
                    <a:lnTo>
                      <a:pt x="3641" y="952"/>
                    </a:lnTo>
                    <a:lnTo>
                      <a:pt x="3635" y="957"/>
                    </a:lnTo>
                    <a:lnTo>
                      <a:pt x="3629" y="959"/>
                    </a:lnTo>
                    <a:lnTo>
                      <a:pt x="3625" y="960"/>
                    </a:lnTo>
                    <a:lnTo>
                      <a:pt x="3622" y="959"/>
                    </a:lnTo>
                    <a:lnTo>
                      <a:pt x="3620" y="958"/>
                    </a:lnTo>
                    <a:lnTo>
                      <a:pt x="3617" y="956"/>
                    </a:lnTo>
                    <a:lnTo>
                      <a:pt x="3616" y="953"/>
                    </a:lnTo>
                    <a:lnTo>
                      <a:pt x="3607" y="941"/>
                    </a:lnTo>
                    <a:lnTo>
                      <a:pt x="3595" y="928"/>
                    </a:lnTo>
                    <a:lnTo>
                      <a:pt x="3590" y="923"/>
                    </a:lnTo>
                    <a:lnTo>
                      <a:pt x="3586" y="916"/>
                    </a:lnTo>
                    <a:lnTo>
                      <a:pt x="3583" y="910"/>
                    </a:lnTo>
                    <a:lnTo>
                      <a:pt x="3582" y="904"/>
                    </a:lnTo>
                    <a:lnTo>
                      <a:pt x="3582" y="894"/>
                    </a:lnTo>
                    <a:lnTo>
                      <a:pt x="3585" y="887"/>
                    </a:lnTo>
                    <a:lnTo>
                      <a:pt x="3587" y="881"/>
                    </a:lnTo>
                    <a:lnTo>
                      <a:pt x="3592" y="877"/>
                    </a:lnTo>
                    <a:lnTo>
                      <a:pt x="3595" y="872"/>
                    </a:lnTo>
                    <a:lnTo>
                      <a:pt x="3600" y="867"/>
                    </a:lnTo>
                    <a:lnTo>
                      <a:pt x="3605" y="861"/>
                    </a:lnTo>
                    <a:lnTo>
                      <a:pt x="3608" y="854"/>
                    </a:lnTo>
                    <a:lnTo>
                      <a:pt x="3607" y="851"/>
                    </a:lnTo>
                    <a:lnTo>
                      <a:pt x="3602" y="844"/>
                    </a:lnTo>
                    <a:lnTo>
                      <a:pt x="3214" y="602"/>
                    </a:lnTo>
                    <a:lnTo>
                      <a:pt x="3212" y="594"/>
                    </a:lnTo>
                    <a:lnTo>
                      <a:pt x="3210" y="583"/>
                    </a:lnTo>
                    <a:lnTo>
                      <a:pt x="3210" y="574"/>
                    </a:lnTo>
                    <a:lnTo>
                      <a:pt x="3210" y="564"/>
                    </a:lnTo>
                    <a:lnTo>
                      <a:pt x="3216" y="558"/>
                    </a:lnTo>
                    <a:lnTo>
                      <a:pt x="3221" y="555"/>
                    </a:lnTo>
                    <a:lnTo>
                      <a:pt x="3227" y="553"/>
                    </a:lnTo>
                    <a:lnTo>
                      <a:pt x="3236" y="551"/>
                    </a:lnTo>
                    <a:lnTo>
                      <a:pt x="3251" y="548"/>
                    </a:lnTo>
                    <a:lnTo>
                      <a:pt x="3266" y="544"/>
                    </a:lnTo>
                    <a:lnTo>
                      <a:pt x="3272" y="542"/>
                    </a:lnTo>
                    <a:lnTo>
                      <a:pt x="3277" y="540"/>
                    </a:lnTo>
                    <a:lnTo>
                      <a:pt x="3280" y="536"/>
                    </a:lnTo>
                    <a:lnTo>
                      <a:pt x="3284" y="532"/>
                    </a:lnTo>
                    <a:lnTo>
                      <a:pt x="3286" y="529"/>
                    </a:lnTo>
                    <a:lnTo>
                      <a:pt x="3287" y="524"/>
                    </a:lnTo>
                    <a:lnTo>
                      <a:pt x="3288" y="521"/>
                    </a:lnTo>
                    <a:lnTo>
                      <a:pt x="3288" y="516"/>
                    </a:lnTo>
                    <a:lnTo>
                      <a:pt x="3288" y="505"/>
                    </a:lnTo>
                    <a:lnTo>
                      <a:pt x="3287" y="496"/>
                    </a:lnTo>
                    <a:lnTo>
                      <a:pt x="3285" y="485"/>
                    </a:lnTo>
                    <a:lnTo>
                      <a:pt x="3283" y="475"/>
                    </a:lnTo>
                    <a:lnTo>
                      <a:pt x="3208" y="0"/>
                    </a:lnTo>
                    <a:lnTo>
                      <a:pt x="3208" y="0"/>
                    </a:lnTo>
                    <a:lnTo>
                      <a:pt x="3199" y="8"/>
                    </a:lnTo>
                    <a:lnTo>
                      <a:pt x="3188" y="16"/>
                    </a:lnTo>
                    <a:lnTo>
                      <a:pt x="3179" y="26"/>
                    </a:lnTo>
                    <a:lnTo>
                      <a:pt x="3167" y="35"/>
                    </a:lnTo>
                    <a:lnTo>
                      <a:pt x="3152" y="55"/>
                    </a:lnTo>
                    <a:lnTo>
                      <a:pt x="3136" y="75"/>
                    </a:lnTo>
                    <a:lnTo>
                      <a:pt x="3126" y="85"/>
                    </a:lnTo>
                    <a:lnTo>
                      <a:pt x="3118" y="94"/>
                    </a:lnTo>
                    <a:lnTo>
                      <a:pt x="3111" y="105"/>
                    </a:lnTo>
                    <a:lnTo>
                      <a:pt x="3104" y="116"/>
                    </a:lnTo>
                    <a:lnTo>
                      <a:pt x="3099" y="120"/>
                    </a:lnTo>
                    <a:lnTo>
                      <a:pt x="3093" y="126"/>
                    </a:lnTo>
                    <a:lnTo>
                      <a:pt x="3089" y="132"/>
                    </a:lnTo>
                    <a:lnTo>
                      <a:pt x="3085" y="139"/>
                    </a:lnTo>
                    <a:lnTo>
                      <a:pt x="3077" y="153"/>
                    </a:lnTo>
                    <a:lnTo>
                      <a:pt x="3070" y="165"/>
                    </a:lnTo>
                    <a:lnTo>
                      <a:pt x="3065" y="169"/>
                    </a:lnTo>
                    <a:lnTo>
                      <a:pt x="3062" y="174"/>
                    </a:lnTo>
                    <a:lnTo>
                      <a:pt x="3058" y="180"/>
                    </a:lnTo>
                    <a:lnTo>
                      <a:pt x="3055" y="187"/>
                    </a:lnTo>
                    <a:lnTo>
                      <a:pt x="3049" y="199"/>
                    </a:lnTo>
                    <a:lnTo>
                      <a:pt x="3040" y="210"/>
                    </a:lnTo>
                    <a:lnTo>
                      <a:pt x="3031" y="221"/>
                    </a:lnTo>
                    <a:lnTo>
                      <a:pt x="3022" y="233"/>
                    </a:lnTo>
                    <a:lnTo>
                      <a:pt x="3011" y="245"/>
                    </a:lnTo>
                    <a:lnTo>
                      <a:pt x="3003" y="258"/>
                    </a:lnTo>
                    <a:lnTo>
                      <a:pt x="2972" y="296"/>
                    </a:lnTo>
                    <a:lnTo>
                      <a:pt x="0" y="191"/>
                    </a:lnTo>
                    <a:lnTo>
                      <a:pt x="0" y="191"/>
                    </a:lnTo>
                    <a:lnTo>
                      <a:pt x="240" y="474"/>
                    </a:lnTo>
                    <a:lnTo>
                      <a:pt x="240" y="740"/>
                    </a:lnTo>
                    <a:lnTo>
                      <a:pt x="264" y="740"/>
                    </a:lnTo>
                    <a:lnTo>
                      <a:pt x="276" y="712"/>
                    </a:lnTo>
                    <a:lnTo>
                      <a:pt x="636" y="712"/>
                    </a:lnTo>
                    <a:lnTo>
                      <a:pt x="636" y="660"/>
                    </a:lnTo>
                    <a:lnTo>
                      <a:pt x="1178" y="885"/>
                    </a:lnTo>
                    <a:lnTo>
                      <a:pt x="1114" y="1421"/>
                    </a:lnTo>
                    <a:lnTo>
                      <a:pt x="1321" y="1466"/>
                    </a:lnTo>
                    <a:lnTo>
                      <a:pt x="1323" y="1457"/>
                    </a:lnTo>
                    <a:lnTo>
                      <a:pt x="1321" y="1448"/>
                    </a:lnTo>
                    <a:lnTo>
                      <a:pt x="1317" y="1436"/>
                    </a:lnTo>
                    <a:lnTo>
                      <a:pt x="1315" y="1424"/>
                    </a:lnTo>
                    <a:lnTo>
                      <a:pt x="1313" y="1411"/>
                    </a:lnTo>
                    <a:lnTo>
                      <a:pt x="1312" y="1396"/>
                    </a:lnTo>
                    <a:lnTo>
                      <a:pt x="1312" y="1383"/>
                    </a:lnTo>
                    <a:lnTo>
                      <a:pt x="1313" y="1378"/>
                    </a:lnTo>
                    <a:lnTo>
                      <a:pt x="1314" y="1373"/>
                    </a:lnTo>
                    <a:lnTo>
                      <a:pt x="1315" y="1368"/>
                    </a:lnTo>
                    <a:lnTo>
                      <a:pt x="1317" y="1365"/>
                    </a:lnTo>
                    <a:lnTo>
                      <a:pt x="1336" y="1340"/>
                    </a:lnTo>
                    <a:lnTo>
                      <a:pt x="1354" y="1314"/>
                    </a:lnTo>
                    <a:lnTo>
                      <a:pt x="1363" y="1301"/>
                    </a:lnTo>
                    <a:lnTo>
                      <a:pt x="1373" y="1288"/>
                    </a:lnTo>
                    <a:lnTo>
                      <a:pt x="1382" y="1276"/>
                    </a:lnTo>
                    <a:lnTo>
                      <a:pt x="1393" y="1266"/>
                    </a:lnTo>
                    <a:lnTo>
                      <a:pt x="1396" y="1266"/>
                    </a:lnTo>
                    <a:lnTo>
                      <a:pt x="1400" y="1267"/>
                    </a:lnTo>
                    <a:lnTo>
                      <a:pt x="1402" y="1269"/>
                    </a:lnTo>
                    <a:lnTo>
                      <a:pt x="1406" y="1271"/>
                    </a:lnTo>
                    <a:lnTo>
                      <a:pt x="1412" y="1279"/>
                    </a:lnTo>
                    <a:lnTo>
                      <a:pt x="1419" y="1286"/>
                    </a:lnTo>
                    <a:lnTo>
                      <a:pt x="1424" y="1294"/>
                    </a:lnTo>
                    <a:lnTo>
                      <a:pt x="1431" y="1301"/>
                    </a:lnTo>
                    <a:lnTo>
                      <a:pt x="1440" y="1308"/>
                    </a:lnTo>
                    <a:lnTo>
                      <a:pt x="1448" y="1312"/>
                    </a:lnTo>
                    <a:lnTo>
                      <a:pt x="1468" y="1319"/>
                    </a:lnTo>
                    <a:lnTo>
                      <a:pt x="1489" y="1325"/>
                    </a:lnTo>
                    <a:lnTo>
                      <a:pt x="1501" y="1326"/>
                    </a:lnTo>
                    <a:lnTo>
                      <a:pt x="1511" y="1327"/>
                    </a:lnTo>
                    <a:lnTo>
                      <a:pt x="1522" y="1326"/>
                    </a:lnTo>
                    <a:lnTo>
                      <a:pt x="1533" y="1323"/>
                    </a:lnTo>
                    <a:lnTo>
                      <a:pt x="1553" y="1315"/>
                    </a:lnTo>
                    <a:lnTo>
                      <a:pt x="1571" y="1306"/>
                    </a:lnTo>
                    <a:lnTo>
                      <a:pt x="1581" y="1302"/>
                    </a:lnTo>
                    <a:lnTo>
                      <a:pt x="1591" y="1299"/>
                    </a:lnTo>
                    <a:lnTo>
                      <a:pt x="1602" y="1296"/>
                    </a:lnTo>
                    <a:lnTo>
                      <a:pt x="1614" y="1295"/>
                    </a:lnTo>
                    <a:lnTo>
                      <a:pt x="1621" y="1295"/>
                    </a:lnTo>
                    <a:lnTo>
                      <a:pt x="1628" y="1296"/>
                    </a:lnTo>
                    <a:lnTo>
                      <a:pt x="1635" y="1297"/>
                    </a:lnTo>
                    <a:lnTo>
                      <a:pt x="1641" y="1300"/>
                    </a:lnTo>
                    <a:lnTo>
                      <a:pt x="1652" y="1306"/>
                    </a:lnTo>
                    <a:lnTo>
                      <a:pt x="1665" y="1312"/>
                    </a:lnTo>
                    <a:lnTo>
                      <a:pt x="1677" y="1315"/>
                    </a:lnTo>
                    <a:lnTo>
                      <a:pt x="1690" y="1316"/>
                    </a:lnTo>
                    <a:lnTo>
                      <a:pt x="1703" y="1316"/>
                    </a:lnTo>
                    <a:lnTo>
                      <a:pt x="1716" y="1316"/>
                    </a:lnTo>
                    <a:lnTo>
                      <a:pt x="1729" y="1315"/>
                    </a:lnTo>
                    <a:lnTo>
                      <a:pt x="1743" y="1315"/>
                    </a:lnTo>
                    <a:lnTo>
                      <a:pt x="1756" y="1315"/>
                    </a:lnTo>
                    <a:lnTo>
                      <a:pt x="1768" y="1316"/>
                    </a:lnTo>
                    <a:lnTo>
                      <a:pt x="1773" y="1319"/>
                    </a:lnTo>
                    <a:lnTo>
                      <a:pt x="1778" y="1323"/>
                    </a:lnTo>
                    <a:lnTo>
                      <a:pt x="1784" y="1328"/>
                    </a:lnTo>
                    <a:lnTo>
                      <a:pt x="1789" y="1336"/>
                    </a:lnTo>
                    <a:lnTo>
                      <a:pt x="1798" y="1354"/>
                    </a:lnTo>
                    <a:lnTo>
                      <a:pt x="1806" y="1374"/>
                    </a:lnTo>
                    <a:lnTo>
                      <a:pt x="1822" y="1416"/>
                    </a:lnTo>
                    <a:lnTo>
                      <a:pt x="1832" y="1448"/>
                    </a:lnTo>
                    <a:lnTo>
                      <a:pt x="1840" y="1472"/>
                    </a:lnTo>
                    <a:lnTo>
                      <a:pt x="1845" y="1491"/>
                    </a:lnTo>
                    <a:lnTo>
                      <a:pt x="1846" y="1498"/>
                    </a:lnTo>
                    <a:lnTo>
                      <a:pt x="1846" y="1504"/>
                    </a:lnTo>
                    <a:lnTo>
                      <a:pt x="1845" y="1510"/>
                    </a:lnTo>
                    <a:lnTo>
                      <a:pt x="1844" y="1515"/>
                    </a:lnTo>
                    <a:lnTo>
                      <a:pt x="1831" y="1539"/>
                    </a:lnTo>
                    <a:lnTo>
                      <a:pt x="1808" y="1577"/>
                    </a:lnTo>
                    <a:lnTo>
                      <a:pt x="1804" y="1589"/>
                    </a:lnTo>
                    <a:lnTo>
                      <a:pt x="1801" y="1599"/>
                    </a:lnTo>
                    <a:lnTo>
                      <a:pt x="1797" y="1604"/>
                    </a:lnTo>
                    <a:lnTo>
                      <a:pt x="1795" y="1610"/>
                    </a:lnTo>
                    <a:lnTo>
                      <a:pt x="1792" y="1616"/>
                    </a:lnTo>
                    <a:lnTo>
                      <a:pt x="1789" y="1622"/>
                    </a:lnTo>
                    <a:lnTo>
                      <a:pt x="1785" y="1627"/>
                    </a:lnTo>
                    <a:lnTo>
                      <a:pt x="1777" y="1640"/>
                    </a:lnTo>
                    <a:lnTo>
                      <a:pt x="1770" y="1652"/>
                    </a:lnTo>
                    <a:lnTo>
                      <a:pt x="1763" y="1659"/>
                    </a:lnTo>
                    <a:lnTo>
                      <a:pt x="1756" y="1669"/>
                    </a:lnTo>
                    <a:lnTo>
                      <a:pt x="1748" y="1680"/>
                    </a:lnTo>
                    <a:lnTo>
                      <a:pt x="1739" y="1693"/>
                    </a:lnTo>
                    <a:lnTo>
                      <a:pt x="1725" y="1719"/>
                    </a:lnTo>
                    <a:lnTo>
                      <a:pt x="1715" y="1741"/>
                    </a:lnTo>
                    <a:lnTo>
                      <a:pt x="1710" y="1752"/>
                    </a:lnTo>
                    <a:lnTo>
                      <a:pt x="1708" y="1763"/>
                    </a:lnTo>
                    <a:lnTo>
                      <a:pt x="1706" y="1772"/>
                    </a:lnTo>
                    <a:lnTo>
                      <a:pt x="1708" y="1781"/>
                    </a:lnTo>
                    <a:lnTo>
                      <a:pt x="1711" y="1787"/>
                    </a:lnTo>
                    <a:lnTo>
                      <a:pt x="1715" y="1792"/>
                    </a:lnTo>
                    <a:lnTo>
                      <a:pt x="1721" y="1797"/>
                    </a:lnTo>
                    <a:lnTo>
                      <a:pt x="1726" y="1802"/>
                    </a:lnTo>
                    <a:lnTo>
                      <a:pt x="1739" y="1810"/>
                    </a:lnTo>
                    <a:lnTo>
                      <a:pt x="1752" y="1818"/>
                    </a:lnTo>
                    <a:lnTo>
                      <a:pt x="1759" y="1823"/>
                    </a:lnTo>
                    <a:lnTo>
                      <a:pt x="1764" y="1829"/>
                    </a:lnTo>
                    <a:lnTo>
                      <a:pt x="1769" y="1835"/>
                    </a:lnTo>
                    <a:lnTo>
                      <a:pt x="1772" y="1843"/>
                    </a:lnTo>
                    <a:lnTo>
                      <a:pt x="1773" y="1850"/>
                    </a:lnTo>
                    <a:lnTo>
                      <a:pt x="1775" y="1860"/>
                    </a:lnTo>
                    <a:lnTo>
                      <a:pt x="1775" y="1869"/>
                    </a:lnTo>
                    <a:lnTo>
                      <a:pt x="1775" y="1880"/>
                    </a:lnTo>
                    <a:lnTo>
                      <a:pt x="1772" y="1902"/>
                    </a:lnTo>
                    <a:lnTo>
                      <a:pt x="1768" y="1924"/>
                    </a:lnTo>
                    <a:lnTo>
                      <a:pt x="1758" y="1970"/>
                    </a:lnTo>
                    <a:lnTo>
                      <a:pt x="1749" y="2008"/>
                    </a:lnTo>
                    <a:lnTo>
                      <a:pt x="1750" y="2003"/>
                    </a:lnTo>
                    <a:lnTo>
                      <a:pt x="1749" y="2006"/>
                    </a:lnTo>
                    <a:lnTo>
                      <a:pt x="1750" y="2006"/>
                    </a:lnTo>
                    <a:lnTo>
                      <a:pt x="1744" y="2027"/>
                    </a:lnTo>
                    <a:lnTo>
                      <a:pt x="1737" y="2048"/>
                    </a:lnTo>
                    <a:lnTo>
                      <a:pt x="1734" y="2059"/>
                    </a:lnTo>
                    <a:lnTo>
                      <a:pt x="1731" y="2069"/>
                    </a:lnTo>
                    <a:lnTo>
                      <a:pt x="1728" y="2081"/>
                    </a:lnTo>
                    <a:lnTo>
                      <a:pt x="1726" y="2093"/>
                    </a:lnTo>
                    <a:lnTo>
                      <a:pt x="1722" y="2128"/>
                    </a:lnTo>
                    <a:lnTo>
                      <a:pt x="1717" y="2155"/>
                    </a:lnTo>
                    <a:lnTo>
                      <a:pt x="1715" y="2166"/>
                    </a:lnTo>
                    <a:lnTo>
                      <a:pt x="1711" y="2174"/>
                    </a:lnTo>
                    <a:lnTo>
                      <a:pt x="1706" y="2183"/>
                    </a:lnTo>
                    <a:lnTo>
                      <a:pt x="1702" y="2188"/>
                    </a:lnTo>
                    <a:lnTo>
                      <a:pt x="1695" y="2194"/>
                    </a:lnTo>
                    <a:lnTo>
                      <a:pt x="1688" y="2199"/>
                    </a:lnTo>
                    <a:lnTo>
                      <a:pt x="1679" y="2203"/>
                    </a:lnTo>
                    <a:lnTo>
                      <a:pt x="1669" y="2207"/>
                    </a:lnTo>
                    <a:lnTo>
                      <a:pt x="1644" y="2216"/>
                    </a:lnTo>
                    <a:lnTo>
                      <a:pt x="1612" y="2225"/>
                    </a:lnTo>
                    <a:lnTo>
                      <a:pt x="1600" y="2229"/>
                    </a:lnTo>
                    <a:lnTo>
                      <a:pt x="1584" y="2236"/>
                    </a:lnTo>
                    <a:lnTo>
                      <a:pt x="1567" y="2243"/>
                    </a:lnTo>
                    <a:lnTo>
                      <a:pt x="1549" y="2252"/>
                    </a:lnTo>
                    <a:lnTo>
                      <a:pt x="1533" y="2262"/>
                    </a:lnTo>
                    <a:lnTo>
                      <a:pt x="1517" y="2272"/>
                    </a:lnTo>
                    <a:lnTo>
                      <a:pt x="1511" y="2278"/>
                    </a:lnTo>
                    <a:lnTo>
                      <a:pt x="1506" y="2283"/>
                    </a:lnTo>
                    <a:lnTo>
                      <a:pt x="1501" y="2289"/>
                    </a:lnTo>
                    <a:lnTo>
                      <a:pt x="1498" y="2293"/>
                    </a:lnTo>
                    <a:lnTo>
                      <a:pt x="1497" y="2298"/>
                    </a:lnTo>
                    <a:lnTo>
                      <a:pt x="1498" y="2303"/>
                    </a:lnTo>
                    <a:lnTo>
                      <a:pt x="1501" y="2308"/>
                    </a:lnTo>
                    <a:lnTo>
                      <a:pt x="1504" y="2312"/>
                    </a:lnTo>
                    <a:lnTo>
                      <a:pt x="1516" y="2322"/>
                    </a:lnTo>
                    <a:lnTo>
                      <a:pt x="1531" y="2331"/>
                    </a:lnTo>
                    <a:lnTo>
                      <a:pt x="1563" y="2349"/>
                    </a:lnTo>
                    <a:lnTo>
                      <a:pt x="1584" y="2363"/>
                    </a:lnTo>
                    <a:lnTo>
                      <a:pt x="1588" y="2366"/>
                    </a:lnTo>
                    <a:lnTo>
                      <a:pt x="1591" y="2371"/>
                    </a:lnTo>
                    <a:lnTo>
                      <a:pt x="1593" y="2375"/>
                    </a:lnTo>
                    <a:lnTo>
                      <a:pt x="1594" y="2378"/>
                    </a:lnTo>
                    <a:lnTo>
                      <a:pt x="1594" y="2382"/>
                    </a:lnTo>
                    <a:lnTo>
                      <a:pt x="1593" y="2385"/>
                    </a:lnTo>
                    <a:lnTo>
                      <a:pt x="1591" y="2389"/>
                    </a:lnTo>
                    <a:lnTo>
                      <a:pt x="1589" y="2392"/>
                    </a:lnTo>
                    <a:lnTo>
                      <a:pt x="1583" y="2399"/>
                    </a:lnTo>
                    <a:lnTo>
                      <a:pt x="1575" y="2407"/>
                    </a:lnTo>
                    <a:lnTo>
                      <a:pt x="1565" y="2412"/>
                    </a:lnTo>
                    <a:lnTo>
                      <a:pt x="1555" y="2418"/>
                    </a:lnTo>
                    <a:lnTo>
                      <a:pt x="1531" y="2430"/>
                    </a:lnTo>
                    <a:lnTo>
                      <a:pt x="1508" y="2442"/>
                    </a:lnTo>
                    <a:lnTo>
                      <a:pt x="1498" y="2448"/>
                    </a:lnTo>
                    <a:lnTo>
                      <a:pt x="1489" y="2454"/>
                    </a:lnTo>
                    <a:lnTo>
                      <a:pt x="1482" y="2460"/>
                    </a:lnTo>
                    <a:lnTo>
                      <a:pt x="1477" y="2464"/>
                    </a:lnTo>
                    <a:lnTo>
                      <a:pt x="1475" y="2469"/>
                    </a:lnTo>
                    <a:lnTo>
                      <a:pt x="1473" y="2474"/>
                    </a:lnTo>
                    <a:lnTo>
                      <a:pt x="1471" y="2477"/>
                    </a:lnTo>
                    <a:lnTo>
                      <a:pt x="1471" y="2481"/>
                    </a:lnTo>
                    <a:lnTo>
                      <a:pt x="1473" y="2487"/>
                    </a:lnTo>
                    <a:lnTo>
                      <a:pt x="1476" y="2493"/>
                    </a:lnTo>
                    <a:lnTo>
                      <a:pt x="1480" y="2498"/>
                    </a:lnTo>
                    <a:lnTo>
                      <a:pt x="1483" y="2506"/>
                    </a:lnTo>
                    <a:lnTo>
                      <a:pt x="1486" y="2511"/>
                    </a:lnTo>
                    <a:lnTo>
                      <a:pt x="1487" y="2520"/>
                    </a:lnTo>
                    <a:lnTo>
                      <a:pt x="1486" y="2523"/>
                    </a:lnTo>
                    <a:lnTo>
                      <a:pt x="1484" y="2528"/>
                    </a:lnTo>
                    <a:lnTo>
                      <a:pt x="1483" y="2533"/>
                    </a:lnTo>
                    <a:lnTo>
                      <a:pt x="1481" y="2536"/>
                    </a:lnTo>
                    <a:lnTo>
                      <a:pt x="1474" y="2546"/>
                    </a:lnTo>
                    <a:lnTo>
                      <a:pt x="1466" y="2554"/>
                    </a:lnTo>
                    <a:lnTo>
                      <a:pt x="1448" y="2569"/>
                    </a:lnTo>
                    <a:lnTo>
                      <a:pt x="1433" y="2580"/>
                    </a:lnTo>
                    <a:lnTo>
                      <a:pt x="1428" y="2588"/>
                    </a:lnTo>
                    <a:lnTo>
                      <a:pt x="1416" y="2595"/>
                    </a:lnTo>
                    <a:lnTo>
                      <a:pt x="1404" y="2603"/>
                    </a:lnTo>
                    <a:lnTo>
                      <a:pt x="1393" y="2612"/>
                    </a:lnTo>
                    <a:lnTo>
                      <a:pt x="1382" y="2621"/>
                    </a:lnTo>
                    <a:lnTo>
                      <a:pt x="1381" y="2622"/>
                    </a:lnTo>
                    <a:lnTo>
                      <a:pt x="1381" y="2625"/>
                    </a:lnTo>
                    <a:lnTo>
                      <a:pt x="1393" y="2638"/>
                    </a:lnTo>
                    <a:lnTo>
                      <a:pt x="1406" y="2649"/>
                    </a:lnTo>
                    <a:lnTo>
                      <a:pt x="1419" y="2661"/>
                    </a:lnTo>
                    <a:lnTo>
                      <a:pt x="1433" y="2673"/>
                    </a:lnTo>
                    <a:lnTo>
                      <a:pt x="1446" y="2686"/>
                    </a:lnTo>
                    <a:lnTo>
                      <a:pt x="1457" y="2698"/>
                    </a:lnTo>
                    <a:lnTo>
                      <a:pt x="1462" y="2705"/>
                    </a:lnTo>
                    <a:lnTo>
                      <a:pt x="1468" y="2712"/>
                    </a:lnTo>
                    <a:lnTo>
                      <a:pt x="1473" y="2719"/>
                    </a:lnTo>
                    <a:lnTo>
                      <a:pt x="1476" y="2727"/>
                    </a:lnTo>
                    <a:lnTo>
                      <a:pt x="1494" y="2764"/>
                    </a:lnTo>
                    <a:lnTo>
                      <a:pt x="1517" y="2806"/>
                    </a:lnTo>
                    <a:lnTo>
                      <a:pt x="1530" y="2826"/>
                    </a:lnTo>
                    <a:lnTo>
                      <a:pt x="1543" y="2846"/>
                    </a:lnTo>
                    <a:lnTo>
                      <a:pt x="1556" y="2863"/>
                    </a:lnTo>
                    <a:lnTo>
                      <a:pt x="1568" y="2877"/>
                    </a:lnTo>
                    <a:lnTo>
                      <a:pt x="1574" y="2877"/>
                    </a:lnTo>
                    <a:lnTo>
                      <a:pt x="1581" y="2876"/>
                    </a:lnTo>
                    <a:lnTo>
                      <a:pt x="1588" y="2873"/>
                    </a:lnTo>
                    <a:lnTo>
                      <a:pt x="1596" y="2871"/>
                    </a:lnTo>
                    <a:lnTo>
                      <a:pt x="1612" y="2864"/>
                    </a:lnTo>
                    <a:lnTo>
                      <a:pt x="1630" y="2853"/>
                    </a:lnTo>
                    <a:lnTo>
                      <a:pt x="1663" y="2832"/>
                    </a:lnTo>
                    <a:lnTo>
                      <a:pt x="1688" y="2814"/>
                    </a:lnTo>
                    <a:lnTo>
                      <a:pt x="1699" y="2806"/>
                    </a:lnTo>
                    <a:lnTo>
                      <a:pt x="1711" y="2800"/>
                    </a:lnTo>
                    <a:lnTo>
                      <a:pt x="1723" y="2794"/>
                    </a:lnTo>
                    <a:lnTo>
                      <a:pt x="1735" y="2790"/>
                    </a:lnTo>
                    <a:lnTo>
                      <a:pt x="1745" y="2786"/>
                    </a:lnTo>
                    <a:lnTo>
                      <a:pt x="1757" y="2783"/>
                    </a:lnTo>
                    <a:lnTo>
                      <a:pt x="1769" y="2781"/>
                    </a:lnTo>
                    <a:lnTo>
                      <a:pt x="1781" y="2779"/>
                    </a:lnTo>
                    <a:lnTo>
                      <a:pt x="1804" y="2777"/>
                    </a:lnTo>
                    <a:lnTo>
                      <a:pt x="1829" y="2775"/>
                    </a:lnTo>
                    <a:lnTo>
                      <a:pt x="1855" y="2774"/>
                    </a:lnTo>
                    <a:lnTo>
                      <a:pt x="1882" y="2773"/>
                    </a:lnTo>
                    <a:lnTo>
                      <a:pt x="2063" y="2760"/>
                    </a:lnTo>
                    <a:lnTo>
                      <a:pt x="2064" y="2761"/>
                    </a:lnTo>
                    <a:lnTo>
                      <a:pt x="2064" y="2800"/>
                    </a:lnTo>
                    <a:lnTo>
                      <a:pt x="2063" y="2834"/>
                    </a:lnTo>
                    <a:lnTo>
                      <a:pt x="2060" y="2866"/>
                    </a:lnTo>
                    <a:lnTo>
                      <a:pt x="2056" y="2897"/>
                    </a:lnTo>
                    <a:lnTo>
                      <a:pt x="2053" y="2911"/>
                    </a:lnTo>
                    <a:lnTo>
                      <a:pt x="2050" y="2926"/>
                    </a:lnTo>
                    <a:lnTo>
                      <a:pt x="2045" y="2942"/>
                    </a:lnTo>
                    <a:lnTo>
                      <a:pt x="2040" y="2957"/>
                    </a:lnTo>
                    <a:lnTo>
                      <a:pt x="2027" y="2990"/>
                    </a:lnTo>
                    <a:lnTo>
                      <a:pt x="2010" y="3025"/>
                    </a:lnTo>
                    <a:lnTo>
                      <a:pt x="2005" y="3032"/>
                    </a:lnTo>
                    <a:lnTo>
                      <a:pt x="2003" y="3041"/>
                    </a:lnTo>
                    <a:lnTo>
                      <a:pt x="1998" y="3048"/>
                    </a:lnTo>
                    <a:lnTo>
                      <a:pt x="1993" y="3056"/>
                    </a:lnTo>
                    <a:lnTo>
                      <a:pt x="1989" y="3064"/>
                    </a:lnTo>
                    <a:lnTo>
                      <a:pt x="1986" y="3072"/>
                    </a:lnTo>
                    <a:lnTo>
                      <a:pt x="1982" y="3091"/>
                    </a:lnTo>
                    <a:lnTo>
                      <a:pt x="1978" y="3110"/>
                    </a:lnTo>
                    <a:lnTo>
                      <a:pt x="1974" y="3128"/>
                    </a:lnTo>
                    <a:lnTo>
                      <a:pt x="1971" y="3146"/>
                    </a:lnTo>
                    <a:lnTo>
                      <a:pt x="1967" y="3155"/>
                    </a:lnTo>
                    <a:lnTo>
                      <a:pt x="1965" y="3162"/>
                    </a:lnTo>
                    <a:lnTo>
                      <a:pt x="1960" y="3170"/>
                    </a:lnTo>
                    <a:lnTo>
                      <a:pt x="1956" y="3177"/>
                    </a:lnTo>
                    <a:lnTo>
                      <a:pt x="1954" y="3177"/>
                    </a:lnTo>
                    <a:lnTo>
                      <a:pt x="1953" y="3179"/>
                    </a:lnTo>
                    <a:lnTo>
                      <a:pt x="1936" y="3180"/>
                    </a:lnTo>
                    <a:lnTo>
                      <a:pt x="1918" y="3181"/>
                    </a:lnTo>
                    <a:lnTo>
                      <a:pt x="1899" y="3181"/>
                    </a:lnTo>
                    <a:lnTo>
                      <a:pt x="1882" y="3180"/>
                    </a:lnTo>
                    <a:lnTo>
                      <a:pt x="1871" y="3180"/>
                    </a:lnTo>
                    <a:lnTo>
                      <a:pt x="1862" y="3181"/>
                    </a:lnTo>
                    <a:lnTo>
                      <a:pt x="1855" y="3183"/>
                    </a:lnTo>
                    <a:lnTo>
                      <a:pt x="1848" y="3186"/>
                    </a:lnTo>
                    <a:lnTo>
                      <a:pt x="1835" y="3190"/>
                    </a:lnTo>
                    <a:lnTo>
                      <a:pt x="1824" y="3196"/>
                    </a:lnTo>
                    <a:lnTo>
                      <a:pt x="1819" y="3199"/>
                    </a:lnTo>
                    <a:lnTo>
                      <a:pt x="1813" y="3201"/>
                    </a:lnTo>
                    <a:lnTo>
                      <a:pt x="1808" y="3202"/>
                    </a:lnTo>
                    <a:lnTo>
                      <a:pt x="1801" y="3202"/>
                    </a:lnTo>
                    <a:lnTo>
                      <a:pt x="1793" y="3201"/>
                    </a:lnTo>
                    <a:lnTo>
                      <a:pt x="1785" y="3199"/>
                    </a:lnTo>
                    <a:lnTo>
                      <a:pt x="1776" y="3194"/>
                    </a:lnTo>
                    <a:lnTo>
                      <a:pt x="1765" y="3189"/>
                    </a:lnTo>
                    <a:lnTo>
                      <a:pt x="1756" y="3184"/>
                    </a:lnTo>
                    <a:lnTo>
                      <a:pt x="1745" y="3181"/>
                    </a:lnTo>
                    <a:lnTo>
                      <a:pt x="1735" y="3177"/>
                    </a:lnTo>
                    <a:lnTo>
                      <a:pt x="1722" y="3176"/>
                    </a:lnTo>
                    <a:lnTo>
                      <a:pt x="1709" y="3175"/>
                    </a:lnTo>
                    <a:lnTo>
                      <a:pt x="1696" y="3175"/>
                    </a:lnTo>
                    <a:lnTo>
                      <a:pt x="1682" y="3175"/>
                    </a:lnTo>
                    <a:lnTo>
                      <a:pt x="1668" y="3177"/>
                    </a:lnTo>
                    <a:lnTo>
                      <a:pt x="1655" y="3179"/>
                    </a:lnTo>
                    <a:lnTo>
                      <a:pt x="1641" y="3182"/>
                    </a:lnTo>
                    <a:lnTo>
                      <a:pt x="1628" y="3186"/>
                    </a:lnTo>
                    <a:lnTo>
                      <a:pt x="1616" y="3189"/>
                    </a:lnTo>
                    <a:lnTo>
                      <a:pt x="1604" y="3194"/>
                    </a:lnTo>
                    <a:lnTo>
                      <a:pt x="1594" y="3199"/>
                    </a:lnTo>
                    <a:lnTo>
                      <a:pt x="1583" y="3204"/>
                    </a:lnTo>
                    <a:lnTo>
                      <a:pt x="1575" y="3210"/>
                    </a:lnTo>
                    <a:lnTo>
                      <a:pt x="1567" y="3220"/>
                    </a:lnTo>
                    <a:lnTo>
                      <a:pt x="1558" y="3232"/>
                    </a:lnTo>
                    <a:lnTo>
                      <a:pt x="1551" y="3245"/>
                    </a:lnTo>
                    <a:lnTo>
                      <a:pt x="1544" y="3259"/>
                    </a:lnTo>
                    <a:lnTo>
                      <a:pt x="1538" y="3275"/>
                    </a:lnTo>
                    <a:lnTo>
                      <a:pt x="1534" y="3293"/>
                    </a:lnTo>
                    <a:lnTo>
                      <a:pt x="1529" y="3311"/>
                    </a:lnTo>
                    <a:lnTo>
                      <a:pt x="1526" y="3329"/>
                    </a:lnTo>
                    <a:lnTo>
                      <a:pt x="1518" y="3366"/>
                    </a:lnTo>
                    <a:lnTo>
                      <a:pt x="1513" y="3402"/>
                    </a:lnTo>
                    <a:lnTo>
                      <a:pt x="1508" y="3435"/>
                    </a:lnTo>
                    <a:lnTo>
                      <a:pt x="1503" y="3463"/>
                    </a:lnTo>
                    <a:lnTo>
                      <a:pt x="1501" y="3472"/>
                    </a:lnTo>
                    <a:lnTo>
                      <a:pt x="1500" y="3483"/>
                    </a:lnTo>
                    <a:lnTo>
                      <a:pt x="1498" y="3492"/>
                    </a:lnTo>
                    <a:lnTo>
                      <a:pt x="1500" y="3500"/>
                    </a:lnTo>
                    <a:lnTo>
                      <a:pt x="1501" y="3510"/>
                    </a:lnTo>
                    <a:lnTo>
                      <a:pt x="1503" y="3519"/>
                    </a:lnTo>
                    <a:lnTo>
                      <a:pt x="1506" y="3529"/>
                    </a:lnTo>
                    <a:lnTo>
                      <a:pt x="1510" y="3537"/>
                    </a:lnTo>
                    <a:lnTo>
                      <a:pt x="1514" y="3545"/>
                    </a:lnTo>
                    <a:lnTo>
                      <a:pt x="1520" y="3553"/>
                    </a:lnTo>
                    <a:lnTo>
                      <a:pt x="1526" y="3563"/>
                    </a:lnTo>
                    <a:lnTo>
                      <a:pt x="1531" y="3570"/>
                    </a:lnTo>
                    <a:lnTo>
                      <a:pt x="1545" y="3586"/>
                    </a:lnTo>
                    <a:lnTo>
                      <a:pt x="1561" y="3601"/>
                    </a:lnTo>
                    <a:lnTo>
                      <a:pt x="1578" y="3616"/>
                    </a:lnTo>
                    <a:lnTo>
                      <a:pt x="1596" y="3629"/>
                    </a:lnTo>
                    <a:lnTo>
                      <a:pt x="1614" y="3641"/>
                    </a:lnTo>
                    <a:lnTo>
                      <a:pt x="1631" y="3652"/>
                    </a:lnTo>
                    <a:lnTo>
                      <a:pt x="1667" y="3672"/>
                    </a:lnTo>
                    <a:lnTo>
                      <a:pt x="1696" y="3688"/>
                    </a:lnTo>
                    <a:lnTo>
                      <a:pt x="1703" y="3698"/>
                    </a:lnTo>
                    <a:lnTo>
                      <a:pt x="1708" y="3707"/>
                    </a:lnTo>
                    <a:lnTo>
                      <a:pt x="1714" y="3712"/>
                    </a:lnTo>
                    <a:lnTo>
                      <a:pt x="1718" y="3717"/>
                    </a:lnTo>
                    <a:lnTo>
                      <a:pt x="1723" y="3720"/>
                    </a:lnTo>
                    <a:lnTo>
                      <a:pt x="1728" y="3721"/>
                    </a:lnTo>
                    <a:lnTo>
                      <a:pt x="1732" y="3722"/>
                    </a:lnTo>
                    <a:lnTo>
                      <a:pt x="1737" y="3721"/>
                    </a:lnTo>
                    <a:lnTo>
                      <a:pt x="1759" y="3712"/>
                    </a:lnTo>
                    <a:lnTo>
                      <a:pt x="1789" y="3702"/>
                    </a:lnTo>
                    <a:lnTo>
                      <a:pt x="1810" y="3700"/>
                    </a:lnTo>
                    <a:lnTo>
                      <a:pt x="1832" y="3698"/>
                    </a:lnTo>
                    <a:lnTo>
                      <a:pt x="1855" y="3698"/>
                    </a:lnTo>
                    <a:lnTo>
                      <a:pt x="1878" y="3700"/>
                    </a:lnTo>
                    <a:lnTo>
                      <a:pt x="1902" y="3701"/>
                    </a:lnTo>
                    <a:lnTo>
                      <a:pt x="1925" y="3703"/>
                    </a:lnTo>
                    <a:lnTo>
                      <a:pt x="1949" y="3704"/>
                    </a:lnTo>
                    <a:lnTo>
                      <a:pt x="1970" y="3704"/>
                    </a:lnTo>
                    <a:lnTo>
                      <a:pt x="1977" y="3705"/>
                    </a:lnTo>
                    <a:lnTo>
                      <a:pt x="1983" y="3709"/>
                    </a:lnTo>
                    <a:lnTo>
                      <a:pt x="1989" y="3712"/>
                    </a:lnTo>
                    <a:lnTo>
                      <a:pt x="1993" y="3718"/>
                    </a:lnTo>
                    <a:lnTo>
                      <a:pt x="1997" y="3725"/>
                    </a:lnTo>
                    <a:lnTo>
                      <a:pt x="2000" y="3734"/>
                    </a:lnTo>
                    <a:lnTo>
                      <a:pt x="2003" y="3742"/>
                    </a:lnTo>
                    <a:lnTo>
                      <a:pt x="2005" y="3751"/>
                    </a:lnTo>
                    <a:lnTo>
                      <a:pt x="2009" y="3771"/>
                    </a:lnTo>
                    <a:lnTo>
                      <a:pt x="2011" y="3791"/>
                    </a:lnTo>
                    <a:lnTo>
                      <a:pt x="2012" y="3809"/>
                    </a:lnTo>
                    <a:lnTo>
                      <a:pt x="2013" y="3824"/>
                    </a:lnTo>
                    <a:lnTo>
                      <a:pt x="2016" y="3826"/>
                    </a:lnTo>
                    <a:lnTo>
                      <a:pt x="2017" y="3829"/>
                    </a:lnTo>
                    <a:lnTo>
                      <a:pt x="2026" y="3832"/>
                    </a:lnTo>
                    <a:lnTo>
                      <a:pt x="2036" y="3834"/>
                    </a:lnTo>
                    <a:lnTo>
                      <a:pt x="2046" y="3835"/>
                    </a:lnTo>
                    <a:lnTo>
                      <a:pt x="2056" y="3836"/>
                    </a:lnTo>
                    <a:lnTo>
                      <a:pt x="2077" y="3836"/>
                    </a:lnTo>
                    <a:lnTo>
                      <a:pt x="2098" y="3836"/>
                    </a:lnTo>
                    <a:lnTo>
                      <a:pt x="2099" y="3905"/>
                    </a:lnTo>
                    <a:lnTo>
                      <a:pt x="2099" y="3905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2">
                <a:extLst>
                  <a:ext uri="{FF2B5EF4-FFF2-40B4-BE49-F238E27FC236}">
                    <a16:creationId xmlns:a16="http://schemas.microsoft.com/office/drawing/2014/main" id="{010AB27B-F075-4EB0-9B1F-3D1B96FBD8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36504" y="2410713"/>
                <a:ext cx="796406" cy="779511"/>
              </a:xfrm>
              <a:custGeom>
                <a:avLst/>
                <a:gdLst>
                  <a:gd name="T0" fmla="*/ 2283 w 3249"/>
                  <a:gd name="T1" fmla="*/ 2366 h 3179"/>
                  <a:gd name="T2" fmla="*/ 2048 w 3249"/>
                  <a:gd name="T3" fmla="*/ 2605 h 3179"/>
                  <a:gd name="T4" fmla="*/ 1996 w 3249"/>
                  <a:gd name="T5" fmla="*/ 2698 h 3179"/>
                  <a:gd name="T6" fmla="*/ 2394 w 3249"/>
                  <a:gd name="T7" fmla="*/ 1506 h 3179"/>
                  <a:gd name="T8" fmla="*/ 58 w 3249"/>
                  <a:gd name="T9" fmla="*/ 1536 h 3179"/>
                  <a:gd name="T10" fmla="*/ 433 w 3249"/>
                  <a:gd name="T11" fmla="*/ 1944 h 3179"/>
                  <a:gd name="T12" fmla="*/ 710 w 3249"/>
                  <a:gd name="T13" fmla="*/ 1942 h 3179"/>
                  <a:gd name="T14" fmla="*/ 989 w 3249"/>
                  <a:gd name="T15" fmla="*/ 2149 h 3179"/>
                  <a:gd name="T16" fmla="*/ 1059 w 3249"/>
                  <a:gd name="T17" fmla="*/ 2595 h 3179"/>
                  <a:gd name="T18" fmla="*/ 1103 w 3249"/>
                  <a:gd name="T19" fmla="*/ 2955 h 3179"/>
                  <a:gd name="T20" fmla="*/ 1203 w 3249"/>
                  <a:gd name="T21" fmla="*/ 3057 h 3179"/>
                  <a:gd name="T22" fmla="*/ 1372 w 3249"/>
                  <a:gd name="T23" fmla="*/ 2958 h 3179"/>
                  <a:gd name="T24" fmla="*/ 1529 w 3249"/>
                  <a:gd name="T25" fmla="*/ 3142 h 3179"/>
                  <a:gd name="T26" fmla="*/ 1670 w 3249"/>
                  <a:gd name="T27" fmla="*/ 3098 h 3179"/>
                  <a:gd name="T28" fmla="*/ 1533 w 3249"/>
                  <a:gd name="T29" fmla="*/ 3031 h 3179"/>
                  <a:gd name="T30" fmla="*/ 1699 w 3249"/>
                  <a:gd name="T31" fmla="*/ 2865 h 3179"/>
                  <a:gd name="T32" fmla="*/ 1975 w 3249"/>
                  <a:gd name="T33" fmla="*/ 2586 h 3179"/>
                  <a:gd name="T34" fmla="*/ 1783 w 3249"/>
                  <a:gd name="T35" fmla="*/ 2622 h 3179"/>
                  <a:gd name="T36" fmla="*/ 1857 w 3249"/>
                  <a:gd name="T37" fmla="*/ 2359 h 3179"/>
                  <a:gd name="T38" fmla="*/ 1743 w 3249"/>
                  <a:gd name="T39" fmla="*/ 2385 h 3179"/>
                  <a:gd name="T40" fmla="*/ 1636 w 3249"/>
                  <a:gd name="T41" fmla="*/ 2281 h 3179"/>
                  <a:gd name="T42" fmla="*/ 1833 w 3249"/>
                  <a:gd name="T43" fmla="*/ 2331 h 3179"/>
                  <a:gd name="T44" fmla="*/ 1970 w 3249"/>
                  <a:gd name="T45" fmla="*/ 2288 h 3179"/>
                  <a:gd name="T46" fmla="*/ 2333 w 3249"/>
                  <a:gd name="T47" fmla="*/ 2139 h 3179"/>
                  <a:gd name="T48" fmla="*/ 2432 w 3249"/>
                  <a:gd name="T49" fmla="*/ 2135 h 3179"/>
                  <a:gd name="T50" fmla="*/ 2614 w 3249"/>
                  <a:gd name="T51" fmla="*/ 2103 h 3179"/>
                  <a:gd name="T52" fmla="*/ 2780 w 3249"/>
                  <a:gd name="T53" fmla="*/ 1966 h 3179"/>
                  <a:gd name="T54" fmla="*/ 2914 w 3249"/>
                  <a:gd name="T55" fmla="*/ 1898 h 3179"/>
                  <a:gd name="T56" fmla="*/ 2955 w 3249"/>
                  <a:gd name="T57" fmla="*/ 2021 h 3179"/>
                  <a:gd name="T58" fmla="*/ 3026 w 3249"/>
                  <a:gd name="T59" fmla="*/ 1825 h 3179"/>
                  <a:gd name="T60" fmla="*/ 3232 w 3249"/>
                  <a:gd name="T61" fmla="*/ 1695 h 3179"/>
                  <a:gd name="T62" fmla="*/ 3149 w 3249"/>
                  <a:gd name="T63" fmla="*/ 1539 h 3179"/>
                  <a:gd name="T64" fmla="*/ 3060 w 3249"/>
                  <a:gd name="T65" fmla="*/ 1343 h 3179"/>
                  <a:gd name="T66" fmla="*/ 2930 w 3249"/>
                  <a:gd name="T67" fmla="*/ 1376 h 3179"/>
                  <a:gd name="T68" fmla="*/ 2779 w 3249"/>
                  <a:gd name="T69" fmla="*/ 1528 h 3179"/>
                  <a:gd name="T70" fmla="*/ 2772 w 3249"/>
                  <a:gd name="T71" fmla="*/ 1695 h 3179"/>
                  <a:gd name="T72" fmla="*/ 2741 w 3249"/>
                  <a:gd name="T73" fmla="*/ 1809 h 3179"/>
                  <a:gd name="T74" fmla="*/ 2685 w 3249"/>
                  <a:gd name="T75" fmla="*/ 1760 h 3179"/>
                  <a:gd name="T76" fmla="*/ 2786 w 3249"/>
                  <a:gd name="T77" fmla="*/ 1615 h 3179"/>
                  <a:gd name="T78" fmla="*/ 2640 w 3249"/>
                  <a:gd name="T79" fmla="*/ 1553 h 3179"/>
                  <a:gd name="T80" fmla="*/ 2530 w 3249"/>
                  <a:gd name="T81" fmla="*/ 1660 h 3179"/>
                  <a:gd name="T82" fmla="*/ 2377 w 3249"/>
                  <a:gd name="T83" fmla="*/ 1697 h 3179"/>
                  <a:gd name="T84" fmla="*/ 2295 w 3249"/>
                  <a:gd name="T85" fmla="*/ 1437 h 3179"/>
                  <a:gd name="T86" fmla="*/ 2526 w 3249"/>
                  <a:gd name="T87" fmla="*/ 1448 h 3179"/>
                  <a:gd name="T88" fmla="*/ 2215 w 3249"/>
                  <a:gd name="T89" fmla="*/ 1383 h 3179"/>
                  <a:gd name="T90" fmla="*/ 2143 w 3249"/>
                  <a:gd name="T91" fmla="*/ 1256 h 3179"/>
                  <a:gd name="T92" fmla="*/ 2129 w 3249"/>
                  <a:gd name="T93" fmla="*/ 1224 h 3179"/>
                  <a:gd name="T94" fmla="*/ 2058 w 3249"/>
                  <a:gd name="T95" fmla="*/ 1171 h 3179"/>
                  <a:gd name="T96" fmla="*/ 2079 w 3249"/>
                  <a:gd name="T97" fmla="*/ 987 h 3179"/>
                  <a:gd name="T98" fmla="*/ 2021 w 3249"/>
                  <a:gd name="T99" fmla="*/ 853 h 3179"/>
                  <a:gd name="T100" fmla="*/ 2186 w 3249"/>
                  <a:gd name="T101" fmla="*/ 975 h 3179"/>
                  <a:gd name="T102" fmla="*/ 2280 w 3249"/>
                  <a:gd name="T103" fmla="*/ 1243 h 3179"/>
                  <a:gd name="T104" fmla="*/ 2208 w 3249"/>
                  <a:gd name="T105" fmla="*/ 817 h 3179"/>
                  <a:gd name="T106" fmla="*/ 2091 w 3249"/>
                  <a:gd name="T107" fmla="*/ 525 h 3179"/>
                  <a:gd name="T108" fmla="*/ 1914 w 3249"/>
                  <a:gd name="T109" fmla="*/ 491 h 3179"/>
                  <a:gd name="T110" fmla="*/ 2077 w 3249"/>
                  <a:gd name="T111" fmla="*/ 438 h 3179"/>
                  <a:gd name="T112" fmla="*/ 2126 w 3249"/>
                  <a:gd name="T113" fmla="*/ 104 h 3179"/>
                  <a:gd name="T114" fmla="*/ 1898 w 3249"/>
                  <a:gd name="T115" fmla="*/ 140 h 3179"/>
                  <a:gd name="T116" fmla="*/ 1522 w 3249"/>
                  <a:gd name="T117" fmla="*/ 48 h 3179"/>
                  <a:gd name="T118" fmla="*/ 963 w 3249"/>
                  <a:gd name="T119" fmla="*/ 329 h 3179"/>
                  <a:gd name="T120" fmla="*/ 568 w 3249"/>
                  <a:gd name="T121" fmla="*/ 458 h 3179"/>
                  <a:gd name="T122" fmla="*/ 266 w 3249"/>
                  <a:gd name="T123" fmla="*/ 1006 h 3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49" h="3179">
                    <a:moveTo>
                      <a:pt x="2225" y="2274"/>
                    </a:moveTo>
                    <a:lnTo>
                      <a:pt x="2221" y="2274"/>
                    </a:lnTo>
                    <a:lnTo>
                      <a:pt x="2216" y="2273"/>
                    </a:lnTo>
                    <a:lnTo>
                      <a:pt x="2210" y="2271"/>
                    </a:lnTo>
                    <a:lnTo>
                      <a:pt x="2204" y="2271"/>
                    </a:lnTo>
                    <a:lnTo>
                      <a:pt x="2201" y="2271"/>
                    </a:lnTo>
                    <a:lnTo>
                      <a:pt x="2197" y="2271"/>
                    </a:lnTo>
                    <a:lnTo>
                      <a:pt x="2195" y="2272"/>
                    </a:lnTo>
                    <a:lnTo>
                      <a:pt x="2192" y="2273"/>
                    </a:lnTo>
                    <a:lnTo>
                      <a:pt x="2190" y="2275"/>
                    </a:lnTo>
                    <a:lnTo>
                      <a:pt x="2190" y="2276"/>
                    </a:lnTo>
                    <a:lnTo>
                      <a:pt x="2189" y="2280"/>
                    </a:lnTo>
                    <a:lnTo>
                      <a:pt x="2188" y="2282"/>
                    </a:lnTo>
                    <a:lnTo>
                      <a:pt x="2188" y="2289"/>
                    </a:lnTo>
                    <a:lnTo>
                      <a:pt x="2189" y="2291"/>
                    </a:lnTo>
                    <a:lnTo>
                      <a:pt x="2190" y="2292"/>
                    </a:lnTo>
                    <a:lnTo>
                      <a:pt x="2193" y="2295"/>
                    </a:lnTo>
                    <a:lnTo>
                      <a:pt x="2199" y="2296"/>
                    </a:lnTo>
                    <a:lnTo>
                      <a:pt x="2202" y="2296"/>
                    </a:lnTo>
                    <a:lnTo>
                      <a:pt x="2205" y="2296"/>
                    </a:lnTo>
                    <a:lnTo>
                      <a:pt x="2211" y="2296"/>
                    </a:lnTo>
                    <a:lnTo>
                      <a:pt x="2215" y="2298"/>
                    </a:lnTo>
                    <a:lnTo>
                      <a:pt x="2218" y="2298"/>
                    </a:lnTo>
                    <a:lnTo>
                      <a:pt x="2223" y="2296"/>
                    </a:lnTo>
                    <a:lnTo>
                      <a:pt x="2226" y="2295"/>
                    </a:lnTo>
                    <a:lnTo>
                      <a:pt x="2228" y="2293"/>
                    </a:lnTo>
                    <a:lnTo>
                      <a:pt x="2230" y="2291"/>
                    </a:lnTo>
                    <a:lnTo>
                      <a:pt x="2232" y="2287"/>
                    </a:lnTo>
                    <a:lnTo>
                      <a:pt x="2231" y="2285"/>
                    </a:lnTo>
                    <a:lnTo>
                      <a:pt x="2225" y="2274"/>
                    </a:lnTo>
                    <a:close/>
                    <a:moveTo>
                      <a:pt x="2286" y="2371"/>
                    </a:moveTo>
                    <a:lnTo>
                      <a:pt x="2285" y="2368"/>
                    </a:lnTo>
                    <a:lnTo>
                      <a:pt x="2283" y="2367"/>
                    </a:lnTo>
                    <a:lnTo>
                      <a:pt x="2283" y="2366"/>
                    </a:lnTo>
                    <a:lnTo>
                      <a:pt x="2282" y="2365"/>
                    </a:lnTo>
                    <a:lnTo>
                      <a:pt x="2280" y="2364"/>
                    </a:lnTo>
                    <a:lnTo>
                      <a:pt x="2279" y="2364"/>
                    </a:lnTo>
                    <a:lnTo>
                      <a:pt x="2278" y="2362"/>
                    </a:lnTo>
                    <a:lnTo>
                      <a:pt x="2277" y="2364"/>
                    </a:lnTo>
                    <a:lnTo>
                      <a:pt x="2275" y="2362"/>
                    </a:lnTo>
                    <a:lnTo>
                      <a:pt x="2271" y="2361"/>
                    </a:lnTo>
                    <a:lnTo>
                      <a:pt x="2269" y="2360"/>
                    </a:lnTo>
                    <a:lnTo>
                      <a:pt x="2266" y="2361"/>
                    </a:lnTo>
                    <a:lnTo>
                      <a:pt x="2264" y="2365"/>
                    </a:lnTo>
                    <a:lnTo>
                      <a:pt x="2260" y="2368"/>
                    </a:lnTo>
                    <a:lnTo>
                      <a:pt x="2258" y="2372"/>
                    </a:lnTo>
                    <a:lnTo>
                      <a:pt x="2257" y="2375"/>
                    </a:lnTo>
                    <a:lnTo>
                      <a:pt x="2257" y="2378"/>
                    </a:lnTo>
                    <a:lnTo>
                      <a:pt x="2256" y="2383"/>
                    </a:lnTo>
                    <a:lnTo>
                      <a:pt x="2257" y="2386"/>
                    </a:lnTo>
                    <a:lnTo>
                      <a:pt x="2257" y="2390"/>
                    </a:lnTo>
                    <a:lnTo>
                      <a:pt x="2257" y="2399"/>
                    </a:lnTo>
                    <a:lnTo>
                      <a:pt x="2258" y="2400"/>
                    </a:lnTo>
                    <a:lnTo>
                      <a:pt x="2259" y="2401"/>
                    </a:lnTo>
                    <a:lnTo>
                      <a:pt x="2263" y="2401"/>
                    </a:lnTo>
                    <a:lnTo>
                      <a:pt x="2265" y="2401"/>
                    </a:lnTo>
                    <a:lnTo>
                      <a:pt x="2269" y="2403"/>
                    </a:lnTo>
                    <a:lnTo>
                      <a:pt x="2271" y="2401"/>
                    </a:lnTo>
                    <a:lnTo>
                      <a:pt x="2276" y="2400"/>
                    </a:lnTo>
                    <a:lnTo>
                      <a:pt x="2280" y="2397"/>
                    </a:lnTo>
                    <a:lnTo>
                      <a:pt x="2283" y="2394"/>
                    </a:lnTo>
                    <a:lnTo>
                      <a:pt x="2285" y="2392"/>
                    </a:lnTo>
                    <a:lnTo>
                      <a:pt x="2288" y="2390"/>
                    </a:lnTo>
                    <a:lnTo>
                      <a:pt x="2290" y="2387"/>
                    </a:lnTo>
                    <a:lnTo>
                      <a:pt x="2286" y="2371"/>
                    </a:lnTo>
                    <a:close/>
                    <a:moveTo>
                      <a:pt x="2040" y="2632"/>
                    </a:moveTo>
                    <a:lnTo>
                      <a:pt x="2043" y="2618"/>
                    </a:lnTo>
                    <a:lnTo>
                      <a:pt x="2048" y="2605"/>
                    </a:lnTo>
                    <a:lnTo>
                      <a:pt x="2050" y="2603"/>
                    </a:lnTo>
                    <a:lnTo>
                      <a:pt x="2052" y="2598"/>
                    </a:lnTo>
                    <a:lnTo>
                      <a:pt x="2055" y="2592"/>
                    </a:lnTo>
                    <a:lnTo>
                      <a:pt x="2056" y="2589"/>
                    </a:lnTo>
                    <a:lnTo>
                      <a:pt x="2056" y="2583"/>
                    </a:lnTo>
                    <a:lnTo>
                      <a:pt x="2056" y="2578"/>
                    </a:lnTo>
                    <a:lnTo>
                      <a:pt x="2055" y="2575"/>
                    </a:lnTo>
                    <a:lnTo>
                      <a:pt x="2052" y="2570"/>
                    </a:lnTo>
                    <a:lnTo>
                      <a:pt x="2049" y="2571"/>
                    </a:lnTo>
                    <a:lnTo>
                      <a:pt x="2045" y="2571"/>
                    </a:lnTo>
                    <a:lnTo>
                      <a:pt x="2042" y="2573"/>
                    </a:lnTo>
                    <a:lnTo>
                      <a:pt x="2040" y="2576"/>
                    </a:lnTo>
                    <a:lnTo>
                      <a:pt x="2035" y="2581"/>
                    </a:lnTo>
                    <a:lnTo>
                      <a:pt x="2030" y="2586"/>
                    </a:lnTo>
                    <a:lnTo>
                      <a:pt x="2020" y="2598"/>
                    </a:lnTo>
                    <a:lnTo>
                      <a:pt x="2009" y="2608"/>
                    </a:lnTo>
                    <a:lnTo>
                      <a:pt x="2007" y="2610"/>
                    </a:lnTo>
                    <a:lnTo>
                      <a:pt x="2004" y="2611"/>
                    </a:lnTo>
                    <a:lnTo>
                      <a:pt x="2002" y="2614"/>
                    </a:lnTo>
                    <a:lnTo>
                      <a:pt x="2000" y="2615"/>
                    </a:lnTo>
                    <a:lnTo>
                      <a:pt x="1993" y="2624"/>
                    </a:lnTo>
                    <a:lnTo>
                      <a:pt x="1985" y="2634"/>
                    </a:lnTo>
                    <a:lnTo>
                      <a:pt x="1982" y="2638"/>
                    </a:lnTo>
                    <a:lnTo>
                      <a:pt x="1980" y="2647"/>
                    </a:lnTo>
                    <a:lnTo>
                      <a:pt x="1980" y="2656"/>
                    </a:lnTo>
                    <a:lnTo>
                      <a:pt x="1980" y="2665"/>
                    </a:lnTo>
                    <a:lnTo>
                      <a:pt x="1981" y="2675"/>
                    </a:lnTo>
                    <a:lnTo>
                      <a:pt x="1983" y="2684"/>
                    </a:lnTo>
                    <a:lnTo>
                      <a:pt x="1984" y="2688"/>
                    </a:lnTo>
                    <a:lnTo>
                      <a:pt x="1987" y="2690"/>
                    </a:lnTo>
                    <a:lnTo>
                      <a:pt x="1989" y="2693"/>
                    </a:lnTo>
                    <a:lnTo>
                      <a:pt x="1993" y="2694"/>
                    </a:lnTo>
                    <a:lnTo>
                      <a:pt x="1994" y="2697"/>
                    </a:lnTo>
                    <a:lnTo>
                      <a:pt x="1996" y="2698"/>
                    </a:lnTo>
                    <a:lnTo>
                      <a:pt x="2000" y="2698"/>
                    </a:lnTo>
                    <a:lnTo>
                      <a:pt x="2004" y="2698"/>
                    </a:lnTo>
                    <a:lnTo>
                      <a:pt x="2011" y="2695"/>
                    </a:lnTo>
                    <a:lnTo>
                      <a:pt x="2017" y="2690"/>
                    </a:lnTo>
                    <a:lnTo>
                      <a:pt x="2023" y="2682"/>
                    </a:lnTo>
                    <a:lnTo>
                      <a:pt x="2028" y="2674"/>
                    </a:lnTo>
                    <a:lnTo>
                      <a:pt x="2031" y="2664"/>
                    </a:lnTo>
                    <a:lnTo>
                      <a:pt x="2032" y="2654"/>
                    </a:lnTo>
                    <a:lnTo>
                      <a:pt x="2034" y="2654"/>
                    </a:lnTo>
                    <a:lnTo>
                      <a:pt x="2040" y="2632"/>
                    </a:lnTo>
                    <a:close/>
                    <a:moveTo>
                      <a:pt x="2439" y="1471"/>
                    </a:moveTo>
                    <a:lnTo>
                      <a:pt x="2433" y="1469"/>
                    </a:lnTo>
                    <a:lnTo>
                      <a:pt x="2429" y="1466"/>
                    </a:lnTo>
                    <a:lnTo>
                      <a:pt x="2425" y="1462"/>
                    </a:lnTo>
                    <a:lnTo>
                      <a:pt x="2420" y="1458"/>
                    </a:lnTo>
                    <a:lnTo>
                      <a:pt x="2411" y="1450"/>
                    </a:lnTo>
                    <a:lnTo>
                      <a:pt x="2402" y="1444"/>
                    </a:lnTo>
                    <a:lnTo>
                      <a:pt x="2405" y="1454"/>
                    </a:lnTo>
                    <a:lnTo>
                      <a:pt x="2411" y="1464"/>
                    </a:lnTo>
                    <a:lnTo>
                      <a:pt x="2413" y="1470"/>
                    </a:lnTo>
                    <a:lnTo>
                      <a:pt x="2416" y="1477"/>
                    </a:lnTo>
                    <a:lnTo>
                      <a:pt x="2417" y="1481"/>
                    </a:lnTo>
                    <a:lnTo>
                      <a:pt x="2417" y="1483"/>
                    </a:lnTo>
                    <a:lnTo>
                      <a:pt x="2417" y="1487"/>
                    </a:lnTo>
                    <a:lnTo>
                      <a:pt x="2416" y="1489"/>
                    </a:lnTo>
                    <a:lnTo>
                      <a:pt x="2413" y="1491"/>
                    </a:lnTo>
                    <a:lnTo>
                      <a:pt x="2411" y="1493"/>
                    </a:lnTo>
                    <a:lnTo>
                      <a:pt x="2409" y="1494"/>
                    </a:lnTo>
                    <a:lnTo>
                      <a:pt x="2406" y="1495"/>
                    </a:lnTo>
                    <a:lnTo>
                      <a:pt x="2403" y="1495"/>
                    </a:lnTo>
                    <a:lnTo>
                      <a:pt x="2399" y="1495"/>
                    </a:lnTo>
                    <a:lnTo>
                      <a:pt x="2397" y="1497"/>
                    </a:lnTo>
                    <a:lnTo>
                      <a:pt x="2394" y="1500"/>
                    </a:lnTo>
                    <a:lnTo>
                      <a:pt x="2394" y="1506"/>
                    </a:lnTo>
                    <a:lnTo>
                      <a:pt x="2393" y="1512"/>
                    </a:lnTo>
                    <a:lnTo>
                      <a:pt x="2394" y="1517"/>
                    </a:lnTo>
                    <a:lnTo>
                      <a:pt x="2397" y="1522"/>
                    </a:lnTo>
                    <a:lnTo>
                      <a:pt x="2398" y="1524"/>
                    </a:lnTo>
                    <a:lnTo>
                      <a:pt x="2400" y="1526"/>
                    </a:lnTo>
                    <a:lnTo>
                      <a:pt x="2403" y="1527"/>
                    </a:lnTo>
                    <a:lnTo>
                      <a:pt x="2406" y="1527"/>
                    </a:lnTo>
                    <a:lnTo>
                      <a:pt x="2412" y="1527"/>
                    </a:lnTo>
                    <a:lnTo>
                      <a:pt x="2418" y="1526"/>
                    </a:lnTo>
                    <a:lnTo>
                      <a:pt x="2427" y="1520"/>
                    </a:lnTo>
                    <a:lnTo>
                      <a:pt x="2437" y="1514"/>
                    </a:lnTo>
                    <a:lnTo>
                      <a:pt x="2440" y="1513"/>
                    </a:lnTo>
                    <a:lnTo>
                      <a:pt x="2444" y="1512"/>
                    </a:lnTo>
                    <a:lnTo>
                      <a:pt x="2447" y="1510"/>
                    </a:lnTo>
                    <a:lnTo>
                      <a:pt x="2450" y="1507"/>
                    </a:lnTo>
                    <a:lnTo>
                      <a:pt x="2450" y="1500"/>
                    </a:lnTo>
                    <a:lnTo>
                      <a:pt x="2447" y="1493"/>
                    </a:lnTo>
                    <a:lnTo>
                      <a:pt x="2445" y="1483"/>
                    </a:lnTo>
                    <a:lnTo>
                      <a:pt x="2443" y="1475"/>
                    </a:lnTo>
                    <a:lnTo>
                      <a:pt x="2439" y="1471"/>
                    </a:lnTo>
                    <a:close/>
                    <a:moveTo>
                      <a:pt x="0" y="992"/>
                    </a:moveTo>
                    <a:lnTo>
                      <a:pt x="75" y="1467"/>
                    </a:lnTo>
                    <a:lnTo>
                      <a:pt x="77" y="1477"/>
                    </a:lnTo>
                    <a:lnTo>
                      <a:pt x="79" y="1488"/>
                    </a:lnTo>
                    <a:lnTo>
                      <a:pt x="80" y="1497"/>
                    </a:lnTo>
                    <a:lnTo>
                      <a:pt x="80" y="1508"/>
                    </a:lnTo>
                    <a:lnTo>
                      <a:pt x="80" y="1513"/>
                    </a:lnTo>
                    <a:lnTo>
                      <a:pt x="79" y="1516"/>
                    </a:lnTo>
                    <a:lnTo>
                      <a:pt x="78" y="1521"/>
                    </a:lnTo>
                    <a:lnTo>
                      <a:pt x="76" y="1524"/>
                    </a:lnTo>
                    <a:lnTo>
                      <a:pt x="72" y="1528"/>
                    </a:lnTo>
                    <a:lnTo>
                      <a:pt x="69" y="1532"/>
                    </a:lnTo>
                    <a:lnTo>
                      <a:pt x="64" y="1534"/>
                    </a:lnTo>
                    <a:lnTo>
                      <a:pt x="58" y="1536"/>
                    </a:lnTo>
                    <a:lnTo>
                      <a:pt x="43" y="1540"/>
                    </a:lnTo>
                    <a:lnTo>
                      <a:pt x="28" y="1543"/>
                    </a:lnTo>
                    <a:lnTo>
                      <a:pt x="19" y="1545"/>
                    </a:lnTo>
                    <a:lnTo>
                      <a:pt x="13" y="1547"/>
                    </a:lnTo>
                    <a:lnTo>
                      <a:pt x="8" y="1550"/>
                    </a:lnTo>
                    <a:lnTo>
                      <a:pt x="2" y="1556"/>
                    </a:lnTo>
                    <a:lnTo>
                      <a:pt x="2" y="1566"/>
                    </a:lnTo>
                    <a:lnTo>
                      <a:pt x="2" y="1575"/>
                    </a:lnTo>
                    <a:lnTo>
                      <a:pt x="4" y="1586"/>
                    </a:lnTo>
                    <a:lnTo>
                      <a:pt x="6" y="1594"/>
                    </a:lnTo>
                    <a:lnTo>
                      <a:pt x="394" y="1836"/>
                    </a:lnTo>
                    <a:lnTo>
                      <a:pt x="399" y="1843"/>
                    </a:lnTo>
                    <a:lnTo>
                      <a:pt x="400" y="1846"/>
                    </a:lnTo>
                    <a:lnTo>
                      <a:pt x="397" y="1853"/>
                    </a:lnTo>
                    <a:lnTo>
                      <a:pt x="392" y="1859"/>
                    </a:lnTo>
                    <a:lnTo>
                      <a:pt x="387" y="1864"/>
                    </a:lnTo>
                    <a:lnTo>
                      <a:pt x="384" y="1869"/>
                    </a:lnTo>
                    <a:lnTo>
                      <a:pt x="379" y="1873"/>
                    </a:lnTo>
                    <a:lnTo>
                      <a:pt x="377" y="1879"/>
                    </a:lnTo>
                    <a:lnTo>
                      <a:pt x="374" y="1886"/>
                    </a:lnTo>
                    <a:lnTo>
                      <a:pt x="374" y="1896"/>
                    </a:lnTo>
                    <a:lnTo>
                      <a:pt x="375" y="1902"/>
                    </a:lnTo>
                    <a:lnTo>
                      <a:pt x="378" y="1908"/>
                    </a:lnTo>
                    <a:lnTo>
                      <a:pt x="382" y="1915"/>
                    </a:lnTo>
                    <a:lnTo>
                      <a:pt x="387" y="1920"/>
                    </a:lnTo>
                    <a:lnTo>
                      <a:pt x="399" y="1933"/>
                    </a:lnTo>
                    <a:lnTo>
                      <a:pt x="408" y="1945"/>
                    </a:lnTo>
                    <a:lnTo>
                      <a:pt x="409" y="1948"/>
                    </a:lnTo>
                    <a:lnTo>
                      <a:pt x="412" y="1950"/>
                    </a:lnTo>
                    <a:lnTo>
                      <a:pt x="414" y="1951"/>
                    </a:lnTo>
                    <a:lnTo>
                      <a:pt x="417" y="1952"/>
                    </a:lnTo>
                    <a:lnTo>
                      <a:pt x="421" y="1951"/>
                    </a:lnTo>
                    <a:lnTo>
                      <a:pt x="427" y="1949"/>
                    </a:lnTo>
                    <a:lnTo>
                      <a:pt x="433" y="1944"/>
                    </a:lnTo>
                    <a:lnTo>
                      <a:pt x="438" y="1937"/>
                    </a:lnTo>
                    <a:lnTo>
                      <a:pt x="444" y="1930"/>
                    </a:lnTo>
                    <a:lnTo>
                      <a:pt x="449" y="1922"/>
                    </a:lnTo>
                    <a:lnTo>
                      <a:pt x="469" y="1885"/>
                    </a:lnTo>
                    <a:lnTo>
                      <a:pt x="481" y="1859"/>
                    </a:lnTo>
                    <a:lnTo>
                      <a:pt x="485" y="1854"/>
                    </a:lnTo>
                    <a:lnTo>
                      <a:pt x="487" y="1850"/>
                    </a:lnTo>
                    <a:lnTo>
                      <a:pt x="491" y="1847"/>
                    </a:lnTo>
                    <a:lnTo>
                      <a:pt x="494" y="1846"/>
                    </a:lnTo>
                    <a:lnTo>
                      <a:pt x="498" y="1846"/>
                    </a:lnTo>
                    <a:lnTo>
                      <a:pt x="500" y="1846"/>
                    </a:lnTo>
                    <a:lnTo>
                      <a:pt x="503" y="1849"/>
                    </a:lnTo>
                    <a:lnTo>
                      <a:pt x="506" y="1851"/>
                    </a:lnTo>
                    <a:lnTo>
                      <a:pt x="512" y="1858"/>
                    </a:lnTo>
                    <a:lnTo>
                      <a:pt x="516" y="1867"/>
                    </a:lnTo>
                    <a:lnTo>
                      <a:pt x="521" y="1876"/>
                    </a:lnTo>
                    <a:lnTo>
                      <a:pt x="525" y="1884"/>
                    </a:lnTo>
                    <a:lnTo>
                      <a:pt x="532" y="1898"/>
                    </a:lnTo>
                    <a:lnTo>
                      <a:pt x="539" y="1911"/>
                    </a:lnTo>
                    <a:lnTo>
                      <a:pt x="547" y="1923"/>
                    </a:lnTo>
                    <a:lnTo>
                      <a:pt x="558" y="1932"/>
                    </a:lnTo>
                    <a:lnTo>
                      <a:pt x="562" y="1937"/>
                    </a:lnTo>
                    <a:lnTo>
                      <a:pt x="568" y="1941"/>
                    </a:lnTo>
                    <a:lnTo>
                      <a:pt x="575" y="1943"/>
                    </a:lnTo>
                    <a:lnTo>
                      <a:pt x="581" y="1945"/>
                    </a:lnTo>
                    <a:lnTo>
                      <a:pt x="589" y="1948"/>
                    </a:lnTo>
                    <a:lnTo>
                      <a:pt x="596" y="1948"/>
                    </a:lnTo>
                    <a:lnTo>
                      <a:pt x="605" y="1948"/>
                    </a:lnTo>
                    <a:lnTo>
                      <a:pt x="613" y="1948"/>
                    </a:lnTo>
                    <a:lnTo>
                      <a:pt x="632" y="1945"/>
                    </a:lnTo>
                    <a:lnTo>
                      <a:pt x="650" y="1944"/>
                    </a:lnTo>
                    <a:lnTo>
                      <a:pt x="669" y="1944"/>
                    </a:lnTo>
                    <a:lnTo>
                      <a:pt x="688" y="1944"/>
                    </a:lnTo>
                    <a:lnTo>
                      <a:pt x="710" y="1942"/>
                    </a:lnTo>
                    <a:lnTo>
                      <a:pt x="736" y="1941"/>
                    </a:lnTo>
                    <a:lnTo>
                      <a:pt x="750" y="1941"/>
                    </a:lnTo>
                    <a:lnTo>
                      <a:pt x="762" y="1941"/>
                    </a:lnTo>
                    <a:lnTo>
                      <a:pt x="773" y="1941"/>
                    </a:lnTo>
                    <a:lnTo>
                      <a:pt x="782" y="1943"/>
                    </a:lnTo>
                    <a:lnTo>
                      <a:pt x="867" y="1930"/>
                    </a:lnTo>
                    <a:lnTo>
                      <a:pt x="877" y="1928"/>
                    </a:lnTo>
                    <a:lnTo>
                      <a:pt x="889" y="1924"/>
                    </a:lnTo>
                    <a:lnTo>
                      <a:pt x="901" y="1919"/>
                    </a:lnTo>
                    <a:lnTo>
                      <a:pt x="912" y="1913"/>
                    </a:lnTo>
                    <a:lnTo>
                      <a:pt x="924" y="1909"/>
                    </a:lnTo>
                    <a:lnTo>
                      <a:pt x="935" y="1904"/>
                    </a:lnTo>
                    <a:lnTo>
                      <a:pt x="945" y="1902"/>
                    </a:lnTo>
                    <a:lnTo>
                      <a:pt x="954" y="1900"/>
                    </a:lnTo>
                    <a:lnTo>
                      <a:pt x="963" y="1912"/>
                    </a:lnTo>
                    <a:lnTo>
                      <a:pt x="972" y="1926"/>
                    </a:lnTo>
                    <a:lnTo>
                      <a:pt x="981" y="1941"/>
                    </a:lnTo>
                    <a:lnTo>
                      <a:pt x="990" y="1954"/>
                    </a:lnTo>
                    <a:lnTo>
                      <a:pt x="1018" y="1989"/>
                    </a:lnTo>
                    <a:lnTo>
                      <a:pt x="1066" y="2043"/>
                    </a:lnTo>
                    <a:lnTo>
                      <a:pt x="1089" y="2071"/>
                    </a:lnTo>
                    <a:lnTo>
                      <a:pt x="1108" y="2097"/>
                    </a:lnTo>
                    <a:lnTo>
                      <a:pt x="1115" y="2108"/>
                    </a:lnTo>
                    <a:lnTo>
                      <a:pt x="1118" y="2117"/>
                    </a:lnTo>
                    <a:lnTo>
                      <a:pt x="1119" y="2121"/>
                    </a:lnTo>
                    <a:lnTo>
                      <a:pt x="1120" y="2124"/>
                    </a:lnTo>
                    <a:lnTo>
                      <a:pt x="1119" y="2128"/>
                    </a:lnTo>
                    <a:lnTo>
                      <a:pt x="1118" y="2130"/>
                    </a:lnTo>
                    <a:lnTo>
                      <a:pt x="1076" y="2135"/>
                    </a:lnTo>
                    <a:lnTo>
                      <a:pt x="1031" y="2140"/>
                    </a:lnTo>
                    <a:lnTo>
                      <a:pt x="1019" y="2141"/>
                    </a:lnTo>
                    <a:lnTo>
                      <a:pt x="1009" y="2143"/>
                    </a:lnTo>
                    <a:lnTo>
                      <a:pt x="998" y="2146"/>
                    </a:lnTo>
                    <a:lnTo>
                      <a:pt x="989" y="2149"/>
                    </a:lnTo>
                    <a:lnTo>
                      <a:pt x="978" y="2153"/>
                    </a:lnTo>
                    <a:lnTo>
                      <a:pt x="970" y="2157"/>
                    </a:lnTo>
                    <a:lnTo>
                      <a:pt x="961" y="2163"/>
                    </a:lnTo>
                    <a:lnTo>
                      <a:pt x="954" y="2170"/>
                    </a:lnTo>
                    <a:lnTo>
                      <a:pt x="944" y="2180"/>
                    </a:lnTo>
                    <a:lnTo>
                      <a:pt x="936" y="2190"/>
                    </a:lnTo>
                    <a:lnTo>
                      <a:pt x="929" y="2200"/>
                    </a:lnTo>
                    <a:lnTo>
                      <a:pt x="923" y="2210"/>
                    </a:lnTo>
                    <a:lnTo>
                      <a:pt x="918" y="2221"/>
                    </a:lnTo>
                    <a:lnTo>
                      <a:pt x="915" y="2230"/>
                    </a:lnTo>
                    <a:lnTo>
                      <a:pt x="911" y="2241"/>
                    </a:lnTo>
                    <a:lnTo>
                      <a:pt x="908" y="2252"/>
                    </a:lnTo>
                    <a:lnTo>
                      <a:pt x="901" y="2296"/>
                    </a:lnTo>
                    <a:lnTo>
                      <a:pt x="892" y="2346"/>
                    </a:lnTo>
                    <a:lnTo>
                      <a:pt x="900" y="2439"/>
                    </a:lnTo>
                    <a:lnTo>
                      <a:pt x="1058" y="2445"/>
                    </a:lnTo>
                    <a:lnTo>
                      <a:pt x="1061" y="2453"/>
                    </a:lnTo>
                    <a:lnTo>
                      <a:pt x="1062" y="2460"/>
                    </a:lnTo>
                    <a:lnTo>
                      <a:pt x="1062" y="2469"/>
                    </a:lnTo>
                    <a:lnTo>
                      <a:pt x="1062" y="2476"/>
                    </a:lnTo>
                    <a:lnTo>
                      <a:pt x="1063" y="2484"/>
                    </a:lnTo>
                    <a:lnTo>
                      <a:pt x="1063" y="2491"/>
                    </a:lnTo>
                    <a:lnTo>
                      <a:pt x="1065" y="2499"/>
                    </a:lnTo>
                    <a:lnTo>
                      <a:pt x="1068" y="2507"/>
                    </a:lnTo>
                    <a:lnTo>
                      <a:pt x="1071" y="2516"/>
                    </a:lnTo>
                    <a:lnTo>
                      <a:pt x="1073" y="2524"/>
                    </a:lnTo>
                    <a:lnTo>
                      <a:pt x="1075" y="2532"/>
                    </a:lnTo>
                    <a:lnTo>
                      <a:pt x="1076" y="2538"/>
                    </a:lnTo>
                    <a:lnTo>
                      <a:pt x="1075" y="2552"/>
                    </a:lnTo>
                    <a:lnTo>
                      <a:pt x="1071" y="2570"/>
                    </a:lnTo>
                    <a:lnTo>
                      <a:pt x="1068" y="2576"/>
                    </a:lnTo>
                    <a:lnTo>
                      <a:pt x="1064" y="2583"/>
                    </a:lnTo>
                    <a:lnTo>
                      <a:pt x="1061" y="2589"/>
                    </a:lnTo>
                    <a:lnTo>
                      <a:pt x="1059" y="2595"/>
                    </a:lnTo>
                    <a:lnTo>
                      <a:pt x="1056" y="2609"/>
                    </a:lnTo>
                    <a:lnTo>
                      <a:pt x="1053" y="2622"/>
                    </a:lnTo>
                    <a:lnTo>
                      <a:pt x="1051" y="2635"/>
                    </a:lnTo>
                    <a:lnTo>
                      <a:pt x="1046" y="2649"/>
                    </a:lnTo>
                    <a:lnTo>
                      <a:pt x="1044" y="2656"/>
                    </a:lnTo>
                    <a:lnTo>
                      <a:pt x="1042" y="2662"/>
                    </a:lnTo>
                    <a:lnTo>
                      <a:pt x="1037" y="2669"/>
                    </a:lnTo>
                    <a:lnTo>
                      <a:pt x="1032" y="2675"/>
                    </a:lnTo>
                    <a:lnTo>
                      <a:pt x="1023" y="2681"/>
                    </a:lnTo>
                    <a:lnTo>
                      <a:pt x="1012" y="2688"/>
                    </a:lnTo>
                    <a:lnTo>
                      <a:pt x="1004" y="2697"/>
                    </a:lnTo>
                    <a:lnTo>
                      <a:pt x="997" y="2707"/>
                    </a:lnTo>
                    <a:lnTo>
                      <a:pt x="996" y="2723"/>
                    </a:lnTo>
                    <a:lnTo>
                      <a:pt x="995" y="2738"/>
                    </a:lnTo>
                    <a:lnTo>
                      <a:pt x="995" y="2756"/>
                    </a:lnTo>
                    <a:lnTo>
                      <a:pt x="995" y="2773"/>
                    </a:lnTo>
                    <a:lnTo>
                      <a:pt x="996" y="2782"/>
                    </a:lnTo>
                    <a:lnTo>
                      <a:pt x="998" y="2790"/>
                    </a:lnTo>
                    <a:lnTo>
                      <a:pt x="1002" y="2797"/>
                    </a:lnTo>
                    <a:lnTo>
                      <a:pt x="1006" y="2803"/>
                    </a:lnTo>
                    <a:lnTo>
                      <a:pt x="1017" y="2815"/>
                    </a:lnTo>
                    <a:lnTo>
                      <a:pt x="1028" y="2829"/>
                    </a:lnTo>
                    <a:lnTo>
                      <a:pt x="1032" y="2833"/>
                    </a:lnTo>
                    <a:lnTo>
                      <a:pt x="1037" y="2837"/>
                    </a:lnTo>
                    <a:lnTo>
                      <a:pt x="1041" y="2843"/>
                    </a:lnTo>
                    <a:lnTo>
                      <a:pt x="1045" y="2849"/>
                    </a:lnTo>
                    <a:lnTo>
                      <a:pt x="1052" y="2861"/>
                    </a:lnTo>
                    <a:lnTo>
                      <a:pt x="1059" y="2873"/>
                    </a:lnTo>
                    <a:lnTo>
                      <a:pt x="1069" y="2889"/>
                    </a:lnTo>
                    <a:lnTo>
                      <a:pt x="1077" y="2907"/>
                    </a:lnTo>
                    <a:lnTo>
                      <a:pt x="1085" y="2924"/>
                    </a:lnTo>
                    <a:lnTo>
                      <a:pt x="1095" y="2940"/>
                    </a:lnTo>
                    <a:lnTo>
                      <a:pt x="1099" y="2947"/>
                    </a:lnTo>
                    <a:lnTo>
                      <a:pt x="1103" y="2955"/>
                    </a:lnTo>
                    <a:lnTo>
                      <a:pt x="1106" y="2962"/>
                    </a:lnTo>
                    <a:lnTo>
                      <a:pt x="1109" y="2971"/>
                    </a:lnTo>
                    <a:lnTo>
                      <a:pt x="1111" y="2984"/>
                    </a:lnTo>
                    <a:lnTo>
                      <a:pt x="1115" y="2994"/>
                    </a:lnTo>
                    <a:lnTo>
                      <a:pt x="1115" y="2997"/>
                    </a:lnTo>
                    <a:lnTo>
                      <a:pt x="1116" y="2998"/>
                    </a:lnTo>
                    <a:lnTo>
                      <a:pt x="1116" y="3000"/>
                    </a:lnTo>
                    <a:lnTo>
                      <a:pt x="1116" y="3001"/>
                    </a:lnTo>
                    <a:lnTo>
                      <a:pt x="1117" y="3007"/>
                    </a:lnTo>
                    <a:lnTo>
                      <a:pt x="1118" y="3013"/>
                    </a:lnTo>
                    <a:lnTo>
                      <a:pt x="1119" y="3018"/>
                    </a:lnTo>
                    <a:lnTo>
                      <a:pt x="1118" y="3024"/>
                    </a:lnTo>
                    <a:lnTo>
                      <a:pt x="1120" y="3030"/>
                    </a:lnTo>
                    <a:lnTo>
                      <a:pt x="1123" y="3037"/>
                    </a:lnTo>
                    <a:lnTo>
                      <a:pt x="1138" y="3058"/>
                    </a:lnTo>
                    <a:lnTo>
                      <a:pt x="1138" y="3058"/>
                    </a:lnTo>
                    <a:lnTo>
                      <a:pt x="1136" y="3056"/>
                    </a:lnTo>
                    <a:lnTo>
                      <a:pt x="1135" y="3053"/>
                    </a:lnTo>
                    <a:lnTo>
                      <a:pt x="1133" y="3050"/>
                    </a:lnTo>
                    <a:lnTo>
                      <a:pt x="1133" y="3046"/>
                    </a:lnTo>
                    <a:lnTo>
                      <a:pt x="1135" y="3041"/>
                    </a:lnTo>
                    <a:lnTo>
                      <a:pt x="1137" y="3036"/>
                    </a:lnTo>
                    <a:lnTo>
                      <a:pt x="1140" y="3028"/>
                    </a:lnTo>
                    <a:lnTo>
                      <a:pt x="1144" y="3020"/>
                    </a:lnTo>
                    <a:lnTo>
                      <a:pt x="1146" y="3018"/>
                    </a:lnTo>
                    <a:lnTo>
                      <a:pt x="1149" y="3015"/>
                    </a:lnTo>
                    <a:lnTo>
                      <a:pt x="1151" y="3015"/>
                    </a:lnTo>
                    <a:lnTo>
                      <a:pt x="1153" y="3015"/>
                    </a:lnTo>
                    <a:lnTo>
                      <a:pt x="1157" y="3018"/>
                    </a:lnTo>
                    <a:lnTo>
                      <a:pt x="1162" y="3023"/>
                    </a:lnTo>
                    <a:lnTo>
                      <a:pt x="1169" y="3033"/>
                    </a:lnTo>
                    <a:lnTo>
                      <a:pt x="1177" y="3043"/>
                    </a:lnTo>
                    <a:lnTo>
                      <a:pt x="1189" y="3051"/>
                    </a:lnTo>
                    <a:lnTo>
                      <a:pt x="1203" y="3057"/>
                    </a:lnTo>
                    <a:lnTo>
                      <a:pt x="1210" y="3059"/>
                    </a:lnTo>
                    <a:lnTo>
                      <a:pt x="1217" y="3060"/>
                    </a:lnTo>
                    <a:lnTo>
                      <a:pt x="1224" y="3060"/>
                    </a:lnTo>
                    <a:lnTo>
                      <a:pt x="1230" y="3059"/>
                    </a:lnTo>
                    <a:lnTo>
                      <a:pt x="1239" y="3057"/>
                    </a:lnTo>
                    <a:lnTo>
                      <a:pt x="1247" y="3054"/>
                    </a:lnTo>
                    <a:lnTo>
                      <a:pt x="1256" y="3050"/>
                    </a:lnTo>
                    <a:lnTo>
                      <a:pt x="1262" y="3044"/>
                    </a:lnTo>
                    <a:lnTo>
                      <a:pt x="1265" y="3039"/>
                    </a:lnTo>
                    <a:lnTo>
                      <a:pt x="1269" y="3038"/>
                    </a:lnTo>
                    <a:lnTo>
                      <a:pt x="1272" y="3037"/>
                    </a:lnTo>
                    <a:lnTo>
                      <a:pt x="1277" y="3037"/>
                    </a:lnTo>
                    <a:lnTo>
                      <a:pt x="1285" y="3039"/>
                    </a:lnTo>
                    <a:lnTo>
                      <a:pt x="1294" y="3040"/>
                    </a:lnTo>
                    <a:lnTo>
                      <a:pt x="1303" y="3040"/>
                    </a:lnTo>
                    <a:lnTo>
                      <a:pt x="1309" y="3039"/>
                    </a:lnTo>
                    <a:lnTo>
                      <a:pt x="1314" y="3037"/>
                    </a:lnTo>
                    <a:lnTo>
                      <a:pt x="1318" y="3033"/>
                    </a:lnTo>
                    <a:lnTo>
                      <a:pt x="1321" y="3030"/>
                    </a:lnTo>
                    <a:lnTo>
                      <a:pt x="1323" y="3026"/>
                    </a:lnTo>
                    <a:lnTo>
                      <a:pt x="1324" y="3021"/>
                    </a:lnTo>
                    <a:lnTo>
                      <a:pt x="1325" y="3017"/>
                    </a:lnTo>
                    <a:lnTo>
                      <a:pt x="1321" y="2995"/>
                    </a:lnTo>
                    <a:lnTo>
                      <a:pt x="1318" y="2975"/>
                    </a:lnTo>
                    <a:lnTo>
                      <a:pt x="1324" y="2974"/>
                    </a:lnTo>
                    <a:lnTo>
                      <a:pt x="1329" y="2972"/>
                    </a:lnTo>
                    <a:lnTo>
                      <a:pt x="1331" y="2970"/>
                    </a:lnTo>
                    <a:lnTo>
                      <a:pt x="1333" y="2966"/>
                    </a:lnTo>
                    <a:lnTo>
                      <a:pt x="1334" y="2959"/>
                    </a:lnTo>
                    <a:lnTo>
                      <a:pt x="1334" y="2948"/>
                    </a:lnTo>
                    <a:lnTo>
                      <a:pt x="1346" y="2948"/>
                    </a:lnTo>
                    <a:lnTo>
                      <a:pt x="1356" y="2951"/>
                    </a:lnTo>
                    <a:lnTo>
                      <a:pt x="1365" y="2954"/>
                    </a:lnTo>
                    <a:lnTo>
                      <a:pt x="1372" y="2958"/>
                    </a:lnTo>
                    <a:lnTo>
                      <a:pt x="1384" y="2966"/>
                    </a:lnTo>
                    <a:lnTo>
                      <a:pt x="1394" y="2973"/>
                    </a:lnTo>
                    <a:lnTo>
                      <a:pt x="1399" y="2975"/>
                    </a:lnTo>
                    <a:lnTo>
                      <a:pt x="1404" y="2977"/>
                    </a:lnTo>
                    <a:lnTo>
                      <a:pt x="1410" y="2977"/>
                    </a:lnTo>
                    <a:lnTo>
                      <a:pt x="1415" y="2975"/>
                    </a:lnTo>
                    <a:lnTo>
                      <a:pt x="1421" y="2971"/>
                    </a:lnTo>
                    <a:lnTo>
                      <a:pt x="1430" y="2965"/>
                    </a:lnTo>
                    <a:lnTo>
                      <a:pt x="1439" y="2957"/>
                    </a:lnTo>
                    <a:lnTo>
                      <a:pt x="1450" y="2945"/>
                    </a:lnTo>
                    <a:lnTo>
                      <a:pt x="1495" y="2893"/>
                    </a:lnTo>
                    <a:lnTo>
                      <a:pt x="1495" y="2891"/>
                    </a:lnTo>
                    <a:lnTo>
                      <a:pt x="1500" y="2895"/>
                    </a:lnTo>
                    <a:lnTo>
                      <a:pt x="1505" y="2900"/>
                    </a:lnTo>
                    <a:lnTo>
                      <a:pt x="1508" y="2900"/>
                    </a:lnTo>
                    <a:lnTo>
                      <a:pt x="1511" y="2901"/>
                    </a:lnTo>
                    <a:lnTo>
                      <a:pt x="1511" y="2939"/>
                    </a:lnTo>
                    <a:lnTo>
                      <a:pt x="1512" y="2985"/>
                    </a:lnTo>
                    <a:lnTo>
                      <a:pt x="1513" y="3007"/>
                    </a:lnTo>
                    <a:lnTo>
                      <a:pt x="1517" y="3028"/>
                    </a:lnTo>
                    <a:lnTo>
                      <a:pt x="1519" y="3038"/>
                    </a:lnTo>
                    <a:lnTo>
                      <a:pt x="1522" y="3047"/>
                    </a:lnTo>
                    <a:lnTo>
                      <a:pt x="1526" y="3054"/>
                    </a:lnTo>
                    <a:lnTo>
                      <a:pt x="1529" y="3061"/>
                    </a:lnTo>
                    <a:lnTo>
                      <a:pt x="1535" y="3070"/>
                    </a:lnTo>
                    <a:lnTo>
                      <a:pt x="1538" y="3077"/>
                    </a:lnTo>
                    <a:lnTo>
                      <a:pt x="1538" y="3085"/>
                    </a:lnTo>
                    <a:lnTo>
                      <a:pt x="1538" y="3093"/>
                    </a:lnTo>
                    <a:lnTo>
                      <a:pt x="1533" y="3107"/>
                    </a:lnTo>
                    <a:lnTo>
                      <a:pt x="1528" y="3122"/>
                    </a:lnTo>
                    <a:lnTo>
                      <a:pt x="1527" y="3127"/>
                    </a:lnTo>
                    <a:lnTo>
                      <a:pt x="1526" y="3132"/>
                    </a:lnTo>
                    <a:lnTo>
                      <a:pt x="1527" y="3137"/>
                    </a:lnTo>
                    <a:lnTo>
                      <a:pt x="1529" y="3142"/>
                    </a:lnTo>
                    <a:lnTo>
                      <a:pt x="1535" y="3144"/>
                    </a:lnTo>
                    <a:lnTo>
                      <a:pt x="1544" y="3146"/>
                    </a:lnTo>
                    <a:lnTo>
                      <a:pt x="1554" y="3149"/>
                    </a:lnTo>
                    <a:lnTo>
                      <a:pt x="1569" y="3149"/>
                    </a:lnTo>
                    <a:lnTo>
                      <a:pt x="1572" y="3146"/>
                    </a:lnTo>
                    <a:lnTo>
                      <a:pt x="1574" y="3145"/>
                    </a:lnTo>
                    <a:lnTo>
                      <a:pt x="1574" y="3139"/>
                    </a:lnTo>
                    <a:lnTo>
                      <a:pt x="1575" y="3135"/>
                    </a:lnTo>
                    <a:lnTo>
                      <a:pt x="1579" y="3132"/>
                    </a:lnTo>
                    <a:lnTo>
                      <a:pt x="1581" y="3130"/>
                    </a:lnTo>
                    <a:lnTo>
                      <a:pt x="1585" y="3130"/>
                    </a:lnTo>
                    <a:lnTo>
                      <a:pt x="1589" y="3130"/>
                    </a:lnTo>
                    <a:lnTo>
                      <a:pt x="1594" y="3131"/>
                    </a:lnTo>
                    <a:lnTo>
                      <a:pt x="1599" y="3132"/>
                    </a:lnTo>
                    <a:lnTo>
                      <a:pt x="1619" y="3142"/>
                    </a:lnTo>
                    <a:lnTo>
                      <a:pt x="1632" y="3150"/>
                    </a:lnTo>
                    <a:lnTo>
                      <a:pt x="1649" y="3164"/>
                    </a:lnTo>
                    <a:lnTo>
                      <a:pt x="1667" y="3176"/>
                    </a:lnTo>
                    <a:lnTo>
                      <a:pt x="1672" y="3178"/>
                    </a:lnTo>
                    <a:lnTo>
                      <a:pt x="1676" y="3179"/>
                    </a:lnTo>
                    <a:lnTo>
                      <a:pt x="1680" y="3179"/>
                    </a:lnTo>
                    <a:lnTo>
                      <a:pt x="1685" y="3178"/>
                    </a:lnTo>
                    <a:lnTo>
                      <a:pt x="1689" y="3176"/>
                    </a:lnTo>
                    <a:lnTo>
                      <a:pt x="1695" y="3172"/>
                    </a:lnTo>
                    <a:lnTo>
                      <a:pt x="1700" y="3168"/>
                    </a:lnTo>
                    <a:lnTo>
                      <a:pt x="1705" y="3160"/>
                    </a:lnTo>
                    <a:lnTo>
                      <a:pt x="1702" y="3157"/>
                    </a:lnTo>
                    <a:lnTo>
                      <a:pt x="1699" y="3156"/>
                    </a:lnTo>
                    <a:lnTo>
                      <a:pt x="1695" y="3155"/>
                    </a:lnTo>
                    <a:lnTo>
                      <a:pt x="1692" y="3153"/>
                    </a:lnTo>
                    <a:lnTo>
                      <a:pt x="1683" y="3155"/>
                    </a:lnTo>
                    <a:lnTo>
                      <a:pt x="1674" y="3155"/>
                    </a:lnTo>
                    <a:lnTo>
                      <a:pt x="1672" y="3106"/>
                    </a:lnTo>
                    <a:lnTo>
                      <a:pt x="1670" y="3098"/>
                    </a:lnTo>
                    <a:lnTo>
                      <a:pt x="1668" y="3093"/>
                    </a:lnTo>
                    <a:lnTo>
                      <a:pt x="1665" y="3091"/>
                    </a:lnTo>
                    <a:lnTo>
                      <a:pt x="1660" y="3091"/>
                    </a:lnTo>
                    <a:lnTo>
                      <a:pt x="1655" y="3091"/>
                    </a:lnTo>
                    <a:lnTo>
                      <a:pt x="1649" y="3092"/>
                    </a:lnTo>
                    <a:lnTo>
                      <a:pt x="1643" y="3091"/>
                    </a:lnTo>
                    <a:lnTo>
                      <a:pt x="1636" y="3089"/>
                    </a:lnTo>
                    <a:lnTo>
                      <a:pt x="1633" y="3087"/>
                    </a:lnTo>
                    <a:lnTo>
                      <a:pt x="1627" y="3086"/>
                    </a:lnTo>
                    <a:lnTo>
                      <a:pt x="1621" y="3086"/>
                    </a:lnTo>
                    <a:lnTo>
                      <a:pt x="1614" y="3086"/>
                    </a:lnTo>
                    <a:lnTo>
                      <a:pt x="1599" y="3087"/>
                    </a:lnTo>
                    <a:lnTo>
                      <a:pt x="1584" y="3089"/>
                    </a:lnTo>
                    <a:lnTo>
                      <a:pt x="1576" y="3089"/>
                    </a:lnTo>
                    <a:lnTo>
                      <a:pt x="1569" y="3087"/>
                    </a:lnTo>
                    <a:lnTo>
                      <a:pt x="1565" y="3086"/>
                    </a:lnTo>
                    <a:lnTo>
                      <a:pt x="1560" y="3085"/>
                    </a:lnTo>
                    <a:lnTo>
                      <a:pt x="1557" y="3081"/>
                    </a:lnTo>
                    <a:lnTo>
                      <a:pt x="1555" y="3078"/>
                    </a:lnTo>
                    <a:lnTo>
                      <a:pt x="1557" y="3072"/>
                    </a:lnTo>
                    <a:lnTo>
                      <a:pt x="1559" y="3065"/>
                    </a:lnTo>
                    <a:lnTo>
                      <a:pt x="1564" y="3053"/>
                    </a:lnTo>
                    <a:lnTo>
                      <a:pt x="1571" y="3034"/>
                    </a:lnTo>
                    <a:lnTo>
                      <a:pt x="1573" y="3025"/>
                    </a:lnTo>
                    <a:lnTo>
                      <a:pt x="1574" y="3019"/>
                    </a:lnTo>
                    <a:lnTo>
                      <a:pt x="1573" y="3017"/>
                    </a:lnTo>
                    <a:lnTo>
                      <a:pt x="1572" y="3015"/>
                    </a:lnTo>
                    <a:lnTo>
                      <a:pt x="1569" y="3015"/>
                    </a:lnTo>
                    <a:lnTo>
                      <a:pt x="1566" y="3018"/>
                    </a:lnTo>
                    <a:lnTo>
                      <a:pt x="1553" y="3025"/>
                    </a:lnTo>
                    <a:lnTo>
                      <a:pt x="1542" y="3030"/>
                    </a:lnTo>
                    <a:lnTo>
                      <a:pt x="1539" y="3031"/>
                    </a:lnTo>
                    <a:lnTo>
                      <a:pt x="1535" y="3031"/>
                    </a:lnTo>
                    <a:lnTo>
                      <a:pt x="1533" y="3031"/>
                    </a:lnTo>
                    <a:lnTo>
                      <a:pt x="1531" y="3028"/>
                    </a:lnTo>
                    <a:lnTo>
                      <a:pt x="1528" y="3024"/>
                    </a:lnTo>
                    <a:lnTo>
                      <a:pt x="1527" y="3015"/>
                    </a:lnTo>
                    <a:lnTo>
                      <a:pt x="1527" y="3005"/>
                    </a:lnTo>
                    <a:lnTo>
                      <a:pt x="1528" y="2992"/>
                    </a:lnTo>
                    <a:lnTo>
                      <a:pt x="1529" y="2964"/>
                    </a:lnTo>
                    <a:lnTo>
                      <a:pt x="1534" y="2929"/>
                    </a:lnTo>
                    <a:lnTo>
                      <a:pt x="1537" y="2913"/>
                    </a:lnTo>
                    <a:lnTo>
                      <a:pt x="1541" y="2898"/>
                    </a:lnTo>
                    <a:lnTo>
                      <a:pt x="1545" y="2891"/>
                    </a:lnTo>
                    <a:lnTo>
                      <a:pt x="1547" y="2885"/>
                    </a:lnTo>
                    <a:lnTo>
                      <a:pt x="1551" y="2880"/>
                    </a:lnTo>
                    <a:lnTo>
                      <a:pt x="1555" y="2876"/>
                    </a:lnTo>
                    <a:lnTo>
                      <a:pt x="1569" y="2866"/>
                    </a:lnTo>
                    <a:lnTo>
                      <a:pt x="1582" y="2858"/>
                    </a:lnTo>
                    <a:lnTo>
                      <a:pt x="1589" y="2853"/>
                    </a:lnTo>
                    <a:lnTo>
                      <a:pt x="1595" y="2847"/>
                    </a:lnTo>
                    <a:lnTo>
                      <a:pt x="1601" y="2840"/>
                    </a:lnTo>
                    <a:lnTo>
                      <a:pt x="1607" y="2830"/>
                    </a:lnTo>
                    <a:lnTo>
                      <a:pt x="1608" y="2829"/>
                    </a:lnTo>
                    <a:lnTo>
                      <a:pt x="1611" y="2828"/>
                    </a:lnTo>
                    <a:lnTo>
                      <a:pt x="1613" y="2827"/>
                    </a:lnTo>
                    <a:lnTo>
                      <a:pt x="1616" y="2827"/>
                    </a:lnTo>
                    <a:lnTo>
                      <a:pt x="1625" y="2828"/>
                    </a:lnTo>
                    <a:lnTo>
                      <a:pt x="1634" y="2830"/>
                    </a:lnTo>
                    <a:lnTo>
                      <a:pt x="1654" y="2835"/>
                    </a:lnTo>
                    <a:lnTo>
                      <a:pt x="1672" y="2837"/>
                    </a:lnTo>
                    <a:lnTo>
                      <a:pt x="1679" y="2837"/>
                    </a:lnTo>
                    <a:lnTo>
                      <a:pt x="1682" y="2840"/>
                    </a:lnTo>
                    <a:lnTo>
                      <a:pt x="1683" y="2843"/>
                    </a:lnTo>
                    <a:lnTo>
                      <a:pt x="1683" y="2848"/>
                    </a:lnTo>
                    <a:lnTo>
                      <a:pt x="1680" y="2856"/>
                    </a:lnTo>
                    <a:lnTo>
                      <a:pt x="1678" y="2866"/>
                    </a:lnTo>
                    <a:lnTo>
                      <a:pt x="1699" y="2865"/>
                    </a:lnTo>
                    <a:lnTo>
                      <a:pt x="1718" y="2865"/>
                    </a:lnTo>
                    <a:lnTo>
                      <a:pt x="1735" y="2865"/>
                    </a:lnTo>
                    <a:lnTo>
                      <a:pt x="1750" y="2862"/>
                    </a:lnTo>
                    <a:lnTo>
                      <a:pt x="1752" y="2859"/>
                    </a:lnTo>
                    <a:lnTo>
                      <a:pt x="1754" y="2854"/>
                    </a:lnTo>
                    <a:lnTo>
                      <a:pt x="1757" y="2850"/>
                    </a:lnTo>
                    <a:lnTo>
                      <a:pt x="1761" y="2847"/>
                    </a:lnTo>
                    <a:lnTo>
                      <a:pt x="1765" y="2845"/>
                    </a:lnTo>
                    <a:lnTo>
                      <a:pt x="1769" y="2843"/>
                    </a:lnTo>
                    <a:lnTo>
                      <a:pt x="1773" y="2842"/>
                    </a:lnTo>
                    <a:lnTo>
                      <a:pt x="1777" y="2841"/>
                    </a:lnTo>
                    <a:lnTo>
                      <a:pt x="1781" y="2835"/>
                    </a:lnTo>
                    <a:lnTo>
                      <a:pt x="1783" y="2827"/>
                    </a:lnTo>
                    <a:lnTo>
                      <a:pt x="1783" y="2820"/>
                    </a:lnTo>
                    <a:lnTo>
                      <a:pt x="1786" y="2815"/>
                    </a:lnTo>
                    <a:lnTo>
                      <a:pt x="1787" y="2807"/>
                    </a:lnTo>
                    <a:lnTo>
                      <a:pt x="1790" y="2797"/>
                    </a:lnTo>
                    <a:lnTo>
                      <a:pt x="1794" y="2789"/>
                    </a:lnTo>
                    <a:lnTo>
                      <a:pt x="1800" y="2780"/>
                    </a:lnTo>
                    <a:lnTo>
                      <a:pt x="1806" y="2771"/>
                    </a:lnTo>
                    <a:lnTo>
                      <a:pt x="1812" y="2763"/>
                    </a:lnTo>
                    <a:lnTo>
                      <a:pt x="1819" y="2757"/>
                    </a:lnTo>
                    <a:lnTo>
                      <a:pt x="1824" y="2751"/>
                    </a:lnTo>
                    <a:lnTo>
                      <a:pt x="1846" y="2737"/>
                    </a:lnTo>
                    <a:lnTo>
                      <a:pt x="1866" y="2724"/>
                    </a:lnTo>
                    <a:lnTo>
                      <a:pt x="1886" y="2710"/>
                    </a:lnTo>
                    <a:lnTo>
                      <a:pt x="1904" y="2695"/>
                    </a:lnTo>
                    <a:lnTo>
                      <a:pt x="1914" y="2688"/>
                    </a:lnTo>
                    <a:lnTo>
                      <a:pt x="1920" y="2680"/>
                    </a:lnTo>
                    <a:lnTo>
                      <a:pt x="1924" y="2672"/>
                    </a:lnTo>
                    <a:lnTo>
                      <a:pt x="1929" y="2664"/>
                    </a:lnTo>
                    <a:lnTo>
                      <a:pt x="1936" y="2649"/>
                    </a:lnTo>
                    <a:lnTo>
                      <a:pt x="1944" y="2632"/>
                    </a:lnTo>
                    <a:lnTo>
                      <a:pt x="1975" y="2586"/>
                    </a:lnTo>
                    <a:lnTo>
                      <a:pt x="1980" y="2577"/>
                    </a:lnTo>
                    <a:lnTo>
                      <a:pt x="1984" y="2566"/>
                    </a:lnTo>
                    <a:lnTo>
                      <a:pt x="1987" y="2556"/>
                    </a:lnTo>
                    <a:lnTo>
                      <a:pt x="1989" y="2545"/>
                    </a:lnTo>
                    <a:lnTo>
                      <a:pt x="1993" y="2522"/>
                    </a:lnTo>
                    <a:lnTo>
                      <a:pt x="1996" y="2500"/>
                    </a:lnTo>
                    <a:lnTo>
                      <a:pt x="1996" y="2497"/>
                    </a:lnTo>
                    <a:lnTo>
                      <a:pt x="1995" y="2493"/>
                    </a:lnTo>
                    <a:lnTo>
                      <a:pt x="1993" y="2491"/>
                    </a:lnTo>
                    <a:lnTo>
                      <a:pt x="1989" y="2489"/>
                    </a:lnTo>
                    <a:lnTo>
                      <a:pt x="1980" y="2484"/>
                    </a:lnTo>
                    <a:lnTo>
                      <a:pt x="1968" y="2479"/>
                    </a:lnTo>
                    <a:lnTo>
                      <a:pt x="1942" y="2472"/>
                    </a:lnTo>
                    <a:lnTo>
                      <a:pt x="1921" y="2464"/>
                    </a:lnTo>
                    <a:lnTo>
                      <a:pt x="1916" y="2462"/>
                    </a:lnTo>
                    <a:lnTo>
                      <a:pt x="1913" y="2462"/>
                    </a:lnTo>
                    <a:lnTo>
                      <a:pt x="1908" y="2462"/>
                    </a:lnTo>
                    <a:lnTo>
                      <a:pt x="1906" y="2462"/>
                    </a:lnTo>
                    <a:lnTo>
                      <a:pt x="1900" y="2466"/>
                    </a:lnTo>
                    <a:lnTo>
                      <a:pt x="1895" y="2472"/>
                    </a:lnTo>
                    <a:lnTo>
                      <a:pt x="1888" y="2489"/>
                    </a:lnTo>
                    <a:lnTo>
                      <a:pt x="1879" y="2503"/>
                    </a:lnTo>
                    <a:lnTo>
                      <a:pt x="1864" y="2524"/>
                    </a:lnTo>
                    <a:lnTo>
                      <a:pt x="1851" y="2546"/>
                    </a:lnTo>
                    <a:lnTo>
                      <a:pt x="1844" y="2558"/>
                    </a:lnTo>
                    <a:lnTo>
                      <a:pt x="1837" y="2569"/>
                    </a:lnTo>
                    <a:lnTo>
                      <a:pt x="1830" y="2578"/>
                    </a:lnTo>
                    <a:lnTo>
                      <a:pt x="1821" y="2586"/>
                    </a:lnTo>
                    <a:lnTo>
                      <a:pt x="1809" y="2602"/>
                    </a:lnTo>
                    <a:lnTo>
                      <a:pt x="1794" y="2618"/>
                    </a:lnTo>
                    <a:lnTo>
                      <a:pt x="1792" y="2621"/>
                    </a:lnTo>
                    <a:lnTo>
                      <a:pt x="1788" y="2622"/>
                    </a:lnTo>
                    <a:lnTo>
                      <a:pt x="1786" y="2623"/>
                    </a:lnTo>
                    <a:lnTo>
                      <a:pt x="1783" y="2622"/>
                    </a:lnTo>
                    <a:lnTo>
                      <a:pt x="1782" y="2619"/>
                    </a:lnTo>
                    <a:lnTo>
                      <a:pt x="1781" y="2615"/>
                    </a:lnTo>
                    <a:lnTo>
                      <a:pt x="1780" y="2608"/>
                    </a:lnTo>
                    <a:lnTo>
                      <a:pt x="1781" y="2598"/>
                    </a:lnTo>
                    <a:lnTo>
                      <a:pt x="1787" y="2582"/>
                    </a:lnTo>
                    <a:lnTo>
                      <a:pt x="1793" y="2566"/>
                    </a:lnTo>
                    <a:lnTo>
                      <a:pt x="1787" y="2555"/>
                    </a:lnTo>
                    <a:lnTo>
                      <a:pt x="1781" y="2543"/>
                    </a:lnTo>
                    <a:lnTo>
                      <a:pt x="1781" y="2535"/>
                    </a:lnTo>
                    <a:lnTo>
                      <a:pt x="1782" y="2524"/>
                    </a:lnTo>
                    <a:lnTo>
                      <a:pt x="1784" y="2513"/>
                    </a:lnTo>
                    <a:lnTo>
                      <a:pt x="1787" y="2502"/>
                    </a:lnTo>
                    <a:lnTo>
                      <a:pt x="1790" y="2490"/>
                    </a:lnTo>
                    <a:lnTo>
                      <a:pt x="1795" y="2480"/>
                    </a:lnTo>
                    <a:lnTo>
                      <a:pt x="1797" y="2476"/>
                    </a:lnTo>
                    <a:lnTo>
                      <a:pt x="1800" y="2472"/>
                    </a:lnTo>
                    <a:lnTo>
                      <a:pt x="1803" y="2470"/>
                    </a:lnTo>
                    <a:lnTo>
                      <a:pt x="1806" y="2467"/>
                    </a:lnTo>
                    <a:lnTo>
                      <a:pt x="1817" y="2462"/>
                    </a:lnTo>
                    <a:lnTo>
                      <a:pt x="1828" y="2454"/>
                    </a:lnTo>
                    <a:lnTo>
                      <a:pt x="1837" y="2447"/>
                    </a:lnTo>
                    <a:lnTo>
                      <a:pt x="1847" y="2439"/>
                    </a:lnTo>
                    <a:lnTo>
                      <a:pt x="1855" y="2430"/>
                    </a:lnTo>
                    <a:lnTo>
                      <a:pt x="1862" y="2420"/>
                    </a:lnTo>
                    <a:lnTo>
                      <a:pt x="1868" y="2408"/>
                    </a:lnTo>
                    <a:lnTo>
                      <a:pt x="1871" y="2397"/>
                    </a:lnTo>
                    <a:lnTo>
                      <a:pt x="1874" y="2388"/>
                    </a:lnTo>
                    <a:lnTo>
                      <a:pt x="1875" y="2383"/>
                    </a:lnTo>
                    <a:lnTo>
                      <a:pt x="1875" y="2378"/>
                    </a:lnTo>
                    <a:lnTo>
                      <a:pt x="1874" y="2375"/>
                    </a:lnTo>
                    <a:lnTo>
                      <a:pt x="1869" y="2371"/>
                    </a:lnTo>
                    <a:lnTo>
                      <a:pt x="1861" y="2361"/>
                    </a:lnTo>
                    <a:lnTo>
                      <a:pt x="1860" y="2360"/>
                    </a:lnTo>
                    <a:lnTo>
                      <a:pt x="1857" y="2359"/>
                    </a:lnTo>
                    <a:lnTo>
                      <a:pt x="1856" y="2359"/>
                    </a:lnTo>
                    <a:lnTo>
                      <a:pt x="1854" y="2360"/>
                    </a:lnTo>
                    <a:lnTo>
                      <a:pt x="1848" y="2361"/>
                    </a:lnTo>
                    <a:lnTo>
                      <a:pt x="1842" y="2366"/>
                    </a:lnTo>
                    <a:lnTo>
                      <a:pt x="1828" y="2377"/>
                    </a:lnTo>
                    <a:lnTo>
                      <a:pt x="1813" y="2390"/>
                    </a:lnTo>
                    <a:lnTo>
                      <a:pt x="1799" y="2403"/>
                    </a:lnTo>
                    <a:lnTo>
                      <a:pt x="1787" y="2412"/>
                    </a:lnTo>
                    <a:lnTo>
                      <a:pt x="1782" y="2414"/>
                    </a:lnTo>
                    <a:lnTo>
                      <a:pt x="1779" y="2414"/>
                    </a:lnTo>
                    <a:lnTo>
                      <a:pt x="1777" y="2414"/>
                    </a:lnTo>
                    <a:lnTo>
                      <a:pt x="1777" y="2413"/>
                    </a:lnTo>
                    <a:lnTo>
                      <a:pt x="1776" y="2411"/>
                    </a:lnTo>
                    <a:lnTo>
                      <a:pt x="1776" y="2408"/>
                    </a:lnTo>
                    <a:lnTo>
                      <a:pt x="1779" y="2399"/>
                    </a:lnTo>
                    <a:lnTo>
                      <a:pt x="1782" y="2391"/>
                    </a:lnTo>
                    <a:lnTo>
                      <a:pt x="1786" y="2383"/>
                    </a:lnTo>
                    <a:lnTo>
                      <a:pt x="1789" y="2375"/>
                    </a:lnTo>
                    <a:lnTo>
                      <a:pt x="1790" y="2373"/>
                    </a:lnTo>
                    <a:lnTo>
                      <a:pt x="1790" y="2371"/>
                    </a:lnTo>
                    <a:lnTo>
                      <a:pt x="1790" y="2368"/>
                    </a:lnTo>
                    <a:lnTo>
                      <a:pt x="1788" y="2366"/>
                    </a:lnTo>
                    <a:lnTo>
                      <a:pt x="1786" y="2365"/>
                    </a:lnTo>
                    <a:lnTo>
                      <a:pt x="1782" y="2364"/>
                    </a:lnTo>
                    <a:lnTo>
                      <a:pt x="1777" y="2364"/>
                    </a:lnTo>
                    <a:lnTo>
                      <a:pt x="1772" y="2364"/>
                    </a:lnTo>
                    <a:lnTo>
                      <a:pt x="1766" y="2364"/>
                    </a:lnTo>
                    <a:lnTo>
                      <a:pt x="1761" y="2365"/>
                    </a:lnTo>
                    <a:lnTo>
                      <a:pt x="1757" y="2367"/>
                    </a:lnTo>
                    <a:lnTo>
                      <a:pt x="1754" y="2370"/>
                    </a:lnTo>
                    <a:lnTo>
                      <a:pt x="1750" y="2373"/>
                    </a:lnTo>
                    <a:lnTo>
                      <a:pt x="1748" y="2377"/>
                    </a:lnTo>
                    <a:lnTo>
                      <a:pt x="1746" y="2380"/>
                    </a:lnTo>
                    <a:lnTo>
                      <a:pt x="1743" y="2385"/>
                    </a:lnTo>
                    <a:lnTo>
                      <a:pt x="1741" y="2394"/>
                    </a:lnTo>
                    <a:lnTo>
                      <a:pt x="1739" y="2405"/>
                    </a:lnTo>
                    <a:lnTo>
                      <a:pt x="1739" y="2417"/>
                    </a:lnTo>
                    <a:lnTo>
                      <a:pt x="1739" y="2426"/>
                    </a:lnTo>
                    <a:lnTo>
                      <a:pt x="1732" y="2395"/>
                    </a:lnTo>
                    <a:lnTo>
                      <a:pt x="1728" y="2365"/>
                    </a:lnTo>
                    <a:lnTo>
                      <a:pt x="1726" y="2358"/>
                    </a:lnTo>
                    <a:lnTo>
                      <a:pt x="1723" y="2351"/>
                    </a:lnTo>
                    <a:lnTo>
                      <a:pt x="1721" y="2345"/>
                    </a:lnTo>
                    <a:lnTo>
                      <a:pt x="1716" y="2338"/>
                    </a:lnTo>
                    <a:lnTo>
                      <a:pt x="1712" y="2332"/>
                    </a:lnTo>
                    <a:lnTo>
                      <a:pt x="1706" y="2327"/>
                    </a:lnTo>
                    <a:lnTo>
                      <a:pt x="1699" y="2322"/>
                    </a:lnTo>
                    <a:lnTo>
                      <a:pt x="1689" y="2318"/>
                    </a:lnTo>
                    <a:lnTo>
                      <a:pt x="1670" y="2321"/>
                    </a:lnTo>
                    <a:lnTo>
                      <a:pt x="1659" y="2322"/>
                    </a:lnTo>
                    <a:lnTo>
                      <a:pt x="1655" y="2318"/>
                    </a:lnTo>
                    <a:lnTo>
                      <a:pt x="1651" y="2314"/>
                    </a:lnTo>
                    <a:lnTo>
                      <a:pt x="1646" y="2312"/>
                    </a:lnTo>
                    <a:lnTo>
                      <a:pt x="1641" y="2309"/>
                    </a:lnTo>
                    <a:lnTo>
                      <a:pt x="1635" y="2307"/>
                    </a:lnTo>
                    <a:lnTo>
                      <a:pt x="1631" y="2304"/>
                    </a:lnTo>
                    <a:lnTo>
                      <a:pt x="1627" y="2300"/>
                    </a:lnTo>
                    <a:lnTo>
                      <a:pt x="1625" y="2294"/>
                    </a:lnTo>
                    <a:lnTo>
                      <a:pt x="1623" y="2286"/>
                    </a:lnTo>
                    <a:lnTo>
                      <a:pt x="1625" y="2276"/>
                    </a:lnTo>
                    <a:lnTo>
                      <a:pt x="1626" y="2268"/>
                    </a:lnTo>
                    <a:lnTo>
                      <a:pt x="1628" y="2261"/>
                    </a:lnTo>
                    <a:lnTo>
                      <a:pt x="1629" y="2259"/>
                    </a:lnTo>
                    <a:lnTo>
                      <a:pt x="1631" y="2258"/>
                    </a:lnTo>
                    <a:lnTo>
                      <a:pt x="1632" y="2258"/>
                    </a:lnTo>
                    <a:lnTo>
                      <a:pt x="1633" y="2259"/>
                    </a:lnTo>
                    <a:lnTo>
                      <a:pt x="1635" y="2266"/>
                    </a:lnTo>
                    <a:lnTo>
                      <a:pt x="1636" y="2281"/>
                    </a:lnTo>
                    <a:lnTo>
                      <a:pt x="1636" y="2288"/>
                    </a:lnTo>
                    <a:lnTo>
                      <a:pt x="1638" y="2293"/>
                    </a:lnTo>
                    <a:lnTo>
                      <a:pt x="1641" y="2296"/>
                    </a:lnTo>
                    <a:lnTo>
                      <a:pt x="1643" y="2299"/>
                    </a:lnTo>
                    <a:lnTo>
                      <a:pt x="1648" y="2301"/>
                    </a:lnTo>
                    <a:lnTo>
                      <a:pt x="1653" y="2301"/>
                    </a:lnTo>
                    <a:lnTo>
                      <a:pt x="1658" y="2301"/>
                    </a:lnTo>
                    <a:lnTo>
                      <a:pt x="1662" y="2301"/>
                    </a:lnTo>
                    <a:lnTo>
                      <a:pt x="1674" y="2300"/>
                    </a:lnTo>
                    <a:lnTo>
                      <a:pt x="1685" y="2299"/>
                    </a:lnTo>
                    <a:lnTo>
                      <a:pt x="1690" y="2299"/>
                    </a:lnTo>
                    <a:lnTo>
                      <a:pt x="1695" y="2299"/>
                    </a:lnTo>
                    <a:lnTo>
                      <a:pt x="1699" y="2300"/>
                    </a:lnTo>
                    <a:lnTo>
                      <a:pt x="1702" y="2302"/>
                    </a:lnTo>
                    <a:lnTo>
                      <a:pt x="1714" y="2311"/>
                    </a:lnTo>
                    <a:lnTo>
                      <a:pt x="1726" y="2319"/>
                    </a:lnTo>
                    <a:lnTo>
                      <a:pt x="1732" y="2320"/>
                    </a:lnTo>
                    <a:lnTo>
                      <a:pt x="1737" y="2320"/>
                    </a:lnTo>
                    <a:lnTo>
                      <a:pt x="1745" y="2319"/>
                    </a:lnTo>
                    <a:lnTo>
                      <a:pt x="1750" y="2314"/>
                    </a:lnTo>
                    <a:lnTo>
                      <a:pt x="1752" y="2321"/>
                    </a:lnTo>
                    <a:lnTo>
                      <a:pt x="1752" y="2333"/>
                    </a:lnTo>
                    <a:lnTo>
                      <a:pt x="1755" y="2340"/>
                    </a:lnTo>
                    <a:lnTo>
                      <a:pt x="1760" y="2345"/>
                    </a:lnTo>
                    <a:lnTo>
                      <a:pt x="1766" y="2348"/>
                    </a:lnTo>
                    <a:lnTo>
                      <a:pt x="1773" y="2351"/>
                    </a:lnTo>
                    <a:lnTo>
                      <a:pt x="1780" y="2351"/>
                    </a:lnTo>
                    <a:lnTo>
                      <a:pt x="1787" y="2351"/>
                    </a:lnTo>
                    <a:lnTo>
                      <a:pt x="1794" y="2350"/>
                    </a:lnTo>
                    <a:lnTo>
                      <a:pt x="1802" y="2347"/>
                    </a:lnTo>
                    <a:lnTo>
                      <a:pt x="1810" y="2345"/>
                    </a:lnTo>
                    <a:lnTo>
                      <a:pt x="1819" y="2340"/>
                    </a:lnTo>
                    <a:lnTo>
                      <a:pt x="1826" y="2335"/>
                    </a:lnTo>
                    <a:lnTo>
                      <a:pt x="1833" y="2331"/>
                    </a:lnTo>
                    <a:lnTo>
                      <a:pt x="1839" y="2325"/>
                    </a:lnTo>
                    <a:lnTo>
                      <a:pt x="1844" y="2319"/>
                    </a:lnTo>
                    <a:lnTo>
                      <a:pt x="1849" y="2313"/>
                    </a:lnTo>
                    <a:lnTo>
                      <a:pt x="1853" y="2307"/>
                    </a:lnTo>
                    <a:lnTo>
                      <a:pt x="1856" y="2301"/>
                    </a:lnTo>
                    <a:lnTo>
                      <a:pt x="1860" y="2298"/>
                    </a:lnTo>
                    <a:lnTo>
                      <a:pt x="1863" y="2295"/>
                    </a:lnTo>
                    <a:lnTo>
                      <a:pt x="1867" y="2294"/>
                    </a:lnTo>
                    <a:lnTo>
                      <a:pt x="1871" y="2295"/>
                    </a:lnTo>
                    <a:lnTo>
                      <a:pt x="1876" y="2295"/>
                    </a:lnTo>
                    <a:lnTo>
                      <a:pt x="1880" y="2298"/>
                    </a:lnTo>
                    <a:lnTo>
                      <a:pt x="1884" y="2300"/>
                    </a:lnTo>
                    <a:lnTo>
                      <a:pt x="1894" y="2305"/>
                    </a:lnTo>
                    <a:lnTo>
                      <a:pt x="1902" y="2309"/>
                    </a:lnTo>
                    <a:lnTo>
                      <a:pt x="1907" y="2311"/>
                    </a:lnTo>
                    <a:lnTo>
                      <a:pt x="1911" y="2311"/>
                    </a:lnTo>
                    <a:lnTo>
                      <a:pt x="1916" y="2311"/>
                    </a:lnTo>
                    <a:lnTo>
                      <a:pt x="1920" y="2309"/>
                    </a:lnTo>
                    <a:lnTo>
                      <a:pt x="1924" y="2306"/>
                    </a:lnTo>
                    <a:lnTo>
                      <a:pt x="1928" y="2301"/>
                    </a:lnTo>
                    <a:lnTo>
                      <a:pt x="1930" y="2295"/>
                    </a:lnTo>
                    <a:lnTo>
                      <a:pt x="1931" y="2291"/>
                    </a:lnTo>
                    <a:lnTo>
                      <a:pt x="1933" y="2285"/>
                    </a:lnTo>
                    <a:lnTo>
                      <a:pt x="1935" y="2280"/>
                    </a:lnTo>
                    <a:lnTo>
                      <a:pt x="1937" y="2275"/>
                    </a:lnTo>
                    <a:lnTo>
                      <a:pt x="1942" y="2272"/>
                    </a:lnTo>
                    <a:lnTo>
                      <a:pt x="1946" y="2272"/>
                    </a:lnTo>
                    <a:lnTo>
                      <a:pt x="1948" y="2272"/>
                    </a:lnTo>
                    <a:lnTo>
                      <a:pt x="1951" y="2272"/>
                    </a:lnTo>
                    <a:lnTo>
                      <a:pt x="1954" y="2274"/>
                    </a:lnTo>
                    <a:lnTo>
                      <a:pt x="1958" y="2279"/>
                    </a:lnTo>
                    <a:lnTo>
                      <a:pt x="1963" y="2284"/>
                    </a:lnTo>
                    <a:lnTo>
                      <a:pt x="1967" y="2287"/>
                    </a:lnTo>
                    <a:lnTo>
                      <a:pt x="1970" y="2288"/>
                    </a:lnTo>
                    <a:lnTo>
                      <a:pt x="1973" y="2288"/>
                    </a:lnTo>
                    <a:lnTo>
                      <a:pt x="1974" y="2286"/>
                    </a:lnTo>
                    <a:lnTo>
                      <a:pt x="1975" y="2284"/>
                    </a:lnTo>
                    <a:lnTo>
                      <a:pt x="1977" y="2279"/>
                    </a:lnTo>
                    <a:lnTo>
                      <a:pt x="1990" y="2280"/>
                    </a:lnTo>
                    <a:lnTo>
                      <a:pt x="2005" y="2280"/>
                    </a:lnTo>
                    <a:lnTo>
                      <a:pt x="2024" y="2279"/>
                    </a:lnTo>
                    <a:lnTo>
                      <a:pt x="2044" y="2276"/>
                    </a:lnTo>
                    <a:lnTo>
                      <a:pt x="2064" y="2273"/>
                    </a:lnTo>
                    <a:lnTo>
                      <a:pt x="2082" y="2269"/>
                    </a:lnTo>
                    <a:lnTo>
                      <a:pt x="2098" y="2265"/>
                    </a:lnTo>
                    <a:lnTo>
                      <a:pt x="2110" y="2260"/>
                    </a:lnTo>
                    <a:lnTo>
                      <a:pt x="2117" y="2256"/>
                    </a:lnTo>
                    <a:lnTo>
                      <a:pt x="2124" y="2252"/>
                    </a:lnTo>
                    <a:lnTo>
                      <a:pt x="2131" y="2247"/>
                    </a:lnTo>
                    <a:lnTo>
                      <a:pt x="2138" y="2240"/>
                    </a:lnTo>
                    <a:lnTo>
                      <a:pt x="2152" y="2227"/>
                    </a:lnTo>
                    <a:lnTo>
                      <a:pt x="2166" y="2213"/>
                    </a:lnTo>
                    <a:lnTo>
                      <a:pt x="2181" y="2200"/>
                    </a:lnTo>
                    <a:lnTo>
                      <a:pt x="2196" y="2189"/>
                    </a:lnTo>
                    <a:lnTo>
                      <a:pt x="2203" y="2185"/>
                    </a:lnTo>
                    <a:lnTo>
                      <a:pt x="2211" y="2181"/>
                    </a:lnTo>
                    <a:lnTo>
                      <a:pt x="2219" y="2179"/>
                    </a:lnTo>
                    <a:lnTo>
                      <a:pt x="2228" y="2179"/>
                    </a:lnTo>
                    <a:lnTo>
                      <a:pt x="2242" y="2185"/>
                    </a:lnTo>
                    <a:lnTo>
                      <a:pt x="2260" y="2192"/>
                    </a:lnTo>
                    <a:lnTo>
                      <a:pt x="2268" y="2190"/>
                    </a:lnTo>
                    <a:lnTo>
                      <a:pt x="2276" y="2189"/>
                    </a:lnTo>
                    <a:lnTo>
                      <a:pt x="2283" y="2186"/>
                    </a:lnTo>
                    <a:lnTo>
                      <a:pt x="2289" y="2182"/>
                    </a:lnTo>
                    <a:lnTo>
                      <a:pt x="2302" y="2172"/>
                    </a:lnTo>
                    <a:lnTo>
                      <a:pt x="2313" y="2160"/>
                    </a:lnTo>
                    <a:lnTo>
                      <a:pt x="2324" y="2148"/>
                    </a:lnTo>
                    <a:lnTo>
                      <a:pt x="2333" y="2139"/>
                    </a:lnTo>
                    <a:lnTo>
                      <a:pt x="2338" y="2134"/>
                    </a:lnTo>
                    <a:lnTo>
                      <a:pt x="2343" y="2131"/>
                    </a:lnTo>
                    <a:lnTo>
                      <a:pt x="2347" y="2129"/>
                    </a:lnTo>
                    <a:lnTo>
                      <a:pt x="2351" y="2128"/>
                    </a:lnTo>
                    <a:lnTo>
                      <a:pt x="2351" y="2136"/>
                    </a:lnTo>
                    <a:lnTo>
                      <a:pt x="2349" y="2143"/>
                    </a:lnTo>
                    <a:lnTo>
                      <a:pt x="2344" y="2152"/>
                    </a:lnTo>
                    <a:lnTo>
                      <a:pt x="2340" y="2160"/>
                    </a:lnTo>
                    <a:lnTo>
                      <a:pt x="2331" y="2175"/>
                    </a:lnTo>
                    <a:lnTo>
                      <a:pt x="2323" y="2190"/>
                    </a:lnTo>
                    <a:lnTo>
                      <a:pt x="2320" y="2197"/>
                    </a:lnTo>
                    <a:lnTo>
                      <a:pt x="2318" y="2205"/>
                    </a:lnTo>
                    <a:lnTo>
                      <a:pt x="2318" y="2208"/>
                    </a:lnTo>
                    <a:lnTo>
                      <a:pt x="2318" y="2212"/>
                    </a:lnTo>
                    <a:lnTo>
                      <a:pt x="2319" y="2213"/>
                    </a:lnTo>
                    <a:lnTo>
                      <a:pt x="2320" y="2214"/>
                    </a:lnTo>
                    <a:lnTo>
                      <a:pt x="2323" y="2214"/>
                    </a:lnTo>
                    <a:lnTo>
                      <a:pt x="2326" y="2213"/>
                    </a:lnTo>
                    <a:lnTo>
                      <a:pt x="2342" y="2202"/>
                    </a:lnTo>
                    <a:lnTo>
                      <a:pt x="2358" y="2193"/>
                    </a:lnTo>
                    <a:lnTo>
                      <a:pt x="2369" y="2189"/>
                    </a:lnTo>
                    <a:lnTo>
                      <a:pt x="2377" y="2186"/>
                    </a:lnTo>
                    <a:lnTo>
                      <a:pt x="2379" y="2183"/>
                    </a:lnTo>
                    <a:lnTo>
                      <a:pt x="2383" y="2180"/>
                    </a:lnTo>
                    <a:lnTo>
                      <a:pt x="2385" y="2176"/>
                    </a:lnTo>
                    <a:lnTo>
                      <a:pt x="2387" y="2169"/>
                    </a:lnTo>
                    <a:lnTo>
                      <a:pt x="2392" y="2159"/>
                    </a:lnTo>
                    <a:lnTo>
                      <a:pt x="2397" y="2153"/>
                    </a:lnTo>
                    <a:lnTo>
                      <a:pt x="2402" y="2148"/>
                    </a:lnTo>
                    <a:lnTo>
                      <a:pt x="2406" y="2146"/>
                    </a:lnTo>
                    <a:lnTo>
                      <a:pt x="2412" y="2144"/>
                    </a:lnTo>
                    <a:lnTo>
                      <a:pt x="2418" y="2143"/>
                    </a:lnTo>
                    <a:lnTo>
                      <a:pt x="2425" y="2140"/>
                    </a:lnTo>
                    <a:lnTo>
                      <a:pt x="2432" y="2135"/>
                    </a:lnTo>
                    <a:lnTo>
                      <a:pt x="2436" y="2131"/>
                    </a:lnTo>
                    <a:lnTo>
                      <a:pt x="2441" y="2128"/>
                    </a:lnTo>
                    <a:lnTo>
                      <a:pt x="2446" y="2126"/>
                    </a:lnTo>
                    <a:lnTo>
                      <a:pt x="2452" y="2124"/>
                    </a:lnTo>
                    <a:lnTo>
                      <a:pt x="2464" y="2122"/>
                    </a:lnTo>
                    <a:lnTo>
                      <a:pt x="2477" y="2120"/>
                    </a:lnTo>
                    <a:lnTo>
                      <a:pt x="2488" y="2119"/>
                    </a:lnTo>
                    <a:lnTo>
                      <a:pt x="2500" y="2117"/>
                    </a:lnTo>
                    <a:lnTo>
                      <a:pt x="2505" y="2116"/>
                    </a:lnTo>
                    <a:lnTo>
                      <a:pt x="2510" y="2114"/>
                    </a:lnTo>
                    <a:lnTo>
                      <a:pt x="2513" y="2113"/>
                    </a:lnTo>
                    <a:lnTo>
                      <a:pt x="2517" y="2109"/>
                    </a:lnTo>
                    <a:lnTo>
                      <a:pt x="2525" y="2098"/>
                    </a:lnTo>
                    <a:lnTo>
                      <a:pt x="2528" y="2093"/>
                    </a:lnTo>
                    <a:lnTo>
                      <a:pt x="2532" y="2090"/>
                    </a:lnTo>
                    <a:lnTo>
                      <a:pt x="2535" y="2089"/>
                    </a:lnTo>
                    <a:lnTo>
                      <a:pt x="2543" y="2088"/>
                    </a:lnTo>
                    <a:lnTo>
                      <a:pt x="2552" y="2088"/>
                    </a:lnTo>
                    <a:lnTo>
                      <a:pt x="2551" y="2100"/>
                    </a:lnTo>
                    <a:lnTo>
                      <a:pt x="2547" y="2115"/>
                    </a:lnTo>
                    <a:lnTo>
                      <a:pt x="2546" y="2122"/>
                    </a:lnTo>
                    <a:lnTo>
                      <a:pt x="2547" y="2128"/>
                    </a:lnTo>
                    <a:lnTo>
                      <a:pt x="2547" y="2131"/>
                    </a:lnTo>
                    <a:lnTo>
                      <a:pt x="2550" y="2134"/>
                    </a:lnTo>
                    <a:lnTo>
                      <a:pt x="2552" y="2135"/>
                    </a:lnTo>
                    <a:lnTo>
                      <a:pt x="2554" y="2136"/>
                    </a:lnTo>
                    <a:lnTo>
                      <a:pt x="2560" y="2136"/>
                    </a:lnTo>
                    <a:lnTo>
                      <a:pt x="2567" y="2135"/>
                    </a:lnTo>
                    <a:lnTo>
                      <a:pt x="2575" y="2131"/>
                    </a:lnTo>
                    <a:lnTo>
                      <a:pt x="2582" y="2128"/>
                    </a:lnTo>
                    <a:lnTo>
                      <a:pt x="2595" y="2117"/>
                    </a:lnTo>
                    <a:lnTo>
                      <a:pt x="2605" y="2108"/>
                    </a:lnTo>
                    <a:lnTo>
                      <a:pt x="2610" y="2104"/>
                    </a:lnTo>
                    <a:lnTo>
                      <a:pt x="2614" y="2103"/>
                    </a:lnTo>
                    <a:lnTo>
                      <a:pt x="2618" y="2102"/>
                    </a:lnTo>
                    <a:lnTo>
                      <a:pt x="2621" y="2102"/>
                    </a:lnTo>
                    <a:lnTo>
                      <a:pt x="2626" y="2104"/>
                    </a:lnTo>
                    <a:lnTo>
                      <a:pt x="2631" y="2109"/>
                    </a:lnTo>
                    <a:lnTo>
                      <a:pt x="2635" y="2114"/>
                    </a:lnTo>
                    <a:lnTo>
                      <a:pt x="2640" y="2117"/>
                    </a:lnTo>
                    <a:lnTo>
                      <a:pt x="2642" y="2119"/>
                    </a:lnTo>
                    <a:lnTo>
                      <a:pt x="2645" y="2120"/>
                    </a:lnTo>
                    <a:lnTo>
                      <a:pt x="2648" y="2120"/>
                    </a:lnTo>
                    <a:lnTo>
                      <a:pt x="2651" y="2119"/>
                    </a:lnTo>
                    <a:lnTo>
                      <a:pt x="2661" y="2114"/>
                    </a:lnTo>
                    <a:lnTo>
                      <a:pt x="2672" y="2107"/>
                    </a:lnTo>
                    <a:lnTo>
                      <a:pt x="2677" y="2104"/>
                    </a:lnTo>
                    <a:lnTo>
                      <a:pt x="2682" y="2102"/>
                    </a:lnTo>
                    <a:lnTo>
                      <a:pt x="2687" y="2100"/>
                    </a:lnTo>
                    <a:lnTo>
                      <a:pt x="2693" y="2100"/>
                    </a:lnTo>
                    <a:lnTo>
                      <a:pt x="2699" y="2098"/>
                    </a:lnTo>
                    <a:lnTo>
                      <a:pt x="2704" y="2096"/>
                    </a:lnTo>
                    <a:lnTo>
                      <a:pt x="2709" y="2093"/>
                    </a:lnTo>
                    <a:lnTo>
                      <a:pt x="2714" y="2088"/>
                    </a:lnTo>
                    <a:lnTo>
                      <a:pt x="2722" y="2076"/>
                    </a:lnTo>
                    <a:lnTo>
                      <a:pt x="2732" y="2061"/>
                    </a:lnTo>
                    <a:lnTo>
                      <a:pt x="2740" y="2045"/>
                    </a:lnTo>
                    <a:lnTo>
                      <a:pt x="2748" y="2031"/>
                    </a:lnTo>
                    <a:lnTo>
                      <a:pt x="2752" y="2024"/>
                    </a:lnTo>
                    <a:lnTo>
                      <a:pt x="2756" y="2017"/>
                    </a:lnTo>
                    <a:lnTo>
                      <a:pt x="2761" y="2012"/>
                    </a:lnTo>
                    <a:lnTo>
                      <a:pt x="2766" y="2008"/>
                    </a:lnTo>
                    <a:lnTo>
                      <a:pt x="2771" y="2003"/>
                    </a:lnTo>
                    <a:lnTo>
                      <a:pt x="2774" y="1998"/>
                    </a:lnTo>
                    <a:lnTo>
                      <a:pt x="2776" y="1994"/>
                    </a:lnTo>
                    <a:lnTo>
                      <a:pt x="2778" y="1988"/>
                    </a:lnTo>
                    <a:lnTo>
                      <a:pt x="2780" y="1977"/>
                    </a:lnTo>
                    <a:lnTo>
                      <a:pt x="2780" y="1966"/>
                    </a:lnTo>
                    <a:lnTo>
                      <a:pt x="2780" y="1956"/>
                    </a:lnTo>
                    <a:lnTo>
                      <a:pt x="2781" y="1945"/>
                    </a:lnTo>
                    <a:lnTo>
                      <a:pt x="2783" y="1941"/>
                    </a:lnTo>
                    <a:lnTo>
                      <a:pt x="2787" y="1936"/>
                    </a:lnTo>
                    <a:lnTo>
                      <a:pt x="2791" y="1931"/>
                    </a:lnTo>
                    <a:lnTo>
                      <a:pt x="2796" y="1926"/>
                    </a:lnTo>
                    <a:lnTo>
                      <a:pt x="2801" y="1923"/>
                    </a:lnTo>
                    <a:lnTo>
                      <a:pt x="2803" y="1917"/>
                    </a:lnTo>
                    <a:lnTo>
                      <a:pt x="2807" y="1911"/>
                    </a:lnTo>
                    <a:lnTo>
                      <a:pt x="2809" y="1906"/>
                    </a:lnTo>
                    <a:lnTo>
                      <a:pt x="2813" y="1896"/>
                    </a:lnTo>
                    <a:lnTo>
                      <a:pt x="2814" y="1891"/>
                    </a:lnTo>
                    <a:lnTo>
                      <a:pt x="2815" y="1890"/>
                    </a:lnTo>
                    <a:lnTo>
                      <a:pt x="2818" y="1889"/>
                    </a:lnTo>
                    <a:lnTo>
                      <a:pt x="2819" y="1886"/>
                    </a:lnTo>
                    <a:lnTo>
                      <a:pt x="2820" y="1884"/>
                    </a:lnTo>
                    <a:lnTo>
                      <a:pt x="2822" y="1883"/>
                    </a:lnTo>
                    <a:lnTo>
                      <a:pt x="2826" y="1880"/>
                    </a:lnTo>
                    <a:lnTo>
                      <a:pt x="2832" y="1879"/>
                    </a:lnTo>
                    <a:lnTo>
                      <a:pt x="2840" y="1878"/>
                    </a:lnTo>
                    <a:lnTo>
                      <a:pt x="2855" y="1877"/>
                    </a:lnTo>
                    <a:lnTo>
                      <a:pt x="2868" y="1877"/>
                    </a:lnTo>
                    <a:lnTo>
                      <a:pt x="2877" y="1876"/>
                    </a:lnTo>
                    <a:lnTo>
                      <a:pt x="2887" y="1872"/>
                    </a:lnTo>
                    <a:lnTo>
                      <a:pt x="2896" y="1867"/>
                    </a:lnTo>
                    <a:lnTo>
                      <a:pt x="2905" y="1863"/>
                    </a:lnTo>
                    <a:lnTo>
                      <a:pt x="2917" y="1852"/>
                    </a:lnTo>
                    <a:lnTo>
                      <a:pt x="2926" y="1847"/>
                    </a:lnTo>
                    <a:lnTo>
                      <a:pt x="2926" y="1857"/>
                    </a:lnTo>
                    <a:lnTo>
                      <a:pt x="2924" y="1865"/>
                    </a:lnTo>
                    <a:lnTo>
                      <a:pt x="2923" y="1872"/>
                    </a:lnTo>
                    <a:lnTo>
                      <a:pt x="2922" y="1878"/>
                    </a:lnTo>
                    <a:lnTo>
                      <a:pt x="2917" y="1889"/>
                    </a:lnTo>
                    <a:lnTo>
                      <a:pt x="2914" y="1898"/>
                    </a:lnTo>
                    <a:lnTo>
                      <a:pt x="2910" y="1909"/>
                    </a:lnTo>
                    <a:lnTo>
                      <a:pt x="2909" y="1919"/>
                    </a:lnTo>
                    <a:lnTo>
                      <a:pt x="2910" y="1926"/>
                    </a:lnTo>
                    <a:lnTo>
                      <a:pt x="2912" y="1933"/>
                    </a:lnTo>
                    <a:lnTo>
                      <a:pt x="2914" y="1942"/>
                    </a:lnTo>
                    <a:lnTo>
                      <a:pt x="2917" y="1951"/>
                    </a:lnTo>
                    <a:lnTo>
                      <a:pt x="2920" y="1959"/>
                    </a:lnTo>
                    <a:lnTo>
                      <a:pt x="2920" y="1966"/>
                    </a:lnTo>
                    <a:lnTo>
                      <a:pt x="2917" y="1974"/>
                    </a:lnTo>
                    <a:lnTo>
                      <a:pt x="2914" y="1982"/>
                    </a:lnTo>
                    <a:lnTo>
                      <a:pt x="2905" y="1996"/>
                    </a:lnTo>
                    <a:lnTo>
                      <a:pt x="2892" y="2010"/>
                    </a:lnTo>
                    <a:lnTo>
                      <a:pt x="2879" y="2024"/>
                    </a:lnTo>
                    <a:lnTo>
                      <a:pt x="2867" y="2040"/>
                    </a:lnTo>
                    <a:lnTo>
                      <a:pt x="2863" y="2047"/>
                    </a:lnTo>
                    <a:lnTo>
                      <a:pt x="2861" y="2055"/>
                    </a:lnTo>
                    <a:lnTo>
                      <a:pt x="2860" y="2063"/>
                    </a:lnTo>
                    <a:lnTo>
                      <a:pt x="2861" y="2073"/>
                    </a:lnTo>
                    <a:lnTo>
                      <a:pt x="2869" y="2074"/>
                    </a:lnTo>
                    <a:lnTo>
                      <a:pt x="2879" y="2073"/>
                    </a:lnTo>
                    <a:lnTo>
                      <a:pt x="2889" y="2070"/>
                    </a:lnTo>
                    <a:lnTo>
                      <a:pt x="2901" y="2068"/>
                    </a:lnTo>
                    <a:lnTo>
                      <a:pt x="2913" y="2063"/>
                    </a:lnTo>
                    <a:lnTo>
                      <a:pt x="2923" y="2058"/>
                    </a:lnTo>
                    <a:lnTo>
                      <a:pt x="2934" y="2053"/>
                    </a:lnTo>
                    <a:lnTo>
                      <a:pt x="2942" y="2047"/>
                    </a:lnTo>
                    <a:lnTo>
                      <a:pt x="2950" y="2041"/>
                    </a:lnTo>
                    <a:lnTo>
                      <a:pt x="2955" y="2035"/>
                    </a:lnTo>
                    <a:lnTo>
                      <a:pt x="2957" y="2032"/>
                    </a:lnTo>
                    <a:lnTo>
                      <a:pt x="2959" y="2029"/>
                    </a:lnTo>
                    <a:lnTo>
                      <a:pt x="2959" y="2027"/>
                    </a:lnTo>
                    <a:lnTo>
                      <a:pt x="2959" y="2024"/>
                    </a:lnTo>
                    <a:lnTo>
                      <a:pt x="2957" y="2022"/>
                    </a:lnTo>
                    <a:lnTo>
                      <a:pt x="2955" y="2021"/>
                    </a:lnTo>
                    <a:lnTo>
                      <a:pt x="2953" y="2018"/>
                    </a:lnTo>
                    <a:lnTo>
                      <a:pt x="2948" y="2017"/>
                    </a:lnTo>
                    <a:lnTo>
                      <a:pt x="2937" y="2015"/>
                    </a:lnTo>
                    <a:lnTo>
                      <a:pt x="2921" y="2014"/>
                    </a:lnTo>
                    <a:lnTo>
                      <a:pt x="2921" y="2012"/>
                    </a:lnTo>
                    <a:lnTo>
                      <a:pt x="2919" y="2012"/>
                    </a:lnTo>
                    <a:lnTo>
                      <a:pt x="2920" y="2008"/>
                    </a:lnTo>
                    <a:lnTo>
                      <a:pt x="2921" y="2004"/>
                    </a:lnTo>
                    <a:lnTo>
                      <a:pt x="2924" y="2002"/>
                    </a:lnTo>
                    <a:lnTo>
                      <a:pt x="2928" y="1999"/>
                    </a:lnTo>
                    <a:lnTo>
                      <a:pt x="2937" y="1996"/>
                    </a:lnTo>
                    <a:lnTo>
                      <a:pt x="2949" y="1994"/>
                    </a:lnTo>
                    <a:lnTo>
                      <a:pt x="2961" y="1991"/>
                    </a:lnTo>
                    <a:lnTo>
                      <a:pt x="2973" y="1989"/>
                    </a:lnTo>
                    <a:lnTo>
                      <a:pt x="2977" y="1988"/>
                    </a:lnTo>
                    <a:lnTo>
                      <a:pt x="2982" y="1985"/>
                    </a:lnTo>
                    <a:lnTo>
                      <a:pt x="2987" y="1983"/>
                    </a:lnTo>
                    <a:lnTo>
                      <a:pt x="2990" y="1981"/>
                    </a:lnTo>
                    <a:lnTo>
                      <a:pt x="2996" y="1974"/>
                    </a:lnTo>
                    <a:lnTo>
                      <a:pt x="3003" y="1962"/>
                    </a:lnTo>
                    <a:lnTo>
                      <a:pt x="3011" y="1948"/>
                    </a:lnTo>
                    <a:lnTo>
                      <a:pt x="3021" y="1932"/>
                    </a:lnTo>
                    <a:lnTo>
                      <a:pt x="3028" y="1916"/>
                    </a:lnTo>
                    <a:lnTo>
                      <a:pt x="3035" y="1902"/>
                    </a:lnTo>
                    <a:lnTo>
                      <a:pt x="3036" y="1896"/>
                    </a:lnTo>
                    <a:lnTo>
                      <a:pt x="3037" y="1890"/>
                    </a:lnTo>
                    <a:lnTo>
                      <a:pt x="3038" y="1885"/>
                    </a:lnTo>
                    <a:lnTo>
                      <a:pt x="3037" y="1882"/>
                    </a:lnTo>
                    <a:lnTo>
                      <a:pt x="3034" y="1870"/>
                    </a:lnTo>
                    <a:lnTo>
                      <a:pt x="3029" y="1854"/>
                    </a:lnTo>
                    <a:lnTo>
                      <a:pt x="3027" y="1847"/>
                    </a:lnTo>
                    <a:lnTo>
                      <a:pt x="3026" y="1839"/>
                    </a:lnTo>
                    <a:lnTo>
                      <a:pt x="3026" y="1832"/>
                    </a:lnTo>
                    <a:lnTo>
                      <a:pt x="3026" y="1825"/>
                    </a:lnTo>
                    <a:lnTo>
                      <a:pt x="3027" y="1820"/>
                    </a:lnTo>
                    <a:lnTo>
                      <a:pt x="3028" y="1817"/>
                    </a:lnTo>
                    <a:lnTo>
                      <a:pt x="3031" y="1812"/>
                    </a:lnTo>
                    <a:lnTo>
                      <a:pt x="3035" y="1809"/>
                    </a:lnTo>
                    <a:lnTo>
                      <a:pt x="3044" y="1803"/>
                    </a:lnTo>
                    <a:lnTo>
                      <a:pt x="3055" y="1797"/>
                    </a:lnTo>
                    <a:lnTo>
                      <a:pt x="3078" y="1787"/>
                    </a:lnTo>
                    <a:lnTo>
                      <a:pt x="3097" y="1778"/>
                    </a:lnTo>
                    <a:lnTo>
                      <a:pt x="3102" y="1773"/>
                    </a:lnTo>
                    <a:lnTo>
                      <a:pt x="3107" y="1765"/>
                    </a:lnTo>
                    <a:lnTo>
                      <a:pt x="3108" y="1761"/>
                    </a:lnTo>
                    <a:lnTo>
                      <a:pt x="3109" y="1757"/>
                    </a:lnTo>
                    <a:lnTo>
                      <a:pt x="3108" y="1754"/>
                    </a:lnTo>
                    <a:lnTo>
                      <a:pt x="3105" y="1752"/>
                    </a:lnTo>
                    <a:lnTo>
                      <a:pt x="3105" y="1746"/>
                    </a:lnTo>
                    <a:lnTo>
                      <a:pt x="3115" y="1737"/>
                    </a:lnTo>
                    <a:lnTo>
                      <a:pt x="3124" y="1726"/>
                    </a:lnTo>
                    <a:lnTo>
                      <a:pt x="3127" y="1725"/>
                    </a:lnTo>
                    <a:lnTo>
                      <a:pt x="3129" y="1724"/>
                    </a:lnTo>
                    <a:lnTo>
                      <a:pt x="3129" y="1722"/>
                    </a:lnTo>
                    <a:lnTo>
                      <a:pt x="3130" y="1721"/>
                    </a:lnTo>
                    <a:lnTo>
                      <a:pt x="3142" y="1718"/>
                    </a:lnTo>
                    <a:lnTo>
                      <a:pt x="3152" y="1714"/>
                    </a:lnTo>
                    <a:lnTo>
                      <a:pt x="3164" y="1711"/>
                    </a:lnTo>
                    <a:lnTo>
                      <a:pt x="3180" y="1710"/>
                    </a:lnTo>
                    <a:lnTo>
                      <a:pt x="3189" y="1711"/>
                    </a:lnTo>
                    <a:lnTo>
                      <a:pt x="3205" y="1712"/>
                    </a:lnTo>
                    <a:lnTo>
                      <a:pt x="3214" y="1712"/>
                    </a:lnTo>
                    <a:lnTo>
                      <a:pt x="3221" y="1712"/>
                    </a:lnTo>
                    <a:lnTo>
                      <a:pt x="3225" y="1711"/>
                    </a:lnTo>
                    <a:lnTo>
                      <a:pt x="3228" y="1708"/>
                    </a:lnTo>
                    <a:lnTo>
                      <a:pt x="3229" y="1707"/>
                    </a:lnTo>
                    <a:lnTo>
                      <a:pt x="3231" y="1701"/>
                    </a:lnTo>
                    <a:lnTo>
                      <a:pt x="3232" y="1695"/>
                    </a:lnTo>
                    <a:lnTo>
                      <a:pt x="3234" y="1687"/>
                    </a:lnTo>
                    <a:lnTo>
                      <a:pt x="3236" y="1672"/>
                    </a:lnTo>
                    <a:lnTo>
                      <a:pt x="3236" y="1661"/>
                    </a:lnTo>
                    <a:lnTo>
                      <a:pt x="3222" y="1665"/>
                    </a:lnTo>
                    <a:lnTo>
                      <a:pt x="3210" y="1667"/>
                    </a:lnTo>
                    <a:lnTo>
                      <a:pt x="3211" y="1658"/>
                    </a:lnTo>
                    <a:lnTo>
                      <a:pt x="3212" y="1648"/>
                    </a:lnTo>
                    <a:lnTo>
                      <a:pt x="3216" y="1640"/>
                    </a:lnTo>
                    <a:lnTo>
                      <a:pt x="3218" y="1632"/>
                    </a:lnTo>
                    <a:lnTo>
                      <a:pt x="3221" y="1623"/>
                    </a:lnTo>
                    <a:lnTo>
                      <a:pt x="3222" y="1615"/>
                    </a:lnTo>
                    <a:lnTo>
                      <a:pt x="3222" y="1607"/>
                    </a:lnTo>
                    <a:lnTo>
                      <a:pt x="3221" y="1599"/>
                    </a:lnTo>
                    <a:lnTo>
                      <a:pt x="3212" y="1594"/>
                    </a:lnTo>
                    <a:lnTo>
                      <a:pt x="3207" y="1590"/>
                    </a:lnTo>
                    <a:lnTo>
                      <a:pt x="3208" y="1579"/>
                    </a:lnTo>
                    <a:lnTo>
                      <a:pt x="3211" y="1567"/>
                    </a:lnTo>
                    <a:lnTo>
                      <a:pt x="3214" y="1555"/>
                    </a:lnTo>
                    <a:lnTo>
                      <a:pt x="3215" y="1542"/>
                    </a:lnTo>
                    <a:lnTo>
                      <a:pt x="3248" y="1533"/>
                    </a:lnTo>
                    <a:lnTo>
                      <a:pt x="3249" y="1528"/>
                    </a:lnTo>
                    <a:lnTo>
                      <a:pt x="3249" y="1524"/>
                    </a:lnTo>
                    <a:lnTo>
                      <a:pt x="3248" y="1522"/>
                    </a:lnTo>
                    <a:lnTo>
                      <a:pt x="3247" y="1521"/>
                    </a:lnTo>
                    <a:lnTo>
                      <a:pt x="3243" y="1520"/>
                    </a:lnTo>
                    <a:lnTo>
                      <a:pt x="3237" y="1521"/>
                    </a:lnTo>
                    <a:lnTo>
                      <a:pt x="3229" y="1524"/>
                    </a:lnTo>
                    <a:lnTo>
                      <a:pt x="3221" y="1528"/>
                    </a:lnTo>
                    <a:lnTo>
                      <a:pt x="3212" y="1530"/>
                    </a:lnTo>
                    <a:lnTo>
                      <a:pt x="3204" y="1532"/>
                    </a:lnTo>
                    <a:lnTo>
                      <a:pt x="3184" y="1534"/>
                    </a:lnTo>
                    <a:lnTo>
                      <a:pt x="3167" y="1537"/>
                    </a:lnTo>
                    <a:lnTo>
                      <a:pt x="3158" y="1539"/>
                    </a:lnTo>
                    <a:lnTo>
                      <a:pt x="3149" y="1539"/>
                    </a:lnTo>
                    <a:lnTo>
                      <a:pt x="3138" y="1537"/>
                    </a:lnTo>
                    <a:lnTo>
                      <a:pt x="3125" y="1536"/>
                    </a:lnTo>
                    <a:lnTo>
                      <a:pt x="3120" y="1535"/>
                    </a:lnTo>
                    <a:lnTo>
                      <a:pt x="3114" y="1535"/>
                    </a:lnTo>
                    <a:lnTo>
                      <a:pt x="3108" y="1536"/>
                    </a:lnTo>
                    <a:lnTo>
                      <a:pt x="3103" y="1539"/>
                    </a:lnTo>
                    <a:lnTo>
                      <a:pt x="3097" y="1540"/>
                    </a:lnTo>
                    <a:lnTo>
                      <a:pt x="3093" y="1541"/>
                    </a:lnTo>
                    <a:lnTo>
                      <a:pt x="3088" y="1542"/>
                    </a:lnTo>
                    <a:lnTo>
                      <a:pt x="3083" y="1541"/>
                    </a:lnTo>
                    <a:lnTo>
                      <a:pt x="3081" y="1532"/>
                    </a:lnTo>
                    <a:lnTo>
                      <a:pt x="3080" y="1522"/>
                    </a:lnTo>
                    <a:lnTo>
                      <a:pt x="3080" y="1513"/>
                    </a:lnTo>
                    <a:lnTo>
                      <a:pt x="3080" y="1503"/>
                    </a:lnTo>
                    <a:lnTo>
                      <a:pt x="3082" y="1483"/>
                    </a:lnTo>
                    <a:lnTo>
                      <a:pt x="3083" y="1464"/>
                    </a:lnTo>
                    <a:lnTo>
                      <a:pt x="3083" y="1454"/>
                    </a:lnTo>
                    <a:lnTo>
                      <a:pt x="3083" y="1443"/>
                    </a:lnTo>
                    <a:lnTo>
                      <a:pt x="3082" y="1434"/>
                    </a:lnTo>
                    <a:lnTo>
                      <a:pt x="3080" y="1423"/>
                    </a:lnTo>
                    <a:lnTo>
                      <a:pt x="3078" y="1414"/>
                    </a:lnTo>
                    <a:lnTo>
                      <a:pt x="3077" y="1404"/>
                    </a:lnTo>
                    <a:lnTo>
                      <a:pt x="3077" y="1395"/>
                    </a:lnTo>
                    <a:lnTo>
                      <a:pt x="3078" y="1385"/>
                    </a:lnTo>
                    <a:lnTo>
                      <a:pt x="3082" y="1374"/>
                    </a:lnTo>
                    <a:lnTo>
                      <a:pt x="3086" y="1363"/>
                    </a:lnTo>
                    <a:lnTo>
                      <a:pt x="3088" y="1351"/>
                    </a:lnTo>
                    <a:lnTo>
                      <a:pt x="3089" y="1339"/>
                    </a:lnTo>
                    <a:lnTo>
                      <a:pt x="3088" y="1338"/>
                    </a:lnTo>
                    <a:lnTo>
                      <a:pt x="3087" y="1338"/>
                    </a:lnTo>
                    <a:lnTo>
                      <a:pt x="3086" y="1337"/>
                    </a:lnTo>
                    <a:lnTo>
                      <a:pt x="3071" y="1339"/>
                    </a:lnTo>
                    <a:lnTo>
                      <a:pt x="3063" y="1343"/>
                    </a:lnTo>
                    <a:lnTo>
                      <a:pt x="3060" y="1343"/>
                    </a:lnTo>
                    <a:lnTo>
                      <a:pt x="3057" y="1341"/>
                    </a:lnTo>
                    <a:lnTo>
                      <a:pt x="3054" y="1335"/>
                    </a:lnTo>
                    <a:lnTo>
                      <a:pt x="3050" y="1325"/>
                    </a:lnTo>
                    <a:lnTo>
                      <a:pt x="3049" y="1319"/>
                    </a:lnTo>
                    <a:lnTo>
                      <a:pt x="3047" y="1316"/>
                    </a:lnTo>
                    <a:lnTo>
                      <a:pt x="3044" y="1313"/>
                    </a:lnTo>
                    <a:lnTo>
                      <a:pt x="3042" y="1311"/>
                    </a:lnTo>
                    <a:lnTo>
                      <a:pt x="3040" y="1310"/>
                    </a:lnTo>
                    <a:lnTo>
                      <a:pt x="3036" y="1310"/>
                    </a:lnTo>
                    <a:lnTo>
                      <a:pt x="3034" y="1311"/>
                    </a:lnTo>
                    <a:lnTo>
                      <a:pt x="3031" y="1312"/>
                    </a:lnTo>
                    <a:lnTo>
                      <a:pt x="3020" y="1319"/>
                    </a:lnTo>
                    <a:lnTo>
                      <a:pt x="3008" y="1325"/>
                    </a:lnTo>
                    <a:lnTo>
                      <a:pt x="3002" y="1334"/>
                    </a:lnTo>
                    <a:lnTo>
                      <a:pt x="2995" y="1341"/>
                    </a:lnTo>
                    <a:lnTo>
                      <a:pt x="2991" y="1345"/>
                    </a:lnTo>
                    <a:lnTo>
                      <a:pt x="2988" y="1350"/>
                    </a:lnTo>
                    <a:lnTo>
                      <a:pt x="2986" y="1355"/>
                    </a:lnTo>
                    <a:lnTo>
                      <a:pt x="2983" y="1361"/>
                    </a:lnTo>
                    <a:lnTo>
                      <a:pt x="2980" y="1359"/>
                    </a:lnTo>
                    <a:lnTo>
                      <a:pt x="2976" y="1358"/>
                    </a:lnTo>
                    <a:lnTo>
                      <a:pt x="2974" y="1355"/>
                    </a:lnTo>
                    <a:lnTo>
                      <a:pt x="2972" y="1352"/>
                    </a:lnTo>
                    <a:lnTo>
                      <a:pt x="2967" y="1345"/>
                    </a:lnTo>
                    <a:lnTo>
                      <a:pt x="2964" y="1338"/>
                    </a:lnTo>
                    <a:lnTo>
                      <a:pt x="2961" y="1338"/>
                    </a:lnTo>
                    <a:lnTo>
                      <a:pt x="2957" y="1339"/>
                    </a:lnTo>
                    <a:lnTo>
                      <a:pt x="2954" y="1342"/>
                    </a:lnTo>
                    <a:lnTo>
                      <a:pt x="2952" y="1344"/>
                    </a:lnTo>
                    <a:lnTo>
                      <a:pt x="2947" y="1351"/>
                    </a:lnTo>
                    <a:lnTo>
                      <a:pt x="2941" y="1355"/>
                    </a:lnTo>
                    <a:lnTo>
                      <a:pt x="2939" y="1362"/>
                    </a:lnTo>
                    <a:lnTo>
                      <a:pt x="2935" y="1369"/>
                    </a:lnTo>
                    <a:lnTo>
                      <a:pt x="2930" y="1376"/>
                    </a:lnTo>
                    <a:lnTo>
                      <a:pt x="2926" y="1382"/>
                    </a:lnTo>
                    <a:lnTo>
                      <a:pt x="2920" y="1388"/>
                    </a:lnTo>
                    <a:lnTo>
                      <a:pt x="2913" y="1392"/>
                    </a:lnTo>
                    <a:lnTo>
                      <a:pt x="2907" y="1395"/>
                    </a:lnTo>
                    <a:lnTo>
                      <a:pt x="2900" y="1397"/>
                    </a:lnTo>
                    <a:lnTo>
                      <a:pt x="2893" y="1400"/>
                    </a:lnTo>
                    <a:lnTo>
                      <a:pt x="2888" y="1403"/>
                    </a:lnTo>
                    <a:lnTo>
                      <a:pt x="2883" y="1407"/>
                    </a:lnTo>
                    <a:lnTo>
                      <a:pt x="2880" y="1411"/>
                    </a:lnTo>
                    <a:lnTo>
                      <a:pt x="2876" y="1416"/>
                    </a:lnTo>
                    <a:lnTo>
                      <a:pt x="2873" y="1421"/>
                    </a:lnTo>
                    <a:lnTo>
                      <a:pt x="2870" y="1423"/>
                    </a:lnTo>
                    <a:lnTo>
                      <a:pt x="2867" y="1425"/>
                    </a:lnTo>
                    <a:lnTo>
                      <a:pt x="2865" y="1431"/>
                    </a:lnTo>
                    <a:lnTo>
                      <a:pt x="2862" y="1438"/>
                    </a:lnTo>
                    <a:lnTo>
                      <a:pt x="2859" y="1447"/>
                    </a:lnTo>
                    <a:lnTo>
                      <a:pt x="2854" y="1454"/>
                    </a:lnTo>
                    <a:lnTo>
                      <a:pt x="2849" y="1460"/>
                    </a:lnTo>
                    <a:lnTo>
                      <a:pt x="2845" y="1466"/>
                    </a:lnTo>
                    <a:lnTo>
                      <a:pt x="2839" y="1470"/>
                    </a:lnTo>
                    <a:lnTo>
                      <a:pt x="2833" y="1474"/>
                    </a:lnTo>
                    <a:lnTo>
                      <a:pt x="2833" y="1483"/>
                    </a:lnTo>
                    <a:lnTo>
                      <a:pt x="2832" y="1489"/>
                    </a:lnTo>
                    <a:lnTo>
                      <a:pt x="2830" y="1491"/>
                    </a:lnTo>
                    <a:lnTo>
                      <a:pt x="2827" y="1493"/>
                    </a:lnTo>
                    <a:lnTo>
                      <a:pt x="2823" y="1495"/>
                    </a:lnTo>
                    <a:lnTo>
                      <a:pt x="2818" y="1497"/>
                    </a:lnTo>
                    <a:lnTo>
                      <a:pt x="2810" y="1500"/>
                    </a:lnTo>
                    <a:lnTo>
                      <a:pt x="2801" y="1506"/>
                    </a:lnTo>
                    <a:lnTo>
                      <a:pt x="2791" y="1513"/>
                    </a:lnTo>
                    <a:lnTo>
                      <a:pt x="2785" y="1517"/>
                    </a:lnTo>
                    <a:lnTo>
                      <a:pt x="2782" y="1521"/>
                    </a:lnTo>
                    <a:lnTo>
                      <a:pt x="2780" y="1524"/>
                    </a:lnTo>
                    <a:lnTo>
                      <a:pt x="2779" y="1528"/>
                    </a:lnTo>
                    <a:lnTo>
                      <a:pt x="2778" y="1533"/>
                    </a:lnTo>
                    <a:lnTo>
                      <a:pt x="2778" y="1541"/>
                    </a:lnTo>
                    <a:lnTo>
                      <a:pt x="2781" y="1549"/>
                    </a:lnTo>
                    <a:lnTo>
                      <a:pt x="2785" y="1565"/>
                    </a:lnTo>
                    <a:lnTo>
                      <a:pt x="2786" y="1581"/>
                    </a:lnTo>
                    <a:lnTo>
                      <a:pt x="2788" y="1588"/>
                    </a:lnTo>
                    <a:lnTo>
                      <a:pt x="2791" y="1593"/>
                    </a:lnTo>
                    <a:lnTo>
                      <a:pt x="2793" y="1595"/>
                    </a:lnTo>
                    <a:lnTo>
                      <a:pt x="2795" y="1596"/>
                    </a:lnTo>
                    <a:lnTo>
                      <a:pt x="2799" y="1598"/>
                    </a:lnTo>
                    <a:lnTo>
                      <a:pt x="2802" y="1599"/>
                    </a:lnTo>
                    <a:lnTo>
                      <a:pt x="2849" y="1599"/>
                    </a:lnTo>
                    <a:lnTo>
                      <a:pt x="2848" y="1601"/>
                    </a:lnTo>
                    <a:lnTo>
                      <a:pt x="2846" y="1603"/>
                    </a:lnTo>
                    <a:lnTo>
                      <a:pt x="2843" y="1606"/>
                    </a:lnTo>
                    <a:lnTo>
                      <a:pt x="2841" y="1608"/>
                    </a:lnTo>
                    <a:lnTo>
                      <a:pt x="2834" y="1612"/>
                    </a:lnTo>
                    <a:lnTo>
                      <a:pt x="2827" y="1614"/>
                    </a:lnTo>
                    <a:lnTo>
                      <a:pt x="2820" y="1618"/>
                    </a:lnTo>
                    <a:lnTo>
                      <a:pt x="2813" y="1621"/>
                    </a:lnTo>
                    <a:lnTo>
                      <a:pt x="2810" y="1623"/>
                    </a:lnTo>
                    <a:lnTo>
                      <a:pt x="2807" y="1626"/>
                    </a:lnTo>
                    <a:lnTo>
                      <a:pt x="2805" y="1629"/>
                    </a:lnTo>
                    <a:lnTo>
                      <a:pt x="2803" y="1633"/>
                    </a:lnTo>
                    <a:lnTo>
                      <a:pt x="2800" y="1641"/>
                    </a:lnTo>
                    <a:lnTo>
                      <a:pt x="2794" y="1651"/>
                    </a:lnTo>
                    <a:lnTo>
                      <a:pt x="2786" y="1660"/>
                    </a:lnTo>
                    <a:lnTo>
                      <a:pt x="2779" y="1666"/>
                    </a:lnTo>
                    <a:lnTo>
                      <a:pt x="2776" y="1668"/>
                    </a:lnTo>
                    <a:lnTo>
                      <a:pt x="2774" y="1672"/>
                    </a:lnTo>
                    <a:lnTo>
                      <a:pt x="2773" y="1675"/>
                    </a:lnTo>
                    <a:lnTo>
                      <a:pt x="2773" y="1679"/>
                    </a:lnTo>
                    <a:lnTo>
                      <a:pt x="2772" y="1687"/>
                    </a:lnTo>
                    <a:lnTo>
                      <a:pt x="2772" y="1695"/>
                    </a:lnTo>
                    <a:lnTo>
                      <a:pt x="2767" y="1706"/>
                    </a:lnTo>
                    <a:lnTo>
                      <a:pt x="2760" y="1720"/>
                    </a:lnTo>
                    <a:lnTo>
                      <a:pt x="2758" y="1726"/>
                    </a:lnTo>
                    <a:lnTo>
                      <a:pt x="2755" y="1732"/>
                    </a:lnTo>
                    <a:lnTo>
                      <a:pt x="2754" y="1737"/>
                    </a:lnTo>
                    <a:lnTo>
                      <a:pt x="2754" y="1740"/>
                    </a:lnTo>
                    <a:lnTo>
                      <a:pt x="2755" y="1747"/>
                    </a:lnTo>
                    <a:lnTo>
                      <a:pt x="2756" y="1755"/>
                    </a:lnTo>
                    <a:lnTo>
                      <a:pt x="2756" y="1764"/>
                    </a:lnTo>
                    <a:lnTo>
                      <a:pt x="2756" y="1772"/>
                    </a:lnTo>
                    <a:lnTo>
                      <a:pt x="2758" y="1780"/>
                    </a:lnTo>
                    <a:lnTo>
                      <a:pt x="2758" y="1788"/>
                    </a:lnTo>
                    <a:lnTo>
                      <a:pt x="2760" y="1796"/>
                    </a:lnTo>
                    <a:lnTo>
                      <a:pt x="2763" y="1800"/>
                    </a:lnTo>
                    <a:lnTo>
                      <a:pt x="2781" y="1806"/>
                    </a:lnTo>
                    <a:lnTo>
                      <a:pt x="2798" y="1810"/>
                    </a:lnTo>
                    <a:lnTo>
                      <a:pt x="2801" y="1813"/>
                    </a:lnTo>
                    <a:lnTo>
                      <a:pt x="2801" y="1818"/>
                    </a:lnTo>
                    <a:lnTo>
                      <a:pt x="2802" y="1825"/>
                    </a:lnTo>
                    <a:lnTo>
                      <a:pt x="2801" y="1832"/>
                    </a:lnTo>
                    <a:lnTo>
                      <a:pt x="2801" y="1840"/>
                    </a:lnTo>
                    <a:lnTo>
                      <a:pt x="2801" y="1847"/>
                    </a:lnTo>
                    <a:lnTo>
                      <a:pt x="2801" y="1854"/>
                    </a:lnTo>
                    <a:lnTo>
                      <a:pt x="2802" y="1859"/>
                    </a:lnTo>
                    <a:lnTo>
                      <a:pt x="2805" y="1865"/>
                    </a:lnTo>
                    <a:lnTo>
                      <a:pt x="2805" y="1865"/>
                    </a:lnTo>
                    <a:lnTo>
                      <a:pt x="2801" y="1862"/>
                    </a:lnTo>
                    <a:lnTo>
                      <a:pt x="2798" y="1857"/>
                    </a:lnTo>
                    <a:lnTo>
                      <a:pt x="2789" y="1844"/>
                    </a:lnTo>
                    <a:lnTo>
                      <a:pt x="2785" y="1837"/>
                    </a:lnTo>
                    <a:lnTo>
                      <a:pt x="2776" y="1830"/>
                    </a:lnTo>
                    <a:lnTo>
                      <a:pt x="2763" y="1821"/>
                    </a:lnTo>
                    <a:lnTo>
                      <a:pt x="2752" y="1813"/>
                    </a:lnTo>
                    <a:lnTo>
                      <a:pt x="2741" y="1809"/>
                    </a:lnTo>
                    <a:lnTo>
                      <a:pt x="2731" y="1805"/>
                    </a:lnTo>
                    <a:lnTo>
                      <a:pt x="2722" y="1804"/>
                    </a:lnTo>
                    <a:lnTo>
                      <a:pt x="2714" y="1804"/>
                    </a:lnTo>
                    <a:lnTo>
                      <a:pt x="2707" y="1805"/>
                    </a:lnTo>
                    <a:lnTo>
                      <a:pt x="2694" y="1811"/>
                    </a:lnTo>
                    <a:lnTo>
                      <a:pt x="2679" y="1820"/>
                    </a:lnTo>
                    <a:lnTo>
                      <a:pt x="2679" y="1809"/>
                    </a:lnTo>
                    <a:lnTo>
                      <a:pt x="2681" y="1798"/>
                    </a:lnTo>
                    <a:lnTo>
                      <a:pt x="2682" y="1787"/>
                    </a:lnTo>
                    <a:lnTo>
                      <a:pt x="2684" y="1776"/>
                    </a:lnTo>
                    <a:lnTo>
                      <a:pt x="2699" y="1779"/>
                    </a:lnTo>
                    <a:lnTo>
                      <a:pt x="2721" y="1784"/>
                    </a:lnTo>
                    <a:lnTo>
                      <a:pt x="2727" y="1785"/>
                    </a:lnTo>
                    <a:lnTo>
                      <a:pt x="2732" y="1785"/>
                    </a:lnTo>
                    <a:lnTo>
                      <a:pt x="2736" y="1785"/>
                    </a:lnTo>
                    <a:lnTo>
                      <a:pt x="2739" y="1784"/>
                    </a:lnTo>
                    <a:lnTo>
                      <a:pt x="2741" y="1781"/>
                    </a:lnTo>
                    <a:lnTo>
                      <a:pt x="2742" y="1779"/>
                    </a:lnTo>
                    <a:lnTo>
                      <a:pt x="2742" y="1774"/>
                    </a:lnTo>
                    <a:lnTo>
                      <a:pt x="2741" y="1770"/>
                    </a:lnTo>
                    <a:lnTo>
                      <a:pt x="2736" y="1761"/>
                    </a:lnTo>
                    <a:lnTo>
                      <a:pt x="2733" y="1754"/>
                    </a:lnTo>
                    <a:lnTo>
                      <a:pt x="2728" y="1748"/>
                    </a:lnTo>
                    <a:lnTo>
                      <a:pt x="2724" y="1745"/>
                    </a:lnTo>
                    <a:lnTo>
                      <a:pt x="2721" y="1743"/>
                    </a:lnTo>
                    <a:lnTo>
                      <a:pt x="2719" y="1743"/>
                    </a:lnTo>
                    <a:lnTo>
                      <a:pt x="2716" y="1743"/>
                    </a:lnTo>
                    <a:lnTo>
                      <a:pt x="2713" y="1743"/>
                    </a:lnTo>
                    <a:lnTo>
                      <a:pt x="2707" y="1745"/>
                    </a:lnTo>
                    <a:lnTo>
                      <a:pt x="2700" y="1752"/>
                    </a:lnTo>
                    <a:lnTo>
                      <a:pt x="2692" y="1759"/>
                    </a:lnTo>
                    <a:lnTo>
                      <a:pt x="2687" y="1761"/>
                    </a:lnTo>
                    <a:lnTo>
                      <a:pt x="2686" y="1761"/>
                    </a:lnTo>
                    <a:lnTo>
                      <a:pt x="2685" y="1760"/>
                    </a:lnTo>
                    <a:lnTo>
                      <a:pt x="2685" y="1759"/>
                    </a:lnTo>
                    <a:lnTo>
                      <a:pt x="2684" y="1757"/>
                    </a:lnTo>
                    <a:lnTo>
                      <a:pt x="2684" y="1751"/>
                    </a:lnTo>
                    <a:lnTo>
                      <a:pt x="2684" y="1745"/>
                    </a:lnTo>
                    <a:lnTo>
                      <a:pt x="2681" y="1738"/>
                    </a:lnTo>
                    <a:lnTo>
                      <a:pt x="2678" y="1732"/>
                    </a:lnTo>
                    <a:lnTo>
                      <a:pt x="2673" y="1725"/>
                    </a:lnTo>
                    <a:lnTo>
                      <a:pt x="2671" y="1720"/>
                    </a:lnTo>
                    <a:lnTo>
                      <a:pt x="2672" y="1718"/>
                    </a:lnTo>
                    <a:lnTo>
                      <a:pt x="2673" y="1717"/>
                    </a:lnTo>
                    <a:lnTo>
                      <a:pt x="2677" y="1715"/>
                    </a:lnTo>
                    <a:lnTo>
                      <a:pt x="2681" y="1713"/>
                    </a:lnTo>
                    <a:lnTo>
                      <a:pt x="2684" y="1712"/>
                    </a:lnTo>
                    <a:lnTo>
                      <a:pt x="2687" y="1710"/>
                    </a:lnTo>
                    <a:lnTo>
                      <a:pt x="2689" y="1707"/>
                    </a:lnTo>
                    <a:lnTo>
                      <a:pt x="2693" y="1702"/>
                    </a:lnTo>
                    <a:lnTo>
                      <a:pt x="2698" y="1693"/>
                    </a:lnTo>
                    <a:lnTo>
                      <a:pt x="2702" y="1682"/>
                    </a:lnTo>
                    <a:lnTo>
                      <a:pt x="2709" y="1660"/>
                    </a:lnTo>
                    <a:lnTo>
                      <a:pt x="2716" y="1642"/>
                    </a:lnTo>
                    <a:lnTo>
                      <a:pt x="2729" y="1628"/>
                    </a:lnTo>
                    <a:lnTo>
                      <a:pt x="2739" y="1615"/>
                    </a:lnTo>
                    <a:lnTo>
                      <a:pt x="2739" y="1611"/>
                    </a:lnTo>
                    <a:lnTo>
                      <a:pt x="2738" y="1605"/>
                    </a:lnTo>
                    <a:lnTo>
                      <a:pt x="2738" y="1602"/>
                    </a:lnTo>
                    <a:lnTo>
                      <a:pt x="2738" y="1600"/>
                    </a:lnTo>
                    <a:lnTo>
                      <a:pt x="2739" y="1599"/>
                    </a:lnTo>
                    <a:lnTo>
                      <a:pt x="2741" y="1600"/>
                    </a:lnTo>
                    <a:lnTo>
                      <a:pt x="2751" y="1605"/>
                    </a:lnTo>
                    <a:lnTo>
                      <a:pt x="2763" y="1612"/>
                    </a:lnTo>
                    <a:lnTo>
                      <a:pt x="2771" y="1614"/>
                    </a:lnTo>
                    <a:lnTo>
                      <a:pt x="2776" y="1616"/>
                    </a:lnTo>
                    <a:lnTo>
                      <a:pt x="2782" y="1616"/>
                    </a:lnTo>
                    <a:lnTo>
                      <a:pt x="2786" y="1615"/>
                    </a:lnTo>
                    <a:lnTo>
                      <a:pt x="2783" y="1611"/>
                    </a:lnTo>
                    <a:lnTo>
                      <a:pt x="2774" y="1601"/>
                    </a:lnTo>
                    <a:lnTo>
                      <a:pt x="2762" y="1593"/>
                    </a:lnTo>
                    <a:lnTo>
                      <a:pt x="2755" y="1586"/>
                    </a:lnTo>
                    <a:lnTo>
                      <a:pt x="2746" y="1574"/>
                    </a:lnTo>
                    <a:lnTo>
                      <a:pt x="2739" y="1566"/>
                    </a:lnTo>
                    <a:lnTo>
                      <a:pt x="2735" y="1562"/>
                    </a:lnTo>
                    <a:lnTo>
                      <a:pt x="2729" y="1560"/>
                    </a:lnTo>
                    <a:lnTo>
                      <a:pt x="2722" y="1559"/>
                    </a:lnTo>
                    <a:lnTo>
                      <a:pt x="2712" y="1559"/>
                    </a:lnTo>
                    <a:lnTo>
                      <a:pt x="2704" y="1557"/>
                    </a:lnTo>
                    <a:lnTo>
                      <a:pt x="2694" y="1554"/>
                    </a:lnTo>
                    <a:lnTo>
                      <a:pt x="2686" y="1550"/>
                    </a:lnTo>
                    <a:lnTo>
                      <a:pt x="2678" y="1545"/>
                    </a:lnTo>
                    <a:lnTo>
                      <a:pt x="2669" y="1540"/>
                    </a:lnTo>
                    <a:lnTo>
                      <a:pt x="2660" y="1536"/>
                    </a:lnTo>
                    <a:lnTo>
                      <a:pt x="2651" y="1534"/>
                    </a:lnTo>
                    <a:lnTo>
                      <a:pt x="2641" y="1534"/>
                    </a:lnTo>
                    <a:lnTo>
                      <a:pt x="2632" y="1527"/>
                    </a:lnTo>
                    <a:lnTo>
                      <a:pt x="2617" y="1520"/>
                    </a:lnTo>
                    <a:lnTo>
                      <a:pt x="2604" y="1513"/>
                    </a:lnTo>
                    <a:lnTo>
                      <a:pt x="2597" y="1509"/>
                    </a:lnTo>
                    <a:lnTo>
                      <a:pt x="2592" y="1509"/>
                    </a:lnTo>
                    <a:lnTo>
                      <a:pt x="2592" y="1522"/>
                    </a:lnTo>
                    <a:lnTo>
                      <a:pt x="2590" y="1537"/>
                    </a:lnTo>
                    <a:lnTo>
                      <a:pt x="2588" y="1552"/>
                    </a:lnTo>
                    <a:lnTo>
                      <a:pt x="2588" y="1566"/>
                    </a:lnTo>
                    <a:lnTo>
                      <a:pt x="2588" y="1567"/>
                    </a:lnTo>
                    <a:lnTo>
                      <a:pt x="2600" y="1563"/>
                    </a:lnTo>
                    <a:lnTo>
                      <a:pt x="2618" y="1557"/>
                    </a:lnTo>
                    <a:lnTo>
                      <a:pt x="2627" y="1555"/>
                    </a:lnTo>
                    <a:lnTo>
                      <a:pt x="2634" y="1553"/>
                    </a:lnTo>
                    <a:lnTo>
                      <a:pt x="2638" y="1553"/>
                    </a:lnTo>
                    <a:lnTo>
                      <a:pt x="2640" y="1553"/>
                    </a:lnTo>
                    <a:lnTo>
                      <a:pt x="2641" y="1553"/>
                    </a:lnTo>
                    <a:lnTo>
                      <a:pt x="2641" y="1554"/>
                    </a:lnTo>
                    <a:lnTo>
                      <a:pt x="2641" y="1557"/>
                    </a:lnTo>
                    <a:lnTo>
                      <a:pt x="2640" y="1561"/>
                    </a:lnTo>
                    <a:lnTo>
                      <a:pt x="2639" y="1565"/>
                    </a:lnTo>
                    <a:lnTo>
                      <a:pt x="2637" y="1567"/>
                    </a:lnTo>
                    <a:lnTo>
                      <a:pt x="2632" y="1572"/>
                    </a:lnTo>
                    <a:lnTo>
                      <a:pt x="2626" y="1576"/>
                    </a:lnTo>
                    <a:lnTo>
                      <a:pt x="2620" y="1580"/>
                    </a:lnTo>
                    <a:lnTo>
                      <a:pt x="2614" y="1585"/>
                    </a:lnTo>
                    <a:lnTo>
                      <a:pt x="2611" y="1588"/>
                    </a:lnTo>
                    <a:lnTo>
                      <a:pt x="2607" y="1592"/>
                    </a:lnTo>
                    <a:lnTo>
                      <a:pt x="2606" y="1592"/>
                    </a:lnTo>
                    <a:lnTo>
                      <a:pt x="2605" y="1598"/>
                    </a:lnTo>
                    <a:lnTo>
                      <a:pt x="2605" y="1602"/>
                    </a:lnTo>
                    <a:lnTo>
                      <a:pt x="2605" y="1607"/>
                    </a:lnTo>
                    <a:lnTo>
                      <a:pt x="2606" y="1611"/>
                    </a:lnTo>
                    <a:lnTo>
                      <a:pt x="2607" y="1619"/>
                    </a:lnTo>
                    <a:lnTo>
                      <a:pt x="2608" y="1629"/>
                    </a:lnTo>
                    <a:lnTo>
                      <a:pt x="2607" y="1629"/>
                    </a:lnTo>
                    <a:lnTo>
                      <a:pt x="2605" y="1625"/>
                    </a:lnTo>
                    <a:lnTo>
                      <a:pt x="2600" y="1620"/>
                    </a:lnTo>
                    <a:lnTo>
                      <a:pt x="2594" y="1616"/>
                    </a:lnTo>
                    <a:lnTo>
                      <a:pt x="2587" y="1614"/>
                    </a:lnTo>
                    <a:lnTo>
                      <a:pt x="2580" y="1612"/>
                    </a:lnTo>
                    <a:lnTo>
                      <a:pt x="2573" y="1612"/>
                    </a:lnTo>
                    <a:lnTo>
                      <a:pt x="2567" y="1612"/>
                    </a:lnTo>
                    <a:lnTo>
                      <a:pt x="2563" y="1615"/>
                    </a:lnTo>
                    <a:lnTo>
                      <a:pt x="2555" y="1625"/>
                    </a:lnTo>
                    <a:lnTo>
                      <a:pt x="2545" y="1641"/>
                    </a:lnTo>
                    <a:lnTo>
                      <a:pt x="2540" y="1649"/>
                    </a:lnTo>
                    <a:lnTo>
                      <a:pt x="2534" y="1655"/>
                    </a:lnTo>
                    <a:lnTo>
                      <a:pt x="2532" y="1658"/>
                    </a:lnTo>
                    <a:lnTo>
                      <a:pt x="2530" y="1660"/>
                    </a:lnTo>
                    <a:lnTo>
                      <a:pt x="2527" y="1661"/>
                    </a:lnTo>
                    <a:lnTo>
                      <a:pt x="2525" y="1661"/>
                    </a:lnTo>
                    <a:lnTo>
                      <a:pt x="2519" y="1658"/>
                    </a:lnTo>
                    <a:lnTo>
                      <a:pt x="2514" y="1653"/>
                    </a:lnTo>
                    <a:lnTo>
                      <a:pt x="2510" y="1648"/>
                    </a:lnTo>
                    <a:lnTo>
                      <a:pt x="2505" y="1641"/>
                    </a:lnTo>
                    <a:lnTo>
                      <a:pt x="2498" y="1626"/>
                    </a:lnTo>
                    <a:lnTo>
                      <a:pt x="2490" y="1609"/>
                    </a:lnTo>
                    <a:lnTo>
                      <a:pt x="2483" y="1593"/>
                    </a:lnTo>
                    <a:lnTo>
                      <a:pt x="2476" y="1579"/>
                    </a:lnTo>
                    <a:lnTo>
                      <a:pt x="2471" y="1574"/>
                    </a:lnTo>
                    <a:lnTo>
                      <a:pt x="2467" y="1569"/>
                    </a:lnTo>
                    <a:lnTo>
                      <a:pt x="2463" y="1567"/>
                    </a:lnTo>
                    <a:lnTo>
                      <a:pt x="2457" y="1566"/>
                    </a:lnTo>
                    <a:lnTo>
                      <a:pt x="2459" y="1587"/>
                    </a:lnTo>
                    <a:lnTo>
                      <a:pt x="2463" y="1611"/>
                    </a:lnTo>
                    <a:lnTo>
                      <a:pt x="2464" y="1622"/>
                    </a:lnTo>
                    <a:lnTo>
                      <a:pt x="2464" y="1634"/>
                    </a:lnTo>
                    <a:lnTo>
                      <a:pt x="2463" y="1639"/>
                    </a:lnTo>
                    <a:lnTo>
                      <a:pt x="2461" y="1644"/>
                    </a:lnTo>
                    <a:lnTo>
                      <a:pt x="2460" y="1647"/>
                    </a:lnTo>
                    <a:lnTo>
                      <a:pt x="2458" y="1651"/>
                    </a:lnTo>
                    <a:lnTo>
                      <a:pt x="2450" y="1659"/>
                    </a:lnTo>
                    <a:lnTo>
                      <a:pt x="2439" y="1666"/>
                    </a:lnTo>
                    <a:lnTo>
                      <a:pt x="2429" y="1672"/>
                    </a:lnTo>
                    <a:lnTo>
                      <a:pt x="2416" y="1677"/>
                    </a:lnTo>
                    <a:lnTo>
                      <a:pt x="2405" y="1682"/>
                    </a:lnTo>
                    <a:lnTo>
                      <a:pt x="2394" y="1689"/>
                    </a:lnTo>
                    <a:lnTo>
                      <a:pt x="2391" y="1692"/>
                    </a:lnTo>
                    <a:lnTo>
                      <a:pt x="2387" y="1697"/>
                    </a:lnTo>
                    <a:lnTo>
                      <a:pt x="2385" y="1700"/>
                    </a:lnTo>
                    <a:lnTo>
                      <a:pt x="2383" y="1704"/>
                    </a:lnTo>
                    <a:lnTo>
                      <a:pt x="2382" y="1704"/>
                    </a:lnTo>
                    <a:lnTo>
                      <a:pt x="2377" y="1697"/>
                    </a:lnTo>
                    <a:lnTo>
                      <a:pt x="2370" y="1689"/>
                    </a:lnTo>
                    <a:lnTo>
                      <a:pt x="2367" y="1686"/>
                    </a:lnTo>
                    <a:lnTo>
                      <a:pt x="2364" y="1682"/>
                    </a:lnTo>
                    <a:lnTo>
                      <a:pt x="2363" y="1678"/>
                    </a:lnTo>
                    <a:lnTo>
                      <a:pt x="2362" y="1673"/>
                    </a:lnTo>
                    <a:lnTo>
                      <a:pt x="2363" y="1665"/>
                    </a:lnTo>
                    <a:lnTo>
                      <a:pt x="2364" y="1656"/>
                    </a:lnTo>
                    <a:lnTo>
                      <a:pt x="2364" y="1648"/>
                    </a:lnTo>
                    <a:lnTo>
                      <a:pt x="2363" y="1639"/>
                    </a:lnTo>
                    <a:lnTo>
                      <a:pt x="2358" y="1622"/>
                    </a:lnTo>
                    <a:lnTo>
                      <a:pt x="2353" y="1598"/>
                    </a:lnTo>
                    <a:lnTo>
                      <a:pt x="2350" y="1574"/>
                    </a:lnTo>
                    <a:lnTo>
                      <a:pt x="2346" y="1562"/>
                    </a:lnTo>
                    <a:lnTo>
                      <a:pt x="2336" y="1554"/>
                    </a:lnTo>
                    <a:lnTo>
                      <a:pt x="2323" y="1547"/>
                    </a:lnTo>
                    <a:lnTo>
                      <a:pt x="2310" y="1540"/>
                    </a:lnTo>
                    <a:lnTo>
                      <a:pt x="2299" y="1532"/>
                    </a:lnTo>
                    <a:lnTo>
                      <a:pt x="2292" y="1527"/>
                    </a:lnTo>
                    <a:lnTo>
                      <a:pt x="2284" y="1522"/>
                    </a:lnTo>
                    <a:lnTo>
                      <a:pt x="2275" y="1519"/>
                    </a:lnTo>
                    <a:lnTo>
                      <a:pt x="2266" y="1515"/>
                    </a:lnTo>
                    <a:lnTo>
                      <a:pt x="2258" y="1512"/>
                    </a:lnTo>
                    <a:lnTo>
                      <a:pt x="2253" y="1509"/>
                    </a:lnTo>
                    <a:lnTo>
                      <a:pt x="2251" y="1507"/>
                    </a:lnTo>
                    <a:lnTo>
                      <a:pt x="2250" y="1504"/>
                    </a:lnTo>
                    <a:lnTo>
                      <a:pt x="2250" y="1502"/>
                    </a:lnTo>
                    <a:lnTo>
                      <a:pt x="2251" y="1500"/>
                    </a:lnTo>
                    <a:lnTo>
                      <a:pt x="2260" y="1482"/>
                    </a:lnTo>
                    <a:lnTo>
                      <a:pt x="2268" y="1466"/>
                    </a:lnTo>
                    <a:lnTo>
                      <a:pt x="2271" y="1460"/>
                    </a:lnTo>
                    <a:lnTo>
                      <a:pt x="2275" y="1455"/>
                    </a:lnTo>
                    <a:lnTo>
                      <a:pt x="2279" y="1450"/>
                    </a:lnTo>
                    <a:lnTo>
                      <a:pt x="2284" y="1446"/>
                    </a:lnTo>
                    <a:lnTo>
                      <a:pt x="2295" y="1437"/>
                    </a:lnTo>
                    <a:lnTo>
                      <a:pt x="2305" y="1429"/>
                    </a:lnTo>
                    <a:lnTo>
                      <a:pt x="2316" y="1421"/>
                    </a:lnTo>
                    <a:lnTo>
                      <a:pt x="2324" y="1412"/>
                    </a:lnTo>
                    <a:lnTo>
                      <a:pt x="2326" y="1407"/>
                    </a:lnTo>
                    <a:lnTo>
                      <a:pt x="2329" y="1402"/>
                    </a:lnTo>
                    <a:lnTo>
                      <a:pt x="2331" y="1396"/>
                    </a:lnTo>
                    <a:lnTo>
                      <a:pt x="2331" y="1389"/>
                    </a:lnTo>
                    <a:lnTo>
                      <a:pt x="2333" y="1389"/>
                    </a:lnTo>
                    <a:lnTo>
                      <a:pt x="2335" y="1390"/>
                    </a:lnTo>
                    <a:lnTo>
                      <a:pt x="2343" y="1394"/>
                    </a:lnTo>
                    <a:lnTo>
                      <a:pt x="2356" y="1403"/>
                    </a:lnTo>
                    <a:lnTo>
                      <a:pt x="2372" y="1414"/>
                    </a:lnTo>
                    <a:lnTo>
                      <a:pt x="2384" y="1420"/>
                    </a:lnTo>
                    <a:lnTo>
                      <a:pt x="2399" y="1424"/>
                    </a:lnTo>
                    <a:lnTo>
                      <a:pt x="2417" y="1431"/>
                    </a:lnTo>
                    <a:lnTo>
                      <a:pt x="2434" y="1438"/>
                    </a:lnTo>
                    <a:lnTo>
                      <a:pt x="2449" y="1447"/>
                    </a:lnTo>
                    <a:lnTo>
                      <a:pt x="2472" y="1461"/>
                    </a:lnTo>
                    <a:lnTo>
                      <a:pt x="2506" y="1480"/>
                    </a:lnTo>
                    <a:lnTo>
                      <a:pt x="2523" y="1490"/>
                    </a:lnTo>
                    <a:lnTo>
                      <a:pt x="2538" y="1500"/>
                    </a:lnTo>
                    <a:lnTo>
                      <a:pt x="2544" y="1506"/>
                    </a:lnTo>
                    <a:lnTo>
                      <a:pt x="2548" y="1510"/>
                    </a:lnTo>
                    <a:lnTo>
                      <a:pt x="2552" y="1514"/>
                    </a:lnTo>
                    <a:lnTo>
                      <a:pt x="2554" y="1519"/>
                    </a:lnTo>
                    <a:lnTo>
                      <a:pt x="2557" y="1517"/>
                    </a:lnTo>
                    <a:lnTo>
                      <a:pt x="2558" y="1516"/>
                    </a:lnTo>
                    <a:lnTo>
                      <a:pt x="2558" y="1501"/>
                    </a:lnTo>
                    <a:lnTo>
                      <a:pt x="2557" y="1489"/>
                    </a:lnTo>
                    <a:lnTo>
                      <a:pt x="2553" y="1479"/>
                    </a:lnTo>
                    <a:lnTo>
                      <a:pt x="2550" y="1470"/>
                    </a:lnTo>
                    <a:lnTo>
                      <a:pt x="2544" y="1463"/>
                    </a:lnTo>
                    <a:lnTo>
                      <a:pt x="2535" y="1456"/>
                    </a:lnTo>
                    <a:lnTo>
                      <a:pt x="2526" y="1448"/>
                    </a:lnTo>
                    <a:lnTo>
                      <a:pt x="2514" y="1438"/>
                    </a:lnTo>
                    <a:lnTo>
                      <a:pt x="2492" y="1418"/>
                    </a:lnTo>
                    <a:lnTo>
                      <a:pt x="2472" y="1398"/>
                    </a:lnTo>
                    <a:lnTo>
                      <a:pt x="2461" y="1388"/>
                    </a:lnTo>
                    <a:lnTo>
                      <a:pt x="2451" y="1378"/>
                    </a:lnTo>
                    <a:lnTo>
                      <a:pt x="2439" y="1371"/>
                    </a:lnTo>
                    <a:lnTo>
                      <a:pt x="2425" y="1364"/>
                    </a:lnTo>
                    <a:lnTo>
                      <a:pt x="2417" y="1362"/>
                    </a:lnTo>
                    <a:lnTo>
                      <a:pt x="2407" y="1361"/>
                    </a:lnTo>
                    <a:lnTo>
                      <a:pt x="2399" y="1359"/>
                    </a:lnTo>
                    <a:lnTo>
                      <a:pt x="2392" y="1359"/>
                    </a:lnTo>
                    <a:lnTo>
                      <a:pt x="2384" y="1359"/>
                    </a:lnTo>
                    <a:lnTo>
                      <a:pt x="2376" y="1358"/>
                    </a:lnTo>
                    <a:lnTo>
                      <a:pt x="2366" y="1356"/>
                    </a:lnTo>
                    <a:lnTo>
                      <a:pt x="2358" y="1351"/>
                    </a:lnTo>
                    <a:lnTo>
                      <a:pt x="2336" y="1339"/>
                    </a:lnTo>
                    <a:lnTo>
                      <a:pt x="2318" y="1330"/>
                    </a:lnTo>
                    <a:lnTo>
                      <a:pt x="2309" y="1328"/>
                    </a:lnTo>
                    <a:lnTo>
                      <a:pt x="2298" y="1325"/>
                    </a:lnTo>
                    <a:lnTo>
                      <a:pt x="2285" y="1324"/>
                    </a:lnTo>
                    <a:lnTo>
                      <a:pt x="2271" y="1323"/>
                    </a:lnTo>
                    <a:lnTo>
                      <a:pt x="2263" y="1323"/>
                    </a:lnTo>
                    <a:lnTo>
                      <a:pt x="2258" y="1324"/>
                    </a:lnTo>
                    <a:lnTo>
                      <a:pt x="2255" y="1325"/>
                    </a:lnTo>
                    <a:lnTo>
                      <a:pt x="2252" y="1326"/>
                    </a:lnTo>
                    <a:lnTo>
                      <a:pt x="2249" y="1330"/>
                    </a:lnTo>
                    <a:lnTo>
                      <a:pt x="2240" y="1334"/>
                    </a:lnTo>
                    <a:lnTo>
                      <a:pt x="2240" y="1344"/>
                    </a:lnTo>
                    <a:lnTo>
                      <a:pt x="2239" y="1352"/>
                    </a:lnTo>
                    <a:lnTo>
                      <a:pt x="2237" y="1361"/>
                    </a:lnTo>
                    <a:lnTo>
                      <a:pt x="2233" y="1368"/>
                    </a:lnTo>
                    <a:lnTo>
                      <a:pt x="2229" y="1374"/>
                    </a:lnTo>
                    <a:lnTo>
                      <a:pt x="2222" y="1378"/>
                    </a:lnTo>
                    <a:lnTo>
                      <a:pt x="2215" y="1383"/>
                    </a:lnTo>
                    <a:lnTo>
                      <a:pt x="2205" y="1388"/>
                    </a:lnTo>
                    <a:lnTo>
                      <a:pt x="2202" y="1388"/>
                    </a:lnTo>
                    <a:lnTo>
                      <a:pt x="2198" y="1389"/>
                    </a:lnTo>
                    <a:lnTo>
                      <a:pt x="2195" y="1388"/>
                    </a:lnTo>
                    <a:lnTo>
                      <a:pt x="2191" y="1388"/>
                    </a:lnTo>
                    <a:lnTo>
                      <a:pt x="2184" y="1384"/>
                    </a:lnTo>
                    <a:lnTo>
                      <a:pt x="2178" y="1379"/>
                    </a:lnTo>
                    <a:lnTo>
                      <a:pt x="2172" y="1375"/>
                    </a:lnTo>
                    <a:lnTo>
                      <a:pt x="2168" y="1370"/>
                    </a:lnTo>
                    <a:lnTo>
                      <a:pt x="2161" y="1367"/>
                    </a:lnTo>
                    <a:lnTo>
                      <a:pt x="2155" y="1365"/>
                    </a:lnTo>
                    <a:lnTo>
                      <a:pt x="2149" y="1365"/>
                    </a:lnTo>
                    <a:lnTo>
                      <a:pt x="2143" y="1367"/>
                    </a:lnTo>
                    <a:lnTo>
                      <a:pt x="2137" y="1368"/>
                    </a:lnTo>
                    <a:lnTo>
                      <a:pt x="2132" y="1370"/>
                    </a:lnTo>
                    <a:lnTo>
                      <a:pt x="2124" y="1375"/>
                    </a:lnTo>
                    <a:lnTo>
                      <a:pt x="2116" y="1377"/>
                    </a:lnTo>
                    <a:lnTo>
                      <a:pt x="2118" y="1367"/>
                    </a:lnTo>
                    <a:lnTo>
                      <a:pt x="2126" y="1346"/>
                    </a:lnTo>
                    <a:lnTo>
                      <a:pt x="2135" y="1328"/>
                    </a:lnTo>
                    <a:lnTo>
                      <a:pt x="2139" y="1316"/>
                    </a:lnTo>
                    <a:lnTo>
                      <a:pt x="2142" y="1312"/>
                    </a:lnTo>
                    <a:lnTo>
                      <a:pt x="2142" y="1309"/>
                    </a:lnTo>
                    <a:lnTo>
                      <a:pt x="2142" y="1305"/>
                    </a:lnTo>
                    <a:lnTo>
                      <a:pt x="2142" y="1301"/>
                    </a:lnTo>
                    <a:lnTo>
                      <a:pt x="2139" y="1292"/>
                    </a:lnTo>
                    <a:lnTo>
                      <a:pt x="2137" y="1284"/>
                    </a:lnTo>
                    <a:lnTo>
                      <a:pt x="2134" y="1276"/>
                    </a:lnTo>
                    <a:lnTo>
                      <a:pt x="2132" y="1269"/>
                    </a:lnTo>
                    <a:lnTo>
                      <a:pt x="2132" y="1265"/>
                    </a:lnTo>
                    <a:lnTo>
                      <a:pt x="2134" y="1262"/>
                    </a:lnTo>
                    <a:lnTo>
                      <a:pt x="2135" y="1259"/>
                    </a:lnTo>
                    <a:lnTo>
                      <a:pt x="2137" y="1258"/>
                    </a:lnTo>
                    <a:lnTo>
                      <a:pt x="2143" y="1256"/>
                    </a:lnTo>
                    <a:lnTo>
                      <a:pt x="2149" y="1255"/>
                    </a:lnTo>
                    <a:lnTo>
                      <a:pt x="2156" y="1256"/>
                    </a:lnTo>
                    <a:lnTo>
                      <a:pt x="2162" y="1257"/>
                    </a:lnTo>
                    <a:lnTo>
                      <a:pt x="2176" y="1264"/>
                    </a:lnTo>
                    <a:lnTo>
                      <a:pt x="2190" y="1273"/>
                    </a:lnTo>
                    <a:lnTo>
                      <a:pt x="2205" y="1284"/>
                    </a:lnTo>
                    <a:lnTo>
                      <a:pt x="2219" y="1293"/>
                    </a:lnTo>
                    <a:lnTo>
                      <a:pt x="2226" y="1298"/>
                    </a:lnTo>
                    <a:lnTo>
                      <a:pt x="2233" y="1301"/>
                    </a:lnTo>
                    <a:lnTo>
                      <a:pt x="2240" y="1303"/>
                    </a:lnTo>
                    <a:lnTo>
                      <a:pt x="2246" y="1303"/>
                    </a:lnTo>
                    <a:lnTo>
                      <a:pt x="2248" y="1303"/>
                    </a:lnTo>
                    <a:lnTo>
                      <a:pt x="2248" y="1302"/>
                    </a:lnTo>
                    <a:lnTo>
                      <a:pt x="2249" y="1301"/>
                    </a:lnTo>
                    <a:lnTo>
                      <a:pt x="2248" y="1290"/>
                    </a:lnTo>
                    <a:lnTo>
                      <a:pt x="2246" y="1279"/>
                    </a:lnTo>
                    <a:lnTo>
                      <a:pt x="2244" y="1276"/>
                    </a:lnTo>
                    <a:lnTo>
                      <a:pt x="2244" y="1271"/>
                    </a:lnTo>
                    <a:lnTo>
                      <a:pt x="2243" y="1257"/>
                    </a:lnTo>
                    <a:lnTo>
                      <a:pt x="2240" y="1244"/>
                    </a:lnTo>
                    <a:lnTo>
                      <a:pt x="2238" y="1233"/>
                    </a:lnTo>
                    <a:lnTo>
                      <a:pt x="2233" y="1225"/>
                    </a:lnTo>
                    <a:lnTo>
                      <a:pt x="2228" y="1218"/>
                    </a:lnTo>
                    <a:lnTo>
                      <a:pt x="2222" y="1212"/>
                    </a:lnTo>
                    <a:lnTo>
                      <a:pt x="2215" y="1207"/>
                    </a:lnTo>
                    <a:lnTo>
                      <a:pt x="2206" y="1204"/>
                    </a:lnTo>
                    <a:lnTo>
                      <a:pt x="2197" y="1203"/>
                    </a:lnTo>
                    <a:lnTo>
                      <a:pt x="2189" y="1203"/>
                    </a:lnTo>
                    <a:lnTo>
                      <a:pt x="2179" y="1204"/>
                    </a:lnTo>
                    <a:lnTo>
                      <a:pt x="2169" y="1205"/>
                    </a:lnTo>
                    <a:lnTo>
                      <a:pt x="2159" y="1209"/>
                    </a:lnTo>
                    <a:lnTo>
                      <a:pt x="2149" y="1213"/>
                    </a:lnTo>
                    <a:lnTo>
                      <a:pt x="2139" y="1218"/>
                    </a:lnTo>
                    <a:lnTo>
                      <a:pt x="2129" y="1224"/>
                    </a:lnTo>
                    <a:lnTo>
                      <a:pt x="2125" y="1229"/>
                    </a:lnTo>
                    <a:lnTo>
                      <a:pt x="2123" y="1235"/>
                    </a:lnTo>
                    <a:lnTo>
                      <a:pt x="2122" y="1242"/>
                    </a:lnTo>
                    <a:lnTo>
                      <a:pt x="2121" y="1250"/>
                    </a:lnTo>
                    <a:lnTo>
                      <a:pt x="2121" y="1257"/>
                    </a:lnTo>
                    <a:lnTo>
                      <a:pt x="2119" y="1263"/>
                    </a:lnTo>
                    <a:lnTo>
                      <a:pt x="2118" y="1266"/>
                    </a:lnTo>
                    <a:lnTo>
                      <a:pt x="2117" y="1266"/>
                    </a:lnTo>
                    <a:lnTo>
                      <a:pt x="2112" y="1264"/>
                    </a:lnTo>
                    <a:lnTo>
                      <a:pt x="2105" y="1262"/>
                    </a:lnTo>
                    <a:lnTo>
                      <a:pt x="2102" y="1260"/>
                    </a:lnTo>
                    <a:lnTo>
                      <a:pt x="2098" y="1260"/>
                    </a:lnTo>
                    <a:lnTo>
                      <a:pt x="2096" y="1260"/>
                    </a:lnTo>
                    <a:lnTo>
                      <a:pt x="2092" y="1263"/>
                    </a:lnTo>
                    <a:lnTo>
                      <a:pt x="2087" y="1266"/>
                    </a:lnTo>
                    <a:lnTo>
                      <a:pt x="2077" y="1271"/>
                    </a:lnTo>
                    <a:lnTo>
                      <a:pt x="2067" y="1275"/>
                    </a:lnTo>
                    <a:lnTo>
                      <a:pt x="2060" y="1276"/>
                    </a:lnTo>
                    <a:lnTo>
                      <a:pt x="2052" y="1275"/>
                    </a:lnTo>
                    <a:lnTo>
                      <a:pt x="2047" y="1273"/>
                    </a:lnTo>
                    <a:lnTo>
                      <a:pt x="2041" y="1270"/>
                    </a:lnTo>
                    <a:lnTo>
                      <a:pt x="2037" y="1268"/>
                    </a:lnTo>
                    <a:lnTo>
                      <a:pt x="2035" y="1263"/>
                    </a:lnTo>
                    <a:lnTo>
                      <a:pt x="2032" y="1259"/>
                    </a:lnTo>
                    <a:lnTo>
                      <a:pt x="2031" y="1255"/>
                    </a:lnTo>
                    <a:lnTo>
                      <a:pt x="2031" y="1249"/>
                    </a:lnTo>
                    <a:lnTo>
                      <a:pt x="2032" y="1238"/>
                    </a:lnTo>
                    <a:lnTo>
                      <a:pt x="2036" y="1227"/>
                    </a:lnTo>
                    <a:lnTo>
                      <a:pt x="2041" y="1218"/>
                    </a:lnTo>
                    <a:lnTo>
                      <a:pt x="2045" y="1209"/>
                    </a:lnTo>
                    <a:lnTo>
                      <a:pt x="2051" y="1198"/>
                    </a:lnTo>
                    <a:lnTo>
                      <a:pt x="2055" y="1189"/>
                    </a:lnTo>
                    <a:lnTo>
                      <a:pt x="2057" y="1179"/>
                    </a:lnTo>
                    <a:lnTo>
                      <a:pt x="2058" y="1171"/>
                    </a:lnTo>
                    <a:lnTo>
                      <a:pt x="2058" y="1163"/>
                    </a:lnTo>
                    <a:lnTo>
                      <a:pt x="2056" y="1156"/>
                    </a:lnTo>
                    <a:lnTo>
                      <a:pt x="2054" y="1147"/>
                    </a:lnTo>
                    <a:lnTo>
                      <a:pt x="2050" y="1141"/>
                    </a:lnTo>
                    <a:lnTo>
                      <a:pt x="2040" y="1127"/>
                    </a:lnTo>
                    <a:lnTo>
                      <a:pt x="2028" y="1115"/>
                    </a:lnTo>
                    <a:lnTo>
                      <a:pt x="2014" y="1103"/>
                    </a:lnTo>
                    <a:lnTo>
                      <a:pt x="2000" y="1090"/>
                    </a:lnTo>
                    <a:lnTo>
                      <a:pt x="1991" y="1081"/>
                    </a:lnTo>
                    <a:lnTo>
                      <a:pt x="1985" y="1075"/>
                    </a:lnTo>
                    <a:lnTo>
                      <a:pt x="1983" y="1071"/>
                    </a:lnTo>
                    <a:lnTo>
                      <a:pt x="1983" y="1066"/>
                    </a:lnTo>
                    <a:lnTo>
                      <a:pt x="1985" y="1055"/>
                    </a:lnTo>
                    <a:lnTo>
                      <a:pt x="1988" y="1035"/>
                    </a:lnTo>
                    <a:lnTo>
                      <a:pt x="1988" y="1029"/>
                    </a:lnTo>
                    <a:lnTo>
                      <a:pt x="1990" y="1025"/>
                    </a:lnTo>
                    <a:lnTo>
                      <a:pt x="1993" y="1020"/>
                    </a:lnTo>
                    <a:lnTo>
                      <a:pt x="1997" y="1018"/>
                    </a:lnTo>
                    <a:lnTo>
                      <a:pt x="2002" y="1014"/>
                    </a:lnTo>
                    <a:lnTo>
                      <a:pt x="2008" y="1013"/>
                    </a:lnTo>
                    <a:lnTo>
                      <a:pt x="2014" y="1012"/>
                    </a:lnTo>
                    <a:lnTo>
                      <a:pt x="2020" y="1012"/>
                    </a:lnTo>
                    <a:lnTo>
                      <a:pt x="2034" y="1012"/>
                    </a:lnTo>
                    <a:lnTo>
                      <a:pt x="2047" y="1014"/>
                    </a:lnTo>
                    <a:lnTo>
                      <a:pt x="2058" y="1018"/>
                    </a:lnTo>
                    <a:lnTo>
                      <a:pt x="2068" y="1021"/>
                    </a:lnTo>
                    <a:lnTo>
                      <a:pt x="2072" y="1024"/>
                    </a:lnTo>
                    <a:lnTo>
                      <a:pt x="2076" y="1024"/>
                    </a:lnTo>
                    <a:lnTo>
                      <a:pt x="2078" y="1024"/>
                    </a:lnTo>
                    <a:lnTo>
                      <a:pt x="2081" y="1022"/>
                    </a:lnTo>
                    <a:lnTo>
                      <a:pt x="2082" y="1016"/>
                    </a:lnTo>
                    <a:lnTo>
                      <a:pt x="2082" y="1007"/>
                    </a:lnTo>
                    <a:lnTo>
                      <a:pt x="2079" y="998"/>
                    </a:lnTo>
                    <a:lnTo>
                      <a:pt x="2079" y="987"/>
                    </a:lnTo>
                    <a:lnTo>
                      <a:pt x="2079" y="981"/>
                    </a:lnTo>
                    <a:lnTo>
                      <a:pt x="2079" y="976"/>
                    </a:lnTo>
                    <a:lnTo>
                      <a:pt x="2081" y="972"/>
                    </a:lnTo>
                    <a:lnTo>
                      <a:pt x="2083" y="968"/>
                    </a:lnTo>
                    <a:lnTo>
                      <a:pt x="2088" y="960"/>
                    </a:lnTo>
                    <a:lnTo>
                      <a:pt x="2090" y="953"/>
                    </a:lnTo>
                    <a:lnTo>
                      <a:pt x="2090" y="948"/>
                    </a:lnTo>
                    <a:lnTo>
                      <a:pt x="2088" y="943"/>
                    </a:lnTo>
                    <a:lnTo>
                      <a:pt x="2084" y="940"/>
                    </a:lnTo>
                    <a:lnTo>
                      <a:pt x="2081" y="938"/>
                    </a:lnTo>
                    <a:lnTo>
                      <a:pt x="2075" y="935"/>
                    </a:lnTo>
                    <a:lnTo>
                      <a:pt x="2070" y="934"/>
                    </a:lnTo>
                    <a:lnTo>
                      <a:pt x="2061" y="932"/>
                    </a:lnTo>
                    <a:lnTo>
                      <a:pt x="2054" y="928"/>
                    </a:lnTo>
                    <a:lnTo>
                      <a:pt x="2054" y="926"/>
                    </a:lnTo>
                    <a:lnTo>
                      <a:pt x="2055" y="922"/>
                    </a:lnTo>
                    <a:lnTo>
                      <a:pt x="2058" y="919"/>
                    </a:lnTo>
                    <a:lnTo>
                      <a:pt x="2064" y="913"/>
                    </a:lnTo>
                    <a:lnTo>
                      <a:pt x="2071" y="908"/>
                    </a:lnTo>
                    <a:lnTo>
                      <a:pt x="2077" y="903"/>
                    </a:lnTo>
                    <a:lnTo>
                      <a:pt x="2079" y="899"/>
                    </a:lnTo>
                    <a:lnTo>
                      <a:pt x="2081" y="895"/>
                    </a:lnTo>
                    <a:lnTo>
                      <a:pt x="2079" y="892"/>
                    </a:lnTo>
                    <a:lnTo>
                      <a:pt x="2077" y="888"/>
                    </a:lnTo>
                    <a:lnTo>
                      <a:pt x="2071" y="884"/>
                    </a:lnTo>
                    <a:lnTo>
                      <a:pt x="2063" y="880"/>
                    </a:lnTo>
                    <a:lnTo>
                      <a:pt x="2050" y="874"/>
                    </a:lnTo>
                    <a:lnTo>
                      <a:pt x="2030" y="864"/>
                    </a:lnTo>
                    <a:lnTo>
                      <a:pt x="2022" y="860"/>
                    </a:lnTo>
                    <a:lnTo>
                      <a:pt x="2016" y="856"/>
                    </a:lnTo>
                    <a:lnTo>
                      <a:pt x="2015" y="855"/>
                    </a:lnTo>
                    <a:lnTo>
                      <a:pt x="2016" y="854"/>
                    </a:lnTo>
                    <a:lnTo>
                      <a:pt x="2017" y="853"/>
                    </a:lnTo>
                    <a:lnTo>
                      <a:pt x="2021" y="853"/>
                    </a:lnTo>
                    <a:lnTo>
                      <a:pt x="2035" y="853"/>
                    </a:lnTo>
                    <a:lnTo>
                      <a:pt x="2051" y="853"/>
                    </a:lnTo>
                    <a:lnTo>
                      <a:pt x="2069" y="854"/>
                    </a:lnTo>
                    <a:lnTo>
                      <a:pt x="2081" y="856"/>
                    </a:lnTo>
                    <a:lnTo>
                      <a:pt x="2095" y="866"/>
                    </a:lnTo>
                    <a:lnTo>
                      <a:pt x="2109" y="879"/>
                    </a:lnTo>
                    <a:lnTo>
                      <a:pt x="2112" y="881"/>
                    </a:lnTo>
                    <a:lnTo>
                      <a:pt x="2116" y="882"/>
                    </a:lnTo>
                    <a:lnTo>
                      <a:pt x="2118" y="883"/>
                    </a:lnTo>
                    <a:lnTo>
                      <a:pt x="2122" y="882"/>
                    </a:lnTo>
                    <a:lnTo>
                      <a:pt x="2124" y="881"/>
                    </a:lnTo>
                    <a:lnTo>
                      <a:pt x="2128" y="877"/>
                    </a:lnTo>
                    <a:lnTo>
                      <a:pt x="2129" y="874"/>
                    </a:lnTo>
                    <a:lnTo>
                      <a:pt x="2131" y="867"/>
                    </a:lnTo>
                    <a:lnTo>
                      <a:pt x="2132" y="857"/>
                    </a:lnTo>
                    <a:lnTo>
                      <a:pt x="2132" y="846"/>
                    </a:lnTo>
                    <a:lnTo>
                      <a:pt x="2131" y="834"/>
                    </a:lnTo>
                    <a:lnTo>
                      <a:pt x="2130" y="824"/>
                    </a:lnTo>
                    <a:lnTo>
                      <a:pt x="2129" y="817"/>
                    </a:lnTo>
                    <a:lnTo>
                      <a:pt x="2130" y="815"/>
                    </a:lnTo>
                    <a:lnTo>
                      <a:pt x="2134" y="817"/>
                    </a:lnTo>
                    <a:lnTo>
                      <a:pt x="2139" y="827"/>
                    </a:lnTo>
                    <a:lnTo>
                      <a:pt x="2144" y="835"/>
                    </a:lnTo>
                    <a:lnTo>
                      <a:pt x="2148" y="843"/>
                    </a:lnTo>
                    <a:lnTo>
                      <a:pt x="2151" y="853"/>
                    </a:lnTo>
                    <a:lnTo>
                      <a:pt x="2154" y="863"/>
                    </a:lnTo>
                    <a:lnTo>
                      <a:pt x="2156" y="884"/>
                    </a:lnTo>
                    <a:lnTo>
                      <a:pt x="2158" y="906"/>
                    </a:lnTo>
                    <a:lnTo>
                      <a:pt x="2162" y="927"/>
                    </a:lnTo>
                    <a:lnTo>
                      <a:pt x="2166" y="946"/>
                    </a:lnTo>
                    <a:lnTo>
                      <a:pt x="2170" y="955"/>
                    </a:lnTo>
                    <a:lnTo>
                      <a:pt x="2175" y="962"/>
                    </a:lnTo>
                    <a:lnTo>
                      <a:pt x="2179" y="969"/>
                    </a:lnTo>
                    <a:lnTo>
                      <a:pt x="2186" y="975"/>
                    </a:lnTo>
                    <a:lnTo>
                      <a:pt x="2195" y="982"/>
                    </a:lnTo>
                    <a:lnTo>
                      <a:pt x="2201" y="988"/>
                    </a:lnTo>
                    <a:lnTo>
                      <a:pt x="2206" y="993"/>
                    </a:lnTo>
                    <a:lnTo>
                      <a:pt x="2211" y="999"/>
                    </a:lnTo>
                    <a:lnTo>
                      <a:pt x="2213" y="1004"/>
                    </a:lnTo>
                    <a:lnTo>
                      <a:pt x="2216" y="1009"/>
                    </a:lnTo>
                    <a:lnTo>
                      <a:pt x="2218" y="1014"/>
                    </a:lnTo>
                    <a:lnTo>
                      <a:pt x="2219" y="1019"/>
                    </a:lnTo>
                    <a:lnTo>
                      <a:pt x="2221" y="1041"/>
                    </a:lnTo>
                    <a:lnTo>
                      <a:pt x="2225" y="1073"/>
                    </a:lnTo>
                    <a:lnTo>
                      <a:pt x="2228" y="1078"/>
                    </a:lnTo>
                    <a:lnTo>
                      <a:pt x="2231" y="1082"/>
                    </a:lnTo>
                    <a:lnTo>
                      <a:pt x="2236" y="1085"/>
                    </a:lnTo>
                    <a:lnTo>
                      <a:pt x="2240" y="1087"/>
                    </a:lnTo>
                    <a:lnTo>
                      <a:pt x="2245" y="1087"/>
                    </a:lnTo>
                    <a:lnTo>
                      <a:pt x="2249" y="1086"/>
                    </a:lnTo>
                    <a:lnTo>
                      <a:pt x="2253" y="1082"/>
                    </a:lnTo>
                    <a:lnTo>
                      <a:pt x="2256" y="1078"/>
                    </a:lnTo>
                    <a:lnTo>
                      <a:pt x="2266" y="1107"/>
                    </a:lnTo>
                    <a:lnTo>
                      <a:pt x="2279" y="1141"/>
                    </a:lnTo>
                    <a:lnTo>
                      <a:pt x="2285" y="1159"/>
                    </a:lnTo>
                    <a:lnTo>
                      <a:pt x="2289" y="1174"/>
                    </a:lnTo>
                    <a:lnTo>
                      <a:pt x="2289" y="1183"/>
                    </a:lnTo>
                    <a:lnTo>
                      <a:pt x="2288" y="1190"/>
                    </a:lnTo>
                    <a:lnTo>
                      <a:pt x="2286" y="1196"/>
                    </a:lnTo>
                    <a:lnTo>
                      <a:pt x="2283" y="1202"/>
                    </a:lnTo>
                    <a:lnTo>
                      <a:pt x="2280" y="1206"/>
                    </a:lnTo>
                    <a:lnTo>
                      <a:pt x="2278" y="1210"/>
                    </a:lnTo>
                    <a:lnTo>
                      <a:pt x="2277" y="1213"/>
                    </a:lnTo>
                    <a:lnTo>
                      <a:pt x="2277" y="1216"/>
                    </a:lnTo>
                    <a:lnTo>
                      <a:pt x="2278" y="1223"/>
                    </a:lnTo>
                    <a:lnTo>
                      <a:pt x="2279" y="1235"/>
                    </a:lnTo>
                    <a:lnTo>
                      <a:pt x="2279" y="1239"/>
                    </a:lnTo>
                    <a:lnTo>
                      <a:pt x="2280" y="1243"/>
                    </a:lnTo>
                    <a:lnTo>
                      <a:pt x="2282" y="1246"/>
                    </a:lnTo>
                    <a:lnTo>
                      <a:pt x="2284" y="1250"/>
                    </a:lnTo>
                    <a:lnTo>
                      <a:pt x="2290" y="1255"/>
                    </a:lnTo>
                    <a:lnTo>
                      <a:pt x="2297" y="1258"/>
                    </a:lnTo>
                    <a:lnTo>
                      <a:pt x="2305" y="1259"/>
                    </a:lnTo>
                    <a:lnTo>
                      <a:pt x="2313" y="1260"/>
                    </a:lnTo>
                    <a:lnTo>
                      <a:pt x="2320" y="1259"/>
                    </a:lnTo>
                    <a:lnTo>
                      <a:pt x="2327" y="1257"/>
                    </a:lnTo>
                    <a:lnTo>
                      <a:pt x="2335" y="1252"/>
                    </a:lnTo>
                    <a:lnTo>
                      <a:pt x="2340" y="1246"/>
                    </a:lnTo>
                    <a:lnTo>
                      <a:pt x="2344" y="1239"/>
                    </a:lnTo>
                    <a:lnTo>
                      <a:pt x="2347" y="1230"/>
                    </a:lnTo>
                    <a:lnTo>
                      <a:pt x="2349" y="1222"/>
                    </a:lnTo>
                    <a:lnTo>
                      <a:pt x="2349" y="1212"/>
                    </a:lnTo>
                    <a:lnTo>
                      <a:pt x="2347" y="1204"/>
                    </a:lnTo>
                    <a:lnTo>
                      <a:pt x="2345" y="1196"/>
                    </a:lnTo>
                    <a:lnTo>
                      <a:pt x="2336" y="1173"/>
                    </a:lnTo>
                    <a:lnTo>
                      <a:pt x="2324" y="1148"/>
                    </a:lnTo>
                    <a:lnTo>
                      <a:pt x="2310" y="1124"/>
                    </a:lnTo>
                    <a:lnTo>
                      <a:pt x="2297" y="1103"/>
                    </a:lnTo>
                    <a:lnTo>
                      <a:pt x="2288" y="1082"/>
                    </a:lnTo>
                    <a:lnTo>
                      <a:pt x="2279" y="1062"/>
                    </a:lnTo>
                    <a:lnTo>
                      <a:pt x="2271" y="1041"/>
                    </a:lnTo>
                    <a:lnTo>
                      <a:pt x="2264" y="1021"/>
                    </a:lnTo>
                    <a:lnTo>
                      <a:pt x="2258" y="1000"/>
                    </a:lnTo>
                    <a:lnTo>
                      <a:pt x="2251" y="979"/>
                    </a:lnTo>
                    <a:lnTo>
                      <a:pt x="2243" y="959"/>
                    </a:lnTo>
                    <a:lnTo>
                      <a:pt x="2235" y="939"/>
                    </a:lnTo>
                    <a:lnTo>
                      <a:pt x="2229" y="925"/>
                    </a:lnTo>
                    <a:lnTo>
                      <a:pt x="2224" y="910"/>
                    </a:lnTo>
                    <a:lnTo>
                      <a:pt x="2219" y="896"/>
                    </a:lnTo>
                    <a:lnTo>
                      <a:pt x="2217" y="881"/>
                    </a:lnTo>
                    <a:lnTo>
                      <a:pt x="2211" y="849"/>
                    </a:lnTo>
                    <a:lnTo>
                      <a:pt x="2208" y="817"/>
                    </a:lnTo>
                    <a:lnTo>
                      <a:pt x="2203" y="785"/>
                    </a:lnTo>
                    <a:lnTo>
                      <a:pt x="2197" y="755"/>
                    </a:lnTo>
                    <a:lnTo>
                      <a:pt x="2193" y="741"/>
                    </a:lnTo>
                    <a:lnTo>
                      <a:pt x="2189" y="727"/>
                    </a:lnTo>
                    <a:lnTo>
                      <a:pt x="2184" y="712"/>
                    </a:lnTo>
                    <a:lnTo>
                      <a:pt x="2178" y="699"/>
                    </a:lnTo>
                    <a:lnTo>
                      <a:pt x="2163" y="498"/>
                    </a:lnTo>
                    <a:lnTo>
                      <a:pt x="2162" y="493"/>
                    </a:lnTo>
                    <a:lnTo>
                      <a:pt x="2161" y="491"/>
                    </a:lnTo>
                    <a:lnTo>
                      <a:pt x="2159" y="488"/>
                    </a:lnTo>
                    <a:lnTo>
                      <a:pt x="2157" y="486"/>
                    </a:lnTo>
                    <a:lnTo>
                      <a:pt x="2151" y="484"/>
                    </a:lnTo>
                    <a:lnTo>
                      <a:pt x="2145" y="483"/>
                    </a:lnTo>
                    <a:lnTo>
                      <a:pt x="2130" y="481"/>
                    </a:lnTo>
                    <a:lnTo>
                      <a:pt x="2115" y="478"/>
                    </a:lnTo>
                    <a:lnTo>
                      <a:pt x="2109" y="475"/>
                    </a:lnTo>
                    <a:lnTo>
                      <a:pt x="2105" y="475"/>
                    </a:lnTo>
                    <a:lnTo>
                      <a:pt x="2103" y="478"/>
                    </a:lnTo>
                    <a:lnTo>
                      <a:pt x="2103" y="481"/>
                    </a:lnTo>
                    <a:lnTo>
                      <a:pt x="2105" y="491"/>
                    </a:lnTo>
                    <a:lnTo>
                      <a:pt x="2110" y="504"/>
                    </a:lnTo>
                    <a:lnTo>
                      <a:pt x="2125" y="531"/>
                    </a:lnTo>
                    <a:lnTo>
                      <a:pt x="2135" y="546"/>
                    </a:lnTo>
                    <a:lnTo>
                      <a:pt x="2138" y="553"/>
                    </a:lnTo>
                    <a:lnTo>
                      <a:pt x="2139" y="559"/>
                    </a:lnTo>
                    <a:lnTo>
                      <a:pt x="2139" y="563"/>
                    </a:lnTo>
                    <a:lnTo>
                      <a:pt x="2139" y="565"/>
                    </a:lnTo>
                    <a:lnTo>
                      <a:pt x="2137" y="565"/>
                    </a:lnTo>
                    <a:lnTo>
                      <a:pt x="2135" y="564"/>
                    </a:lnTo>
                    <a:lnTo>
                      <a:pt x="2131" y="562"/>
                    </a:lnTo>
                    <a:lnTo>
                      <a:pt x="2126" y="558"/>
                    </a:lnTo>
                    <a:lnTo>
                      <a:pt x="2108" y="539"/>
                    </a:lnTo>
                    <a:lnTo>
                      <a:pt x="2092" y="525"/>
                    </a:lnTo>
                    <a:lnTo>
                      <a:pt x="2091" y="525"/>
                    </a:lnTo>
                    <a:lnTo>
                      <a:pt x="2090" y="526"/>
                    </a:lnTo>
                    <a:lnTo>
                      <a:pt x="2090" y="529"/>
                    </a:lnTo>
                    <a:lnTo>
                      <a:pt x="2090" y="532"/>
                    </a:lnTo>
                    <a:lnTo>
                      <a:pt x="2090" y="540"/>
                    </a:lnTo>
                    <a:lnTo>
                      <a:pt x="2092" y="552"/>
                    </a:lnTo>
                    <a:lnTo>
                      <a:pt x="2097" y="574"/>
                    </a:lnTo>
                    <a:lnTo>
                      <a:pt x="2101" y="587"/>
                    </a:lnTo>
                    <a:lnTo>
                      <a:pt x="2104" y="604"/>
                    </a:lnTo>
                    <a:lnTo>
                      <a:pt x="2105" y="616"/>
                    </a:lnTo>
                    <a:lnTo>
                      <a:pt x="2098" y="611"/>
                    </a:lnTo>
                    <a:lnTo>
                      <a:pt x="2091" y="607"/>
                    </a:lnTo>
                    <a:lnTo>
                      <a:pt x="2083" y="605"/>
                    </a:lnTo>
                    <a:lnTo>
                      <a:pt x="2076" y="604"/>
                    </a:lnTo>
                    <a:lnTo>
                      <a:pt x="2060" y="603"/>
                    </a:lnTo>
                    <a:lnTo>
                      <a:pt x="2041" y="603"/>
                    </a:lnTo>
                    <a:lnTo>
                      <a:pt x="2024" y="603"/>
                    </a:lnTo>
                    <a:lnTo>
                      <a:pt x="2010" y="602"/>
                    </a:lnTo>
                    <a:lnTo>
                      <a:pt x="1997" y="599"/>
                    </a:lnTo>
                    <a:lnTo>
                      <a:pt x="1985" y="596"/>
                    </a:lnTo>
                    <a:lnTo>
                      <a:pt x="1974" y="592"/>
                    </a:lnTo>
                    <a:lnTo>
                      <a:pt x="1964" y="587"/>
                    </a:lnTo>
                    <a:lnTo>
                      <a:pt x="1955" y="582"/>
                    </a:lnTo>
                    <a:lnTo>
                      <a:pt x="1946" y="576"/>
                    </a:lnTo>
                    <a:lnTo>
                      <a:pt x="1911" y="545"/>
                    </a:lnTo>
                    <a:lnTo>
                      <a:pt x="1870" y="508"/>
                    </a:lnTo>
                    <a:lnTo>
                      <a:pt x="1868" y="506"/>
                    </a:lnTo>
                    <a:lnTo>
                      <a:pt x="1867" y="504"/>
                    </a:lnTo>
                    <a:lnTo>
                      <a:pt x="1866" y="503"/>
                    </a:lnTo>
                    <a:lnTo>
                      <a:pt x="1867" y="501"/>
                    </a:lnTo>
                    <a:lnTo>
                      <a:pt x="1870" y="499"/>
                    </a:lnTo>
                    <a:lnTo>
                      <a:pt x="1876" y="498"/>
                    </a:lnTo>
                    <a:lnTo>
                      <a:pt x="1891" y="497"/>
                    </a:lnTo>
                    <a:lnTo>
                      <a:pt x="1903" y="496"/>
                    </a:lnTo>
                    <a:lnTo>
                      <a:pt x="1914" y="491"/>
                    </a:lnTo>
                    <a:lnTo>
                      <a:pt x="1927" y="484"/>
                    </a:lnTo>
                    <a:lnTo>
                      <a:pt x="1940" y="475"/>
                    </a:lnTo>
                    <a:lnTo>
                      <a:pt x="1953" y="466"/>
                    </a:lnTo>
                    <a:lnTo>
                      <a:pt x="1964" y="457"/>
                    </a:lnTo>
                    <a:lnTo>
                      <a:pt x="1975" y="446"/>
                    </a:lnTo>
                    <a:lnTo>
                      <a:pt x="1978" y="440"/>
                    </a:lnTo>
                    <a:lnTo>
                      <a:pt x="1982" y="434"/>
                    </a:lnTo>
                    <a:lnTo>
                      <a:pt x="1984" y="428"/>
                    </a:lnTo>
                    <a:lnTo>
                      <a:pt x="1985" y="424"/>
                    </a:lnTo>
                    <a:lnTo>
                      <a:pt x="1987" y="417"/>
                    </a:lnTo>
                    <a:lnTo>
                      <a:pt x="1988" y="412"/>
                    </a:lnTo>
                    <a:lnTo>
                      <a:pt x="1990" y="408"/>
                    </a:lnTo>
                    <a:lnTo>
                      <a:pt x="1993" y="406"/>
                    </a:lnTo>
                    <a:lnTo>
                      <a:pt x="1995" y="404"/>
                    </a:lnTo>
                    <a:lnTo>
                      <a:pt x="1997" y="404"/>
                    </a:lnTo>
                    <a:lnTo>
                      <a:pt x="2000" y="402"/>
                    </a:lnTo>
                    <a:lnTo>
                      <a:pt x="2003" y="404"/>
                    </a:lnTo>
                    <a:lnTo>
                      <a:pt x="2010" y="405"/>
                    </a:lnTo>
                    <a:lnTo>
                      <a:pt x="2017" y="407"/>
                    </a:lnTo>
                    <a:lnTo>
                      <a:pt x="2025" y="408"/>
                    </a:lnTo>
                    <a:lnTo>
                      <a:pt x="2034" y="407"/>
                    </a:lnTo>
                    <a:lnTo>
                      <a:pt x="2047" y="399"/>
                    </a:lnTo>
                    <a:lnTo>
                      <a:pt x="2062" y="387"/>
                    </a:lnTo>
                    <a:lnTo>
                      <a:pt x="2076" y="376"/>
                    </a:lnTo>
                    <a:lnTo>
                      <a:pt x="2083" y="373"/>
                    </a:lnTo>
                    <a:lnTo>
                      <a:pt x="2085" y="379"/>
                    </a:lnTo>
                    <a:lnTo>
                      <a:pt x="2089" y="386"/>
                    </a:lnTo>
                    <a:lnTo>
                      <a:pt x="2091" y="394"/>
                    </a:lnTo>
                    <a:lnTo>
                      <a:pt x="2092" y="401"/>
                    </a:lnTo>
                    <a:lnTo>
                      <a:pt x="2091" y="409"/>
                    </a:lnTo>
                    <a:lnTo>
                      <a:pt x="2090" y="417"/>
                    </a:lnTo>
                    <a:lnTo>
                      <a:pt x="2088" y="425"/>
                    </a:lnTo>
                    <a:lnTo>
                      <a:pt x="2083" y="431"/>
                    </a:lnTo>
                    <a:lnTo>
                      <a:pt x="2077" y="438"/>
                    </a:lnTo>
                    <a:lnTo>
                      <a:pt x="2072" y="444"/>
                    </a:lnTo>
                    <a:lnTo>
                      <a:pt x="2070" y="448"/>
                    </a:lnTo>
                    <a:lnTo>
                      <a:pt x="2069" y="453"/>
                    </a:lnTo>
                    <a:lnTo>
                      <a:pt x="2070" y="454"/>
                    </a:lnTo>
                    <a:lnTo>
                      <a:pt x="2071" y="455"/>
                    </a:lnTo>
                    <a:lnTo>
                      <a:pt x="2072" y="455"/>
                    </a:lnTo>
                    <a:lnTo>
                      <a:pt x="2075" y="455"/>
                    </a:lnTo>
                    <a:lnTo>
                      <a:pt x="2082" y="454"/>
                    </a:lnTo>
                    <a:lnTo>
                      <a:pt x="2092" y="452"/>
                    </a:lnTo>
                    <a:lnTo>
                      <a:pt x="2101" y="450"/>
                    </a:lnTo>
                    <a:lnTo>
                      <a:pt x="2108" y="447"/>
                    </a:lnTo>
                    <a:lnTo>
                      <a:pt x="2115" y="447"/>
                    </a:lnTo>
                    <a:lnTo>
                      <a:pt x="2122" y="447"/>
                    </a:lnTo>
                    <a:lnTo>
                      <a:pt x="2135" y="447"/>
                    </a:lnTo>
                    <a:lnTo>
                      <a:pt x="2149" y="448"/>
                    </a:lnTo>
                    <a:lnTo>
                      <a:pt x="2146" y="426"/>
                    </a:lnTo>
                    <a:lnTo>
                      <a:pt x="2144" y="414"/>
                    </a:lnTo>
                    <a:lnTo>
                      <a:pt x="2143" y="401"/>
                    </a:lnTo>
                    <a:lnTo>
                      <a:pt x="2142" y="386"/>
                    </a:lnTo>
                    <a:lnTo>
                      <a:pt x="2139" y="372"/>
                    </a:lnTo>
                    <a:lnTo>
                      <a:pt x="2138" y="356"/>
                    </a:lnTo>
                    <a:lnTo>
                      <a:pt x="2137" y="341"/>
                    </a:lnTo>
                    <a:lnTo>
                      <a:pt x="2136" y="326"/>
                    </a:lnTo>
                    <a:lnTo>
                      <a:pt x="2134" y="310"/>
                    </a:lnTo>
                    <a:lnTo>
                      <a:pt x="2130" y="295"/>
                    </a:lnTo>
                    <a:lnTo>
                      <a:pt x="2126" y="280"/>
                    </a:lnTo>
                    <a:lnTo>
                      <a:pt x="2123" y="266"/>
                    </a:lnTo>
                    <a:lnTo>
                      <a:pt x="2119" y="250"/>
                    </a:lnTo>
                    <a:lnTo>
                      <a:pt x="2117" y="236"/>
                    </a:lnTo>
                    <a:lnTo>
                      <a:pt x="2116" y="221"/>
                    </a:lnTo>
                    <a:lnTo>
                      <a:pt x="2118" y="191"/>
                    </a:lnTo>
                    <a:lnTo>
                      <a:pt x="2121" y="163"/>
                    </a:lnTo>
                    <a:lnTo>
                      <a:pt x="2124" y="134"/>
                    </a:lnTo>
                    <a:lnTo>
                      <a:pt x="2126" y="104"/>
                    </a:lnTo>
                    <a:lnTo>
                      <a:pt x="2126" y="104"/>
                    </a:lnTo>
                    <a:lnTo>
                      <a:pt x="2085" y="118"/>
                    </a:lnTo>
                    <a:lnTo>
                      <a:pt x="2085" y="118"/>
                    </a:lnTo>
                    <a:lnTo>
                      <a:pt x="2087" y="122"/>
                    </a:lnTo>
                    <a:lnTo>
                      <a:pt x="2089" y="125"/>
                    </a:lnTo>
                    <a:lnTo>
                      <a:pt x="2091" y="128"/>
                    </a:lnTo>
                    <a:lnTo>
                      <a:pt x="2095" y="130"/>
                    </a:lnTo>
                    <a:lnTo>
                      <a:pt x="2098" y="132"/>
                    </a:lnTo>
                    <a:lnTo>
                      <a:pt x="2099" y="135"/>
                    </a:lnTo>
                    <a:lnTo>
                      <a:pt x="2101" y="140"/>
                    </a:lnTo>
                    <a:lnTo>
                      <a:pt x="2101" y="144"/>
                    </a:lnTo>
                    <a:lnTo>
                      <a:pt x="2097" y="155"/>
                    </a:lnTo>
                    <a:lnTo>
                      <a:pt x="2092" y="167"/>
                    </a:lnTo>
                    <a:lnTo>
                      <a:pt x="2079" y="190"/>
                    </a:lnTo>
                    <a:lnTo>
                      <a:pt x="2071" y="207"/>
                    </a:lnTo>
                    <a:lnTo>
                      <a:pt x="2068" y="206"/>
                    </a:lnTo>
                    <a:lnTo>
                      <a:pt x="2063" y="204"/>
                    </a:lnTo>
                    <a:lnTo>
                      <a:pt x="2061" y="202"/>
                    </a:lnTo>
                    <a:lnTo>
                      <a:pt x="2058" y="198"/>
                    </a:lnTo>
                    <a:lnTo>
                      <a:pt x="2054" y="190"/>
                    </a:lnTo>
                    <a:lnTo>
                      <a:pt x="2052" y="181"/>
                    </a:lnTo>
                    <a:lnTo>
                      <a:pt x="2051" y="169"/>
                    </a:lnTo>
                    <a:lnTo>
                      <a:pt x="2052" y="158"/>
                    </a:lnTo>
                    <a:lnTo>
                      <a:pt x="2054" y="149"/>
                    </a:lnTo>
                    <a:lnTo>
                      <a:pt x="2055" y="141"/>
                    </a:lnTo>
                    <a:lnTo>
                      <a:pt x="2057" y="136"/>
                    </a:lnTo>
                    <a:lnTo>
                      <a:pt x="2060" y="128"/>
                    </a:lnTo>
                    <a:lnTo>
                      <a:pt x="2060" y="128"/>
                    </a:lnTo>
                    <a:lnTo>
                      <a:pt x="1983" y="189"/>
                    </a:lnTo>
                    <a:lnTo>
                      <a:pt x="1975" y="189"/>
                    </a:lnTo>
                    <a:lnTo>
                      <a:pt x="1973" y="188"/>
                    </a:lnTo>
                    <a:lnTo>
                      <a:pt x="1946" y="170"/>
                    </a:lnTo>
                    <a:lnTo>
                      <a:pt x="1914" y="150"/>
                    </a:lnTo>
                    <a:lnTo>
                      <a:pt x="1898" y="140"/>
                    </a:lnTo>
                    <a:lnTo>
                      <a:pt x="1883" y="129"/>
                    </a:lnTo>
                    <a:lnTo>
                      <a:pt x="1877" y="123"/>
                    </a:lnTo>
                    <a:lnTo>
                      <a:pt x="1871" y="117"/>
                    </a:lnTo>
                    <a:lnTo>
                      <a:pt x="1867" y="111"/>
                    </a:lnTo>
                    <a:lnTo>
                      <a:pt x="1862" y="105"/>
                    </a:lnTo>
                    <a:lnTo>
                      <a:pt x="1850" y="97"/>
                    </a:lnTo>
                    <a:lnTo>
                      <a:pt x="1835" y="84"/>
                    </a:lnTo>
                    <a:lnTo>
                      <a:pt x="1820" y="71"/>
                    </a:lnTo>
                    <a:lnTo>
                      <a:pt x="1812" y="59"/>
                    </a:lnTo>
                    <a:lnTo>
                      <a:pt x="1799" y="51"/>
                    </a:lnTo>
                    <a:lnTo>
                      <a:pt x="1786" y="44"/>
                    </a:lnTo>
                    <a:lnTo>
                      <a:pt x="1772" y="33"/>
                    </a:lnTo>
                    <a:lnTo>
                      <a:pt x="1757" y="24"/>
                    </a:lnTo>
                    <a:lnTo>
                      <a:pt x="1750" y="22"/>
                    </a:lnTo>
                    <a:lnTo>
                      <a:pt x="1743" y="18"/>
                    </a:lnTo>
                    <a:lnTo>
                      <a:pt x="1728" y="16"/>
                    </a:lnTo>
                    <a:lnTo>
                      <a:pt x="1714" y="11"/>
                    </a:lnTo>
                    <a:lnTo>
                      <a:pt x="1699" y="6"/>
                    </a:lnTo>
                    <a:lnTo>
                      <a:pt x="1683" y="3"/>
                    </a:lnTo>
                    <a:lnTo>
                      <a:pt x="1662" y="2"/>
                    </a:lnTo>
                    <a:lnTo>
                      <a:pt x="1639" y="0"/>
                    </a:lnTo>
                    <a:lnTo>
                      <a:pt x="1627" y="2"/>
                    </a:lnTo>
                    <a:lnTo>
                      <a:pt x="1616" y="3"/>
                    </a:lnTo>
                    <a:lnTo>
                      <a:pt x="1606" y="4"/>
                    </a:lnTo>
                    <a:lnTo>
                      <a:pt x="1595" y="8"/>
                    </a:lnTo>
                    <a:lnTo>
                      <a:pt x="1586" y="11"/>
                    </a:lnTo>
                    <a:lnTo>
                      <a:pt x="1575" y="15"/>
                    </a:lnTo>
                    <a:lnTo>
                      <a:pt x="1566" y="18"/>
                    </a:lnTo>
                    <a:lnTo>
                      <a:pt x="1555" y="22"/>
                    </a:lnTo>
                    <a:lnTo>
                      <a:pt x="1549" y="25"/>
                    </a:lnTo>
                    <a:lnTo>
                      <a:pt x="1544" y="29"/>
                    </a:lnTo>
                    <a:lnTo>
                      <a:pt x="1538" y="33"/>
                    </a:lnTo>
                    <a:lnTo>
                      <a:pt x="1533" y="38"/>
                    </a:lnTo>
                    <a:lnTo>
                      <a:pt x="1522" y="48"/>
                    </a:lnTo>
                    <a:lnTo>
                      <a:pt x="1512" y="57"/>
                    </a:lnTo>
                    <a:lnTo>
                      <a:pt x="1508" y="61"/>
                    </a:lnTo>
                    <a:lnTo>
                      <a:pt x="1505" y="64"/>
                    </a:lnTo>
                    <a:lnTo>
                      <a:pt x="1502" y="66"/>
                    </a:lnTo>
                    <a:lnTo>
                      <a:pt x="1493" y="69"/>
                    </a:lnTo>
                    <a:lnTo>
                      <a:pt x="1482" y="74"/>
                    </a:lnTo>
                    <a:lnTo>
                      <a:pt x="1473" y="78"/>
                    </a:lnTo>
                    <a:lnTo>
                      <a:pt x="1462" y="84"/>
                    </a:lnTo>
                    <a:lnTo>
                      <a:pt x="1441" y="96"/>
                    </a:lnTo>
                    <a:lnTo>
                      <a:pt x="1421" y="104"/>
                    </a:lnTo>
                    <a:lnTo>
                      <a:pt x="1379" y="121"/>
                    </a:lnTo>
                    <a:lnTo>
                      <a:pt x="1336" y="136"/>
                    </a:lnTo>
                    <a:lnTo>
                      <a:pt x="1313" y="143"/>
                    </a:lnTo>
                    <a:lnTo>
                      <a:pt x="1291" y="150"/>
                    </a:lnTo>
                    <a:lnTo>
                      <a:pt x="1269" y="155"/>
                    </a:lnTo>
                    <a:lnTo>
                      <a:pt x="1246" y="160"/>
                    </a:lnTo>
                    <a:lnTo>
                      <a:pt x="1207" y="165"/>
                    </a:lnTo>
                    <a:lnTo>
                      <a:pt x="1160" y="173"/>
                    </a:lnTo>
                    <a:lnTo>
                      <a:pt x="1136" y="176"/>
                    </a:lnTo>
                    <a:lnTo>
                      <a:pt x="1115" y="183"/>
                    </a:lnTo>
                    <a:lnTo>
                      <a:pt x="1104" y="187"/>
                    </a:lnTo>
                    <a:lnTo>
                      <a:pt x="1095" y="190"/>
                    </a:lnTo>
                    <a:lnTo>
                      <a:pt x="1086" y="195"/>
                    </a:lnTo>
                    <a:lnTo>
                      <a:pt x="1081" y="201"/>
                    </a:lnTo>
                    <a:lnTo>
                      <a:pt x="1072" y="202"/>
                    </a:lnTo>
                    <a:lnTo>
                      <a:pt x="1064" y="206"/>
                    </a:lnTo>
                    <a:lnTo>
                      <a:pt x="1057" y="209"/>
                    </a:lnTo>
                    <a:lnTo>
                      <a:pt x="1050" y="215"/>
                    </a:lnTo>
                    <a:lnTo>
                      <a:pt x="1035" y="229"/>
                    </a:lnTo>
                    <a:lnTo>
                      <a:pt x="1022" y="244"/>
                    </a:lnTo>
                    <a:lnTo>
                      <a:pt x="997" y="279"/>
                    </a:lnTo>
                    <a:lnTo>
                      <a:pt x="978" y="307"/>
                    </a:lnTo>
                    <a:lnTo>
                      <a:pt x="970" y="318"/>
                    </a:lnTo>
                    <a:lnTo>
                      <a:pt x="963" y="329"/>
                    </a:lnTo>
                    <a:lnTo>
                      <a:pt x="957" y="341"/>
                    </a:lnTo>
                    <a:lnTo>
                      <a:pt x="952" y="353"/>
                    </a:lnTo>
                    <a:lnTo>
                      <a:pt x="944" y="378"/>
                    </a:lnTo>
                    <a:lnTo>
                      <a:pt x="938" y="404"/>
                    </a:lnTo>
                    <a:lnTo>
                      <a:pt x="934" y="429"/>
                    </a:lnTo>
                    <a:lnTo>
                      <a:pt x="929" y="455"/>
                    </a:lnTo>
                    <a:lnTo>
                      <a:pt x="925" y="481"/>
                    </a:lnTo>
                    <a:lnTo>
                      <a:pt x="920" y="507"/>
                    </a:lnTo>
                    <a:lnTo>
                      <a:pt x="916" y="513"/>
                    </a:lnTo>
                    <a:lnTo>
                      <a:pt x="912" y="519"/>
                    </a:lnTo>
                    <a:lnTo>
                      <a:pt x="908" y="525"/>
                    </a:lnTo>
                    <a:lnTo>
                      <a:pt x="903" y="529"/>
                    </a:lnTo>
                    <a:lnTo>
                      <a:pt x="897" y="532"/>
                    </a:lnTo>
                    <a:lnTo>
                      <a:pt x="891" y="534"/>
                    </a:lnTo>
                    <a:lnTo>
                      <a:pt x="885" y="537"/>
                    </a:lnTo>
                    <a:lnTo>
                      <a:pt x="878" y="538"/>
                    </a:lnTo>
                    <a:lnTo>
                      <a:pt x="864" y="539"/>
                    </a:lnTo>
                    <a:lnTo>
                      <a:pt x="849" y="539"/>
                    </a:lnTo>
                    <a:lnTo>
                      <a:pt x="833" y="536"/>
                    </a:lnTo>
                    <a:lnTo>
                      <a:pt x="815" y="532"/>
                    </a:lnTo>
                    <a:lnTo>
                      <a:pt x="781" y="521"/>
                    </a:lnTo>
                    <a:lnTo>
                      <a:pt x="746" y="510"/>
                    </a:lnTo>
                    <a:lnTo>
                      <a:pt x="730" y="504"/>
                    </a:lnTo>
                    <a:lnTo>
                      <a:pt x="715" y="499"/>
                    </a:lnTo>
                    <a:lnTo>
                      <a:pt x="701" y="494"/>
                    </a:lnTo>
                    <a:lnTo>
                      <a:pt x="688" y="492"/>
                    </a:lnTo>
                    <a:lnTo>
                      <a:pt x="672" y="487"/>
                    </a:lnTo>
                    <a:lnTo>
                      <a:pt x="654" y="481"/>
                    </a:lnTo>
                    <a:lnTo>
                      <a:pt x="637" y="474"/>
                    </a:lnTo>
                    <a:lnTo>
                      <a:pt x="621" y="468"/>
                    </a:lnTo>
                    <a:lnTo>
                      <a:pt x="603" y="463"/>
                    </a:lnTo>
                    <a:lnTo>
                      <a:pt x="587" y="459"/>
                    </a:lnTo>
                    <a:lnTo>
                      <a:pt x="578" y="458"/>
                    </a:lnTo>
                    <a:lnTo>
                      <a:pt x="568" y="458"/>
                    </a:lnTo>
                    <a:lnTo>
                      <a:pt x="560" y="459"/>
                    </a:lnTo>
                    <a:lnTo>
                      <a:pt x="550" y="461"/>
                    </a:lnTo>
                    <a:lnTo>
                      <a:pt x="523" y="471"/>
                    </a:lnTo>
                    <a:lnTo>
                      <a:pt x="486" y="487"/>
                    </a:lnTo>
                    <a:lnTo>
                      <a:pt x="467" y="497"/>
                    </a:lnTo>
                    <a:lnTo>
                      <a:pt x="451" y="506"/>
                    </a:lnTo>
                    <a:lnTo>
                      <a:pt x="438" y="514"/>
                    </a:lnTo>
                    <a:lnTo>
                      <a:pt x="429" y="521"/>
                    </a:lnTo>
                    <a:lnTo>
                      <a:pt x="419" y="525"/>
                    </a:lnTo>
                    <a:lnTo>
                      <a:pt x="408" y="530"/>
                    </a:lnTo>
                    <a:lnTo>
                      <a:pt x="398" y="537"/>
                    </a:lnTo>
                    <a:lnTo>
                      <a:pt x="386" y="545"/>
                    </a:lnTo>
                    <a:lnTo>
                      <a:pt x="375" y="556"/>
                    </a:lnTo>
                    <a:lnTo>
                      <a:pt x="365" y="566"/>
                    </a:lnTo>
                    <a:lnTo>
                      <a:pt x="354" y="579"/>
                    </a:lnTo>
                    <a:lnTo>
                      <a:pt x="345" y="591"/>
                    </a:lnTo>
                    <a:lnTo>
                      <a:pt x="335" y="605"/>
                    </a:lnTo>
                    <a:lnTo>
                      <a:pt x="327" y="618"/>
                    </a:lnTo>
                    <a:lnTo>
                      <a:pt x="319" y="632"/>
                    </a:lnTo>
                    <a:lnTo>
                      <a:pt x="313" y="646"/>
                    </a:lnTo>
                    <a:lnTo>
                      <a:pt x="308" y="659"/>
                    </a:lnTo>
                    <a:lnTo>
                      <a:pt x="305" y="671"/>
                    </a:lnTo>
                    <a:lnTo>
                      <a:pt x="303" y="683"/>
                    </a:lnTo>
                    <a:lnTo>
                      <a:pt x="303" y="694"/>
                    </a:lnTo>
                    <a:lnTo>
                      <a:pt x="320" y="1025"/>
                    </a:lnTo>
                    <a:lnTo>
                      <a:pt x="313" y="1026"/>
                    </a:lnTo>
                    <a:lnTo>
                      <a:pt x="305" y="1025"/>
                    </a:lnTo>
                    <a:lnTo>
                      <a:pt x="301" y="1024"/>
                    </a:lnTo>
                    <a:lnTo>
                      <a:pt x="298" y="1021"/>
                    </a:lnTo>
                    <a:lnTo>
                      <a:pt x="295" y="1019"/>
                    </a:lnTo>
                    <a:lnTo>
                      <a:pt x="293" y="1016"/>
                    </a:lnTo>
                    <a:lnTo>
                      <a:pt x="284" y="1014"/>
                    </a:lnTo>
                    <a:lnTo>
                      <a:pt x="275" y="1011"/>
                    </a:lnTo>
                    <a:lnTo>
                      <a:pt x="266" y="1006"/>
                    </a:lnTo>
                    <a:lnTo>
                      <a:pt x="258" y="1001"/>
                    </a:lnTo>
                    <a:lnTo>
                      <a:pt x="240" y="992"/>
                    </a:lnTo>
                    <a:lnTo>
                      <a:pt x="223" y="985"/>
                    </a:lnTo>
                    <a:lnTo>
                      <a:pt x="190" y="975"/>
                    </a:lnTo>
                    <a:lnTo>
                      <a:pt x="157" y="968"/>
                    </a:lnTo>
                    <a:lnTo>
                      <a:pt x="141" y="966"/>
                    </a:lnTo>
                    <a:lnTo>
                      <a:pt x="125" y="963"/>
                    </a:lnTo>
                    <a:lnTo>
                      <a:pt x="107" y="962"/>
                    </a:lnTo>
                    <a:lnTo>
                      <a:pt x="90" y="962"/>
                    </a:lnTo>
                    <a:lnTo>
                      <a:pt x="76" y="962"/>
                    </a:lnTo>
                    <a:lnTo>
                      <a:pt x="62" y="965"/>
                    </a:lnTo>
                    <a:lnTo>
                      <a:pt x="50" y="967"/>
                    </a:lnTo>
                    <a:lnTo>
                      <a:pt x="39" y="971"/>
                    </a:lnTo>
                    <a:lnTo>
                      <a:pt x="29" y="974"/>
                    </a:lnTo>
                    <a:lnTo>
                      <a:pt x="19" y="979"/>
                    </a:lnTo>
                    <a:lnTo>
                      <a:pt x="10" y="985"/>
                    </a:lnTo>
                    <a:lnTo>
                      <a:pt x="0" y="992"/>
                    </a:lnTo>
                    <a:lnTo>
                      <a:pt x="0" y="992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50">
                <a:extLst>
                  <a:ext uri="{FF2B5EF4-FFF2-40B4-BE49-F238E27FC236}">
                    <a16:creationId xmlns:a16="http://schemas.microsoft.com/office/drawing/2014/main" id="{B3280E0B-35A7-4554-8DD5-73A373F30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1130" y="3305680"/>
                <a:ext cx="1138352" cy="566248"/>
              </a:xfrm>
              <a:custGeom>
                <a:avLst/>
                <a:gdLst>
                  <a:gd name="T0" fmla="*/ 4181 w 4642"/>
                  <a:gd name="T1" fmla="*/ 738 h 2309"/>
                  <a:gd name="T2" fmla="*/ 4048 w 4642"/>
                  <a:gd name="T3" fmla="*/ 887 h 2309"/>
                  <a:gd name="T4" fmla="*/ 4018 w 4642"/>
                  <a:gd name="T5" fmla="*/ 958 h 2309"/>
                  <a:gd name="T6" fmla="*/ 4027 w 4642"/>
                  <a:gd name="T7" fmla="*/ 1046 h 2309"/>
                  <a:gd name="T8" fmla="*/ 4088 w 4642"/>
                  <a:gd name="T9" fmla="*/ 1105 h 2309"/>
                  <a:gd name="T10" fmla="*/ 4267 w 4642"/>
                  <a:gd name="T11" fmla="*/ 1191 h 2309"/>
                  <a:gd name="T12" fmla="*/ 4351 w 4642"/>
                  <a:gd name="T13" fmla="*/ 1250 h 2309"/>
                  <a:gd name="T14" fmla="*/ 4481 w 4642"/>
                  <a:gd name="T15" fmla="*/ 1257 h 2309"/>
                  <a:gd name="T16" fmla="*/ 4642 w 4642"/>
                  <a:gd name="T17" fmla="*/ 1209 h 2309"/>
                  <a:gd name="T18" fmla="*/ 2653 w 4642"/>
                  <a:gd name="T19" fmla="*/ 2064 h 2309"/>
                  <a:gd name="T20" fmla="*/ 2511 w 4642"/>
                  <a:gd name="T21" fmla="*/ 2091 h 2309"/>
                  <a:gd name="T22" fmla="*/ 2454 w 4642"/>
                  <a:gd name="T23" fmla="*/ 2110 h 2309"/>
                  <a:gd name="T24" fmla="*/ 2422 w 4642"/>
                  <a:gd name="T25" fmla="*/ 2137 h 2309"/>
                  <a:gd name="T26" fmla="*/ 2324 w 4642"/>
                  <a:gd name="T27" fmla="*/ 2141 h 2309"/>
                  <a:gd name="T28" fmla="*/ 2311 w 4642"/>
                  <a:gd name="T29" fmla="*/ 2126 h 2309"/>
                  <a:gd name="T30" fmla="*/ 2306 w 4642"/>
                  <a:gd name="T31" fmla="*/ 2099 h 2309"/>
                  <a:gd name="T32" fmla="*/ 1576 w 4642"/>
                  <a:gd name="T33" fmla="*/ 2055 h 2309"/>
                  <a:gd name="T34" fmla="*/ 1572 w 4642"/>
                  <a:gd name="T35" fmla="*/ 2060 h 2309"/>
                  <a:gd name="T36" fmla="*/ 1583 w 4642"/>
                  <a:gd name="T37" fmla="*/ 2114 h 2309"/>
                  <a:gd name="T38" fmla="*/ 1568 w 4642"/>
                  <a:gd name="T39" fmla="*/ 2138 h 2309"/>
                  <a:gd name="T40" fmla="*/ 1525 w 4642"/>
                  <a:gd name="T41" fmla="*/ 2159 h 2309"/>
                  <a:gd name="T42" fmla="*/ 1529 w 4642"/>
                  <a:gd name="T43" fmla="*/ 2198 h 2309"/>
                  <a:gd name="T44" fmla="*/ 1528 w 4642"/>
                  <a:gd name="T45" fmla="*/ 2246 h 2309"/>
                  <a:gd name="T46" fmla="*/ 1517 w 4642"/>
                  <a:gd name="T47" fmla="*/ 2264 h 2309"/>
                  <a:gd name="T48" fmla="*/ 1442 w 4642"/>
                  <a:gd name="T49" fmla="*/ 2271 h 2309"/>
                  <a:gd name="T50" fmla="*/ 1365 w 4642"/>
                  <a:gd name="T51" fmla="*/ 2291 h 2309"/>
                  <a:gd name="T52" fmla="*/ 1273 w 4642"/>
                  <a:gd name="T53" fmla="*/ 2051 h 2309"/>
                  <a:gd name="T54" fmla="*/ 96 w 4642"/>
                  <a:gd name="T55" fmla="*/ 1908 h 2309"/>
                  <a:gd name="T56" fmla="*/ 42 w 4642"/>
                  <a:gd name="T57" fmla="*/ 1738 h 2309"/>
                  <a:gd name="T58" fmla="*/ 0 w 4642"/>
                  <a:gd name="T59" fmla="*/ 1597 h 2309"/>
                  <a:gd name="T60" fmla="*/ 17 w 4642"/>
                  <a:gd name="T61" fmla="*/ 1557 h 2309"/>
                  <a:gd name="T62" fmla="*/ 74 w 4642"/>
                  <a:gd name="T63" fmla="*/ 1500 h 2309"/>
                  <a:gd name="T64" fmla="*/ 63 w 4642"/>
                  <a:gd name="T65" fmla="*/ 1444 h 2309"/>
                  <a:gd name="T66" fmla="*/ 42 w 4642"/>
                  <a:gd name="T67" fmla="*/ 1351 h 2309"/>
                  <a:gd name="T68" fmla="*/ 88 w 4642"/>
                  <a:gd name="T69" fmla="*/ 1316 h 2309"/>
                  <a:gd name="T70" fmla="*/ 157 w 4642"/>
                  <a:gd name="T71" fmla="*/ 1332 h 2309"/>
                  <a:gd name="T72" fmla="*/ 365 w 4642"/>
                  <a:gd name="T73" fmla="*/ 235 h 2309"/>
                  <a:gd name="T74" fmla="*/ 904 w 4642"/>
                  <a:gd name="T75" fmla="*/ 46 h 2309"/>
                  <a:gd name="T76" fmla="*/ 940 w 4642"/>
                  <a:gd name="T77" fmla="*/ 89 h 2309"/>
                  <a:gd name="T78" fmla="*/ 1305 w 4642"/>
                  <a:gd name="T79" fmla="*/ 716 h 2309"/>
                  <a:gd name="T80" fmla="*/ 1667 w 4642"/>
                  <a:gd name="T81" fmla="*/ 999 h 2309"/>
                  <a:gd name="T82" fmla="*/ 2012 w 4642"/>
                  <a:gd name="T83" fmla="*/ 793 h 2309"/>
                  <a:gd name="T84" fmla="*/ 2145 w 4642"/>
                  <a:gd name="T85" fmla="*/ 593 h 2309"/>
                  <a:gd name="T86" fmla="*/ 2187 w 4642"/>
                  <a:gd name="T87" fmla="*/ 478 h 2309"/>
                  <a:gd name="T88" fmla="*/ 2263 w 4642"/>
                  <a:gd name="T89" fmla="*/ 408 h 2309"/>
                  <a:gd name="T90" fmla="*/ 2327 w 4642"/>
                  <a:gd name="T91" fmla="*/ 397 h 2309"/>
                  <a:gd name="T92" fmla="*/ 2361 w 4642"/>
                  <a:gd name="T93" fmla="*/ 441 h 2309"/>
                  <a:gd name="T94" fmla="*/ 2346 w 4642"/>
                  <a:gd name="T95" fmla="*/ 524 h 2309"/>
                  <a:gd name="T96" fmla="*/ 2247 w 4642"/>
                  <a:gd name="T97" fmla="*/ 657 h 2309"/>
                  <a:gd name="T98" fmla="*/ 2253 w 4642"/>
                  <a:gd name="T99" fmla="*/ 752 h 2309"/>
                  <a:gd name="T100" fmla="*/ 3325 w 4642"/>
                  <a:gd name="T101" fmla="*/ 745 h 2309"/>
                  <a:gd name="T102" fmla="*/ 3527 w 4642"/>
                  <a:gd name="T103" fmla="*/ 937 h 2309"/>
                  <a:gd name="T104" fmla="*/ 3567 w 4642"/>
                  <a:gd name="T105" fmla="*/ 904 h 2309"/>
                  <a:gd name="T106" fmla="*/ 3643 w 4642"/>
                  <a:gd name="T107" fmla="*/ 837 h 2309"/>
                  <a:gd name="T108" fmla="*/ 3844 w 4642"/>
                  <a:gd name="T109" fmla="*/ 769 h 2309"/>
                  <a:gd name="T110" fmla="*/ 3958 w 4642"/>
                  <a:gd name="T111" fmla="*/ 725 h 2309"/>
                  <a:gd name="T112" fmla="*/ 4001 w 4642"/>
                  <a:gd name="T113" fmla="*/ 759 h 2309"/>
                  <a:gd name="T114" fmla="*/ 4040 w 4642"/>
                  <a:gd name="T115" fmla="*/ 752 h 2309"/>
                  <a:gd name="T116" fmla="*/ 4085 w 4642"/>
                  <a:gd name="T117" fmla="*/ 698 h 2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642" h="2309">
                    <a:moveTo>
                      <a:pt x="4219" y="674"/>
                    </a:moveTo>
                    <a:lnTo>
                      <a:pt x="4218" y="680"/>
                    </a:lnTo>
                    <a:lnTo>
                      <a:pt x="4215" y="688"/>
                    </a:lnTo>
                    <a:lnTo>
                      <a:pt x="4212" y="695"/>
                    </a:lnTo>
                    <a:lnTo>
                      <a:pt x="4207" y="703"/>
                    </a:lnTo>
                    <a:lnTo>
                      <a:pt x="4195" y="720"/>
                    </a:lnTo>
                    <a:lnTo>
                      <a:pt x="4181" y="738"/>
                    </a:lnTo>
                    <a:lnTo>
                      <a:pt x="4150" y="771"/>
                    </a:lnTo>
                    <a:lnTo>
                      <a:pt x="4126" y="798"/>
                    </a:lnTo>
                    <a:lnTo>
                      <a:pt x="4105" y="822"/>
                    </a:lnTo>
                    <a:lnTo>
                      <a:pt x="4081" y="848"/>
                    </a:lnTo>
                    <a:lnTo>
                      <a:pt x="4070" y="861"/>
                    </a:lnTo>
                    <a:lnTo>
                      <a:pt x="4058" y="874"/>
                    </a:lnTo>
                    <a:lnTo>
                      <a:pt x="4048" y="887"/>
                    </a:lnTo>
                    <a:lnTo>
                      <a:pt x="4040" y="901"/>
                    </a:lnTo>
                    <a:lnTo>
                      <a:pt x="4034" y="906"/>
                    </a:lnTo>
                    <a:lnTo>
                      <a:pt x="4030" y="913"/>
                    </a:lnTo>
                    <a:lnTo>
                      <a:pt x="4025" y="923"/>
                    </a:lnTo>
                    <a:lnTo>
                      <a:pt x="4023" y="933"/>
                    </a:lnTo>
                    <a:lnTo>
                      <a:pt x="4020" y="945"/>
                    </a:lnTo>
                    <a:lnTo>
                      <a:pt x="4018" y="958"/>
                    </a:lnTo>
                    <a:lnTo>
                      <a:pt x="4018" y="971"/>
                    </a:lnTo>
                    <a:lnTo>
                      <a:pt x="4018" y="984"/>
                    </a:lnTo>
                    <a:lnTo>
                      <a:pt x="4018" y="998"/>
                    </a:lnTo>
                    <a:lnTo>
                      <a:pt x="4019" y="1011"/>
                    </a:lnTo>
                    <a:lnTo>
                      <a:pt x="4021" y="1024"/>
                    </a:lnTo>
                    <a:lnTo>
                      <a:pt x="4024" y="1036"/>
                    </a:lnTo>
                    <a:lnTo>
                      <a:pt x="4027" y="1046"/>
                    </a:lnTo>
                    <a:lnTo>
                      <a:pt x="4031" y="1056"/>
                    </a:lnTo>
                    <a:lnTo>
                      <a:pt x="4036" y="1064"/>
                    </a:lnTo>
                    <a:lnTo>
                      <a:pt x="4040" y="1069"/>
                    </a:lnTo>
                    <a:lnTo>
                      <a:pt x="4051" y="1079"/>
                    </a:lnTo>
                    <a:lnTo>
                      <a:pt x="4063" y="1088"/>
                    </a:lnTo>
                    <a:lnTo>
                      <a:pt x="4076" y="1097"/>
                    </a:lnTo>
                    <a:lnTo>
                      <a:pt x="4088" y="1105"/>
                    </a:lnTo>
                    <a:lnTo>
                      <a:pt x="4115" y="1122"/>
                    </a:lnTo>
                    <a:lnTo>
                      <a:pt x="4145" y="1136"/>
                    </a:lnTo>
                    <a:lnTo>
                      <a:pt x="4175" y="1149"/>
                    </a:lnTo>
                    <a:lnTo>
                      <a:pt x="4205" y="1162"/>
                    </a:lnTo>
                    <a:lnTo>
                      <a:pt x="4234" y="1174"/>
                    </a:lnTo>
                    <a:lnTo>
                      <a:pt x="4261" y="1184"/>
                    </a:lnTo>
                    <a:lnTo>
                      <a:pt x="4267" y="1191"/>
                    </a:lnTo>
                    <a:lnTo>
                      <a:pt x="4271" y="1198"/>
                    </a:lnTo>
                    <a:lnTo>
                      <a:pt x="4280" y="1208"/>
                    </a:lnTo>
                    <a:lnTo>
                      <a:pt x="4291" y="1220"/>
                    </a:lnTo>
                    <a:lnTo>
                      <a:pt x="4304" y="1229"/>
                    </a:lnTo>
                    <a:lnTo>
                      <a:pt x="4318" y="1237"/>
                    </a:lnTo>
                    <a:lnTo>
                      <a:pt x="4334" y="1244"/>
                    </a:lnTo>
                    <a:lnTo>
                      <a:pt x="4351" y="1250"/>
                    </a:lnTo>
                    <a:lnTo>
                      <a:pt x="4368" y="1255"/>
                    </a:lnTo>
                    <a:lnTo>
                      <a:pt x="4386" y="1259"/>
                    </a:lnTo>
                    <a:lnTo>
                      <a:pt x="4402" y="1261"/>
                    </a:lnTo>
                    <a:lnTo>
                      <a:pt x="4419" y="1261"/>
                    </a:lnTo>
                    <a:lnTo>
                      <a:pt x="4440" y="1261"/>
                    </a:lnTo>
                    <a:lnTo>
                      <a:pt x="4461" y="1260"/>
                    </a:lnTo>
                    <a:lnTo>
                      <a:pt x="4481" y="1257"/>
                    </a:lnTo>
                    <a:lnTo>
                      <a:pt x="4501" y="1254"/>
                    </a:lnTo>
                    <a:lnTo>
                      <a:pt x="4520" y="1249"/>
                    </a:lnTo>
                    <a:lnTo>
                      <a:pt x="4540" y="1243"/>
                    </a:lnTo>
                    <a:lnTo>
                      <a:pt x="4559" y="1237"/>
                    </a:lnTo>
                    <a:lnTo>
                      <a:pt x="4579" y="1229"/>
                    </a:lnTo>
                    <a:lnTo>
                      <a:pt x="4642" y="1209"/>
                    </a:lnTo>
                    <a:lnTo>
                      <a:pt x="4642" y="1209"/>
                    </a:lnTo>
                    <a:lnTo>
                      <a:pt x="4637" y="2095"/>
                    </a:lnTo>
                    <a:lnTo>
                      <a:pt x="4637" y="2095"/>
                    </a:lnTo>
                    <a:lnTo>
                      <a:pt x="4593" y="2094"/>
                    </a:lnTo>
                    <a:lnTo>
                      <a:pt x="2726" y="2062"/>
                    </a:lnTo>
                    <a:lnTo>
                      <a:pt x="2702" y="2062"/>
                    </a:lnTo>
                    <a:lnTo>
                      <a:pt x="2677" y="2064"/>
                    </a:lnTo>
                    <a:lnTo>
                      <a:pt x="2653" y="2064"/>
                    </a:lnTo>
                    <a:lnTo>
                      <a:pt x="2630" y="2066"/>
                    </a:lnTo>
                    <a:lnTo>
                      <a:pt x="2606" y="2068"/>
                    </a:lnTo>
                    <a:lnTo>
                      <a:pt x="2584" y="2073"/>
                    </a:lnTo>
                    <a:lnTo>
                      <a:pt x="2561" y="2078"/>
                    </a:lnTo>
                    <a:lnTo>
                      <a:pt x="2538" y="2085"/>
                    </a:lnTo>
                    <a:lnTo>
                      <a:pt x="2527" y="2088"/>
                    </a:lnTo>
                    <a:lnTo>
                      <a:pt x="2511" y="2091"/>
                    </a:lnTo>
                    <a:lnTo>
                      <a:pt x="2497" y="2092"/>
                    </a:lnTo>
                    <a:lnTo>
                      <a:pt x="2484" y="2093"/>
                    </a:lnTo>
                    <a:lnTo>
                      <a:pt x="2481" y="2095"/>
                    </a:lnTo>
                    <a:lnTo>
                      <a:pt x="2477" y="2098"/>
                    </a:lnTo>
                    <a:lnTo>
                      <a:pt x="2472" y="2098"/>
                    </a:lnTo>
                    <a:lnTo>
                      <a:pt x="2463" y="2105"/>
                    </a:lnTo>
                    <a:lnTo>
                      <a:pt x="2454" y="2110"/>
                    </a:lnTo>
                    <a:lnTo>
                      <a:pt x="2450" y="2114"/>
                    </a:lnTo>
                    <a:lnTo>
                      <a:pt x="2445" y="2119"/>
                    </a:lnTo>
                    <a:lnTo>
                      <a:pt x="2438" y="2124"/>
                    </a:lnTo>
                    <a:lnTo>
                      <a:pt x="2435" y="2126"/>
                    </a:lnTo>
                    <a:lnTo>
                      <a:pt x="2433" y="2130"/>
                    </a:lnTo>
                    <a:lnTo>
                      <a:pt x="2428" y="2133"/>
                    </a:lnTo>
                    <a:lnTo>
                      <a:pt x="2422" y="2137"/>
                    </a:lnTo>
                    <a:lnTo>
                      <a:pt x="2415" y="2139"/>
                    </a:lnTo>
                    <a:lnTo>
                      <a:pt x="2396" y="2144"/>
                    </a:lnTo>
                    <a:lnTo>
                      <a:pt x="2376" y="2146"/>
                    </a:lnTo>
                    <a:lnTo>
                      <a:pt x="2356" y="2147"/>
                    </a:lnTo>
                    <a:lnTo>
                      <a:pt x="2337" y="2146"/>
                    </a:lnTo>
                    <a:lnTo>
                      <a:pt x="2330" y="2144"/>
                    </a:lnTo>
                    <a:lnTo>
                      <a:pt x="2324" y="2141"/>
                    </a:lnTo>
                    <a:lnTo>
                      <a:pt x="2320" y="2139"/>
                    </a:lnTo>
                    <a:lnTo>
                      <a:pt x="2319" y="2135"/>
                    </a:lnTo>
                    <a:lnTo>
                      <a:pt x="2315" y="2134"/>
                    </a:lnTo>
                    <a:lnTo>
                      <a:pt x="2314" y="2132"/>
                    </a:lnTo>
                    <a:lnTo>
                      <a:pt x="2314" y="2130"/>
                    </a:lnTo>
                    <a:lnTo>
                      <a:pt x="2313" y="2127"/>
                    </a:lnTo>
                    <a:lnTo>
                      <a:pt x="2311" y="2126"/>
                    </a:lnTo>
                    <a:lnTo>
                      <a:pt x="2310" y="2125"/>
                    </a:lnTo>
                    <a:lnTo>
                      <a:pt x="2310" y="2120"/>
                    </a:lnTo>
                    <a:lnTo>
                      <a:pt x="2309" y="2114"/>
                    </a:lnTo>
                    <a:lnTo>
                      <a:pt x="2309" y="2110"/>
                    </a:lnTo>
                    <a:lnTo>
                      <a:pt x="2307" y="2107"/>
                    </a:lnTo>
                    <a:lnTo>
                      <a:pt x="2307" y="2102"/>
                    </a:lnTo>
                    <a:lnTo>
                      <a:pt x="2306" y="2099"/>
                    </a:lnTo>
                    <a:lnTo>
                      <a:pt x="2303" y="2095"/>
                    </a:lnTo>
                    <a:lnTo>
                      <a:pt x="2297" y="2088"/>
                    </a:lnTo>
                    <a:lnTo>
                      <a:pt x="2180" y="2081"/>
                    </a:lnTo>
                    <a:lnTo>
                      <a:pt x="1907" y="2052"/>
                    </a:lnTo>
                    <a:lnTo>
                      <a:pt x="1580" y="2053"/>
                    </a:lnTo>
                    <a:lnTo>
                      <a:pt x="1576" y="2053"/>
                    </a:lnTo>
                    <a:lnTo>
                      <a:pt x="1576" y="2055"/>
                    </a:lnTo>
                    <a:lnTo>
                      <a:pt x="1576" y="2055"/>
                    </a:lnTo>
                    <a:lnTo>
                      <a:pt x="1576" y="2057"/>
                    </a:lnTo>
                    <a:lnTo>
                      <a:pt x="1575" y="2057"/>
                    </a:lnTo>
                    <a:lnTo>
                      <a:pt x="1575" y="2058"/>
                    </a:lnTo>
                    <a:lnTo>
                      <a:pt x="1575" y="2059"/>
                    </a:lnTo>
                    <a:lnTo>
                      <a:pt x="1573" y="2059"/>
                    </a:lnTo>
                    <a:lnTo>
                      <a:pt x="1572" y="2060"/>
                    </a:lnTo>
                    <a:lnTo>
                      <a:pt x="1572" y="2065"/>
                    </a:lnTo>
                    <a:lnTo>
                      <a:pt x="1575" y="2069"/>
                    </a:lnTo>
                    <a:lnTo>
                      <a:pt x="1577" y="2079"/>
                    </a:lnTo>
                    <a:lnTo>
                      <a:pt x="1580" y="2095"/>
                    </a:lnTo>
                    <a:lnTo>
                      <a:pt x="1582" y="2104"/>
                    </a:lnTo>
                    <a:lnTo>
                      <a:pt x="1583" y="2112"/>
                    </a:lnTo>
                    <a:lnTo>
                      <a:pt x="1583" y="2114"/>
                    </a:lnTo>
                    <a:lnTo>
                      <a:pt x="1583" y="2117"/>
                    </a:lnTo>
                    <a:lnTo>
                      <a:pt x="1582" y="2119"/>
                    </a:lnTo>
                    <a:lnTo>
                      <a:pt x="1580" y="2120"/>
                    </a:lnTo>
                    <a:lnTo>
                      <a:pt x="1580" y="2125"/>
                    </a:lnTo>
                    <a:lnTo>
                      <a:pt x="1577" y="2128"/>
                    </a:lnTo>
                    <a:lnTo>
                      <a:pt x="1575" y="2134"/>
                    </a:lnTo>
                    <a:lnTo>
                      <a:pt x="1568" y="2138"/>
                    </a:lnTo>
                    <a:lnTo>
                      <a:pt x="1562" y="2141"/>
                    </a:lnTo>
                    <a:lnTo>
                      <a:pt x="1555" y="2145"/>
                    </a:lnTo>
                    <a:lnTo>
                      <a:pt x="1548" y="2146"/>
                    </a:lnTo>
                    <a:lnTo>
                      <a:pt x="1542" y="2148"/>
                    </a:lnTo>
                    <a:lnTo>
                      <a:pt x="1537" y="2151"/>
                    </a:lnTo>
                    <a:lnTo>
                      <a:pt x="1532" y="2154"/>
                    </a:lnTo>
                    <a:lnTo>
                      <a:pt x="1525" y="2159"/>
                    </a:lnTo>
                    <a:lnTo>
                      <a:pt x="1523" y="2160"/>
                    </a:lnTo>
                    <a:lnTo>
                      <a:pt x="1522" y="2163"/>
                    </a:lnTo>
                    <a:lnTo>
                      <a:pt x="1521" y="2165"/>
                    </a:lnTo>
                    <a:lnTo>
                      <a:pt x="1521" y="2167"/>
                    </a:lnTo>
                    <a:lnTo>
                      <a:pt x="1521" y="2174"/>
                    </a:lnTo>
                    <a:lnTo>
                      <a:pt x="1523" y="2183"/>
                    </a:lnTo>
                    <a:lnTo>
                      <a:pt x="1529" y="2198"/>
                    </a:lnTo>
                    <a:lnTo>
                      <a:pt x="1533" y="2209"/>
                    </a:lnTo>
                    <a:lnTo>
                      <a:pt x="1535" y="2212"/>
                    </a:lnTo>
                    <a:lnTo>
                      <a:pt x="1535" y="2218"/>
                    </a:lnTo>
                    <a:lnTo>
                      <a:pt x="1533" y="2225"/>
                    </a:lnTo>
                    <a:lnTo>
                      <a:pt x="1532" y="2232"/>
                    </a:lnTo>
                    <a:lnTo>
                      <a:pt x="1530" y="2239"/>
                    </a:lnTo>
                    <a:lnTo>
                      <a:pt x="1528" y="2246"/>
                    </a:lnTo>
                    <a:lnTo>
                      <a:pt x="1526" y="2250"/>
                    </a:lnTo>
                    <a:lnTo>
                      <a:pt x="1524" y="2252"/>
                    </a:lnTo>
                    <a:lnTo>
                      <a:pt x="1524" y="2257"/>
                    </a:lnTo>
                    <a:lnTo>
                      <a:pt x="1522" y="2258"/>
                    </a:lnTo>
                    <a:lnTo>
                      <a:pt x="1521" y="2260"/>
                    </a:lnTo>
                    <a:lnTo>
                      <a:pt x="1518" y="2262"/>
                    </a:lnTo>
                    <a:lnTo>
                      <a:pt x="1517" y="2264"/>
                    </a:lnTo>
                    <a:lnTo>
                      <a:pt x="1509" y="2267"/>
                    </a:lnTo>
                    <a:lnTo>
                      <a:pt x="1498" y="2271"/>
                    </a:lnTo>
                    <a:lnTo>
                      <a:pt x="1486" y="2271"/>
                    </a:lnTo>
                    <a:lnTo>
                      <a:pt x="1474" y="2271"/>
                    </a:lnTo>
                    <a:lnTo>
                      <a:pt x="1463" y="2271"/>
                    </a:lnTo>
                    <a:lnTo>
                      <a:pt x="1452" y="2271"/>
                    </a:lnTo>
                    <a:lnTo>
                      <a:pt x="1442" y="2271"/>
                    </a:lnTo>
                    <a:lnTo>
                      <a:pt x="1431" y="2271"/>
                    </a:lnTo>
                    <a:lnTo>
                      <a:pt x="1422" y="2272"/>
                    </a:lnTo>
                    <a:lnTo>
                      <a:pt x="1412" y="2276"/>
                    </a:lnTo>
                    <a:lnTo>
                      <a:pt x="1404" y="2280"/>
                    </a:lnTo>
                    <a:lnTo>
                      <a:pt x="1395" y="2284"/>
                    </a:lnTo>
                    <a:lnTo>
                      <a:pt x="1381" y="2289"/>
                    </a:lnTo>
                    <a:lnTo>
                      <a:pt x="1365" y="2291"/>
                    </a:lnTo>
                    <a:lnTo>
                      <a:pt x="1350" y="2295"/>
                    </a:lnTo>
                    <a:lnTo>
                      <a:pt x="1335" y="2297"/>
                    </a:lnTo>
                    <a:lnTo>
                      <a:pt x="1320" y="2299"/>
                    </a:lnTo>
                    <a:lnTo>
                      <a:pt x="1305" y="2302"/>
                    </a:lnTo>
                    <a:lnTo>
                      <a:pt x="1290" y="2305"/>
                    </a:lnTo>
                    <a:lnTo>
                      <a:pt x="1275" y="2309"/>
                    </a:lnTo>
                    <a:lnTo>
                      <a:pt x="1273" y="2051"/>
                    </a:lnTo>
                    <a:lnTo>
                      <a:pt x="102" y="2021"/>
                    </a:lnTo>
                    <a:lnTo>
                      <a:pt x="102" y="2021"/>
                    </a:lnTo>
                    <a:lnTo>
                      <a:pt x="93" y="1917"/>
                    </a:lnTo>
                    <a:lnTo>
                      <a:pt x="95" y="1915"/>
                    </a:lnTo>
                    <a:lnTo>
                      <a:pt x="96" y="1913"/>
                    </a:lnTo>
                    <a:lnTo>
                      <a:pt x="97" y="1910"/>
                    </a:lnTo>
                    <a:lnTo>
                      <a:pt x="96" y="1908"/>
                    </a:lnTo>
                    <a:lnTo>
                      <a:pt x="95" y="1892"/>
                    </a:lnTo>
                    <a:lnTo>
                      <a:pt x="91" y="1873"/>
                    </a:lnTo>
                    <a:lnTo>
                      <a:pt x="86" y="1854"/>
                    </a:lnTo>
                    <a:lnTo>
                      <a:pt x="80" y="1834"/>
                    </a:lnTo>
                    <a:lnTo>
                      <a:pt x="64" y="1795"/>
                    </a:lnTo>
                    <a:lnTo>
                      <a:pt x="51" y="1761"/>
                    </a:lnTo>
                    <a:lnTo>
                      <a:pt x="42" y="1738"/>
                    </a:lnTo>
                    <a:lnTo>
                      <a:pt x="30" y="1712"/>
                    </a:lnTo>
                    <a:lnTo>
                      <a:pt x="19" y="1684"/>
                    </a:lnTo>
                    <a:lnTo>
                      <a:pt x="8" y="1653"/>
                    </a:lnTo>
                    <a:lnTo>
                      <a:pt x="4" y="1639"/>
                    </a:lnTo>
                    <a:lnTo>
                      <a:pt x="1" y="1624"/>
                    </a:lnTo>
                    <a:lnTo>
                      <a:pt x="0" y="1610"/>
                    </a:lnTo>
                    <a:lnTo>
                      <a:pt x="0" y="1597"/>
                    </a:lnTo>
                    <a:lnTo>
                      <a:pt x="1" y="1590"/>
                    </a:lnTo>
                    <a:lnTo>
                      <a:pt x="2" y="1584"/>
                    </a:lnTo>
                    <a:lnTo>
                      <a:pt x="4" y="1578"/>
                    </a:lnTo>
                    <a:lnTo>
                      <a:pt x="7" y="1572"/>
                    </a:lnTo>
                    <a:lnTo>
                      <a:pt x="9" y="1566"/>
                    </a:lnTo>
                    <a:lnTo>
                      <a:pt x="14" y="1561"/>
                    </a:lnTo>
                    <a:lnTo>
                      <a:pt x="17" y="1557"/>
                    </a:lnTo>
                    <a:lnTo>
                      <a:pt x="23" y="1552"/>
                    </a:lnTo>
                    <a:lnTo>
                      <a:pt x="33" y="1545"/>
                    </a:lnTo>
                    <a:lnTo>
                      <a:pt x="43" y="1536"/>
                    </a:lnTo>
                    <a:lnTo>
                      <a:pt x="54" y="1525"/>
                    </a:lnTo>
                    <a:lnTo>
                      <a:pt x="64" y="1513"/>
                    </a:lnTo>
                    <a:lnTo>
                      <a:pt x="69" y="1506"/>
                    </a:lnTo>
                    <a:lnTo>
                      <a:pt x="74" y="1500"/>
                    </a:lnTo>
                    <a:lnTo>
                      <a:pt x="76" y="1493"/>
                    </a:lnTo>
                    <a:lnTo>
                      <a:pt x="80" y="1487"/>
                    </a:lnTo>
                    <a:lnTo>
                      <a:pt x="81" y="1480"/>
                    </a:lnTo>
                    <a:lnTo>
                      <a:pt x="81" y="1473"/>
                    </a:lnTo>
                    <a:lnTo>
                      <a:pt x="80" y="1467"/>
                    </a:lnTo>
                    <a:lnTo>
                      <a:pt x="78" y="1460"/>
                    </a:lnTo>
                    <a:lnTo>
                      <a:pt x="63" y="1444"/>
                    </a:lnTo>
                    <a:lnTo>
                      <a:pt x="49" y="1427"/>
                    </a:lnTo>
                    <a:lnTo>
                      <a:pt x="44" y="1413"/>
                    </a:lnTo>
                    <a:lnTo>
                      <a:pt x="41" y="1396"/>
                    </a:lnTo>
                    <a:lnTo>
                      <a:pt x="39" y="1381"/>
                    </a:lnTo>
                    <a:lnTo>
                      <a:pt x="39" y="1365"/>
                    </a:lnTo>
                    <a:lnTo>
                      <a:pt x="41" y="1358"/>
                    </a:lnTo>
                    <a:lnTo>
                      <a:pt x="42" y="1351"/>
                    </a:lnTo>
                    <a:lnTo>
                      <a:pt x="46" y="1346"/>
                    </a:lnTo>
                    <a:lnTo>
                      <a:pt x="47" y="1340"/>
                    </a:lnTo>
                    <a:lnTo>
                      <a:pt x="54" y="1332"/>
                    </a:lnTo>
                    <a:lnTo>
                      <a:pt x="60" y="1326"/>
                    </a:lnTo>
                    <a:lnTo>
                      <a:pt x="67" y="1322"/>
                    </a:lnTo>
                    <a:lnTo>
                      <a:pt x="76" y="1319"/>
                    </a:lnTo>
                    <a:lnTo>
                      <a:pt x="88" y="1316"/>
                    </a:lnTo>
                    <a:lnTo>
                      <a:pt x="98" y="1318"/>
                    </a:lnTo>
                    <a:lnTo>
                      <a:pt x="109" y="1319"/>
                    </a:lnTo>
                    <a:lnTo>
                      <a:pt x="120" y="1320"/>
                    </a:lnTo>
                    <a:lnTo>
                      <a:pt x="128" y="1323"/>
                    </a:lnTo>
                    <a:lnTo>
                      <a:pt x="138" y="1327"/>
                    </a:lnTo>
                    <a:lnTo>
                      <a:pt x="149" y="1330"/>
                    </a:lnTo>
                    <a:lnTo>
                      <a:pt x="157" y="1332"/>
                    </a:lnTo>
                    <a:lnTo>
                      <a:pt x="171" y="1332"/>
                    </a:lnTo>
                    <a:lnTo>
                      <a:pt x="185" y="1330"/>
                    </a:lnTo>
                    <a:lnTo>
                      <a:pt x="200" y="1328"/>
                    </a:lnTo>
                    <a:lnTo>
                      <a:pt x="214" y="1325"/>
                    </a:lnTo>
                    <a:lnTo>
                      <a:pt x="364" y="610"/>
                    </a:lnTo>
                    <a:lnTo>
                      <a:pt x="365" y="235"/>
                    </a:lnTo>
                    <a:lnTo>
                      <a:pt x="365" y="235"/>
                    </a:lnTo>
                    <a:lnTo>
                      <a:pt x="614" y="0"/>
                    </a:lnTo>
                    <a:lnTo>
                      <a:pt x="887" y="0"/>
                    </a:lnTo>
                    <a:lnTo>
                      <a:pt x="892" y="12"/>
                    </a:lnTo>
                    <a:lnTo>
                      <a:pt x="895" y="22"/>
                    </a:lnTo>
                    <a:lnTo>
                      <a:pt x="896" y="29"/>
                    </a:lnTo>
                    <a:lnTo>
                      <a:pt x="900" y="36"/>
                    </a:lnTo>
                    <a:lnTo>
                      <a:pt x="904" y="46"/>
                    </a:lnTo>
                    <a:lnTo>
                      <a:pt x="909" y="55"/>
                    </a:lnTo>
                    <a:lnTo>
                      <a:pt x="916" y="63"/>
                    </a:lnTo>
                    <a:lnTo>
                      <a:pt x="924" y="72"/>
                    </a:lnTo>
                    <a:lnTo>
                      <a:pt x="927" y="75"/>
                    </a:lnTo>
                    <a:lnTo>
                      <a:pt x="931" y="79"/>
                    </a:lnTo>
                    <a:lnTo>
                      <a:pt x="935" y="83"/>
                    </a:lnTo>
                    <a:lnTo>
                      <a:pt x="940" y="89"/>
                    </a:lnTo>
                    <a:lnTo>
                      <a:pt x="954" y="118"/>
                    </a:lnTo>
                    <a:lnTo>
                      <a:pt x="954" y="536"/>
                    </a:lnTo>
                    <a:lnTo>
                      <a:pt x="814" y="699"/>
                    </a:lnTo>
                    <a:lnTo>
                      <a:pt x="1003" y="846"/>
                    </a:lnTo>
                    <a:lnTo>
                      <a:pt x="1093" y="681"/>
                    </a:lnTo>
                    <a:lnTo>
                      <a:pt x="1305" y="681"/>
                    </a:lnTo>
                    <a:lnTo>
                      <a:pt x="1305" y="716"/>
                    </a:lnTo>
                    <a:lnTo>
                      <a:pt x="1403" y="722"/>
                    </a:lnTo>
                    <a:lnTo>
                      <a:pt x="1403" y="846"/>
                    </a:lnTo>
                    <a:lnTo>
                      <a:pt x="1454" y="846"/>
                    </a:lnTo>
                    <a:lnTo>
                      <a:pt x="1454" y="969"/>
                    </a:lnTo>
                    <a:lnTo>
                      <a:pt x="1543" y="969"/>
                    </a:lnTo>
                    <a:lnTo>
                      <a:pt x="1543" y="999"/>
                    </a:lnTo>
                    <a:lnTo>
                      <a:pt x="1667" y="999"/>
                    </a:lnTo>
                    <a:lnTo>
                      <a:pt x="1667" y="1022"/>
                    </a:lnTo>
                    <a:lnTo>
                      <a:pt x="1776" y="1022"/>
                    </a:lnTo>
                    <a:lnTo>
                      <a:pt x="1776" y="1057"/>
                    </a:lnTo>
                    <a:lnTo>
                      <a:pt x="1919" y="1057"/>
                    </a:lnTo>
                    <a:lnTo>
                      <a:pt x="1919" y="868"/>
                    </a:lnTo>
                    <a:lnTo>
                      <a:pt x="2012" y="868"/>
                    </a:lnTo>
                    <a:lnTo>
                      <a:pt x="2012" y="793"/>
                    </a:lnTo>
                    <a:lnTo>
                      <a:pt x="2085" y="793"/>
                    </a:lnTo>
                    <a:lnTo>
                      <a:pt x="2085" y="747"/>
                    </a:lnTo>
                    <a:lnTo>
                      <a:pt x="2123" y="628"/>
                    </a:lnTo>
                    <a:lnTo>
                      <a:pt x="2129" y="621"/>
                    </a:lnTo>
                    <a:lnTo>
                      <a:pt x="2135" y="611"/>
                    </a:lnTo>
                    <a:lnTo>
                      <a:pt x="2140" y="602"/>
                    </a:lnTo>
                    <a:lnTo>
                      <a:pt x="2145" y="593"/>
                    </a:lnTo>
                    <a:lnTo>
                      <a:pt x="2152" y="573"/>
                    </a:lnTo>
                    <a:lnTo>
                      <a:pt x="2158" y="551"/>
                    </a:lnTo>
                    <a:lnTo>
                      <a:pt x="2165" y="529"/>
                    </a:lnTo>
                    <a:lnTo>
                      <a:pt x="2173" y="508"/>
                    </a:lnTo>
                    <a:lnTo>
                      <a:pt x="2176" y="498"/>
                    </a:lnTo>
                    <a:lnTo>
                      <a:pt x="2182" y="488"/>
                    </a:lnTo>
                    <a:lnTo>
                      <a:pt x="2187" y="478"/>
                    </a:lnTo>
                    <a:lnTo>
                      <a:pt x="2194" y="470"/>
                    </a:lnTo>
                    <a:lnTo>
                      <a:pt x="2203" y="457"/>
                    </a:lnTo>
                    <a:lnTo>
                      <a:pt x="2214" y="445"/>
                    </a:lnTo>
                    <a:lnTo>
                      <a:pt x="2226" y="435"/>
                    </a:lnTo>
                    <a:lnTo>
                      <a:pt x="2237" y="424"/>
                    </a:lnTo>
                    <a:lnTo>
                      <a:pt x="2250" y="415"/>
                    </a:lnTo>
                    <a:lnTo>
                      <a:pt x="2263" y="408"/>
                    </a:lnTo>
                    <a:lnTo>
                      <a:pt x="2279" y="402"/>
                    </a:lnTo>
                    <a:lnTo>
                      <a:pt x="2294" y="397"/>
                    </a:lnTo>
                    <a:lnTo>
                      <a:pt x="2301" y="396"/>
                    </a:lnTo>
                    <a:lnTo>
                      <a:pt x="2309" y="395"/>
                    </a:lnTo>
                    <a:lnTo>
                      <a:pt x="2315" y="395"/>
                    </a:lnTo>
                    <a:lnTo>
                      <a:pt x="2321" y="396"/>
                    </a:lnTo>
                    <a:lnTo>
                      <a:pt x="2327" y="397"/>
                    </a:lnTo>
                    <a:lnTo>
                      <a:pt x="2333" y="398"/>
                    </a:lnTo>
                    <a:lnTo>
                      <a:pt x="2337" y="401"/>
                    </a:lnTo>
                    <a:lnTo>
                      <a:pt x="2341" y="404"/>
                    </a:lnTo>
                    <a:lnTo>
                      <a:pt x="2349" y="411"/>
                    </a:lnTo>
                    <a:lnTo>
                      <a:pt x="2354" y="419"/>
                    </a:lnTo>
                    <a:lnTo>
                      <a:pt x="2358" y="429"/>
                    </a:lnTo>
                    <a:lnTo>
                      <a:pt x="2361" y="441"/>
                    </a:lnTo>
                    <a:lnTo>
                      <a:pt x="2362" y="452"/>
                    </a:lnTo>
                    <a:lnTo>
                      <a:pt x="2362" y="464"/>
                    </a:lnTo>
                    <a:lnTo>
                      <a:pt x="2360" y="477"/>
                    </a:lnTo>
                    <a:lnTo>
                      <a:pt x="2357" y="489"/>
                    </a:lnTo>
                    <a:lnTo>
                      <a:pt x="2354" y="501"/>
                    </a:lnTo>
                    <a:lnTo>
                      <a:pt x="2350" y="512"/>
                    </a:lnTo>
                    <a:lnTo>
                      <a:pt x="2346" y="524"/>
                    </a:lnTo>
                    <a:lnTo>
                      <a:pt x="2340" y="534"/>
                    </a:lnTo>
                    <a:lnTo>
                      <a:pt x="2321" y="558"/>
                    </a:lnTo>
                    <a:lnTo>
                      <a:pt x="2301" y="582"/>
                    </a:lnTo>
                    <a:lnTo>
                      <a:pt x="2281" y="606"/>
                    </a:lnTo>
                    <a:lnTo>
                      <a:pt x="2263" y="630"/>
                    </a:lnTo>
                    <a:lnTo>
                      <a:pt x="2254" y="644"/>
                    </a:lnTo>
                    <a:lnTo>
                      <a:pt x="2247" y="657"/>
                    </a:lnTo>
                    <a:lnTo>
                      <a:pt x="2241" y="668"/>
                    </a:lnTo>
                    <a:lnTo>
                      <a:pt x="2236" y="679"/>
                    </a:lnTo>
                    <a:lnTo>
                      <a:pt x="2234" y="690"/>
                    </a:lnTo>
                    <a:lnTo>
                      <a:pt x="2232" y="702"/>
                    </a:lnTo>
                    <a:lnTo>
                      <a:pt x="2232" y="716"/>
                    </a:lnTo>
                    <a:lnTo>
                      <a:pt x="2233" y="732"/>
                    </a:lnTo>
                    <a:lnTo>
                      <a:pt x="2253" y="752"/>
                    </a:lnTo>
                    <a:lnTo>
                      <a:pt x="2274" y="775"/>
                    </a:lnTo>
                    <a:lnTo>
                      <a:pt x="2284" y="787"/>
                    </a:lnTo>
                    <a:lnTo>
                      <a:pt x="2294" y="800"/>
                    </a:lnTo>
                    <a:lnTo>
                      <a:pt x="2301" y="812"/>
                    </a:lnTo>
                    <a:lnTo>
                      <a:pt x="2307" y="822"/>
                    </a:lnTo>
                    <a:lnTo>
                      <a:pt x="2373" y="874"/>
                    </a:lnTo>
                    <a:lnTo>
                      <a:pt x="3325" y="745"/>
                    </a:lnTo>
                    <a:lnTo>
                      <a:pt x="3361" y="1048"/>
                    </a:lnTo>
                    <a:lnTo>
                      <a:pt x="3513" y="1023"/>
                    </a:lnTo>
                    <a:lnTo>
                      <a:pt x="3517" y="995"/>
                    </a:lnTo>
                    <a:lnTo>
                      <a:pt x="3520" y="969"/>
                    </a:lnTo>
                    <a:lnTo>
                      <a:pt x="3521" y="956"/>
                    </a:lnTo>
                    <a:lnTo>
                      <a:pt x="3524" y="943"/>
                    </a:lnTo>
                    <a:lnTo>
                      <a:pt x="3527" y="937"/>
                    </a:lnTo>
                    <a:lnTo>
                      <a:pt x="3530" y="930"/>
                    </a:lnTo>
                    <a:lnTo>
                      <a:pt x="3535" y="924"/>
                    </a:lnTo>
                    <a:lnTo>
                      <a:pt x="3540" y="917"/>
                    </a:lnTo>
                    <a:lnTo>
                      <a:pt x="3547" y="916"/>
                    </a:lnTo>
                    <a:lnTo>
                      <a:pt x="3554" y="912"/>
                    </a:lnTo>
                    <a:lnTo>
                      <a:pt x="3560" y="909"/>
                    </a:lnTo>
                    <a:lnTo>
                      <a:pt x="3567" y="904"/>
                    </a:lnTo>
                    <a:lnTo>
                      <a:pt x="3580" y="892"/>
                    </a:lnTo>
                    <a:lnTo>
                      <a:pt x="3592" y="879"/>
                    </a:lnTo>
                    <a:lnTo>
                      <a:pt x="3607" y="865"/>
                    </a:lnTo>
                    <a:lnTo>
                      <a:pt x="3620" y="852"/>
                    </a:lnTo>
                    <a:lnTo>
                      <a:pt x="3628" y="846"/>
                    </a:lnTo>
                    <a:lnTo>
                      <a:pt x="3635" y="840"/>
                    </a:lnTo>
                    <a:lnTo>
                      <a:pt x="3643" y="837"/>
                    </a:lnTo>
                    <a:lnTo>
                      <a:pt x="3651" y="832"/>
                    </a:lnTo>
                    <a:lnTo>
                      <a:pt x="3682" y="821"/>
                    </a:lnTo>
                    <a:lnTo>
                      <a:pt x="3714" y="811"/>
                    </a:lnTo>
                    <a:lnTo>
                      <a:pt x="3746" y="801"/>
                    </a:lnTo>
                    <a:lnTo>
                      <a:pt x="3779" y="792"/>
                    </a:lnTo>
                    <a:lnTo>
                      <a:pt x="3812" y="781"/>
                    </a:lnTo>
                    <a:lnTo>
                      <a:pt x="3844" y="769"/>
                    </a:lnTo>
                    <a:lnTo>
                      <a:pt x="3876" y="758"/>
                    </a:lnTo>
                    <a:lnTo>
                      <a:pt x="3905" y="743"/>
                    </a:lnTo>
                    <a:lnTo>
                      <a:pt x="3918" y="735"/>
                    </a:lnTo>
                    <a:lnTo>
                      <a:pt x="3933" y="728"/>
                    </a:lnTo>
                    <a:lnTo>
                      <a:pt x="3942" y="726"/>
                    </a:lnTo>
                    <a:lnTo>
                      <a:pt x="3950" y="725"/>
                    </a:lnTo>
                    <a:lnTo>
                      <a:pt x="3958" y="725"/>
                    </a:lnTo>
                    <a:lnTo>
                      <a:pt x="3965" y="727"/>
                    </a:lnTo>
                    <a:lnTo>
                      <a:pt x="3974" y="733"/>
                    </a:lnTo>
                    <a:lnTo>
                      <a:pt x="3982" y="740"/>
                    </a:lnTo>
                    <a:lnTo>
                      <a:pt x="3989" y="747"/>
                    </a:lnTo>
                    <a:lnTo>
                      <a:pt x="3994" y="754"/>
                    </a:lnTo>
                    <a:lnTo>
                      <a:pt x="3998" y="756"/>
                    </a:lnTo>
                    <a:lnTo>
                      <a:pt x="4001" y="759"/>
                    </a:lnTo>
                    <a:lnTo>
                      <a:pt x="4006" y="761"/>
                    </a:lnTo>
                    <a:lnTo>
                      <a:pt x="4011" y="761"/>
                    </a:lnTo>
                    <a:lnTo>
                      <a:pt x="4016" y="762"/>
                    </a:lnTo>
                    <a:lnTo>
                      <a:pt x="4020" y="761"/>
                    </a:lnTo>
                    <a:lnTo>
                      <a:pt x="4027" y="759"/>
                    </a:lnTo>
                    <a:lnTo>
                      <a:pt x="4033" y="755"/>
                    </a:lnTo>
                    <a:lnTo>
                      <a:pt x="4040" y="752"/>
                    </a:lnTo>
                    <a:lnTo>
                      <a:pt x="4045" y="748"/>
                    </a:lnTo>
                    <a:lnTo>
                      <a:pt x="4051" y="743"/>
                    </a:lnTo>
                    <a:lnTo>
                      <a:pt x="4054" y="739"/>
                    </a:lnTo>
                    <a:lnTo>
                      <a:pt x="4063" y="728"/>
                    </a:lnTo>
                    <a:lnTo>
                      <a:pt x="4070" y="718"/>
                    </a:lnTo>
                    <a:lnTo>
                      <a:pt x="4077" y="707"/>
                    </a:lnTo>
                    <a:lnTo>
                      <a:pt x="4085" y="698"/>
                    </a:lnTo>
                    <a:lnTo>
                      <a:pt x="4091" y="694"/>
                    </a:lnTo>
                    <a:lnTo>
                      <a:pt x="4097" y="689"/>
                    </a:lnTo>
                    <a:lnTo>
                      <a:pt x="4103" y="686"/>
                    </a:lnTo>
                    <a:lnTo>
                      <a:pt x="4111" y="683"/>
                    </a:lnTo>
                    <a:lnTo>
                      <a:pt x="4219" y="674"/>
                    </a:lnTo>
                    <a:lnTo>
                      <a:pt x="4219" y="674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52">
                <a:extLst>
                  <a:ext uri="{FF2B5EF4-FFF2-40B4-BE49-F238E27FC236}">
                    <a16:creationId xmlns:a16="http://schemas.microsoft.com/office/drawing/2014/main" id="{6D7EE04C-B0EC-4736-8FF9-F6E2BB218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43631" y="2964460"/>
                <a:ext cx="1044960" cy="600076"/>
              </a:xfrm>
              <a:custGeom>
                <a:avLst/>
                <a:gdLst>
                  <a:gd name="T0" fmla="*/ 845 w 4262"/>
                  <a:gd name="T1" fmla="*/ 1420 h 2448"/>
                  <a:gd name="T2" fmla="*/ 876 w 4262"/>
                  <a:gd name="T3" fmla="*/ 1466 h 2448"/>
                  <a:gd name="T4" fmla="*/ 763 w 4262"/>
                  <a:gd name="T5" fmla="*/ 2090 h 2448"/>
                  <a:gd name="T6" fmla="*/ 1352 w 4262"/>
                  <a:gd name="T7" fmla="*/ 2237 h 2448"/>
                  <a:gd name="T8" fmla="*/ 1616 w 4262"/>
                  <a:gd name="T9" fmla="*/ 2413 h 2448"/>
                  <a:gd name="T10" fmla="*/ 1961 w 4262"/>
                  <a:gd name="T11" fmla="*/ 2184 h 2448"/>
                  <a:gd name="T12" fmla="*/ 2089 w 4262"/>
                  <a:gd name="T13" fmla="*/ 1993 h 2448"/>
                  <a:gd name="T14" fmla="*/ 2125 w 4262"/>
                  <a:gd name="T15" fmla="*/ 1889 h 2448"/>
                  <a:gd name="T16" fmla="*/ 2175 w 4262"/>
                  <a:gd name="T17" fmla="*/ 1826 h 2448"/>
                  <a:gd name="T18" fmla="*/ 2250 w 4262"/>
                  <a:gd name="T19" fmla="*/ 1787 h 2448"/>
                  <a:gd name="T20" fmla="*/ 2286 w 4262"/>
                  <a:gd name="T21" fmla="*/ 1792 h 2448"/>
                  <a:gd name="T22" fmla="*/ 2311 w 4262"/>
                  <a:gd name="T23" fmla="*/ 1843 h 2448"/>
                  <a:gd name="T24" fmla="*/ 2295 w 4262"/>
                  <a:gd name="T25" fmla="*/ 1915 h 2448"/>
                  <a:gd name="T26" fmla="*/ 2203 w 4262"/>
                  <a:gd name="T27" fmla="*/ 2035 h 2448"/>
                  <a:gd name="T28" fmla="*/ 2181 w 4262"/>
                  <a:gd name="T29" fmla="*/ 2107 h 2448"/>
                  <a:gd name="T30" fmla="*/ 2250 w 4262"/>
                  <a:gd name="T31" fmla="*/ 2203 h 2448"/>
                  <a:gd name="T32" fmla="*/ 3466 w 4262"/>
                  <a:gd name="T33" fmla="*/ 2386 h 2448"/>
                  <a:gd name="T34" fmla="*/ 3484 w 4262"/>
                  <a:gd name="T35" fmla="*/ 2315 h 2448"/>
                  <a:gd name="T36" fmla="*/ 3529 w 4262"/>
                  <a:gd name="T37" fmla="*/ 2283 h 2448"/>
                  <a:gd name="T38" fmla="*/ 3592 w 4262"/>
                  <a:gd name="T39" fmla="*/ 2228 h 2448"/>
                  <a:gd name="T40" fmla="*/ 3761 w 4262"/>
                  <a:gd name="T41" fmla="*/ 2172 h 2448"/>
                  <a:gd name="T42" fmla="*/ 3891 w 4262"/>
                  <a:gd name="T43" fmla="*/ 2117 h 2448"/>
                  <a:gd name="T44" fmla="*/ 3938 w 4262"/>
                  <a:gd name="T45" fmla="*/ 2138 h 2448"/>
                  <a:gd name="T46" fmla="*/ 3965 w 4262"/>
                  <a:gd name="T47" fmla="*/ 2153 h 2448"/>
                  <a:gd name="T48" fmla="*/ 4000 w 4262"/>
                  <a:gd name="T49" fmla="*/ 2134 h 2448"/>
                  <a:gd name="T50" fmla="*/ 4040 w 4262"/>
                  <a:gd name="T51" fmla="*/ 2085 h 2448"/>
                  <a:gd name="T52" fmla="*/ 4191 w 4262"/>
                  <a:gd name="T53" fmla="*/ 2045 h 2448"/>
                  <a:gd name="T54" fmla="*/ 4220 w 4262"/>
                  <a:gd name="T55" fmla="*/ 1984 h 2448"/>
                  <a:gd name="T56" fmla="*/ 4187 w 4262"/>
                  <a:gd name="T57" fmla="*/ 1921 h 2448"/>
                  <a:gd name="T58" fmla="*/ 4213 w 4262"/>
                  <a:gd name="T59" fmla="*/ 1849 h 2448"/>
                  <a:gd name="T60" fmla="*/ 4243 w 4262"/>
                  <a:gd name="T61" fmla="*/ 1782 h 2448"/>
                  <a:gd name="T62" fmla="*/ 4261 w 4262"/>
                  <a:gd name="T63" fmla="*/ 1738 h 2448"/>
                  <a:gd name="T64" fmla="*/ 4236 w 4262"/>
                  <a:gd name="T65" fmla="*/ 1721 h 2448"/>
                  <a:gd name="T66" fmla="*/ 4207 w 4262"/>
                  <a:gd name="T67" fmla="*/ 1690 h 2448"/>
                  <a:gd name="T68" fmla="*/ 4218 w 4262"/>
                  <a:gd name="T69" fmla="*/ 1642 h 2448"/>
                  <a:gd name="T70" fmla="*/ 4177 w 4262"/>
                  <a:gd name="T71" fmla="*/ 1632 h 2448"/>
                  <a:gd name="T72" fmla="*/ 3986 w 4262"/>
                  <a:gd name="T73" fmla="*/ 1661 h 2448"/>
                  <a:gd name="T74" fmla="*/ 3891 w 4262"/>
                  <a:gd name="T75" fmla="*/ 1667 h 2448"/>
                  <a:gd name="T76" fmla="*/ 3883 w 4262"/>
                  <a:gd name="T77" fmla="*/ 1582 h 2448"/>
                  <a:gd name="T78" fmla="*/ 3869 w 4262"/>
                  <a:gd name="T79" fmla="*/ 1350 h 2448"/>
                  <a:gd name="T80" fmla="*/ 3859 w 4262"/>
                  <a:gd name="T81" fmla="*/ 1317 h 2448"/>
                  <a:gd name="T82" fmla="*/ 3824 w 4262"/>
                  <a:gd name="T83" fmla="*/ 1333 h 2448"/>
                  <a:gd name="T84" fmla="*/ 3686 w 4262"/>
                  <a:gd name="T85" fmla="*/ 1425 h 2448"/>
                  <a:gd name="T86" fmla="*/ 3632 w 4262"/>
                  <a:gd name="T87" fmla="*/ 1522 h 2448"/>
                  <a:gd name="T88" fmla="*/ 3584 w 4262"/>
                  <a:gd name="T89" fmla="*/ 1601 h 2448"/>
                  <a:gd name="T90" fmla="*/ 3517 w 4262"/>
                  <a:gd name="T91" fmla="*/ 1667 h 2448"/>
                  <a:gd name="T92" fmla="*/ 3498 w 4262"/>
                  <a:gd name="T93" fmla="*/ 1645 h 2448"/>
                  <a:gd name="T94" fmla="*/ 3522 w 4262"/>
                  <a:gd name="T95" fmla="*/ 1504 h 2448"/>
                  <a:gd name="T96" fmla="*/ 2869 w 4262"/>
                  <a:gd name="T97" fmla="*/ 985 h 2448"/>
                  <a:gd name="T98" fmla="*/ 1522 w 4262"/>
                  <a:gd name="T99" fmla="*/ 678 h 2448"/>
                  <a:gd name="T100" fmla="*/ 1507 w 4262"/>
                  <a:gd name="T101" fmla="*/ 622 h 2448"/>
                  <a:gd name="T102" fmla="*/ 1453 w 4262"/>
                  <a:gd name="T103" fmla="*/ 583 h 2448"/>
                  <a:gd name="T104" fmla="*/ 447 w 4262"/>
                  <a:gd name="T105" fmla="*/ 0 h 2448"/>
                  <a:gd name="T106" fmla="*/ 4 w 4262"/>
                  <a:gd name="T107" fmla="*/ 1494 h 2448"/>
                  <a:gd name="T108" fmla="*/ 70 w 4262"/>
                  <a:gd name="T109" fmla="*/ 1524 h 2448"/>
                  <a:gd name="T110" fmla="*/ 167 w 4262"/>
                  <a:gd name="T111" fmla="*/ 1612 h 2448"/>
                  <a:gd name="T112" fmla="*/ 221 w 4262"/>
                  <a:gd name="T113" fmla="*/ 1636 h 2448"/>
                  <a:gd name="T114" fmla="*/ 314 w 4262"/>
                  <a:gd name="T115" fmla="*/ 1626 h 2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262" h="2448">
                    <a:moveTo>
                      <a:pt x="314" y="1626"/>
                    </a:moveTo>
                    <a:lnTo>
                      <a:pt x="563" y="1391"/>
                    </a:lnTo>
                    <a:lnTo>
                      <a:pt x="836" y="1391"/>
                    </a:lnTo>
                    <a:lnTo>
                      <a:pt x="841" y="1403"/>
                    </a:lnTo>
                    <a:lnTo>
                      <a:pt x="844" y="1413"/>
                    </a:lnTo>
                    <a:lnTo>
                      <a:pt x="845" y="1420"/>
                    </a:lnTo>
                    <a:lnTo>
                      <a:pt x="849" y="1427"/>
                    </a:lnTo>
                    <a:lnTo>
                      <a:pt x="853" y="1437"/>
                    </a:lnTo>
                    <a:lnTo>
                      <a:pt x="858" y="1446"/>
                    </a:lnTo>
                    <a:lnTo>
                      <a:pt x="865" y="1454"/>
                    </a:lnTo>
                    <a:lnTo>
                      <a:pt x="873" y="1463"/>
                    </a:lnTo>
                    <a:lnTo>
                      <a:pt x="876" y="1466"/>
                    </a:lnTo>
                    <a:lnTo>
                      <a:pt x="880" y="1470"/>
                    </a:lnTo>
                    <a:lnTo>
                      <a:pt x="884" y="1474"/>
                    </a:lnTo>
                    <a:lnTo>
                      <a:pt x="889" y="1480"/>
                    </a:lnTo>
                    <a:lnTo>
                      <a:pt x="903" y="1509"/>
                    </a:lnTo>
                    <a:lnTo>
                      <a:pt x="903" y="1927"/>
                    </a:lnTo>
                    <a:lnTo>
                      <a:pt x="763" y="2090"/>
                    </a:lnTo>
                    <a:lnTo>
                      <a:pt x="952" y="2237"/>
                    </a:lnTo>
                    <a:lnTo>
                      <a:pt x="1042" y="2072"/>
                    </a:lnTo>
                    <a:lnTo>
                      <a:pt x="1254" y="2072"/>
                    </a:lnTo>
                    <a:lnTo>
                      <a:pt x="1254" y="2107"/>
                    </a:lnTo>
                    <a:lnTo>
                      <a:pt x="1352" y="2113"/>
                    </a:lnTo>
                    <a:lnTo>
                      <a:pt x="1352" y="2237"/>
                    </a:lnTo>
                    <a:lnTo>
                      <a:pt x="1403" y="2237"/>
                    </a:lnTo>
                    <a:lnTo>
                      <a:pt x="1403" y="2360"/>
                    </a:lnTo>
                    <a:lnTo>
                      <a:pt x="1492" y="2360"/>
                    </a:lnTo>
                    <a:lnTo>
                      <a:pt x="1492" y="2390"/>
                    </a:lnTo>
                    <a:lnTo>
                      <a:pt x="1616" y="2390"/>
                    </a:lnTo>
                    <a:lnTo>
                      <a:pt x="1616" y="2413"/>
                    </a:lnTo>
                    <a:lnTo>
                      <a:pt x="1725" y="2413"/>
                    </a:lnTo>
                    <a:lnTo>
                      <a:pt x="1725" y="2448"/>
                    </a:lnTo>
                    <a:lnTo>
                      <a:pt x="1868" y="2448"/>
                    </a:lnTo>
                    <a:lnTo>
                      <a:pt x="1868" y="2259"/>
                    </a:lnTo>
                    <a:lnTo>
                      <a:pt x="1961" y="2259"/>
                    </a:lnTo>
                    <a:lnTo>
                      <a:pt x="1961" y="2184"/>
                    </a:lnTo>
                    <a:lnTo>
                      <a:pt x="2034" y="2184"/>
                    </a:lnTo>
                    <a:lnTo>
                      <a:pt x="2034" y="2138"/>
                    </a:lnTo>
                    <a:lnTo>
                      <a:pt x="2072" y="2019"/>
                    </a:lnTo>
                    <a:lnTo>
                      <a:pt x="2078" y="2012"/>
                    </a:lnTo>
                    <a:lnTo>
                      <a:pt x="2084" y="2002"/>
                    </a:lnTo>
                    <a:lnTo>
                      <a:pt x="2089" y="1993"/>
                    </a:lnTo>
                    <a:lnTo>
                      <a:pt x="2094" y="1984"/>
                    </a:lnTo>
                    <a:lnTo>
                      <a:pt x="2101" y="1964"/>
                    </a:lnTo>
                    <a:lnTo>
                      <a:pt x="2107" y="1942"/>
                    </a:lnTo>
                    <a:lnTo>
                      <a:pt x="2114" y="1920"/>
                    </a:lnTo>
                    <a:lnTo>
                      <a:pt x="2122" y="1899"/>
                    </a:lnTo>
                    <a:lnTo>
                      <a:pt x="2125" y="1889"/>
                    </a:lnTo>
                    <a:lnTo>
                      <a:pt x="2131" y="1879"/>
                    </a:lnTo>
                    <a:lnTo>
                      <a:pt x="2136" y="1869"/>
                    </a:lnTo>
                    <a:lnTo>
                      <a:pt x="2143" y="1861"/>
                    </a:lnTo>
                    <a:lnTo>
                      <a:pt x="2152" y="1848"/>
                    </a:lnTo>
                    <a:lnTo>
                      <a:pt x="2163" y="1836"/>
                    </a:lnTo>
                    <a:lnTo>
                      <a:pt x="2175" y="1826"/>
                    </a:lnTo>
                    <a:lnTo>
                      <a:pt x="2186" y="1815"/>
                    </a:lnTo>
                    <a:lnTo>
                      <a:pt x="2199" y="1806"/>
                    </a:lnTo>
                    <a:lnTo>
                      <a:pt x="2212" y="1799"/>
                    </a:lnTo>
                    <a:lnTo>
                      <a:pt x="2228" y="1793"/>
                    </a:lnTo>
                    <a:lnTo>
                      <a:pt x="2243" y="1788"/>
                    </a:lnTo>
                    <a:lnTo>
                      <a:pt x="2250" y="1787"/>
                    </a:lnTo>
                    <a:lnTo>
                      <a:pt x="2258" y="1786"/>
                    </a:lnTo>
                    <a:lnTo>
                      <a:pt x="2264" y="1786"/>
                    </a:lnTo>
                    <a:lnTo>
                      <a:pt x="2270" y="1787"/>
                    </a:lnTo>
                    <a:lnTo>
                      <a:pt x="2276" y="1788"/>
                    </a:lnTo>
                    <a:lnTo>
                      <a:pt x="2282" y="1789"/>
                    </a:lnTo>
                    <a:lnTo>
                      <a:pt x="2286" y="1792"/>
                    </a:lnTo>
                    <a:lnTo>
                      <a:pt x="2290" y="1795"/>
                    </a:lnTo>
                    <a:lnTo>
                      <a:pt x="2298" y="1802"/>
                    </a:lnTo>
                    <a:lnTo>
                      <a:pt x="2303" y="1810"/>
                    </a:lnTo>
                    <a:lnTo>
                      <a:pt x="2307" y="1820"/>
                    </a:lnTo>
                    <a:lnTo>
                      <a:pt x="2310" y="1832"/>
                    </a:lnTo>
                    <a:lnTo>
                      <a:pt x="2311" y="1843"/>
                    </a:lnTo>
                    <a:lnTo>
                      <a:pt x="2311" y="1855"/>
                    </a:lnTo>
                    <a:lnTo>
                      <a:pt x="2309" y="1868"/>
                    </a:lnTo>
                    <a:lnTo>
                      <a:pt x="2306" y="1880"/>
                    </a:lnTo>
                    <a:lnTo>
                      <a:pt x="2303" y="1892"/>
                    </a:lnTo>
                    <a:lnTo>
                      <a:pt x="2299" y="1903"/>
                    </a:lnTo>
                    <a:lnTo>
                      <a:pt x="2295" y="1915"/>
                    </a:lnTo>
                    <a:lnTo>
                      <a:pt x="2289" y="1925"/>
                    </a:lnTo>
                    <a:lnTo>
                      <a:pt x="2270" y="1949"/>
                    </a:lnTo>
                    <a:lnTo>
                      <a:pt x="2250" y="1973"/>
                    </a:lnTo>
                    <a:lnTo>
                      <a:pt x="2230" y="1997"/>
                    </a:lnTo>
                    <a:lnTo>
                      <a:pt x="2212" y="2021"/>
                    </a:lnTo>
                    <a:lnTo>
                      <a:pt x="2203" y="2035"/>
                    </a:lnTo>
                    <a:lnTo>
                      <a:pt x="2196" y="2048"/>
                    </a:lnTo>
                    <a:lnTo>
                      <a:pt x="2190" y="2059"/>
                    </a:lnTo>
                    <a:lnTo>
                      <a:pt x="2185" y="2070"/>
                    </a:lnTo>
                    <a:lnTo>
                      <a:pt x="2183" y="2081"/>
                    </a:lnTo>
                    <a:lnTo>
                      <a:pt x="2181" y="2093"/>
                    </a:lnTo>
                    <a:lnTo>
                      <a:pt x="2181" y="2107"/>
                    </a:lnTo>
                    <a:lnTo>
                      <a:pt x="2182" y="2123"/>
                    </a:lnTo>
                    <a:lnTo>
                      <a:pt x="2202" y="2143"/>
                    </a:lnTo>
                    <a:lnTo>
                      <a:pt x="2223" y="2166"/>
                    </a:lnTo>
                    <a:lnTo>
                      <a:pt x="2233" y="2178"/>
                    </a:lnTo>
                    <a:lnTo>
                      <a:pt x="2243" y="2191"/>
                    </a:lnTo>
                    <a:lnTo>
                      <a:pt x="2250" y="2203"/>
                    </a:lnTo>
                    <a:lnTo>
                      <a:pt x="2256" y="2213"/>
                    </a:lnTo>
                    <a:lnTo>
                      <a:pt x="2322" y="2265"/>
                    </a:lnTo>
                    <a:lnTo>
                      <a:pt x="3274" y="2136"/>
                    </a:lnTo>
                    <a:lnTo>
                      <a:pt x="3310" y="2439"/>
                    </a:lnTo>
                    <a:lnTo>
                      <a:pt x="3462" y="2414"/>
                    </a:lnTo>
                    <a:lnTo>
                      <a:pt x="3466" y="2386"/>
                    </a:lnTo>
                    <a:lnTo>
                      <a:pt x="3469" y="2360"/>
                    </a:lnTo>
                    <a:lnTo>
                      <a:pt x="3470" y="2347"/>
                    </a:lnTo>
                    <a:lnTo>
                      <a:pt x="3473" y="2334"/>
                    </a:lnTo>
                    <a:lnTo>
                      <a:pt x="3476" y="2328"/>
                    </a:lnTo>
                    <a:lnTo>
                      <a:pt x="3479" y="2321"/>
                    </a:lnTo>
                    <a:lnTo>
                      <a:pt x="3484" y="2315"/>
                    </a:lnTo>
                    <a:lnTo>
                      <a:pt x="3489" y="2308"/>
                    </a:lnTo>
                    <a:lnTo>
                      <a:pt x="3496" y="2307"/>
                    </a:lnTo>
                    <a:lnTo>
                      <a:pt x="3503" y="2303"/>
                    </a:lnTo>
                    <a:lnTo>
                      <a:pt x="3509" y="2300"/>
                    </a:lnTo>
                    <a:lnTo>
                      <a:pt x="3516" y="2295"/>
                    </a:lnTo>
                    <a:lnTo>
                      <a:pt x="3529" y="2283"/>
                    </a:lnTo>
                    <a:lnTo>
                      <a:pt x="3541" y="2270"/>
                    </a:lnTo>
                    <a:lnTo>
                      <a:pt x="3556" y="2256"/>
                    </a:lnTo>
                    <a:lnTo>
                      <a:pt x="3569" y="2243"/>
                    </a:lnTo>
                    <a:lnTo>
                      <a:pt x="3577" y="2237"/>
                    </a:lnTo>
                    <a:lnTo>
                      <a:pt x="3584" y="2231"/>
                    </a:lnTo>
                    <a:lnTo>
                      <a:pt x="3592" y="2228"/>
                    </a:lnTo>
                    <a:lnTo>
                      <a:pt x="3600" y="2223"/>
                    </a:lnTo>
                    <a:lnTo>
                      <a:pt x="3631" y="2212"/>
                    </a:lnTo>
                    <a:lnTo>
                      <a:pt x="3663" y="2202"/>
                    </a:lnTo>
                    <a:lnTo>
                      <a:pt x="3695" y="2192"/>
                    </a:lnTo>
                    <a:lnTo>
                      <a:pt x="3728" y="2183"/>
                    </a:lnTo>
                    <a:lnTo>
                      <a:pt x="3761" y="2172"/>
                    </a:lnTo>
                    <a:lnTo>
                      <a:pt x="3793" y="2160"/>
                    </a:lnTo>
                    <a:lnTo>
                      <a:pt x="3825" y="2149"/>
                    </a:lnTo>
                    <a:lnTo>
                      <a:pt x="3854" y="2134"/>
                    </a:lnTo>
                    <a:lnTo>
                      <a:pt x="3867" y="2126"/>
                    </a:lnTo>
                    <a:lnTo>
                      <a:pt x="3882" y="2119"/>
                    </a:lnTo>
                    <a:lnTo>
                      <a:pt x="3891" y="2117"/>
                    </a:lnTo>
                    <a:lnTo>
                      <a:pt x="3899" y="2116"/>
                    </a:lnTo>
                    <a:lnTo>
                      <a:pt x="3907" y="2116"/>
                    </a:lnTo>
                    <a:lnTo>
                      <a:pt x="3914" y="2118"/>
                    </a:lnTo>
                    <a:lnTo>
                      <a:pt x="3923" y="2124"/>
                    </a:lnTo>
                    <a:lnTo>
                      <a:pt x="3931" y="2131"/>
                    </a:lnTo>
                    <a:lnTo>
                      <a:pt x="3938" y="2138"/>
                    </a:lnTo>
                    <a:lnTo>
                      <a:pt x="3943" y="2145"/>
                    </a:lnTo>
                    <a:lnTo>
                      <a:pt x="3947" y="2147"/>
                    </a:lnTo>
                    <a:lnTo>
                      <a:pt x="3950" y="2150"/>
                    </a:lnTo>
                    <a:lnTo>
                      <a:pt x="3955" y="2152"/>
                    </a:lnTo>
                    <a:lnTo>
                      <a:pt x="3960" y="2152"/>
                    </a:lnTo>
                    <a:lnTo>
                      <a:pt x="3965" y="2153"/>
                    </a:lnTo>
                    <a:lnTo>
                      <a:pt x="3969" y="2152"/>
                    </a:lnTo>
                    <a:lnTo>
                      <a:pt x="3976" y="2150"/>
                    </a:lnTo>
                    <a:lnTo>
                      <a:pt x="3982" y="2146"/>
                    </a:lnTo>
                    <a:lnTo>
                      <a:pt x="3989" y="2143"/>
                    </a:lnTo>
                    <a:lnTo>
                      <a:pt x="3994" y="2139"/>
                    </a:lnTo>
                    <a:lnTo>
                      <a:pt x="4000" y="2134"/>
                    </a:lnTo>
                    <a:lnTo>
                      <a:pt x="4003" y="2130"/>
                    </a:lnTo>
                    <a:lnTo>
                      <a:pt x="4012" y="2119"/>
                    </a:lnTo>
                    <a:lnTo>
                      <a:pt x="4019" y="2109"/>
                    </a:lnTo>
                    <a:lnTo>
                      <a:pt x="4026" y="2098"/>
                    </a:lnTo>
                    <a:lnTo>
                      <a:pt x="4034" y="2089"/>
                    </a:lnTo>
                    <a:lnTo>
                      <a:pt x="4040" y="2085"/>
                    </a:lnTo>
                    <a:lnTo>
                      <a:pt x="4046" y="2080"/>
                    </a:lnTo>
                    <a:lnTo>
                      <a:pt x="4052" y="2077"/>
                    </a:lnTo>
                    <a:lnTo>
                      <a:pt x="4060" y="2074"/>
                    </a:lnTo>
                    <a:lnTo>
                      <a:pt x="4168" y="2065"/>
                    </a:lnTo>
                    <a:lnTo>
                      <a:pt x="4168" y="2065"/>
                    </a:lnTo>
                    <a:lnTo>
                      <a:pt x="4191" y="2045"/>
                    </a:lnTo>
                    <a:lnTo>
                      <a:pt x="4208" y="2034"/>
                    </a:lnTo>
                    <a:lnTo>
                      <a:pt x="4225" y="2025"/>
                    </a:lnTo>
                    <a:lnTo>
                      <a:pt x="4227" y="2014"/>
                    </a:lnTo>
                    <a:lnTo>
                      <a:pt x="4225" y="2005"/>
                    </a:lnTo>
                    <a:lnTo>
                      <a:pt x="4223" y="1994"/>
                    </a:lnTo>
                    <a:lnTo>
                      <a:pt x="4220" y="1984"/>
                    </a:lnTo>
                    <a:lnTo>
                      <a:pt x="4208" y="1965"/>
                    </a:lnTo>
                    <a:lnTo>
                      <a:pt x="4196" y="1947"/>
                    </a:lnTo>
                    <a:lnTo>
                      <a:pt x="4191" y="1940"/>
                    </a:lnTo>
                    <a:lnTo>
                      <a:pt x="4189" y="1934"/>
                    </a:lnTo>
                    <a:lnTo>
                      <a:pt x="4187" y="1927"/>
                    </a:lnTo>
                    <a:lnTo>
                      <a:pt x="4187" y="1921"/>
                    </a:lnTo>
                    <a:lnTo>
                      <a:pt x="4187" y="1915"/>
                    </a:lnTo>
                    <a:lnTo>
                      <a:pt x="4188" y="1909"/>
                    </a:lnTo>
                    <a:lnTo>
                      <a:pt x="4189" y="1903"/>
                    </a:lnTo>
                    <a:lnTo>
                      <a:pt x="4191" y="1898"/>
                    </a:lnTo>
                    <a:lnTo>
                      <a:pt x="4202" y="1874"/>
                    </a:lnTo>
                    <a:lnTo>
                      <a:pt x="4213" y="1849"/>
                    </a:lnTo>
                    <a:lnTo>
                      <a:pt x="4217" y="1830"/>
                    </a:lnTo>
                    <a:lnTo>
                      <a:pt x="4223" y="1814"/>
                    </a:lnTo>
                    <a:lnTo>
                      <a:pt x="4227" y="1806"/>
                    </a:lnTo>
                    <a:lnTo>
                      <a:pt x="4230" y="1799"/>
                    </a:lnTo>
                    <a:lnTo>
                      <a:pt x="4236" y="1790"/>
                    </a:lnTo>
                    <a:lnTo>
                      <a:pt x="4243" y="1782"/>
                    </a:lnTo>
                    <a:lnTo>
                      <a:pt x="4250" y="1774"/>
                    </a:lnTo>
                    <a:lnTo>
                      <a:pt x="4256" y="1764"/>
                    </a:lnTo>
                    <a:lnTo>
                      <a:pt x="4261" y="1755"/>
                    </a:lnTo>
                    <a:lnTo>
                      <a:pt x="4262" y="1747"/>
                    </a:lnTo>
                    <a:lnTo>
                      <a:pt x="4262" y="1743"/>
                    </a:lnTo>
                    <a:lnTo>
                      <a:pt x="4261" y="1738"/>
                    </a:lnTo>
                    <a:lnTo>
                      <a:pt x="4258" y="1735"/>
                    </a:lnTo>
                    <a:lnTo>
                      <a:pt x="4256" y="1731"/>
                    </a:lnTo>
                    <a:lnTo>
                      <a:pt x="4253" y="1728"/>
                    </a:lnTo>
                    <a:lnTo>
                      <a:pt x="4248" y="1726"/>
                    </a:lnTo>
                    <a:lnTo>
                      <a:pt x="4242" y="1723"/>
                    </a:lnTo>
                    <a:lnTo>
                      <a:pt x="4236" y="1721"/>
                    </a:lnTo>
                    <a:lnTo>
                      <a:pt x="4224" y="1717"/>
                    </a:lnTo>
                    <a:lnTo>
                      <a:pt x="4217" y="1713"/>
                    </a:lnTo>
                    <a:lnTo>
                      <a:pt x="4211" y="1708"/>
                    </a:lnTo>
                    <a:lnTo>
                      <a:pt x="4208" y="1702"/>
                    </a:lnTo>
                    <a:lnTo>
                      <a:pt x="4207" y="1696"/>
                    </a:lnTo>
                    <a:lnTo>
                      <a:pt x="4207" y="1690"/>
                    </a:lnTo>
                    <a:lnTo>
                      <a:pt x="4208" y="1684"/>
                    </a:lnTo>
                    <a:lnTo>
                      <a:pt x="4210" y="1677"/>
                    </a:lnTo>
                    <a:lnTo>
                      <a:pt x="4215" y="1664"/>
                    </a:lnTo>
                    <a:lnTo>
                      <a:pt x="4218" y="1652"/>
                    </a:lnTo>
                    <a:lnTo>
                      <a:pt x="4220" y="1647"/>
                    </a:lnTo>
                    <a:lnTo>
                      <a:pt x="4218" y="1642"/>
                    </a:lnTo>
                    <a:lnTo>
                      <a:pt x="4216" y="1637"/>
                    </a:lnTo>
                    <a:lnTo>
                      <a:pt x="4211" y="1634"/>
                    </a:lnTo>
                    <a:lnTo>
                      <a:pt x="4206" y="1631"/>
                    </a:lnTo>
                    <a:lnTo>
                      <a:pt x="4197" y="1630"/>
                    </a:lnTo>
                    <a:lnTo>
                      <a:pt x="4188" y="1631"/>
                    </a:lnTo>
                    <a:lnTo>
                      <a:pt x="4177" y="1632"/>
                    </a:lnTo>
                    <a:lnTo>
                      <a:pt x="4156" y="1635"/>
                    </a:lnTo>
                    <a:lnTo>
                      <a:pt x="4140" y="1636"/>
                    </a:lnTo>
                    <a:lnTo>
                      <a:pt x="4102" y="1642"/>
                    </a:lnTo>
                    <a:lnTo>
                      <a:pt x="4062" y="1648"/>
                    </a:lnTo>
                    <a:lnTo>
                      <a:pt x="4023" y="1652"/>
                    </a:lnTo>
                    <a:lnTo>
                      <a:pt x="3986" y="1661"/>
                    </a:lnTo>
                    <a:lnTo>
                      <a:pt x="3966" y="1664"/>
                    </a:lnTo>
                    <a:lnTo>
                      <a:pt x="3933" y="1669"/>
                    </a:lnTo>
                    <a:lnTo>
                      <a:pt x="3915" y="1670"/>
                    </a:lnTo>
                    <a:lnTo>
                      <a:pt x="3901" y="1669"/>
                    </a:lnTo>
                    <a:lnTo>
                      <a:pt x="3895" y="1668"/>
                    </a:lnTo>
                    <a:lnTo>
                      <a:pt x="3891" y="1667"/>
                    </a:lnTo>
                    <a:lnTo>
                      <a:pt x="3887" y="1665"/>
                    </a:lnTo>
                    <a:lnTo>
                      <a:pt x="3885" y="1662"/>
                    </a:lnTo>
                    <a:lnTo>
                      <a:pt x="3883" y="1662"/>
                    </a:lnTo>
                    <a:lnTo>
                      <a:pt x="3882" y="1661"/>
                    </a:lnTo>
                    <a:lnTo>
                      <a:pt x="3883" y="1622"/>
                    </a:lnTo>
                    <a:lnTo>
                      <a:pt x="3883" y="1582"/>
                    </a:lnTo>
                    <a:lnTo>
                      <a:pt x="3883" y="1543"/>
                    </a:lnTo>
                    <a:lnTo>
                      <a:pt x="3883" y="1504"/>
                    </a:lnTo>
                    <a:lnTo>
                      <a:pt x="3882" y="1466"/>
                    </a:lnTo>
                    <a:lnTo>
                      <a:pt x="3880" y="1427"/>
                    </a:lnTo>
                    <a:lnTo>
                      <a:pt x="3875" y="1388"/>
                    </a:lnTo>
                    <a:lnTo>
                      <a:pt x="3869" y="1350"/>
                    </a:lnTo>
                    <a:lnTo>
                      <a:pt x="3867" y="1337"/>
                    </a:lnTo>
                    <a:lnTo>
                      <a:pt x="3865" y="1326"/>
                    </a:lnTo>
                    <a:lnTo>
                      <a:pt x="3864" y="1322"/>
                    </a:lnTo>
                    <a:lnTo>
                      <a:pt x="3862" y="1320"/>
                    </a:lnTo>
                    <a:lnTo>
                      <a:pt x="3860" y="1318"/>
                    </a:lnTo>
                    <a:lnTo>
                      <a:pt x="3859" y="1317"/>
                    </a:lnTo>
                    <a:lnTo>
                      <a:pt x="3856" y="1317"/>
                    </a:lnTo>
                    <a:lnTo>
                      <a:pt x="3853" y="1317"/>
                    </a:lnTo>
                    <a:lnTo>
                      <a:pt x="3851" y="1318"/>
                    </a:lnTo>
                    <a:lnTo>
                      <a:pt x="3846" y="1319"/>
                    </a:lnTo>
                    <a:lnTo>
                      <a:pt x="3836" y="1325"/>
                    </a:lnTo>
                    <a:lnTo>
                      <a:pt x="3824" y="1333"/>
                    </a:lnTo>
                    <a:lnTo>
                      <a:pt x="3800" y="1350"/>
                    </a:lnTo>
                    <a:lnTo>
                      <a:pt x="3773" y="1365"/>
                    </a:lnTo>
                    <a:lnTo>
                      <a:pt x="3746" y="1380"/>
                    </a:lnTo>
                    <a:lnTo>
                      <a:pt x="3720" y="1392"/>
                    </a:lnTo>
                    <a:lnTo>
                      <a:pt x="3720" y="1392"/>
                    </a:lnTo>
                    <a:lnTo>
                      <a:pt x="3686" y="1425"/>
                    </a:lnTo>
                    <a:lnTo>
                      <a:pt x="3678" y="1436"/>
                    </a:lnTo>
                    <a:lnTo>
                      <a:pt x="3670" y="1447"/>
                    </a:lnTo>
                    <a:lnTo>
                      <a:pt x="3663" y="1459"/>
                    </a:lnTo>
                    <a:lnTo>
                      <a:pt x="3655" y="1471"/>
                    </a:lnTo>
                    <a:lnTo>
                      <a:pt x="3643" y="1497"/>
                    </a:lnTo>
                    <a:lnTo>
                      <a:pt x="3632" y="1522"/>
                    </a:lnTo>
                    <a:lnTo>
                      <a:pt x="3626" y="1536"/>
                    </a:lnTo>
                    <a:lnTo>
                      <a:pt x="3619" y="1549"/>
                    </a:lnTo>
                    <a:lnTo>
                      <a:pt x="3611" y="1563"/>
                    </a:lnTo>
                    <a:lnTo>
                      <a:pt x="3603" y="1576"/>
                    </a:lnTo>
                    <a:lnTo>
                      <a:pt x="3594" y="1588"/>
                    </a:lnTo>
                    <a:lnTo>
                      <a:pt x="3584" y="1601"/>
                    </a:lnTo>
                    <a:lnTo>
                      <a:pt x="3574" y="1612"/>
                    </a:lnTo>
                    <a:lnTo>
                      <a:pt x="3564" y="1623"/>
                    </a:lnTo>
                    <a:lnTo>
                      <a:pt x="3551" y="1636"/>
                    </a:lnTo>
                    <a:lnTo>
                      <a:pt x="3534" y="1652"/>
                    </a:lnTo>
                    <a:lnTo>
                      <a:pt x="3525" y="1661"/>
                    </a:lnTo>
                    <a:lnTo>
                      <a:pt x="3517" y="1667"/>
                    </a:lnTo>
                    <a:lnTo>
                      <a:pt x="3512" y="1669"/>
                    </a:lnTo>
                    <a:lnTo>
                      <a:pt x="3509" y="1671"/>
                    </a:lnTo>
                    <a:lnTo>
                      <a:pt x="3504" y="1671"/>
                    </a:lnTo>
                    <a:lnTo>
                      <a:pt x="3500" y="1671"/>
                    </a:lnTo>
                    <a:lnTo>
                      <a:pt x="3498" y="1658"/>
                    </a:lnTo>
                    <a:lnTo>
                      <a:pt x="3498" y="1645"/>
                    </a:lnTo>
                    <a:lnTo>
                      <a:pt x="3499" y="1631"/>
                    </a:lnTo>
                    <a:lnTo>
                      <a:pt x="3500" y="1616"/>
                    </a:lnTo>
                    <a:lnTo>
                      <a:pt x="3506" y="1588"/>
                    </a:lnTo>
                    <a:lnTo>
                      <a:pt x="3513" y="1562"/>
                    </a:lnTo>
                    <a:lnTo>
                      <a:pt x="3518" y="1533"/>
                    </a:lnTo>
                    <a:lnTo>
                      <a:pt x="3522" y="1504"/>
                    </a:lnTo>
                    <a:lnTo>
                      <a:pt x="3523" y="1490"/>
                    </a:lnTo>
                    <a:lnTo>
                      <a:pt x="3523" y="1474"/>
                    </a:lnTo>
                    <a:lnTo>
                      <a:pt x="3523" y="1460"/>
                    </a:lnTo>
                    <a:lnTo>
                      <a:pt x="3522" y="1446"/>
                    </a:lnTo>
                    <a:lnTo>
                      <a:pt x="3409" y="893"/>
                    </a:lnTo>
                    <a:lnTo>
                      <a:pt x="2869" y="985"/>
                    </a:lnTo>
                    <a:lnTo>
                      <a:pt x="2846" y="796"/>
                    </a:lnTo>
                    <a:lnTo>
                      <a:pt x="1801" y="969"/>
                    </a:lnTo>
                    <a:lnTo>
                      <a:pt x="1800" y="672"/>
                    </a:lnTo>
                    <a:lnTo>
                      <a:pt x="1535" y="705"/>
                    </a:lnTo>
                    <a:lnTo>
                      <a:pt x="1526" y="686"/>
                    </a:lnTo>
                    <a:lnTo>
                      <a:pt x="1522" y="678"/>
                    </a:lnTo>
                    <a:lnTo>
                      <a:pt x="1520" y="669"/>
                    </a:lnTo>
                    <a:lnTo>
                      <a:pt x="1517" y="659"/>
                    </a:lnTo>
                    <a:lnTo>
                      <a:pt x="1514" y="649"/>
                    </a:lnTo>
                    <a:lnTo>
                      <a:pt x="1512" y="640"/>
                    </a:lnTo>
                    <a:lnTo>
                      <a:pt x="1509" y="632"/>
                    </a:lnTo>
                    <a:lnTo>
                      <a:pt x="1507" y="622"/>
                    </a:lnTo>
                    <a:lnTo>
                      <a:pt x="1507" y="613"/>
                    </a:lnTo>
                    <a:lnTo>
                      <a:pt x="1500" y="605"/>
                    </a:lnTo>
                    <a:lnTo>
                      <a:pt x="1492" y="598"/>
                    </a:lnTo>
                    <a:lnTo>
                      <a:pt x="1478" y="592"/>
                    </a:lnTo>
                    <a:lnTo>
                      <a:pt x="1464" y="588"/>
                    </a:lnTo>
                    <a:lnTo>
                      <a:pt x="1453" y="583"/>
                    </a:lnTo>
                    <a:lnTo>
                      <a:pt x="1442" y="580"/>
                    </a:lnTo>
                    <a:lnTo>
                      <a:pt x="1433" y="574"/>
                    </a:lnTo>
                    <a:lnTo>
                      <a:pt x="1421" y="568"/>
                    </a:lnTo>
                    <a:lnTo>
                      <a:pt x="951" y="462"/>
                    </a:lnTo>
                    <a:lnTo>
                      <a:pt x="929" y="78"/>
                    </a:lnTo>
                    <a:lnTo>
                      <a:pt x="447" y="0"/>
                    </a:lnTo>
                    <a:lnTo>
                      <a:pt x="447" y="0"/>
                    </a:lnTo>
                    <a:lnTo>
                      <a:pt x="427" y="77"/>
                    </a:lnTo>
                    <a:lnTo>
                      <a:pt x="488" y="77"/>
                    </a:lnTo>
                    <a:lnTo>
                      <a:pt x="272" y="1157"/>
                    </a:lnTo>
                    <a:lnTo>
                      <a:pt x="0" y="1098"/>
                    </a:lnTo>
                    <a:lnTo>
                      <a:pt x="4" y="1494"/>
                    </a:lnTo>
                    <a:lnTo>
                      <a:pt x="9" y="1496"/>
                    </a:lnTo>
                    <a:lnTo>
                      <a:pt x="12" y="1498"/>
                    </a:lnTo>
                    <a:lnTo>
                      <a:pt x="20" y="1503"/>
                    </a:lnTo>
                    <a:lnTo>
                      <a:pt x="39" y="1511"/>
                    </a:lnTo>
                    <a:lnTo>
                      <a:pt x="58" y="1518"/>
                    </a:lnTo>
                    <a:lnTo>
                      <a:pt x="70" y="1524"/>
                    </a:lnTo>
                    <a:lnTo>
                      <a:pt x="84" y="1532"/>
                    </a:lnTo>
                    <a:lnTo>
                      <a:pt x="96" y="1543"/>
                    </a:lnTo>
                    <a:lnTo>
                      <a:pt x="109" y="1553"/>
                    </a:lnTo>
                    <a:lnTo>
                      <a:pt x="120" y="1565"/>
                    </a:lnTo>
                    <a:lnTo>
                      <a:pt x="143" y="1590"/>
                    </a:lnTo>
                    <a:lnTo>
                      <a:pt x="167" y="1612"/>
                    </a:lnTo>
                    <a:lnTo>
                      <a:pt x="180" y="1622"/>
                    </a:lnTo>
                    <a:lnTo>
                      <a:pt x="192" y="1629"/>
                    </a:lnTo>
                    <a:lnTo>
                      <a:pt x="198" y="1631"/>
                    </a:lnTo>
                    <a:lnTo>
                      <a:pt x="205" y="1634"/>
                    </a:lnTo>
                    <a:lnTo>
                      <a:pt x="213" y="1635"/>
                    </a:lnTo>
                    <a:lnTo>
                      <a:pt x="221" y="1636"/>
                    </a:lnTo>
                    <a:lnTo>
                      <a:pt x="233" y="1636"/>
                    </a:lnTo>
                    <a:lnTo>
                      <a:pt x="245" y="1637"/>
                    </a:lnTo>
                    <a:lnTo>
                      <a:pt x="259" y="1635"/>
                    </a:lnTo>
                    <a:lnTo>
                      <a:pt x="273" y="1631"/>
                    </a:lnTo>
                    <a:lnTo>
                      <a:pt x="314" y="1626"/>
                    </a:lnTo>
                    <a:lnTo>
                      <a:pt x="314" y="1626"/>
                    </a:lnTo>
                    <a:close/>
                  </a:path>
                </a:pathLst>
              </a:custGeom>
              <a:no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54">
                <a:extLst>
                  <a:ext uri="{FF2B5EF4-FFF2-40B4-BE49-F238E27FC236}">
                    <a16:creationId xmlns:a16="http://schemas.microsoft.com/office/drawing/2014/main" id="{9DD7C50D-2F94-4D26-B378-55D3AA331C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7314" y="2655597"/>
                <a:ext cx="960393" cy="718474"/>
              </a:xfrm>
              <a:custGeom>
                <a:avLst/>
                <a:gdLst>
                  <a:gd name="T0" fmla="*/ 3709 w 3917"/>
                  <a:gd name="T1" fmla="*/ 457 h 2931"/>
                  <a:gd name="T2" fmla="*/ 3740 w 3917"/>
                  <a:gd name="T3" fmla="*/ 469 h 2931"/>
                  <a:gd name="T4" fmla="*/ 3796 w 3917"/>
                  <a:gd name="T5" fmla="*/ 493 h 2931"/>
                  <a:gd name="T6" fmla="*/ 3878 w 3917"/>
                  <a:gd name="T7" fmla="*/ 539 h 2931"/>
                  <a:gd name="T8" fmla="*/ 3910 w 3917"/>
                  <a:gd name="T9" fmla="*/ 565 h 2931"/>
                  <a:gd name="T10" fmla="*/ 3912 w 3917"/>
                  <a:gd name="T11" fmla="*/ 641 h 2931"/>
                  <a:gd name="T12" fmla="*/ 3917 w 3917"/>
                  <a:gd name="T13" fmla="*/ 819 h 2931"/>
                  <a:gd name="T14" fmla="*/ 3904 w 3917"/>
                  <a:gd name="T15" fmla="*/ 853 h 2931"/>
                  <a:gd name="T16" fmla="*/ 3846 w 3917"/>
                  <a:gd name="T17" fmla="*/ 860 h 2931"/>
                  <a:gd name="T18" fmla="*/ 3818 w 3917"/>
                  <a:gd name="T19" fmla="*/ 870 h 2931"/>
                  <a:gd name="T20" fmla="*/ 3791 w 3917"/>
                  <a:gd name="T21" fmla="*/ 900 h 2931"/>
                  <a:gd name="T22" fmla="*/ 3757 w 3917"/>
                  <a:gd name="T23" fmla="*/ 942 h 2931"/>
                  <a:gd name="T24" fmla="*/ 3748 w 3917"/>
                  <a:gd name="T25" fmla="*/ 1001 h 2931"/>
                  <a:gd name="T26" fmla="*/ 3747 w 3917"/>
                  <a:gd name="T27" fmla="*/ 1091 h 2931"/>
                  <a:gd name="T28" fmla="*/ 3723 w 3917"/>
                  <a:gd name="T29" fmla="*/ 1101 h 2931"/>
                  <a:gd name="T30" fmla="*/ 3681 w 3917"/>
                  <a:gd name="T31" fmla="*/ 1110 h 2931"/>
                  <a:gd name="T32" fmla="*/ 3694 w 3917"/>
                  <a:gd name="T33" fmla="*/ 1246 h 2931"/>
                  <a:gd name="T34" fmla="*/ 3729 w 3917"/>
                  <a:gd name="T35" fmla="*/ 1377 h 2931"/>
                  <a:gd name="T36" fmla="*/ 3613 w 3917"/>
                  <a:gd name="T37" fmla="*/ 1757 h 2931"/>
                  <a:gd name="T38" fmla="*/ 3620 w 3917"/>
                  <a:gd name="T39" fmla="*/ 2046 h 2931"/>
                  <a:gd name="T40" fmla="*/ 3573 w 3917"/>
                  <a:gd name="T41" fmla="*/ 2099 h 2931"/>
                  <a:gd name="T42" fmla="*/ 3530 w 3917"/>
                  <a:gd name="T43" fmla="*/ 2168 h 2931"/>
                  <a:gd name="T44" fmla="*/ 3504 w 3917"/>
                  <a:gd name="T45" fmla="*/ 2229 h 2931"/>
                  <a:gd name="T46" fmla="*/ 3494 w 3917"/>
                  <a:gd name="T47" fmla="*/ 2276 h 2931"/>
                  <a:gd name="T48" fmla="*/ 3468 w 3917"/>
                  <a:gd name="T49" fmla="*/ 2685 h 2931"/>
                  <a:gd name="T50" fmla="*/ 3425 w 3917"/>
                  <a:gd name="T51" fmla="*/ 2757 h 2931"/>
                  <a:gd name="T52" fmla="*/ 3385 w 3917"/>
                  <a:gd name="T53" fmla="*/ 2836 h 2931"/>
                  <a:gd name="T54" fmla="*/ 3333 w 3917"/>
                  <a:gd name="T55" fmla="*/ 2896 h 2931"/>
                  <a:gd name="T56" fmla="*/ 3291 w 3917"/>
                  <a:gd name="T57" fmla="*/ 2931 h 2931"/>
                  <a:gd name="T58" fmla="*/ 3281 w 3917"/>
                  <a:gd name="T59" fmla="*/ 2891 h 2931"/>
                  <a:gd name="T60" fmla="*/ 3304 w 3917"/>
                  <a:gd name="T61" fmla="*/ 2764 h 2931"/>
                  <a:gd name="T62" fmla="*/ 3191 w 3917"/>
                  <a:gd name="T63" fmla="*/ 2153 h 2931"/>
                  <a:gd name="T64" fmla="*/ 1317 w 3917"/>
                  <a:gd name="T65" fmla="*/ 1965 h 2931"/>
                  <a:gd name="T66" fmla="*/ 1296 w 3917"/>
                  <a:gd name="T67" fmla="*/ 1909 h 2931"/>
                  <a:gd name="T68" fmla="*/ 1282 w 3917"/>
                  <a:gd name="T69" fmla="*/ 1865 h 2931"/>
                  <a:gd name="T70" fmla="*/ 1224 w 3917"/>
                  <a:gd name="T71" fmla="*/ 1840 h 2931"/>
                  <a:gd name="T72" fmla="*/ 229 w 3917"/>
                  <a:gd name="T73" fmla="*/ 1260 h 2931"/>
                  <a:gd name="T74" fmla="*/ 350 w 3917"/>
                  <a:gd name="T75" fmla="*/ 634 h 2931"/>
                  <a:gd name="T76" fmla="*/ 322 w 3917"/>
                  <a:gd name="T77" fmla="*/ 555 h 2931"/>
                  <a:gd name="T78" fmla="*/ 303 w 3917"/>
                  <a:gd name="T79" fmla="*/ 520 h 2931"/>
                  <a:gd name="T80" fmla="*/ 254 w 3917"/>
                  <a:gd name="T81" fmla="*/ 534 h 2931"/>
                  <a:gd name="T82" fmla="*/ 215 w 3917"/>
                  <a:gd name="T83" fmla="*/ 535 h 2931"/>
                  <a:gd name="T84" fmla="*/ 177 w 3917"/>
                  <a:gd name="T85" fmla="*/ 490 h 2931"/>
                  <a:gd name="T86" fmla="*/ 137 w 3917"/>
                  <a:gd name="T87" fmla="*/ 458 h 2931"/>
                  <a:gd name="T88" fmla="*/ 224 w 3917"/>
                  <a:gd name="T89" fmla="*/ 407 h 2931"/>
                  <a:gd name="T90" fmla="*/ 237 w 3917"/>
                  <a:gd name="T91" fmla="*/ 378 h 2931"/>
                  <a:gd name="T92" fmla="*/ 249 w 3917"/>
                  <a:gd name="T93" fmla="*/ 359 h 2931"/>
                  <a:gd name="T94" fmla="*/ 289 w 3917"/>
                  <a:gd name="T95" fmla="*/ 355 h 2931"/>
                  <a:gd name="T96" fmla="*/ 327 w 3917"/>
                  <a:gd name="T97" fmla="*/ 345 h 2931"/>
                  <a:gd name="T98" fmla="*/ 356 w 3917"/>
                  <a:gd name="T99" fmla="*/ 315 h 2931"/>
                  <a:gd name="T100" fmla="*/ 352 w 3917"/>
                  <a:gd name="T101" fmla="*/ 270 h 2931"/>
                  <a:gd name="T102" fmla="*/ 2772 w 3917"/>
                  <a:gd name="T103" fmla="*/ 86 h 29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917" h="2931">
                    <a:moveTo>
                      <a:pt x="3657" y="118"/>
                    </a:moveTo>
                    <a:lnTo>
                      <a:pt x="3698" y="450"/>
                    </a:lnTo>
                    <a:lnTo>
                      <a:pt x="3702" y="454"/>
                    </a:lnTo>
                    <a:lnTo>
                      <a:pt x="3705" y="457"/>
                    </a:lnTo>
                    <a:lnTo>
                      <a:pt x="3709" y="457"/>
                    </a:lnTo>
                    <a:lnTo>
                      <a:pt x="3713" y="460"/>
                    </a:lnTo>
                    <a:lnTo>
                      <a:pt x="3714" y="461"/>
                    </a:lnTo>
                    <a:lnTo>
                      <a:pt x="3724" y="464"/>
                    </a:lnTo>
                    <a:lnTo>
                      <a:pt x="3736" y="467"/>
                    </a:lnTo>
                    <a:lnTo>
                      <a:pt x="3740" y="469"/>
                    </a:lnTo>
                    <a:lnTo>
                      <a:pt x="3748" y="471"/>
                    </a:lnTo>
                    <a:lnTo>
                      <a:pt x="3756" y="474"/>
                    </a:lnTo>
                    <a:lnTo>
                      <a:pt x="3767" y="479"/>
                    </a:lnTo>
                    <a:lnTo>
                      <a:pt x="3776" y="483"/>
                    </a:lnTo>
                    <a:lnTo>
                      <a:pt x="3796" y="493"/>
                    </a:lnTo>
                    <a:lnTo>
                      <a:pt x="3812" y="500"/>
                    </a:lnTo>
                    <a:lnTo>
                      <a:pt x="3828" y="508"/>
                    </a:lnTo>
                    <a:lnTo>
                      <a:pt x="3846" y="517"/>
                    </a:lnTo>
                    <a:lnTo>
                      <a:pt x="3864" y="529"/>
                    </a:lnTo>
                    <a:lnTo>
                      <a:pt x="3878" y="539"/>
                    </a:lnTo>
                    <a:lnTo>
                      <a:pt x="3891" y="545"/>
                    </a:lnTo>
                    <a:lnTo>
                      <a:pt x="3902" y="550"/>
                    </a:lnTo>
                    <a:lnTo>
                      <a:pt x="3905" y="555"/>
                    </a:lnTo>
                    <a:lnTo>
                      <a:pt x="3908" y="560"/>
                    </a:lnTo>
                    <a:lnTo>
                      <a:pt x="3910" y="565"/>
                    </a:lnTo>
                    <a:lnTo>
                      <a:pt x="3911" y="570"/>
                    </a:lnTo>
                    <a:lnTo>
                      <a:pt x="3913" y="582"/>
                    </a:lnTo>
                    <a:lnTo>
                      <a:pt x="3913" y="594"/>
                    </a:lnTo>
                    <a:lnTo>
                      <a:pt x="3913" y="620"/>
                    </a:lnTo>
                    <a:lnTo>
                      <a:pt x="3912" y="641"/>
                    </a:lnTo>
                    <a:lnTo>
                      <a:pt x="3912" y="730"/>
                    </a:lnTo>
                    <a:lnTo>
                      <a:pt x="3915" y="759"/>
                    </a:lnTo>
                    <a:lnTo>
                      <a:pt x="3917" y="799"/>
                    </a:lnTo>
                    <a:lnTo>
                      <a:pt x="3917" y="810"/>
                    </a:lnTo>
                    <a:lnTo>
                      <a:pt x="3917" y="819"/>
                    </a:lnTo>
                    <a:lnTo>
                      <a:pt x="3916" y="829"/>
                    </a:lnTo>
                    <a:lnTo>
                      <a:pt x="3915" y="837"/>
                    </a:lnTo>
                    <a:lnTo>
                      <a:pt x="3911" y="844"/>
                    </a:lnTo>
                    <a:lnTo>
                      <a:pt x="3909" y="850"/>
                    </a:lnTo>
                    <a:lnTo>
                      <a:pt x="3904" y="853"/>
                    </a:lnTo>
                    <a:lnTo>
                      <a:pt x="3898" y="857"/>
                    </a:lnTo>
                    <a:lnTo>
                      <a:pt x="3883" y="860"/>
                    </a:lnTo>
                    <a:lnTo>
                      <a:pt x="3870" y="860"/>
                    </a:lnTo>
                    <a:lnTo>
                      <a:pt x="3857" y="860"/>
                    </a:lnTo>
                    <a:lnTo>
                      <a:pt x="3846" y="860"/>
                    </a:lnTo>
                    <a:lnTo>
                      <a:pt x="3841" y="862"/>
                    </a:lnTo>
                    <a:lnTo>
                      <a:pt x="3835" y="862"/>
                    </a:lnTo>
                    <a:lnTo>
                      <a:pt x="3830" y="864"/>
                    </a:lnTo>
                    <a:lnTo>
                      <a:pt x="3824" y="866"/>
                    </a:lnTo>
                    <a:lnTo>
                      <a:pt x="3818" y="870"/>
                    </a:lnTo>
                    <a:lnTo>
                      <a:pt x="3812" y="875"/>
                    </a:lnTo>
                    <a:lnTo>
                      <a:pt x="3807" y="880"/>
                    </a:lnTo>
                    <a:lnTo>
                      <a:pt x="3801" y="887"/>
                    </a:lnTo>
                    <a:lnTo>
                      <a:pt x="3796" y="895"/>
                    </a:lnTo>
                    <a:lnTo>
                      <a:pt x="3791" y="900"/>
                    </a:lnTo>
                    <a:lnTo>
                      <a:pt x="3785" y="906"/>
                    </a:lnTo>
                    <a:lnTo>
                      <a:pt x="3779" y="912"/>
                    </a:lnTo>
                    <a:lnTo>
                      <a:pt x="3768" y="923"/>
                    </a:lnTo>
                    <a:lnTo>
                      <a:pt x="3760" y="933"/>
                    </a:lnTo>
                    <a:lnTo>
                      <a:pt x="3757" y="942"/>
                    </a:lnTo>
                    <a:lnTo>
                      <a:pt x="3754" y="949"/>
                    </a:lnTo>
                    <a:lnTo>
                      <a:pt x="3751" y="957"/>
                    </a:lnTo>
                    <a:lnTo>
                      <a:pt x="3750" y="965"/>
                    </a:lnTo>
                    <a:lnTo>
                      <a:pt x="3748" y="983"/>
                    </a:lnTo>
                    <a:lnTo>
                      <a:pt x="3748" y="1001"/>
                    </a:lnTo>
                    <a:lnTo>
                      <a:pt x="3749" y="1037"/>
                    </a:lnTo>
                    <a:lnTo>
                      <a:pt x="3751" y="1070"/>
                    </a:lnTo>
                    <a:lnTo>
                      <a:pt x="3751" y="1080"/>
                    </a:lnTo>
                    <a:lnTo>
                      <a:pt x="3750" y="1087"/>
                    </a:lnTo>
                    <a:lnTo>
                      <a:pt x="3747" y="1091"/>
                    </a:lnTo>
                    <a:lnTo>
                      <a:pt x="3743" y="1096"/>
                    </a:lnTo>
                    <a:lnTo>
                      <a:pt x="3740" y="1098"/>
                    </a:lnTo>
                    <a:lnTo>
                      <a:pt x="3735" y="1100"/>
                    </a:lnTo>
                    <a:lnTo>
                      <a:pt x="3729" y="1101"/>
                    </a:lnTo>
                    <a:lnTo>
                      <a:pt x="3723" y="1101"/>
                    </a:lnTo>
                    <a:lnTo>
                      <a:pt x="3710" y="1102"/>
                    </a:lnTo>
                    <a:lnTo>
                      <a:pt x="3698" y="1103"/>
                    </a:lnTo>
                    <a:lnTo>
                      <a:pt x="3693" y="1104"/>
                    </a:lnTo>
                    <a:lnTo>
                      <a:pt x="3687" y="1107"/>
                    </a:lnTo>
                    <a:lnTo>
                      <a:pt x="3681" y="1110"/>
                    </a:lnTo>
                    <a:lnTo>
                      <a:pt x="3676" y="1115"/>
                    </a:lnTo>
                    <a:lnTo>
                      <a:pt x="3678" y="1147"/>
                    </a:lnTo>
                    <a:lnTo>
                      <a:pt x="3682" y="1181"/>
                    </a:lnTo>
                    <a:lnTo>
                      <a:pt x="3688" y="1214"/>
                    </a:lnTo>
                    <a:lnTo>
                      <a:pt x="3694" y="1246"/>
                    </a:lnTo>
                    <a:lnTo>
                      <a:pt x="3703" y="1282"/>
                    </a:lnTo>
                    <a:lnTo>
                      <a:pt x="3715" y="1320"/>
                    </a:lnTo>
                    <a:lnTo>
                      <a:pt x="3720" y="1340"/>
                    </a:lnTo>
                    <a:lnTo>
                      <a:pt x="3724" y="1359"/>
                    </a:lnTo>
                    <a:lnTo>
                      <a:pt x="3729" y="1377"/>
                    </a:lnTo>
                    <a:lnTo>
                      <a:pt x="3731" y="1394"/>
                    </a:lnTo>
                    <a:lnTo>
                      <a:pt x="3735" y="1401"/>
                    </a:lnTo>
                    <a:lnTo>
                      <a:pt x="3741" y="1408"/>
                    </a:lnTo>
                    <a:lnTo>
                      <a:pt x="3839" y="1529"/>
                    </a:lnTo>
                    <a:lnTo>
                      <a:pt x="3613" y="1757"/>
                    </a:lnTo>
                    <a:lnTo>
                      <a:pt x="3638" y="2018"/>
                    </a:lnTo>
                    <a:lnTo>
                      <a:pt x="3635" y="2026"/>
                    </a:lnTo>
                    <a:lnTo>
                      <a:pt x="3630" y="2033"/>
                    </a:lnTo>
                    <a:lnTo>
                      <a:pt x="3626" y="2040"/>
                    </a:lnTo>
                    <a:lnTo>
                      <a:pt x="3620" y="2046"/>
                    </a:lnTo>
                    <a:lnTo>
                      <a:pt x="3607" y="2059"/>
                    </a:lnTo>
                    <a:lnTo>
                      <a:pt x="3594" y="2071"/>
                    </a:lnTo>
                    <a:lnTo>
                      <a:pt x="3589" y="2080"/>
                    </a:lnTo>
                    <a:lnTo>
                      <a:pt x="3581" y="2090"/>
                    </a:lnTo>
                    <a:lnTo>
                      <a:pt x="3573" y="2099"/>
                    </a:lnTo>
                    <a:lnTo>
                      <a:pt x="3566" y="2107"/>
                    </a:lnTo>
                    <a:lnTo>
                      <a:pt x="3556" y="2120"/>
                    </a:lnTo>
                    <a:lnTo>
                      <a:pt x="3547" y="2137"/>
                    </a:lnTo>
                    <a:lnTo>
                      <a:pt x="3537" y="2153"/>
                    </a:lnTo>
                    <a:lnTo>
                      <a:pt x="3530" y="2168"/>
                    </a:lnTo>
                    <a:lnTo>
                      <a:pt x="3522" y="2184"/>
                    </a:lnTo>
                    <a:lnTo>
                      <a:pt x="3514" y="2202"/>
                    </a:lnTo>
                    <a:lnTo>
                      <a:pt x="3510" y="2211"/>
                    </a:lnTo>
                    <a:lnTo>
                      <a:pt x="3507" y="2221"/>
                    </a:lnTo>
                    <a:lnTo>
                      <a:pt x="3504" y="2229"/>
                    </a:lnTo>
                    <a:lnTo>
                      <a:pt x="3503" y="2237"/>
                    </a:lnTo>
                    <a:lnTo>
                      <a:pt x="3499" y="2245"/>
                    </a:lnTo>
                    <a:lnTo>
                      <a:pt x="3496" y="2256"/>
                    </a:lnTo>
                    <a:lnTo>
                      <a:pt x="3495" y="2265"/>
                    </a:lnTo>
                    <a:lnTo>
                      <a:pt x="3494" y="2276"/>
                    </a:lnTo>
                    <a:lnTo>
                      <a:pt x="3494" y="2298"/>
                    </a:lnTo>
                    <a:lnTo>
                      <a:pt x="3492" y="2317"/>
                    </a:lnTo>
                    <a:lnTo>
                      <a:pt x="3502" y="2652"/>
                    </a:lnTo>
                    <a:lnTo>
                      <a:pt x="3502" y="2652"/>
                    </a:lnTo>
                    <a:lnTo>
                      <a:pt x="3468" y="2685"/>
                    </a:lnTo>
                    <a:lnTo>
                      <a:pt x="3460" y="2696"/>
                    </a:lnTo>
                    <a:lnTo>
                      <a:pt x="3452" y="2707"/>
                    </a:lnTo>
                    <a:lnTo>
                      <a:pt x="3445" y="2719"/>
                    </a:lnTo>
                    <a:lnTo>
                      <a:pt x="3437" y="2731"/>
                    </a:lnTo>
                    <a:lnTo>
                      <a:pt x="3425" y="2757"/>
                    </a:lnTo>
                    <a:lnTo>
                      <a:pt x="3414" y="2782"/>
                    </a:lnTo>
                    <a:lnTo>
                      <a:pt x="3408" y="2796"/>
                    </a:lnTo>
                    <a:lnTo>
                      <a:pt x="3401" y="2809"/>
                    </a:lnTo>
                    <a:lnTo>
                      <a:pt x="3393" y="2823"/>
                    </a:lnTo>
                    <a:lnTo>
                      <a:pt x="3385" y="2836"/>
                    </a:lnTo>
                    <a:lnTo>
                      <a:pt x="3376" y="2848"/>
                    </a:lnTo>
                    <a:lnTo>
                      <a:pt x="3366" y="2861"/>
                    </a:lnTo>
                    <a:lnTo>
                      <a:pt x="3356" y="2872"/>
                    </a:lnTo>
                    <a:lnTo>
                      <a:pt x="3346" y="2883"/>
                    </a:lnTo>
                    <a:lnTo>
                      <a:pt x="3333" y="2896"/>
                    </a:lnTo>
                    <a:lnTo>
                      <a:pt x="3316" y="2912"/>
                    </a:lnTo>
                    <a:lnTo>
                      <a:pt x="3307" y="2921"/>
                    </a:lnTo>
                    <a:lnTo>
                      <a:pt x="3299" y="2927"/>
                    </a:lnTo>
                    <a:lnTo>
                      <a:pt x="3294" y="2929"/>
                    </a:lnTo>
                    <a:lnTo>
                      <a:pt x="3291" y="2931"/>
                    </a:lnTo>
                    <a:lnTo>
                      <a:pt x="3286" y="2931"/>
                    </a:lnTo>
                    <a:lnTo>
                      <a:pt x="3282" y="2931"/>
                    </a:lnTo>
                    <a:lnTo>
                      <a:pt x="3280" y="2918"/>
                    </a:lnTo>
                    <a:lnTo>
                      <a:pt x="3280" y="2905"/>
                    </a:lnTo>
                    <a:lnTo>
                      <a:pt x="3281" y="2891"/>
                    </a:lnTo>
                    <a:lnTo>
                      <a:pt x="3282" y="2876"/>
                    </a:lnTo>
                    <a:lnTo>
                      <a:pt x="3288" y="2848"/>
                    </a:lnTo>
                    <a:lnTo>
                      <a:pt x="3295" y="2822"/>
                    </a:lnTo>
                    <a:lnTo>
                      <a:pt x="3300" y="2793"/>
                    </a:lnTo>
                    <a:lnTo>
                      <a:pt x="3304" y="2764"/>
                    </a:lnTo>
                    <a:lnTo>
                      <a:pt x="3305" y="2750"/>
                    </a:lnTo>
                    <a:lnTo>
                      <a:pt x="3305" y="2734"/>
                    </a:lnTo>
                    <a:lnTo>
                      <a:pt x="3305" y="2720"/>
                    </a:lnTo>
                    <a:lnTo>
                      <a:pt x="3304" y="2706"/>
                    </a:lnTo>
                    <a:lnTo>
                      <a:pt x="3191" y="2153"/>
                    </a:lnTo>
                    <a:lnTo>
                      <a:pt x="2651" y="2245"/>
                    </a:lnTo>
                    <a:lnTo>
                      <a:pt x="2628" y="2056"/>
                    </a:lnTo>
                    <a:lnTo>
                      <a:pt x="1583" y="2229"/>
                    </a:lnTo>
                    <a:lnTo>
                      <a:pt x="1582" y="1932"/>
                    </a:lnTo>
                    <a:lnTo>
                      <a:pt x="1317" y="1965"/>
                    </a:lnTo>
                    <a:lnTo>
                      <a:pt x="1308" y="1946"/>
                    </a:lnTo>
                    <a:lnTo>
                      <a:pt x="1304" y="1938"/>
                    </a:lnTo>
                    <a:lnTo>
                      <a:pt x="1302" y="1929"/>
                    </a:lnTo>
                    <a:lnTo>
                      <a:pt x="1299" y="1919"/>
                    </a:lnTo>
                    <a:lnTo>
                      <a:pt x="1296" y="1909"/>
                    </a:lnTo>
                    <a:lnTo>
                      <a:pt x="1294" y="1900"/>
                    </a:lnTo>
                    <a:lnTo>
                      <a:pt x="1291" y="1892"/>
                    </a:lnTo>
                    <a:lnTo>
                      <a:pt x="1289" y="1882"/>
                    </a:lnTo>
                    <a:lnTo>
                      <a:pt x="1289" y="1873"/>
                    </a:lnTo>
                    <a:lnTo>
                      <a:pt x="1282" y="1865"/>
                    </a:lnTo>
                    <a:lnTo>
                      <a:pt x="1274" y="1858"/>
                    </a:lnTo>
                    <a:lnTo>
                      <a:pt x="1260" y="1852"/>
                    </a:lnTo>
                    <a:lnTo>
                      <a:pt x="1246" y="1848"/>
                    </a:lnTo>
                    <a:lnTo>
                      <a:pt x="1235" y="1843"/>
                    </a:lnTo>
                    <a:lnTo>
                      <a:pt x="1224" y="1840"/>
                    </a:lnTo>
                    <a:lnTo>
                      <a:pt x="1215" y="1834"/>
                    </a:lnTo>
                    <a:lnTo>
                      <a:pt x="1203" y="1828"/>
                    </a:lnTo>
                    <a:lnTo>
                      <a:pt x="733" y="1722"/>
                    </a:lnTo>
                    <a:lnTo>
                      <a:pt x="711" y="1338"/>
                    </a:lnTo>
                    <a:lnTo>
                      <a:pt x="229" y="1260"/>
                    </a:lnTo>
                    <a:lnTo>
                      <a:pt x="229" y="1260"/>
                    </a:lnTo>
                    <a:lnTo>
                      <a:pt x="356" y="666"/>
                    </a:lnTo>
                    <a:lnTo>
                      <a:pt x="356" y="654"/>
                    </a:lnTo>
                    <a:lnTo>
                      <a:pt x="354" y="644"/>
                    </a:lnTo>
                    <a:lnTo>
                      <a:pt x="350" y="634"/>
                    </a:lnTo>
                    <a:lnTo>
                      <a:pt x="347" y="626"/>
                    </a:lnTo>
                    <a:lnTo>
                      <a:pt x="338" y="608"/>
                    </a:lnTo>
                    <a:lnTo>
                      <a:pt x="330" y="589"/>
                    </a:lnTo>
                    <a:lnTo>
                      <a:pt x="327" y="573"/>
                    </a:lnTo>
                    <a:lnTo>
                      <a:pt x="322" y="555"/>
                    </a:lnTo>
                    <a:lnTo>
                      <a:pt x="320" y="539"/>
                    </a:lnTo>
                    <a:lnTo>
                      <a:pt x="316" y="523"/>
                    </a:lnTo>
                    <a:lnTo>
                      <a:pt x="313" y="521"/>
                    </a:lnTo>
                    <a:lnTo>
                      <a:pt x="308" y="521"/>
                    </a:lnTo>
                    <a:lnTo>
                      <a:pt x="303" y="520"/>
                    </a:lnTo>
                    <a:lnTo>
                      <a:pt x="298" y="521"/>
                    </a:lnTo>
                    <a:lnTo>
                      <a:pt x="288" y="522"/>
                    </a:lnTo>
                    <a:lnTo>
                      <a:pt x="276" y="526"/>
                    </a:lnTo>
                    <a:lnTo>
                      <a:pt x="264" y="529"/>
                    </a:lnTo>
                    <a:lnTo>
                      <a:pt x="254" y="534"/>
                    </a:lnTo>
                    <a:lnTo>
                      <a:pt x="243" y="536"/>
                    </a:lnTo>
                    <a:lnTo>
                      <a:pt x="233" y="537"/>
                    </a:lnTo>
                    <a:lnTo>
                      <a:pt x="226" y="537"/>
                    </a:lnTo>
                    <a:lnTo>
                      <a:pt x="220" y="536"/>
                    </a:lnTo>
                    <a:lnTo>
                      <a:pt x="215" y="535"/>
                    </a:lnTo>
                    <a:lnTo>
                      <a:pt x="210" y="534"/>
                    </a:lnTo>
                    <a:lnTo>
                      <a:pt x="203" y="529"/>
                    </a:lnTo>
                    <a:lnTo>
                      <a:pt x="199" y="522"/>
                    </a:lnTo>
                    <a:lnTo>
                      <a:pt x="189" y="508"/>
                    </a:lnTo>
                    <a:lnTo>
                      <a:pt x="177" y="490"/>
                    </a:lnTo>
                    <a:lnTo>
                      <a:pt x="167" y="482"/>
                    </a:lnTo>
                    <a:lnTo>
                      <a:pt x="156" y="476"/>
                    </a:lnTo>
                    <a:lnTo>
                      <a:pt x="146" y="469"/>
                    </a:lnTo>
                    <a:lnTo>
                      <a:pt x="134" y="462"/>
                    </a:lnTo>
                    <a:lnTo>
                      <a:pt x="137" y="458"/>
                    </a:lnTo>
                    <a:lnTo>
                      <a:pt x="147" y="453"/>
                    </a:lnTo>
                    <a:lnTo>
                      <a:pt x="160" y="444"/>
                    </a:lnTo>
                    <a:lnTo>
                      <a:pt x="175" y="436"/>
                    </a:lnTo>
                    <a:lnTo>
                      <a:pt x="206" y="420"/>
                    </a:lnTo>
                    <a:lnTo>
                      <a:pt x="224" y="407"/>
                    </a:lnTo>
                    <a:lnTo>
                      <a:pt x="229" y="402"/>
                    </a:lnTo>
                    <a:lnTo>
                      <a:pt x="233" y="397"/>
                    </a:lnTo>
                    <a:lnTo>
                      <a:pt x="234" y="392"/>
                    </a:lnTo>
                    <a:lnTo>
                      <a:pt x="236" y="388"/>
                    </a:lnTo>
                    <a:lnTo>
                      <a:pt x="237" y="378"/>
                    </a:lnTo>
                    <a:lnTo>
                      <a:pt x="240" y="371"/>
                    </a:lnTo>
                    <a:lnTo>
                      <a:pt x="241" y="368"/>
                    </a:lnTo>
                    <a:lnTo>
                      <a:pt x="243" y="364"/>
                    </a:lnTo>
                    <a:lnTo>
                      <a:pt x="246" y="362"/>
                    </a:lnTo>
                    <a:lnTo>
                      <a:pt x="249" y="359"/>
                    </a:lnTo>
                    <a:lnTo>
                      <a:pt x="255" y="357"/>
                    </a:lnTo>
                    <a:lnTo>
                      <a:pt x="261" y="356"/>
                    </a:lnTo>
                    <a:lnTo>
                      <a:pt x="269" y="355"/>
                    </a:lnTo>
                    <a:lnTo>
                      <a:pt x="280" y="355"/>
                    </a:lnTo>
                    <a:lnTo>
                      <a:pt x="289" y="355"/>
                    </a:lnTo>
                    <a:lnTo>
                      <a:pt x="297" y="354"/>
                    </a:lnTo>
                    <a:lnTo>
                      <a:pt x="304" y="352"/>
                    </a:lnTo>
                    <a:lnTo>
                      <a:pt x="313" y="351"/>
                    </a:lnTo>
                    <a:lnTo>
                      <a:pt x="320" y="349"/>
                    </a:lnTo>
                    <a:lnTo>
                      <a:pt x="327" y="345"/>
                    </a:lnTo>
                    <a:lnTo>
                      <a:pt x="334" y="341"/>
                    </a:lnTo>
                    <a:lnTo>
                      <a:pt x="341" y="336"/>
                    </a:lnTo>
                    <a:lnTo>
                      <a:pt x="348" y="330"/>
                    </a:lnTo>
                    <a:lnTo>
                      <a:pt x="354" y="322"/>
                    </a:lnTo>
                    <a:lnTo>
                      <a:pt x="356" y="315"/>
                    </a:lnTo>
                    <a:lnTo>
                      <a:pt x="358" y="305"/>
                    </a:lnTo>
                    <a:lnTo>
                      <a:pt x="358" y="297"/>
                    </a:lnTo>
                    <a:lnTo>
                      <a:pt x="357" y="288"/>
                    </a:lnTo>
                    <a:lnTo>
                      <a:pt x="355" y="279"/>
                    </a:lnTo>
                    <a:lnTo>
                      <a:pt x="352" y="270"/>
                    </a:lnTo>
                    <a:lnTo>
                      <a:pt x="0" y="26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772" y="86"/>
                    </a:lnTo>
                    <a:lnTo>
                      <a:pt x="2772" y="86"/>
                    </a:lnTo>
                    <a:lnTo>
                      <a:pt x="3657" y="118"/>
                    </a:lnTo>
                    <a:lnTo>
                      <a:pt x="3657" y="118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62">
                <a:extLst>
                  <a:ext uri="{FF2B5EF4-FFF2-40B4-BE49-F238E27FC236}">
                    <a16:creationId xmlns:a16="http://schemas.microsoft.com/office/drawing/2014/main" id="{22B13EEC-78FC-40DD-A279-1EE3603B7C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4024" y="3277735"/>
                <a:ext cx="30150" cy="30151"/>
              </a:xfrm>
              <a:custGeom>
                <a:avLst/>
                <a:gdLst>
                  <a:gd name="T0" fmla="*/ 61 w 124"/>
                  <a:gd name="T1" fmla="*/ 0 h 123"/>
                  <a:gd name="T2" fmla="*/ 68 w 124"/>
                  <a:gd name="T3" fmla="*/ 0 h 123"/>
                  <a:gd name="T4" fmla="*/ 74 w 124"/>
                  <a:gd name="T5" fmla="*/ 2 h 123"/>
                  <a:gd name="T6" fmla="*/ 80 w 124"/>
                  <a:gd name="T7" fmla="*/ 3 h 123"/>
                  <a:gd name="T8" fmla="*/ 86 w 124"/>
                  <a:gd name="T9" fmla="*/ 5 h 123"/>
                  <a:gd name="T10" fmla="*/ 97 w 124"/>
                  <a:gd name="T11" fmla="*/ 10 h 123"/>
                  <a:gd name="T12" fmla="*/ 105 w 124"/>
                  <a:gd name="T13" fmla="*/ 18 h 123"/>
                  <a:gd name="T14" fmla="*/ 113 w 124"/>
                  <a:gd name="T15" fmla="*/ 28 h 123"/>
                  <a:gd name="T16" fmla="*/ 119 w 124"/>
                  <a:gd name="T17" fmla="*/ 37 h 123"/>
                  <a:gd name="T18" fmla="*/ 120 w 124"/>
                  <a:gd name="T19" fmla="*/ 43 h 123"/>
                  <a:gd name="T20" fmla="*/ 122 w 124"/>
                  <a:gd name="T21" fmla="*/ 49 h 123"/>
                  <a:gd name="T22" fmla="*/ 122 w 124"/>
                  <a:gd name="T23" fmla="*/ 55 h 123"/>
                  <a:gd name="T24" fmla="*/ 124 w 124"/>
                  <a:gd name="T25" fmla="*/ 62 h 123"/>
                  <a:gd name="T26" fmla="*/ 122 w 124"/>
                  <a:gd name="T27" fmla="*/ 68 h 123"/>
                  <a:gd name="T28" fmla="*/ 122 w 124"/>
                  <a:gd name="T29" fmla="*/ 74 h 123"/>
                  <a:gd name="T30" fmla="*/ 120 w 124"/>
                  <a:gd name="T31" fmla="*/ 79 h 123"/>
                  <a:gd name="T32" fmla="*/ 119 w 124"/>
                  <a:gd name="T33" fmla="*/ 85 h 123"/>
                  <a:gd name="T34" fmla="*/ 113 w 124"/>
                  <a:gd name="T35" fmla="*/ 96 h 123"/>
                  <a:gd name="T36" fmla="*/ 105 w 124"/>
                  <a:gd name="T37" fmla="*/ 105 h 123"/>
                  <a:gd name="T38" fmla="*/ 97 w 124"/>
                  <a:gd name="T39" fmla="*/ 112 h 123"/>
                  <a:gd name="T40" fmla="*/ 86 w 124"/>
                  <a:gd name="T41" fmla="*/ 118 h 123"/>
                  <a:gd name="T42" fmla="*/ 80 w 124"/>
                  <a:gd name="T43" fmla="*/ 121 h 123"/>
                  <a:gd name="T44" fmla="*/ 74 w 124"/>
                  <a:gd name="T45" fmla="*/ 122 h 123"/>
                  <a:gd name="T46" fmla="*/ 68 w 124"/>
                  <a:gd name="T47" fmla="*/ 123 h 123"/>
                  <a:gd name="T48" fmla="*/ 61 w 124"/>
                  <a:gd name="T49" fmla="*/ 123 h 123"/>
                  <a:gd name="T50" fmla="*/ 55 w 124"/>
                  <a:gd name="T51" fmla="*/ 123 h 123"/>
                  <a:gd name="T52" fmla="*/ 50 w 124"/>
                  <a:gd name="T53" fmla="*/ 122 h 123"/>
                  <a:gd name="T54" fmla="*/ 44 w 124"/>
                  <a:gd name="T55" fmla="*/ 121 h 123"/>
                  <a:gd name="T56" fmla="*/ 38 w 124"/>
                  <a:gd name="T57" fmla="*/ 118 h 123"/>
                  <a:gd name="T58" fmla="*/ 27 w 124"/>
                  <a:gd name="T59" fmla="*/ 112 h 123"/>
                  <a:gd name="T60" fmla="*/ 18 w 124"/>
                  <a:gd name="T61" fmla="*/ 105 h 123"/>
                  <a:gd name="T62" fmla="*/ 11 w 124"/>
                  <a:gd name="T63" fmla="*/ 96 h 123"/>
                  <a:gd name="T64" fmla="*/ 5 w 124"/>
                  <a:gd name="T65" fmla="*/ 85 h 123"/>
                  <a:gd name="T66" fmla="*/ 4 w 124"/>
                  <a:gd name="T67" fmla="*/ 79 h 123"/>
                  <a:gd name="T68" fmla="*/ 1 w 124"/>
                  <a:gd name="T69" fmla="*/ 74 h 123"/>
                  <a:gd name="T70" fmla="*/ 0 w 124"/>
                  <a:gd name="T71" fmla="*/ 68 h 123"/>
                  <a:gd name="T72" fmla="*/ 0 w 124"/>
                  <a:gd name="T73" fmla="*/ 62 h 123"/>
                  <a:gd name="T74" fmla="*/ 0 w 124"/>
                  <a:gd name="T75" fmla="*/ 55 h 123"/>
                  <a:gd name="T76" fmla="*/ 1 w 124"/>
                  <a:gd name="T77" fmla="*/ 49 h 123"/>
                  <a:gd name="T78" fmla="*/ 4 w 124"/>
                  <a:gd name="T79" fmla="*/ 43 h 123"/>
                  <a:gd name="T80" fmla="*/ 5 w 124"/>
                  <a:gd name="T81" fmla="*/ 37 h 123"/>
                  <a:gd name="T82" fmla="*/ 11 w 124"/>
                  <a:gd name="T83" fmla="*/ 28 h 123"/>
                  <a:gd name="T84" fmla="*/ 18 w 124"/>
                  <a:gd name="T85" fmla="*/ 18 h 123"/>
                  <a:gd name="T86" fmla="*/ 27 w 124"/>
                  <a:gd name="T87" fmla="*/ 10 h 123"/>
                  <a:gd name="T88" fmla="*/ 38 w 124"/>
                  <a:gd name="T89" fmla="*/ 5 h 123"/>
                  <a:gd name="T90" fmla="*/ 44 w 124"/>
                  <a:gd name="T91" fmla="*/ 3 h 123"/>
                  <a:gd name="T92" fmla="*/ 50 w 124"/>
                  <a:gd name="T93" fmla="*/ 2 h 123"/>
                  <a:gd name="T94" fmla="*/ 55 w 124"/>
                  <a:gd name="T95" fmla="*/ 0 h 123"/>
                  <a:gd name="T96" fmla="*/ 61 w 124"/>
                  <a:gd name="T97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4" h="123">
                    <a:moveTo>
                      <a:pt x="61" y="0"/>
                    </a:moveTo>
                    <a:lnTo>
                      <a:pt x="68" y="0"/>
                    </a:lnTo>
                    <a:lnTo>
                      <a:pt x="74" y="2"/>
                    </a:lnTo>
                    <a:lnTo>
                      <a:pt x="80" y="3"/>
                    </a:lnTo>
                    <a:lnTo>
                      <a:pt x="86" y="5"/>
                    </a:lnTo>
                    <a:lnTo>
                      <a:pt x="97" y="10"/>
                    </a:lnTo>
                    <a:lnTo>
                      <a:pt x="105" y="18"/>
                    </a:lnTo>
                    <a:lnTo>
                      <a:pt x="113" y="28"/>
                    </a:lnTo>
                    <a:lnTo>
                      <a:pt x="119" y="37"/>
                    </a:lnTo>
                    <a:lnTo>
                      <a:pt x="120" y="43"/>
                    </a:lnTo>
                    <a:lnTo>
                      <a:pt x="122" y="49"/>
                    </a:lnTo>
                    <a:lnTo>
                      <a:pt x="122" y="55"/>
                    </a:lnTo>
                    <a:lnTo>
                      <a:pt x="124" y="62"/>
                    </a:lnTo>
                    <a:lnTo>
                      <a:pt x="122" y="68"/>
                    </a:lnTo>
                    <a:lnTo>
                      <a:pt x="122" y="74"/>
                    </a:lnTo>
                    <a:lnTo>
                      <a:pt x="120" y="79"/>
                    </a:lnTo>
                    <a:lnTo>
                      <a:pt x="119" y="85"/>
                    </a:lnTo>
                    <a:lnTo>
                      <a:pt x="113" y="96"/>
                    </a:lnTo>
                    <a:lnTo>
                      <a:pt x="105" y="105"/>
                    </a:lnTo>
                    <a:lnTo>
                      <a:pt x="97" y="112"/>
                    </a:lnTo>
                    <a:lnTo>
                      <a:pt x="86" y="118"/>
                    </a:lnTo>
                    <a:lnTo>
                      <a:pt x="80" y="121"/>
                    </a:lnTo>
                    <a:lnTo>
                      <a:pt x="74" y="122"/>
                    </a:lnTo>
                    <a:lnTo>
                      <a:pt x="68" y="123"/>
                    </a:lnTo>
                    <a:lnTo>
                      <a:pt x="61" y="123"/>
                    </a:lnTo>
                    <a:lnTo>
                      <a:pt x="55" y="123"/>
                    </a:lnTo>
                    <a:lnTo>
                      <a:pt x="50" y="122"/>
                    </a:lnTo>
                    <a:lnTo>
                      <a:pt x="44" y="121"/>
                    </a:lnTo>
                    <a:lnTo>
                      <a:pt x="38" y="118"/>
                    </a:lnTo>
                    <a:lnTo>
                      <a:pt x="27" y="112"/>
                    </a:lnTo>
                    <a:lnTo>
                      <a:pt x="18" y="105"/>
                    </a:lnTo>
                    <a:lnTo>
                      <a:pt x="11" y="96"/>
                    </a:lnTo>
                    <a:lnTo>
                      <a:pt x="5" y="85"/>
                    </a:lnTo>
                    <a:lnTo>
                      <a:pt x="4" y="79"/>
                    </a:lnTo>
                    <a:lnTo>
                      <a:pt x="1" y="74"/>
                    </a:lnTo>
                    <a:lnTo>
                      <a:pt x="0" y="68"/>
                    </a:lnTo>
                    <a:lnTo>
                      <a:pt x="0" y="62"/>
                    </a:lnTo>
                    <a:lnTo>
                      <a:pt x="0" y="55"/>
                    </a:lnTo>
                    <a:lnTo>
                      <a:pt x="1" y="49"/>
                    </a:lnTo>
                    <a:lnTo>
                      <a:pt x="4" y="43"/>
                    </a:lnTo>
                    <a:lnTo>
                      <a:pt x="5" y="37"/>
                    </a:lnTo>
                    <a:lnTo>
                      <a:pt x="11" y="28"/>
                    </a:lnTo>
                    <a:lnTo>
                      <a:pt x="18" y="18"/>
                    </a:lnTo>
                    <a:lnTo>
                      <a:pt x="27" y="10"/>
                    </a:lnTo>
                    <a:lnTo>
                      <a:pt x="38" y="5"/>
                    </a:lnTo>
                    <a:lnTo>
                      <a:pt x="44" y="3"/>
                    </a:lnTo>
                    <a:lnTo>
                      <a:pt x="50" y="2"/>
                    </a:lnTo>
                    <a:lnTo>
                      <a:pt x="55" y="0"/>
                    </a:lnTo>
                    <a:lnTo>
                      <a:pt x="61" y="0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95DC5AAA-192E-4ADB-9EE5-1306A0A17C7D}"/>
                  </a:ext>
                </a:extLst>
              </p:cNvPr>
              <p:cNvSpPr/>
              <p:nvPr/>
            </p:nvSpPr>
            <p:spPr>
              <a:xfrm>
                <a:off x="7943630" y="2707214"/>
                <a:ext cx="960393" cy="1033558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Freeform 48">
                <a:extLst>
                  <a:ext uri="{FF2B5EF4-FFF2-40B4-BE49-F238E27FC236}">
                    <a16:creationId xmlns:a16="http://schemas.microsoft.com/office/drawing/2014/main" id="{6D661D44-5CCB-4D4B-8FA2-5D0A54FBB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53284" y="2685011"/>
                <a:ext cx="1011869" cy="1167796"/>
              </a:xfrm>
              <a:custGeom>
                <a:avLst/>
                <a:gdLst>
                  <a:gd name="T0" fmla="*/ 4026 w 4128"/>
                  <a:gd name="T1" fmla="*/ 4111 h 4766"/>
                  <a:gd name="T2" fmla="*/ 4079 w 4128"/>
                  <a:gd name="T3" fmla="*/ 3997 h 4766"/>
                  <a:gd name="T4" fmla="*/ 4045 w 4128"/>
                  <a:gd name="T5" fmla="*/ 3703 h 4766"/>
                  <a:gd name="T6" fmla="*/ 4017 w 4128"/>
                  <a:gd name="T7" fmla="*/ 3586 h 4766"/>
                  <a:gd name="T8" fmla="*/ 3817 w 4128"/>
                  <a:gd name="T9" fmla="*/ 3576 h 4766"/>
                  <a:gd name="T10" fmla="*/ 3695 w 4128"/>
                  <a:gd name="T11" fmla="*/ 3546 h 4766"/>
                  <a:gd name="T12" fmla="*/ 3538 w 4128"/>
                  <a:gd name="T13" fmla="*/ 3411 h 4766"/>
                  <a:gd name="T14" fmla="*/ 3546 w 4128"/>
                  <a:gd name="T15" fmla="*/ 3240 h 4766"/>
                  <a:gd name="T16" fmla="*/ 3622 w 4128"/>
                  <a:gd name="T17" fmla="*/ 3073 h 4766"/>
                  <a:gd name="T18" fmla="*/ 3763 w 4128"/>
                  <a:gd name="T19" fmla="*/ 3051 h 4766"/>
                  <a:gd name="T20" fmla="*/ 3852 w 4128"/>
                  <a:gd name="T21" fmla="*/ 3070 h 4766"/>
                  <a:gd name="T22" fmla="*/ 3982 w 4128"/>
                  <a:gd name="T23" fmla="*/ 3051 h 4766"/>
                  <a:gd name="T24" fmla="*/ 4021 w 4128"/>
                  <a:gd name="T25" fmla="*/ 2930 h 4766"/>
                  <a:gd name="T26" fmla="*/ 4088 w 4128"/>
                  <a:gd name="T27" fmla="*/ 2740 h 4766"/>
                  <a:gd name="T28" fmla="*/ 3785 w 4128"/>
                  <a:gd name="T29" fmla="*/ 2657 h 4766"/>
                  <a:gd name="T30" fmla="*/ 3616 w 4128"/>
                  <a:gd name="T31" fmla="*/ 2747 h 4766"/>
                  <a:gd name="T32" fmla="*/ 3496 w 4128"/>
                  <a:gd name="T33" fmla="*/ 2586 h 4766"/>
                  <a:gd name="T34" fmla="*/ 3421 w 4128"/>
                  <a:gd name="T35" fmla="*/ 2486 h 4766"/>
                  <a:gd name="T36" fmla="*/ 3514 w 4128"/>
                  <a:gd name="T37" fmla="*/ 2397 h 4766"/>
                  <a:gd name="T38" fmla="*/ 3505 w 4128"/>
                  <a:gd name="T39" fmla="*/ 2338 h 4766"/>
                  <a:gd name="T40" fmla="*/ 3619 w 4128"/>
                  <a:gd name="T41" fmla="*/ 2263 h 4766"/>
                  <a:gd name="T42" fmla="*/ 3532 w 4128"/>
                  <a:gd name="T43" fmla="*/ 2186 h 4766"/>
                  <a:gd name="T44" fmla="*/ 3595 w 4128"/>
                  <a:gd name="T45" fmla="*/ 2117 h 4766"/>
                  <a:gd name="T46" fmla="*/ 3739 w 4128"/>
                  <a:gd name="T47" fmla="*/ 2048 h 4766"/>
                  <a:gd name="T48" fmla="*/ 3777 w 4128"/>
                  <a:gd name="T49" fmla="*/ 1880 h 4766"/>
                  <a:gd name="T50" fmla="*/ 3797 w 4128"/>
                  <a:gd name="T51" fmla="*/ 1709 h 4766"/>
                  <a:gd name="T52" fmla="*/ 3736 w 4128"/>
                  <a:gd name="T53" fmla="*/ 1637 h 4766"/>
                  <a:gd name="T54" fmla="*/ 3817 w 4128"/>
                  <a:gd name="T55" fmla="*/ 1496 h 4766"/>
                  <a:gd name="T56" fmla="*/ 3874 w 4128"/>
                  <a:gd name="T57" fmla="*/ 1372 h 4766"/>
                  <a:gd name="T58" fmla="*/ 3796 w 4128"/>
                  <a:gd name="T59" fmla="*/ 1190 h 4766"/>
                  <a:gd name="T60" fmla="*/ 3663 w 4128"/>
                  <a:gd name="T61" fmla="*/ 1171 h 4766"/>
                  <a:gd name="T62" fmla="*/ 3539 w 4128"/>
                  <a:gd name="T63" fmla="*/ 1201 h 4766"/>
                  <a:gd name="T64" fmla="*/ 3430 w 4128"/>
                  <a:gd name="T65" fmla="*/ 1143 h 4766"/>
                  <a:gd name="T66" fmla="*/ 3342 w 4128"/>
                  <a:gd name="T67" fmla="*/ 1247 h 4766"/>
                  <a:gd name="T68" fmla="*/ 3206 w 4128"/>
                  <a:gd name="T69" fmla="*/ 759 h 4766"/>
                  <a:gd name="T70" fmla="*/ 206 w 4128"/>
                  <a:gd name="T71" fmla="*/ 332 h 4766"/>
                  <a:gd name="T72" fmla="*/ 275 w 4128"/>
                  <a:gd name="T73" fmla="*/ 361 h 4766"/>
                  <a:gd name="T74" fmla="*/ 416 w 4128"/>
                  <a:gd name="T75" fmla="*/ 442 h 4766"/>
                  <a:gd name="T76" fmla="*/ 425 w 4128"/>
                  <a:gd name="T77" fmla="*/ 701 h 4766"/>
                  <a:gd name="T78" fmla="*/ 349 w 4128"/>
                  <a:gd name="T79" fmla="*/ 744 h 4766"/>
                  <a:gd name="T80" fmla="*/ 287 w 4128"/>
                  <a:gd name="T81" fmla="*/ 794 h 4766"/>
                  <a:gd name="T82" fmla="*/ 259 w 4128"/>
                  <a:gd name="T83" fmla="*/ 962 h 4766"/>
                  <a:gd name="T84" fmla="*/ 195 w 4128"/>
                  <a:gd name="T85" fmla="*/ 989 h 4766"/>
                  <a:gd name="T86" fmla="*/ 237 w 4128"/>
                  <a:gd name="T87" fmla="*/ 1259 h 4766"/>
                  <a:gd name="T88" fmla="*/ 115 w 4128"/>
                  <a:gd name="T89" fmla="*/ 1941 h 4766"/>
                  <a:gd name="T90" fmla="*/ 22 w 4128"/>
                  <a:gd name="T91" fmla="*/ 2084 h 4766"/>
                  <a:gd name="T92" fmla="*/ 10 w 4128"/>
                  <a:gd name="T93" fmla="*/ 2534 h 4766"/>
                  <a:gd name="T94" fmla="*/ 149 w 4128"/>
                  <a:gd name="T95" fmla="*/ 2459 h 4766"/>
                  <a:gd name="T96" fmla="*/ 173 w 4128"/>
                  <a:gd name="T97" fmla="*/ 2685 h 4766"/>
                  <a:gd name="T98" fmla="*/ 223 w 4128"/>
                  <a:gd name="T99" fmla="*/ 2811 h 4766"/>
                  <a:gd name="T100" fmla="*/ 496 w 4128"/>
                  <a:gd name="T101" fmla="*/ 2773 h 4766"/>
                  <a:gd name="T102" fmla="*/ 498 w 4128"/>
                  <a:gd name="T103" fmla="*/ 2844 h 4766"/>
                  <a:gd name="T104" fmla="*/ 552 w 4128"/>
                  <a:gd name="T105" fmla="*/ 2885 h 4766"/>
                  <a:gd name="T106" fmla="*/ 503 w 4128"/>
                  <a:gd name="T107" fmla="*/ 2991 h 4766"/>
                  <a:gd name="T108" fmla="*/ 498 w 4128"/>
                  <a:gd name="T109" fmla="*/ 3107 h 4766"/>
                  <a:gd name="T110" fmla="*/ 454 w 4128"/>
                  <a:gd name="T111" fmla="*/ 3221 h 4766"/>
                  <a:gd name="T112" fmla="*/ 287 w 4128"/>
                  <a:gd name="T113" fmla="*/ 3420 h 4766"/>
                  <a:gd name="T114" fmla="*/ 258 w 4128"/>
                  <a:gd name="T115" fmla="*/ 3544 h 4766"/>
                  <a:gd name="T116" fmla="*/ 354 w 4128"/>
                  <a:gd name="T117" fmla="*/ 3655 h 4766"/>
                  <a:gd name="T118" fmla="*/ 557 w 4128"/>
                  <a:gd name="T119" fmla="*/ 3770 h 4766"/>
                  <a:gd name="T120" fmla="*/ 759 w 4128"/>
                  <a:gd name="T121" fmla="*/ 3782 h 4766"/>
                  <a:gd name="T122" fmla="*/ 2774 w 4128"/>
                  <a:gd name="T123" fmla="*/ 4763 h 47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128" h="4766">
                    <a:moveTo>
                      <a:pt x="4034" y="4716"/>
                    </a:moveTo>
                    <a:lnTo>
                      <a:pt x="4037" y="4175"/>
                    </a:lnTo>
                    <a:lnTo>
                      <a:pt x="4039" y="4171"/>
                    </a:lnTo>
                    <a:lnTo>
                      <a:pt x="4040" y="4168"/>
                    </a:lnTo>
                    <a:lnTo>
                      <a:pt x="4042" y="4160"/>
                    </a:lnTo>
                    <a:lnTo>
                      <a:pt x="4044" y="4155"/>
                    </a:lnTo>
                    <a:lnTo>
                      <a:pt x="4044" y="4149"/>
                    </a:lnTo>
                    <a:lnTo>
                      <a:pt x="4041" y="4143"/>
                    </a:lnTo>
                    <a:lnTo>
                      <a:pt x="4038" y="4132"/>
                    </a:lnTo>
                    <a:lnTo>
                      <a:pt x="4031" y="4122"/>
                    </a:lnTo>
                    <a:lnTo>
                      <a:pt x="4026" y="4111"/>
                    </a:lnTo>
                    <a:lnTo>
                      <a:pt x="4022" y="4102"/>
                    </a:lnTo>
                    <a:lnTo>
                      <a:pt x="4020" y="4093"/>
                    </a:lnTo>
                    <a:lnTo>
                      <a:pt x="4019" y="4084"/>
                    </a:lnTo>
                    <a:lnTo>
                      <a:pt x="4020" y="4074"/>
                    </a:lnTo>
                    <a:lnTo>
                      <a:pt x="4022" y="4066"/>
                    </a:lnTo>
                    <a:lnTo>
                      <a:pt x="4026" y="4057"/>
                    </a:lnTo>
                    <a:lnTo>
                      <a:pt x="4032" y="4047"/>
                    </a:lnTo>
                    <a:lnTo>
                      <a:pt x="4041" y="4036"/>
                    </a:lnTo>
                    <a:lnTo>
                      <a:pt x="4053" y="4023"/>
                    </a:lnTo>
                    <a:lnTo>
                      <a:pt x="4066" y="4010"/>
                    </a:lnTo>
                    <a:lnTo>
                      <a:pt x="4079" y="3997"/>
                    </a:lnTo>
                    <a:lnTo>
                      <a:pt x="4106" y="3971"/>
                    </a:lnTo>
                    <a:lnTo>
                      <a:pt x="4128" y="3946"/>
                    </a:lnTo>
                    <a:lnTo>
                      <a:pt x="4127" y="3779"/>
                    </a:lnTo>
                    <a:lnTo>
                      <a:pt x="4127" y="3779"/>
                    </a:lnTo>
                    <a:lnTo>
                      <a:pt x="4126" y="3710"/>
                    </a:lnTo>
                    <a:lnTo>
                      <a:pt x="4105" y="3710"/>
                    </a:lnTo>
                    <a:lnTo>
                      <a:pt x="4084" y="3710"/>
                    </a:lnTo>
                    <a:lnTo>
                      <a:pt x="4074" y="3709"/>
                    </a:lnTo>
                    <a:lnTo>
                      <a:pt x="4064" y="3708"/>
                    </a:lnTo>
                    <a:lnTo>
                      <a:pt x="4054" y="3706"/>
                    </a:lnTo>
                    <a:lnTo>
                      <a:pt x="4045" y="3703"/>
                    </a:lnTo>
                    <a:lnTo>
                      <a:pt x="4044" y="3700"/>
                    </a:lnTo>
                    <a:lnTo>
                      <a:pt x="4041" y="3698"/>
                    </a:lnTo>
                    <a:lnTo>
                      <a:pt x="4040" y="3683"/>
                    </a:lnTo>
                    <a:lnTo>
                      <a:pt x="4039" y="3665"/>
                    </a:lnTo>
                    <a:lnTo>
                      <a:pt x="4037" y="3645"/>
                    </a:lnTo>
                    <a:lnTo>
                      <a:pt x="4033" y="3625"/>
                    </a:lnTo>
                    <a:lnTo>
                      <a:pt x="4031" y="3616"/>
                    </a:lnTo>
                    <a:lnTo>
                      <a:pt x="4028" y="3608"/>
                    </a:lnTo>
                    <a:lnTo>
                      <a:pt x="4025" y="3599"/>
                    </a:lnTo>
                    <a:lnTo>
                      <a:pt x="4021" y="3592"/>
                    </a:lnTo>
                    <a:lnTo>
                      <a:pt x="4017" y="3586"/>
                    </a:lnTo>
                    <a:lnTo>
                      <a:pt x="4011" y="3583"/>
                    </a:lnTo>
                    <a:lnTo>
                      <a:pt x="4005" y="3579"/>
                    </a:lnTo>
                    <a:lnTo>
                      <a:pt x="3998" y="3578"/>
                    </a:lnTo>
                    <a:lnTo>
                      <a:pt x="3977" y="3578"/>
                    </a:lnTo>
                    <a:lnTo>
                      <a:pt x="3953" y="3577"/>
                    </a:lnTo>
                    <a:lnTo>
                      <a:pt x="3930" y="3575"/>
                    </a:lnTo>
                    <a:lnTo>
                      <a:pt x="3906" y="3574"/>
                    </a:lnTo>
                    <a:lnTo>
                      <a:pt x="3883" y="3572"/>
                    </a:lnTo>
                    <a:lnTo>
                      <a:pt x="3860" y="3572"/>
                    </a:lnTo>
                    <a:lnTo>
                      <a:pt x="3838" y="3574"/>
                    </a:lnTo>
                    <a:lnTo>
                      <a:pt x="3817" y="3576"/>
                    </a:lnTo>
                    <a:lnTo>
                      <a:pt x="3787" y="3586"/>
                    </a:lnTo>
                    <a:lnTo>
                      <a:pt x="3765" y="3595"/>
                    </a:lnTo>
                    <a:lnTo>
                      <a:pt x="3760" y="3596"/>
                    </a:lnTo>
                    <a:lnTo>
                      <a:pt x="3756" y="3595"/>
                    </a:lnTo>
                    <a:lnTo>
                      <a:pt x="3751" y="3594"/>
                    </a:lnTo>
                    <a:lnTo>
                      <a:pt x="3746" y="3591"/>
                    </a:lnTo>
                    <a:lnTo>
                      <a:pt x="3742" y="3586"/>
                    </a:lnTo>
                    <a:lnTo>
                      <a:pt x="3736" y="3581"/>
                    </a:lnTo>
                    <a:lnTo>
                      <a:pt x="3731" y="3572"/>
                    </a:lnTo>
                    <a:lnTo>
                      <a:pt x="3724" y="3562"/>
                    </a:lnTo>
                    <a:lnTo>
                      <a:pt x="3695" y="3546"/>
                    </a:lnTo>
                    <a:lnTo>
                      <a:pt x="3659" y="3526"/>
                    </a:lnTo>
                    <a:lnTo>
                      <a:pt x="3642" y="3515"/>
                    </a:lnTo>
                    <a:lnTo>
                      <a:pt x="3624" y="3503"/>
                    </a:lnTo>
                    <a:lnTo>
                      <a:pt x="3606" y="3490"/>
                    </a:lnTo>
                    <a:lnTo>
                      <a:pt x="3589" y="3475"/>
                    </a:lnTo>
                    <a:lnTo>
                      <a:pt x="3573" y="3460"/>
                    </a:lnTo>
                    <a:lnTo>
                      <a:pt x="3559" y="3444"/>
                    </a:lnTo>
                    <a:lnTo>
                      <a:pt x="3554" y="3437"/>
                    </a:lnTo>
                    <a:lnTo>
                      <a:pt x="3548" y="3427"/>
                    </a:lnTo>
                    <a:lnTo>
                      <a:pt x="3542" y="3419"/>
                    </a:lnTo>
                    <a:lnTo>
                      <a:pt x="3538" y="3411"/>
                    </a:lnTo>
                    <a:lnTo>
                      <a:pt x="3534" y="3403"/>
                    </a:lnTo>
                    <a:lnTo>
                      <a:pt x="3531" y="3393"/>
                    </a:lnTo>
                    <a:lnTo>
                      <a:pt x="3529" y="3384"/>
                    </a:lnTo>
                    <a:lnTo>
                      <a:pt x="3528" y="3374"/>
                    </a:lnTo>
                    <a:lnTo>
                      <a:pt x="3526" y="3366"/>
                    </a:lnTo>
                    <a:lnTo>
                      <a:pt x="3528" y="3357"/>
                    </a:lnTo>
                    <a:lnTo>
                      <a:pt x="3529" y="3346"/>
                    </a:lnTo>
                    <a:lnTo>
                      <a:pt x="3531" y="3337"/>
                    </a:lnTo>
                    <a:lnTo>
                      <a:pt x="3536" y="3309"/>
                    </a:lnTo>
                    <a:lnTo>
                      <a:pt x="3541" y="3276"/>
                    </a:lnTo>
                    <a:lnTo>
                      <a:pt x="3546" y="3240"/>
                    </a:lnTo>
                    <a:lnTo>
                      <a:pt x="3554" y="3203"/>
                    </a:lnTo>
                    <a:lnTo>
                      <a:pt x="3557" y="3185"/>
                    </a:lnTo>
                    <a:lnTo>
                      <a:pt x="3562" y="3167"/>
                    </a:lnTo>
                    <a:lnTo>
                      <a:pt x="3566" y="3149"/>
                    </a:lnTo>
                    <a:lnTo>
                      <a:pt x="3572" y="3133"/>
                    </a:lnTo>
                    <a:lnTo>
                      <a:pt x="3579" y="3119"/>
                    </a:lnTo>
                    <a:lnTo>
                      <a:pt x="3586" y="3106"/>
                    </a:lnTo>
                    <a:lnTo>
                      <a:pt x="3595" y="3094"/>
                    </a:lnTo>
                    <a:lnTo>
                      <a:pt x="3603" y="3084"/>
                    </a:lnTo>
                    <a:lnTo>
                      <a:pt x="3611" y="3078"/>
                    </a:lnTo>
                    <a:lnTo>
                      <a:pt x="3622" y="3073"/>
                    </a:lnTo>
                    <a:lnTo>
                      <a:pt x="3632" y="3068"/>
                    </a:lnTo>
                    <a:lnTo>
                      <a:pt x="3644" y="3063"/>
                    </a:lnTo>
                    <a:lnTo>
                      <a:pt x="3656" y="3060"/>
                    </a:lnTo>
                    <a:lnTo>
                      <a:pt x="3669" y="3056"/>
                    </a:lnTo>
                    <a:lnTo>
                      <a:pt x="3683" y="3053"/>
                    </a:lnTo>
                    <a:lnTo>
                      <a:pt x="3696" y="3051"/>
                    </a:lnTo>
                    <a:lnTo>
                      <a:pt x="3710" y="3049"/>
                    </a:lnTo>
                    <a:lnTo>
                      <a:pt x="3724" y="3049"/>
                    </a:lnTo>
                    <a:lnTo>
                      <a:pt x="3737" y="3049"/>
                    </a:lnTo>
                    <a:lnTo>
                      <a:pt x="3750" y="3050"/>
                    </a:lnTo>
                    <a:lnTo>
                      <a:pt x="3763" y="3051"/>
                    </a:lnTo>
                    <a:lnTo>
                      <a:pt x="3773" y="3055"/>
                    </a:lnTo>
                    <a:lnTo>
                      <a:pt x="3784" y="3058"/>
                    </a:lnTo>
                    <a:lnTo>
                      <a:pt x="3793" y="3063"/>
                    </a:lnTo>
                    <a:lnTo>
                      <a:pt x="3804" y="3068"/>
                    </a:lnTo>
                    <a:lnTo>
                      <a:pt x="3813" y="3073"/>
                    </a:lnTo>
                    <a:lnTo>
                      <a:pt x="3821" y="3075"/>
                    </a:lnTo>
                    <a:lnTo>
                      <a:pt x="3829" y="3076"/>
                    </a:lnTo>
                    <a:lnTo>
                      <a:pt x="3836" y="3076"/>
                    </a:lnTo>
                    <a:lnTo>
                      <a:pt x="3841" y="3075"/>
                    </a:lnTo>
                    <a:lnTo>
                      <a:pt x="3847" y="3073"/>
                    </a:lnTo>
                    <a:lnTo>
                      <a:pt x="3852" y="3070"/>
                    </a:lnTo>
                    <a:lnTo>
                      <a:pt x="3863" y="3064"/>
                    </a:lnTo>
                    <a:lnTo>
                      <a:pt x="3876" y="3060"/>
                    </a:lnTo>
                    <a:lnTo>
                      <a:pt x="3883" y="3057"/>
                    </a:lnTo>
                    <a:lnTo>
                      <a:pt x="3890" y="3055"/>
                    </a:lnTo>
                    <a:lnTo>
                      <a:pt x="3899" y="3054"/>
                    </a:lnTo>
                    <a:lnTo>
                      <a:pt x="3910" y="3054"/>
                    </a:lnTo>
                    <a:lnTo>
                      <a:pt x="3927" y="3055"/>
                    </a:lnTo>
                    <a:lnTo>
                      <a:pt x="3946" y="3055"/>
                    </a:lnTo>
                    <a:lnTo>
                      <a:pt x="3964" y="3054"/>
                    </a:lnTo>
                    <a:lnTo>
                      <a:pt x="3981" y="3053"/>
                    </a:lnTo>
                    <a:lnTo>
                      <a:pt x="3982" y="3051"/>
                    </a:lnTo>
                    <a:lnTo>
                      <a:pt x="3984" y="3051"/>
                    </a:lnTo>
                    <a:lnTo>
                      <a:pt x="3988" y="3044"/>
                    </a:lnTo>
                    <a:lnTo>
                      <a:pt x="3993" y="3036"/>
                    </a:lnTo>
                    <a:lnTo>
                      <a:pt x="3995" y="3029"/>
                    </a:lnTo>
                    <a:lnTo>
                      <a:pt x="3999" y="3020"/>
                    </a:lnTo>
                    <a:lnTo>
                      <a:pt x="4002" y="3002"/>
                    </a:lnTo>
                    <a:lnTo>
                      <a:pt x="4006" y="2984"/>
                    </a:lnTo>
                    <a:lnTo>
                      <a:pt x="4010" y="2965"/>
                    </a:lnTo>
                    <a:lnTo>
                      <a:pt x="4014" y="2946"/>
                    </a:lnTo>
                    <a:lnTo>
                      <a:pt x="4017" y="2938"/>
                    </a:lnTo>
                    <a:lnTo>
                      <a:pt x="4021" y="2930"/>
                    </a:lnTo>
                    <a:lnTo>
                      <a:pt x="4026" y="2922"/>
                    </a:lnTo>
                    <a:lnTo>
                      <a:pt x="4031" y="2915"/>
                    </a:lnTo>
                    <a:lnTo>
                      <a:pt x="4033" y="2906"/>
                    </a:lnTo>
                    <a:lnTo>
                      <a:pt x="4038" y="2899"/>
                    </a:lnTo>
                    <a:lnTo>
                      <a:pt x="4055" y="2864"/>
                    </a:lnTo>
                    <a:lnTo>
                      <a:pt x="4068" y="2831"/>
                    </a:lnTo>
                    <a:lnTo>
                      <a:pt x="4073" y="2816"/>
                    </a:lnTo>
                    <a:lnTo>
                      <a:pt x="4078" y="2800"/>
                    </a:lnTo>
                    <a:lnTo>
                      <a:pt x="4081" y="2785"/>
                    </a:lnTo>
                    <a:lnTo>
                      <a:pt x="4084" y="2771"/>
                    </a:lnTo>
                    <a:lnTo>
                      <a:pt x="4088" y="2740"/>
                    </a:lnTo>
                    <a:lnTo>
                      <a:pt x="4091" y="2708"/>
                    </a:lnTo>
                    <a:lnTo>
                      <a:pt x="4092" y="2674"/>
                    </a:lnTo>
                    <a:lnTo>
                      <a:pt x="4092" y="2635"/>
                    </a:lnTo>
                    <a:lnTo>
                      <a:pt x="4091" y="2634"/>
                    </a:lnTo>
                    <a:lnTo>
                      <a:pt x="3910" y="2647"/>
                    </a:lnTo>
                    <a:lnTo>
                      <a:pt x="3883" y="2648"/>
                    </a:lnTo>
                    <a:lnTo>
                      <a:pt x="3857" y="2649"/>
                    </a:lnTo>
                    <a:lnTo>
                      <a:pt x="3832" y="2651"/>
                    </a:lnTo>
                    <a:lnTo>
                      <a:pt x="3809" y="2653"/>
                    </a:lnTo>
                    <a:lnTo>
                      <a:pt x="3797" y="2655"/>
                    </a:lnTo>
                    <a:lnTo>
                      <a:pt x="3785" y="2657"/>
                    </a:lnTo>
                    <a:lnTo>
                      <a:pt x="3773" y="2660"/>
                    </a:lnTo>
                    <a:lnTo>
                      <a:pt x="3763" y="2664"/>
                    </a:lnTo>
                    <a:lnTo>
                      <a:pt x="3751" y="2668"/>
                    </a:lnTo>
                    <a:lnTo>
                      <a:pt x="3739" y="2674"/>
                    </a:lnTo>
                    <a:lnTo>
                      <a:pt x="3727" y="2680"/>
                    </a:lnTo>
                    <a:lnTo>
                      <a:pt x="3716" y="2688"/>
                    </a:lnTo>
                    <a:lnTo>
                      <a:pt x="3691" y="2706"/>
                    </a:lnTo>
                    <a:lnTo>
                      <a:pt x="3658" y="2727"/>
                    </a:lnTo>
                    <a:lnTo>
                      <a:pt x="3640" y="2738"/>
                    </a:lnTo>
                    <a:lnTo>
                      <a:pt x="3624" y="2745"/>
                    </a:lnTo>
                    <a:lnTo>
                      <a:pt x="3616" y="2747"/>
                    </a:lnTo>
                    <a:lnTo>
                      <a:pt x="3609" y="2750"/>
                    </a:lnTo>
                    <a:lnTo>
                      <a:pt x="3602" y="2751"/>
                    </a:lnTo>
                    <a:lnTo>
                      <a:pt x="3596" y="2751"/>
                    </a:lnTo>
                    <a:lnTo>
                      <a:pt x="3584" y="2737"/>
                    </a:lnTo>
                    <a:lnTo>
                      <a:pt x="3571" y="2720"/>
                    </a:lnTo>
                    <a:lnTo>
                      <a:pt x="3558" y="2700"/>
                    </a:lnTo>
                    <a:lnTo>
                      <a:pt x="3545" y="2680"/>
                    </a:lnTo>
                    <a:lnTo>
                      <a:pt x="3522" y="2638"/>
                    </a:lnTo>
                    <a:lnTo>
                      <a:pt x="3504" y="2601"/>
                    </a:lnTo>
                    <a:lnTo>
                      <a:pt x="3501" y="2593"/>
                    </a:lnTo>
                    <a:lnTo>
                      <a:pt x="3496" y="2586"/>
                    </a:lnTo>
                    <a:lnTo>
                      <a:pt x="3490" y="2579"/>
                    </a:lnTo>
                    <a:lnTo>
                      <a:pt x="3485" y="2572"/>
                    </a:lnTo>
                    <a:lnTo>
                      <a:pt x="3474" y="2560"/>
                    </a:lnTo>
                    <a:lnTo>
                      <a:pt x="3461" y="2547"/>
                    </a:lnTo>
                    <a:lnTo>
                      <a:pt x="3447" y="2535"/>
                    </a:lnTo>
                    <a:lnTo>
                      <a:pt x="3434" y="2523"/>
                    </a:lnTo>
                    <a:lnTo>
                      <a:pt x="3421" y="2512"/>
                    </a:lnTo>
                    <a:lnTo>
                      <a:pt x="3409" y="2499"/>
                    </a:lnTo>
                    <a:lnTo>
                      <a:pt x="3409" y="2496"/>
                    </a:lnTo>
                    <a:lnTo>
                      <a:pt x="3410" y="2495"/>
                    </a:lnTo>
                    <a:lnTo>
                      <a:pt x="3421" y="2486"/>
                    </a:lnTo>
                    <a:lnTo>
                      <a:pt x="3432" y="2477"/>
                    </a:lnTo>
                    <a:lnTo>
                      <a:pt x="3444" y="2469"/>
                    </a:lnTo>
                    <a:lnTo>
                      <a:pt x="3456" y="2462"/>
                    </a:lnTo>
                    <a:lnTo>
                      <a:pt x="3461" y="2454"/>
                    </a:lnTo>
                    <a:lnTo>
                      <a:pt x="3476" y="2443"/>
                    </a:lnTo>
                    <a:lnTo>
                      <a:pt x="3494" y="2428"/>
                    </a:lnTo>
                    <a:lnTo>
                      <a:pt x="3502" y="2420"/>
                    </a:lnTo>
                    <a:lnTo>
                      <a:pt x="3509" y="2410"/>
                    </a:lnTo>
                    <a:lnTo>
                      <a:pt x="3511" y="2407"/>
                    </a:lnTo>
                    <a:lnTo>
                      <a:pt x="3512" y="2402"/>
                    </a:lnTo>
                    <a:lnTo>
                      <a:pt x="3514" y="2397"/>
                    </a:lnTo>
                    <a:lnTo>
                      <a:pt x="3515" y="2394"/>
                    </a:lnTo>
                    <a:lnTo>
                      <a:pt x="3514" y="2385"/>
                    </a:lnTo>
                    <a:lnTo>
                      <a:pt x="3511" y="2380"/>
                    </a:lnTo>
                    <a:lnTo>
                      <a:pt x="3508" y="2372"/>
                    </a:lnTo>
                    <a:lnTo>
                      <a:pt x="3504" y="2367"/>
                    </a:lnTo>
                    <a:lnTo>
                      <a:pt x="3501" y="2361"/>
                    </a:lnTo>
                    <a:lnTo>
                      <a:pt x="3499" y="2355"/>
                    </a:lnTo>
                    <a:lnTo>
                      <a:pt x="3499" y="2351"/>
                    </a:lnTo>
                    <a:lnTo>
                      <a:pt x="3501" y="2348"/>
                    </a:lnTo>
                    <a:lnTo>
                      <a:pt x="3503" y="2343"/>
                    </a:lnTo>
                    <a:lnTo>
                      <a:pt x="3505" y="2338"/>
                    </a:lnTo>
                    <a:lnTo>
                      <a:pt x="3510" y="2334"/>
                    </a:lnTo>
                    <a:lnTo>
                      <a:pt x="3517" y="2328"/>
                    </a:lnTo>
                    <a:lnTo>
                      <a:pt x="3526" y="2322"/>
                    </a:lnTo>
                    <a:lnTo>
                      <a:pt x="3536" y="2316"/>
                    </a:lnTo>
                    <a:lnTo>
                      <a:pt x="3559" y="2304"/>
                    </a:lnTo>
                    <a:lnTo>
                      <a:pt x="3583" y="2292"/>
                    </a:lnTo>
                    <a:lnTo>
                      <a:pt x="3593" y="2286"/>
                    </a:lnTo>
                    <a:lnTo>
                      <a:pt x="3603" y="2281"/>
                    </a:lnTo>
                    <a:lnTo>
                      <a:pt x="3611" y="2273"/>
                    </a:lnTo>
                    <a:lnTo>
                      <a:pt x="3617" y="2266"/>
                    </a:lnTo>
                    <a:lnTo>
                      <a:pt x="3619" y="2263"/>
                    </a:lnTo>
                    <a:lnTo>
                      <a:pt x="3621" y="2259"/>
                    </a:lnTo>
                    <a:lnTo>
                      <a:pt x="3622" y="2256"/>
                    </a:lnTo>
                    <a:lnTo>
                      <a:pt x="3622" y="2252"/>
                    </a:lnTo>
                    <a:lnTo>
                      <a:pt x="3621" y="2249"/>
                    </a:lnTo>
                    <a:lnTo>
                      <a:pt x="3619" y="2245"/>
                    </a:lnTo>
                    <a:lnTo>
                      <a:pt x="3616" y="2240"/>
                    </a:lnTo>
                    <a:lnTo>
                      <a:pt x="3612" y="2237"/>
                    </a:lnTo>
                    <a:lnTo>
                      <a:pt x="3591" y="2223"/>
                    </a:lnTo>
                    <a:lnTo>
                      <a:pt x="3559" y="2205"/>
                    </a:lnTo>
                    <a:lnTo>
                      <a:pt x="3544" y="2196"/>
                    </a:lnTo>
                    <a:lnTo>
                      <a:pt x="3532" y="2186"/>
                    </a:lnTo>
                    <a:lnTo>
                      <a:pt x="3529" y="2182"/>
                    </a:lnTo>
                    <a:lnTo>
                      <a:pt x="3526" y="2177"/>
                    </a:lnTo>
                    <a:lnTo>
                      <a:pt x="3525" y="2172"/>
                    </a:lnTo>
                    <a:lnTo>
                      <a:pt x="3526" y="2167"/>
                    </a:lnTo>
                    <a:lnTo>
                      <a:pt x="3529" y="2163"/>
                    </a:lnTo>
                    <a:lnTo>
                      <a:pt x="3534" y="2157"/>
                    </a:lnTo>
                    <a:lnTo>
                      <a:pt x="3539" y="2152"/>
                    </a:lnTo>
                    <a:lnTo>
                      <a:pt x="3545" y="2146"/>
                    </a:lnTo>
                    <a:lnTo>
                      <a:pt x="3561" y="2136"/>
                    </a:lnTo>
                    <a:lnTo>
                      <a:pt x="3577" y="2126"/>
                    </a:lnTo>
                    <a:lnTo>
                      <a:pt x="3595" y="2117"/>
                    </a:lnTo>
                    <a:lnTo>
                      <a:pt x="3612" y="2110"/>
                    </a:lnTo>
                    <a:lnTo>
                      <a:pt x="3628" y="2103"/>
                    </a:lnTo>
                    <a:lnTo>
                      <a:pt x="3640" y="2099"/>
                    </a:lnTo>
                    <a:lnTo>
                      <a:pt x="3672" y="2090"/>
                    </a:lnTo>
                    <a:lnTo>
                      <a:pt x="3697" y="2081"/>
                    </a:lnTo>
                    <a:lnTo>
                      <a:pt x="3707" y="2077"/>
                    </a:lnTo>
                    <a:lnTo>
                      <a:pt x="3716" y="2073"/>
                    </a:lnTo>
                    <a:lnTo>
                      <a:pt x="3723" y="2068"/>
                    </a:lnTo>
                    <a:lnTo>
                      <a:pt x="3730" y="2062"/>
                    </a:lnTo>
                    <a:lnTo>
                      <a:pt x="3734" y="2057"/>
                    </a:lnTo>
                    <a:lnTo>
                      <a:pt x="3739" y="2048"/>
                    </a:lnTo>
                    <a:lnTo>
                      <a:pt x="3743" y="2040"/>
                    </a:lnTo>
                    <a:lnTo>
                      <a:pt x="3745" y="2029"/>
                    </a:lnTo>
                    <a:lnTo>
                      <a:pt x="3750" y="2002"/>
                    </a:lnTo>
                    <a:lnTo>
                      <a:pt x="3754" y="1967"/>
                    </a:lnTo>
                    <a:lnTo>
                      <a:pt x="3756" y="1955"/>
                    </a:lnTo>
                    <a:lnTo>
                      <a:pt x="3759" y="1943"/>
                    </a:lnTo>
                    <a:lnTo>
                      <a:pt x="3762" y="1933"/>
                    </a:lnTo>
                    <a:lnTo>
                      <a:pt x="3765" y="1922"/>
                    </a:lnTo>
                    <a:lnTo>
                      <a:pt x="3772" y="1901"/>
                    </a:lnTo>
                    <a:lnTo>
                      <a:pt x="3778" y="1880"/>
                    </a:lnTo>
                    <a:lnTo>
                      <a:pt x="3777" y="1880"/>
                    </a:lnTo>
                    <a:lnTo>
                      <a:pt x="3778" y="1877"/>
                    </a:lnTo>
                    <a:lnTo>
                      <a:pt x="3777" y="1882"/>
                    </a:lnTo>
                    <a:lnTo>
                      <a:pt x="3786" y="1844"/>
                    </a:lnTo>
                    <a:lnTo>
                      <a:pt x="3796" y="1798"/>
                    </a:lnTo>
                    <a:lnTo>
                      <a:pt x="3800" y="1776"/>
                    </a:lnTo>
                    <a:lnTo>
                      <a:pt x="3803" y="1754"/>
                    </a:lnTo>
                    <a:lnTo>
                      <a:pt x="3803" y="1743"/>
                    </a:lnTo>
                    <a:lnTo>
                      <a:pt x="3803" y="1734"/>
                    </a:lnTo>
                    <a:lnTo>
                      <a:pt x="3801" y="1724"/>
                    </a:lnTo>
                    <a:lnTo>
                      <a:pt x="3800" y="1717"/>
                    </a:lnTo>
                    <a:lnTo>
                      <a:pt x="3797" y="1709"/>
                    </a:lnTo>
                    <a:lnTo>
                      <a:pt x="3792" y="1703"/>
                    </a:lnTo>
                    <a:lnTo>
                      <a:pt x="3787" y="1697"/>
                    </a:lnTo>
                    <a:lnTo>
                      <a:pt x="3780" y="1692"/>
                    </a:lnTo>
                    <a:lnTo>
                      <a:pt x="3767" y="1684"/>
                    </a:lnTo>
                    <a:lnTo>
                      <a:pt x="3754" y="1676"/>
                    </a:lnTo>
                    <a:lnTo>
                      <a:pt x="3749" y="1671"/>
                    </a:lnTo>
                    <a:lnTo>
                      <a:pt x="3743" y="1666"/>
                    </a:lnTo>
                    <a:lnTo>
                      <a:pt x="3739" y="1661"/>
                    </a:lnTo>
                    <a:lnTo>
                      <a:pt x="3736" y="1655"/>
                    </a:lnTo>
                    <a:lnTo>
                      <a:pt x="3734" y="1646"/>
                    </a:lnTo>
                    <a:lnTo>
                      <a:pt x="3736" y="1637"/>
                    </a:lnTo>
                    <a:lnTo>
                      <a:pt x="3738" y="1626"/>
                    </a:lnTo>
                    <a:lnTo>
                      <a:pt x="3743" y="1615"/>
                    </a:lnTo>
                    <a:lnTo>
                      <a:pt x="3753" y="1593"/>
                    </a:lnTo>
                    <a:lnTo>
                      <a:pt x="3767" y="1567"/>
                    </a:lnTo>
                    <a:lnTo>
                      <a:pt x="3776" y="1554"/>
                    </a:lnTo>
                    <a:lnTo>
                      <a:pt x="3784" y="1543"/>
                    </a:lnTo>
                    <a:lnTo>
                      <a:pt x="3791" y="1533"/>
                    </a:lnTo>
                    <a:lnTo>
                      <a:pt x="3798" y="1526"/>
                    </a:lnTo>
                    <a:lnTo>
                      <a:pt x="3805" y="1514"/>
                    </a:lnTo>
                    <a:lnTo>
                      <a:pt x="3813" y="1501"/>
                    </a:lnTo>
                    <a:lnTo>
                      <a:pt x="3817" y="1496"/>
                    </a:lnTo>
                    <a:lnTo>
                      <a:pt x="3820" y="1490"/>
                    </a:lnTo>
                    <a:lnTo>
                      <a:pt x="3823" y="1484"/>
                    </a:lnTo>
                    <a:lnTo>
                      <a:pt x="3825" y="1478"/>
                    </a:lnTo>
                    <a:lnTo>
                      <a:pt x="3829" y="1473"/>
                    </a:lnTo>
                    <a:lnTo>
                      <a:pt x="3832" y="1463"/>
                    </a:lnTo>
                    <a:lnTo>
                      <a:pt x="3836" y="1451"/>
                    </a:lnTo>
                    <a:lnTo>
                      <a:pt x="3859" y="1413"/>
                    </a:lnTo>
                    <a:lnTo>
                      <a:pt x="3872" y="1389"/>
                    </a:lnTo>
                    <a:lnTo>
                      <a:pt x="3873" y="1384"/>
                    </a:lnTo>
                    <a:lnTo>
                      <a:pt x="3874" y="1378"/>
                    </a:lnTo>
                    <a:lnTo>
                      <a:pt x="3874" y="1372"/>
                    </a:lnTo>
                    <a:lnTo>
                      <a:pt x="3873" y="1365"/>
                    </a:lnTo>
                    <a:lnTo>
                      <a:pt x="3868" y="1346"/>
                    </a:lnTo>
                    <a:lnTo>
                      <a:pt x="3860" y="1322"/>
                    </a:lnTo>
                    <a:lnTo>
                      <a:pt x="3850" y="1290"/>
                    </a:lnTo>
                    <a:lnTo>
                      <a:pt x="3834" y="1248"/>
                    </a:lnTo>
                    <a:lnTo>
                      <a:pt x="3826" y="1228"/>
                    </a:lnTo>
                    <a:lnTo>
                      <a:pt x="3817" y="1210"/>
                    </a:lnTo>
                    <a:lnTo>
                      <a:pt x="3812" y="1202"/>
                    </a:lnTo>
                    <a:lnTo>
                      <a:pt x="3806" y="1197"/>
                    </a:lnTo>
                    <a:lnTo>
                      <a:pt x="3801" y="1193"/>
                    </a:lnTo>
                    <a:lnTo>
                      <a:pt x="3796" y="1190"/>
                    </a:lnTo>
                    <a:lnTo>
                      <a:pt x="3784" y="1189"/>
                    </a:lnTo>
                    <a:lnTo>
                      <a:pt x="3771" y="1189"/>
                    </a:lnTo>
                    <a:lnTo>
                      <a:pt x="3757" y="1189"/>
                    </a:lnTo>
                    <a:lnTo>
                      <a:pt x="3744" y="1190"/>
                    </a:lnTo>
                    <a:lnTo>
                      <a:pt x="3731" y="1190"/>
                    </a:lnTo>
                    <a:lnTo>
                      <a:pt x="3718" y="1190"/>
                    </a:lnTo>
                    <a:lnTo>
                      <a:pt x="3705" y="1189"/>
                    </a:lnTo>
                    <a:lnTo>
                      <a:pt x="3693" y="1186"/>
                    </a:lnTo>
                    <a:lnTo>
                      <a:pt x="3680" y="1180"/>
                    </a:lnTo>
                    <a:lnTo>
                      <a:pt x="3669" y="1174"/>
                    </a:lnTo>
                    <a:lnTo>
                      <a:pt x="3663" y="1171"/>
                    </a:lnTo>
                    <a:lnTo>
                      <a:pt x="3656" y="1170"/>
                    </a:lnTo>
                    <a:lnTo>
                      <a:pt x="3649" y="1169"/>
                    </a:lnTo>
                    <a:lnTo>
                      <a:pt x="3642" y="1169"/>
                    </a:lnTo>
                    <a:lnTo>
                      <a:pt x="3630" y="1170"/>
                    </a:lnTo>
                    <a:lnTo>
                      <a:pt x="3619" y="1173"/>
                    </a:lnTo>
                    <a:lnTo>
                      <a:pt x="3609" y="1176"/>
                    </a:lnTo>
                    <a:lnTo>
                      <a:pt x="3599" y="1180"/>
                    </a:lnTo>
                    <a:lnTo>
                      <a:pt x="3581" y="1189"/>
                    </a:lnTo>
                    <a:lnTo>
                      <a:pt x="3561" y="1197"/>
                    </a:lnTo>
                    <a:lnTo>
                      <a:pt x="3550" y="1200"/>
                    </a:lnTo>
                    <a:lnTo>
                      <a:pt x="3539" y="1201"/>
                    </a:lnTo>
                    <a:lnTo>
                      <a:pt x="3529" y="1200"/>
                    </a:lnTo>
                    <a:lnTo>
                      <a:pt x="3517" y="1199"/>
                    </a:lnTo>
                    <a:lnTo>
                      <a:pt x="3496" y="1193"/>
                    </a:lnTo>
                    <a:lnTo>
                      <a:pt x="3476" y="1186"/>
                    </a:lnTo>
                    <a:lnTo>
                      <a:pt x="3468" y="1182"/>
                    </a:lnTo>
                    <a:lnTo>
                      <a:pt x="3459" y="1175"/>
                    </a:lnTo>
                    <a:lnTo>
                      <a:pt x="3452" y="1168"/>
                    </a:lnTo>
                    <a:lnTo>
                      <a:pt x="3447" y="1160"/>
                    </a:lnTo>
                    <a:lnTo>
                      <a:pt x="3440" y="1153"/>
                    </a:lnTo>
                    <a:lnTo>
                      <a:pt x="3434" y="1145"/>
                    </a:lnTo>
                    <a:lnTo>
                      <a:pt x="3430" y="1143"/>
                    </a:lnTo>
                    <a:lnTo>
                      <a:pt x="3428" y="1141"/>
                    </a:lnTo>
                    <a:lnTo>
                      <a:pt x="3424" y="1140"/>
                    </a:lnTo>
                    <a:lnTo>
                      <a:pt x="3421" y="1140"/>
                    </a:lnTo>
                    <a:lnTo>
                      <a:pt x="3410" y="1150"/>
                    </a:lnTo>
                    <a:lnTo>
                      <a:pt x="3401" y="1162"/>
                    </a:lnTo>
                    <a:lnTo>
                      <a:pt x="3391" y="1175"/>
                    </a:lnTo>
                    <a:lnTo>
                      <a:pt x="3382" y="1188"/>
                    </a:lnTo>
                    <a:lnTo>
                      <a:pt x="3364" y="1214"/>
                    </a:lnTo>
                    <a:lnTo>
                      <a:pt x="3345" y="1239"/>
                    </a:lnTo>
                    <a:lnTo>
                      <a:pt x="3343" y="1242"/>
                    </a:lnTo>
                    <a:lnTo>
                      <a:pt x="3342" y="1247"/>
                    </a:lnTo>
                    <a:lnTo>
                      <a:pt x="3341" y="1252"/>
                    </a:lnTo>
                    <a:lnTo>
                      <a:pt x="3340" y="1257"/>
                    </a:lnTo>
                    <a:lnTo>
                      <a:pt x="3340" y="1270"/>
                    </a:lnTo>
                    <a:lnTo>
                      <a:pt x="3341" y="1285"/>
                    </a:lnTo>
                    <a:lnTo>
                      <a:pt x="3343" y="1298"/>
                    </a:lnTo>
                    <a:lnTo>
                      <a:pt x="3345" y="1310"/>
                    </a:lnTo>
                    <a:lnTo>
                      <a:pt x="3349" y="1322"/>
                    </a:lnTo>
                    <a:lnTo>
                      <a:pt x="3351" y="1331"/>
                    </a:lnTo>
                    <a:lnTo>
                      <a:pt x="3349" y="1340"/>
                    </a:lnTo>
                    <a:lnTo>
                      <a:pt x="3142" y="1295"/>
                    </a:lnTo>
                    <a:lnTo>
                      <a:pt x="3206" y="759"/>
                    </a:lnTo>
                    <a:lnTo>
                      <a:pt x="2664" y="534"/>
                    </a:lnTo>
                    <a:lnTo>
                      <a:pt x="2664" y="586"/>
                    </a:lnTo>
                    <a:lnTo>
                      <a:pt x="2304" y="586"/>
                    </a:lnTo>
                    <a:lnTo>
                      <a:pt x="2292" y="614"/>
                    </a:lnTo>
                    <a:lnTo>
                      <a:pt x="2268" y="614"/>
                    </a:lnTo>
                    <a:lnTo>
                      <a:pt x="2268" y="348"/>
                    </a:lnTo>
                    <a:lnTo>
                      <a:pt x="2028" y="65"/>
                    </a:lnTo>
                    <a:lnTo>
                      <a:pt x="2028" y="65"/>
                    </a:lnTo>
                    <a:lnTo>
                      <a:pt x="165" y="0"/>
                    </a:lnTo>
                    <a:lnTo>
                      <a:pt x="165" y="0"/>
                    </a:lnTo>
                    <a:lnTo>
                      <a:pt x="206" y="332"/>
                    </a:lnTo>
                    <a:lnTo>
                      <a:pt x="210" y="336"/>
                    </a:lnTo>
                    <a:lnTo>
                      <a:pt x="213" y="339"/>
                    </a:lnTo>
                    <a:lnTo>
                      <a:pt x="217" y="339"/>
                    </a:lnTo>
                    <a:lnTo>
                      <a:pt x="221" y="342"/>
                    </a:lnTo>
                    <a:lnTo>
                      <a:pt x="222" y="343"/>
                    </a:lnTo>
                    <a:lnTo>
                      <a:pt x="232" y="346"/>
                    </a:lnTo>
                    <a:lnTo>
                      <a:pt x="244" y="349"/>
                    </a:lnTo>
                    <a:lnTo>
                      <a:pt x="248" y="351"/>
                    </a:lnTo>
                    <a:lnTo>
                      <a:pt x="256" y="353"/>
                    </a:lnTo>
                    <a:lnTo>
                      <a:pt x="264" y="356"/>
                    </a:lnTo>
                    <a:lnTo>
                      <a:pt x="275" y="361"/>
                    </a:lnTo>
                    <a:lnTo>
                      <a:pt x="284" y="365"/>
                    </a:lnTo>
                    <a:lnTo>
                      <a:pt x="304" y="375"/>
                    </a:lnTo>
                    <a:lnTo>
                      <a:pt x="320" y="382"/>
                    </a:lnTo>
                    <a:lnTo>
                      <a:pt x="336" y="390"/>
                    </a:lnTo>
                    <a:lnTo>
                      <a:pt x="354" y="399"/>
                    </a:lnTo>
                    <a:lnTo>
                      <a:pt x="372" y="411"/>
                    </a:lnTo>
                    <a:lnTo>
                      <a:pt x="386" y="421"/>
                    </a:lnTo>
                    <a:lnTo>
                      <a:pt x="399" y="427"/>
                    </a:lnTo>
                    <a:lnTo>
                      <a:pt x="410" y="432"/>
                    </a:lnTo>
                    <a:lnTo>
                      <a:pt x="413" y="437"/>
                    </a:lnTo>
                    <a:lnTo>
                      <a:pt x="416" y="442"/>
                    </a:lnTo>
                    <a:lnTo>
                      <a:pt x="418" y="447"/>
                    </a:lnTo>
                    <a:lnTo>
                      <a:pt x="419" y="452"/>
                    </a:lnTo>
                    <a:lnTo>
                      <a:pt x="421" y="464"/>
                    </a:lnTo>
                    <a:lnTo>
                      <a:pt x="421" y="476"/>
                    </a:lnTo>
                    <a:lnTo>
                      <a:pt x="421" y="502"/>
                    </a:lnTo>
                    <a:lnTo>
                      <a:pt x="420" y="523"/>
                    </a:lnTo>
                    <a:lnTo>
                      <a:pt x="420" y="612"/>
                    </a:lnTo>
                    <a:lnTo>
                      <a:pt x="423" y="641"/>
                    </a:lnTo>
                    <a:lnTo>
                      <a:pt x="425" y="681"/>
                    </a:lnTo>
                    <a:lnTo>
                      <a:pt x="425" y="692"/>
                    </a:lnTo>
                    <a:lnTo>
                      <a:pt x="425" y="701"/>
                    </a:lnTo>
                    <a:lnTo>
                      <a:pt x="424" y="711"/>
                    </a:lnTo>
                    <a:lnTo>
                      <a:pt x="423" y="719"/>
                    </a:lnTo>
                    <a:lnTo>
                      <a:pt x="419" y="726"/>
                    </a:lnTo>
                    <a:lnTo>
                      <a:pt x="417" y="732"/>
                    </a:lnTo>
                    <a:lnTo>
                      <a:pt x="412" y="735"/>
                    </a:lnTo>
                    <a:lnTo>
                      <a:pt x="406" y="739"/>
                    </a:lnTo>
                    <a:lnTo>
                      <a:pt x="391" y="742"/>
                    </a:lnTo>
                    <a:lnTo>
                      <a:pt x="378" y="742"/>
                    </a:lnTo>
                    <a:lnTo>
                      <a:pt x="365" y="742"/>
                    </a:lnTo>
                    <a:lnTo>
                      <a:pt x="354" y="742"/>
                    </a:lnTo>
                    <a:lnTo>
                      <a:pt x="349" y="744"/>
                    </a:lnTo>
                    <a:lnTo>
                      <a:pt x="343" y="744"/>
                    </a:lnTo>
                    <a:lnTo>
                      <a:pt x="338" y="746"/>
                    </a:lnTo>
                    <a:lnTo>
                      <a:pt x="332" y="748"/>
                    </a:lnTo>
                    <a:lnTo>
                      <a:pt x="326" y="752"/>
                    </a:lnTo>
                    <a:lnTo>
                      <a:pt x="320" y="757"/>
                    </a:lnTo>
                    <a:lnTo>
                      <a:pt x="315" y="762"/>
                    </a:lnTo>
                    <a:lnTo>
                      <a:pt x="309" y="769"/>
                    </a:lnTo>
                    <a:lnTo>
                      <a:pt x="304" y="777"/>
                    </a:lnTo>
                    <a:lnTo>
                      <a:pt x="299" y="782"/>
                    </a:lnTo>
                    <a:lnTo>
                      <a:pt x="293" y="788"/>
                    </a:lnTo>
                    <a:lnTo>
                      <a:pt x="287" y="794"/>
                    </a:lnTo>
                    <a:lnTo>
                      <a:pt x="276" y="805"/>
                    </a:lnTo>
                    <a:lnTo>
                      <a:pt x="268" y="815"/>
                    </a:lnTo>
                    <a:lnTo>
                      <a:pt x="265" y="824"/>
                    </a:lnTo>
                    <a:lnTo>
                      <a:pt x="262" y="831"/>
                    </a:lnTo>
                    <a:lnTo>
                      <a:pt x="259" y="839"/>
                    </a:lnTo>
                    <a:lnTo>
                      <a:pt x="258" y="847"/>
                    </a:lnTo>
                    <a:lnTo>
                      <a:pt x="256" y="865"/>
                    </a:lnTo>
                    <a:lnTo>
                      <a:pt x="256" y="883"/>
                    </a:lnTo>
                    <a:lnTo>
                      <a:pt x="257" y="919"/>
                    </a:lnTo>
                    <a:lnTo>
                      <a:pt x="259" y="952"/>
                    </a:lnTo>
                    <a:lnTo>
                      <a:pt x="259" y="962"/>
                    </a:lnTo>
                    <a:lnTo>
                      <a:pt x="258" y="969"/>
                    </a:lnTo>
                    <a:lnTo>
                      <a:pt x="255" y="973"/>
                    </a:lnTo>
                    <a:lnTo>
                      <a:pt x="251" y="978"/>
                    </a:lnTo>
                    <a:lnTo>
                      <a:pt x="248" y="980"/>
                    </a:lnTo>
                    <a:lnTo>
                      <a:pt x="243" y="982"/>
                    </a:lnTo>
                    <a:lnTo>
                      <a:pt x="237" y="983"/>
                    </a:lnTo>
                    <a:lnTo>
                      <a:pt x="231" y="983"/>
                    </a:lnTo>
                    <a:lnTo>
                      <a:pt x="218" y="984"/>
                    </a:lnTo>
                    <a:lnTo>
                      <a:pt x="206" y="985"/>
                    </a:lnTo>
                    <a:lnTo>
                      <a:pt x="201" y="986"/>
                    </a:lnTo>
                    <a:lnTo>
                      <a:pt x="195" y="989"/>
                    </a:lnTo>
                    <a:lnTo>
                      <a:pt x="189" y="992"/>
                    </a:lnTo>
                    <a:lnTo>
                      <a:pt x="184" y="997"/>
                    </a:lnTo>
                    <a:lnTo>
                      <a:pt x="186" y="1029"/>
                    </a:lnTo>
                    <a:lnTo>
                      <a:pt x="190" y="1063"/>
                    </a:lnTo>
                    <a:lnTo>
                      <a:pt x="196" y="1096"/>
                    </a:lnTo>
                    <a:lnTo>
                      <a:pt x="202" y="1128"/>
                    </a:lnTo>
                    <a:lnTo>
                      <a:pt x="211" y="1164"/>
                    </a:lnTo>
                    <a:lnTo>
                      <a:pt x="223" y="1202"/>
                    </a:lnTo>
                    <a:lnTo>
                      <a:pt x="228" y="1222"/>
                    </a:lnTo>
                    <a:lnTo>
                      <a:pt x="232" y="1241"/>
                    </a:lnTo>
                    <a:lnTo>
                      <a:pt x="237" y="1259"/>
                    </a:lnTo>
                    <a:lnTo>
                      <a:pt x="239" y="1276"/>
                    </a:lnTo>
                    <a:lnTo>
                      <a:pt x="243" y="1283"/>
                    </a:lnTo>
                    <a:lnTo>
                      <a:pt x="249" y="1290"/>
                    </a:lnTo>
                    <a:lnTo>
                      <a:pt x="347" y="1411"/>
                    </a:lnTo>
                    <a:lnTo>
                      <a:pt x="121" y="1639"/>
                    </a:lnTo>
                    <a:lnTo>
                      <a:pt x="146" y="1900"/>
                    </a:lnTo>
                    <a:lnTo>
                      <a:pt x="143" y="1908"/>
                    </a:lnTo>
                    <a:lnTo>
                      <a:pt x="138" y="1915"/>
                    </a:lnTo>
                    <a:lnTo>
                      <a:pt x="134" y="1922"/>
                    </a:lnTo>
                    <a:lnTo>
                      <a:pt x="128" y="1928"/>
                    </a:lnTo>
                    <a:lnTo>
                      <a:pt x="115" y="1941"/>
                    </a:lnTo>
                    <a:lnTo>
                      <a:pt x="102" y="1953"/>
                    </a:lnTo>
                    <a:lnTo>
                      <a:pt x="97" y="1962"/>
                    </a:lnTo>
                    <a:lnTo>
                      <a:pt x="89" y="1972"/>
                    </a:lnTo>
                    <a:lnTo>
                      <a:pt x="81" y="1981"/>
                    </a:lnTo>
                    <a:lnTo>
                      <a:pt x="74" y="1989"/>
                    </a:lnTo>
                    <a:lnTo>
                      <a:pt x="64" y="2002"/>
                    </a:lnTo>
                    <a:lnTo>
                      <a:pt x="55" y="2019"/>
                    </a:lnTo>
                    <a:lnTo>
                      <a:pt x="45" y="2035"/>
                    </a:lnTo>
                    <a:lnTo>
                      <a:pt x="38" y="2050"/>
                    </a:lnTo>
                    <a:lnTo>
                      <a:pt x="30" y="2066"/>
                    </a:lnTo>
                    <a:lnTo>
                      <a:pt x="22" y="2084"/>
                    </a:lnTo>
                    <a:lnTo>
                      <a:pt x="18" y="2093"/>
                    </a:lnTo>
                    <a:lnTo>
                      <a:pt x="15" y="2103"/>
                    </a:lnTo>
                    <a:lnTo>
                      <a:pt x="12" y="2111"/>
                    </a:lnTo>
                    <a:lnTo>
                      <a:pt x="11" y="2119"/>
                    </a:lnTo>
                    <a:lnTo>
                      <a:pt x="7" y="2127"/>
                    </a:lnTo>
                    <a:lnTo>
                      <a:pt x="4" y="2138"/>
                    </a:lnTo>
                    <a:lnTo>
                      <a:pt x="3" y="2147"/>
                    </a:lnTo>
                    <a:lnTo>
                      <a:pt x="2" y="2158"/>
                    </a:lnTo>
                    <a:lnTo>
                      <a:pt x="2" y="2180"/>
                    </a:lnTo>
                    <a:lnTo>
                      <a:pt x="0" y="2199"/>
                    </a:lnTo>
                    <a:lnTo>
                      <a:pt x="10" y="2534"/>
                    </a:lnTo>
                    <a:lnTo>
                      <a:pt x="10" y="2534"/>
                    </a:lnTo>
                    <a:lnTo>
                      <a:pt x="36" y="2522"/>
                    </a:lnTo>
                    <a:lnTo>
                      <a:pt x="63" y="2507"/>
                    </a:lnTo>
                    <a:lnTo>
                      <a:pt x="90" y="2492"/>
                    </a:lnTo>
                    <a:lnTo>
                      <a:pt x="114" y="2475"/>
                    </a:lnTo>
                    <a:lnTo>
                      <a:pt x="126" y="2467"/>
                    </a:lnTo>
                    <a:lnTo>
                      <a:pt x="136" y="2461"/>
                    </a:lnTo>
                    <a:lnTo>
                      <a:pt x="141" y="2460"/>
                    </a:lnTo>
                    <a:lnTo>
                      <a:pt x="143" y="2459"/>
                    </a:lnTo>
                    <a:lnTo>
                      <a:pt x="146" y="2459"/>
                    </a:lnTo>
                    <a:lnTo>
                      <a:pt x="149" y="2459"/>
                    </a:lnTo>
                    <a:lnTo>
                      <a:pt x="150" y="2460"/>
                    </a:lnTo>
                    <a:lnTo>
                      <a:pt x="152" y="2462"/>
                    </a:lnTo>
                    <a:lnTo>
                      <a:pt x="154" y="2464"/>
                    </a:lnTo>
                    <a:lnTo>
                      <a:pt x="155" y="2468"/>
                    </a:lnTo>
                    <a:lnTo>
                      <a:pt x="157" y="2479"/>
                    </a:lnTo>
                    <a:lnTo>
                      <a:pt x="159" y="2492"/>
                    </a:lnTo>
                    <a:lnTo>
                      <a:pt x="165" y="2530"/>
                    </a:lnTo>
                    <a:lnTo>
                      <a:pt x="170" y="2569"/>
                    </a:lnTo>
                    <a:lnTo>
                      <a:pt x="172" y="2608"/>
                    </a:lnTo>
                    <a:lnTo>
                      <a:pt x="173" y="2646"/>
                    </a:lnTo>
                    <a:lnTo>
                      <a:pt x="173" y="2685"/>
                    </a:lnTo>
                    <a:lnTo>
                      <a:pt x="173" y="2724"/>
                    </a:lnTo>
                    <a:lnTo>
                      <a:pt x="173" y="2764"/>
                    </a:lnTo>
                    <a:lnTo>
                      <a:pt x="172" y="2803"/>
                    </a:lnTo>
                    <a:lnTo>
                      <a:pt x="173" y="2804"/>
                    </a:lnTo>
                    <a:lnTo>
                      <a:pt x="175" y="2804"/>
                    </a:lnTo>
                    <a:lnTo>
                      <a:pt x="177" y="2807"/>
                    </a:lnTo>
                    <a:lnTo>
                      <a:pt x="181" y="2809"/>
                    </a:lnTo>
                    <a:lnTo>
                      <a:pt x="185" y="2810"/>
                    </a:lnTo>
                    <a:lnTo>
                      <a:pt x="191" y="2811"/>
                    </a:lnTo>
                    <a:lnTo>
                      <a:pt x="205" y="2812"/>
                    </a:lnTo>
                    <a:lnTo>
                      <a:pt x="223" y="2811"/>
                    </a:lnTo>
                    <a:lnTo>
                      <a:pt x="256" y="2806"/>
                    </a:lnTo>
                    <a:lnTo>
                      <a:pt x="276" y="2803"/>
                    </a:lnTo>
                    <a:lnTo>
                      <a:pt x="313" y="2794"/>
                    </a:lnTo>
                    <a:lnTo>
                      <a:pt x="352" y="2790"/>
                    </a:lnTo>
                    <a:lnTo>
                      <a:pt x="392" y="2784"/>
                    </a:lnTo>
                    <a:lnTo>
                      <a:pt x="430" y="2778"/>
                    </a:lnTo>
                    <a:lnTo>
                      <a:pt x="446" y="2777"/>
                    </a:lnTo>
                    <a:lnTo>
                      <a:pt x="467" y="2774"/>
                    </a:lnTo>
                    <a:lnTo>
                      <a:pt x="478" y="2773"/>
                    </a:lnTo>
                    <a:lnTo>
                      <a:pt x="487" y="2772"/>
                    </a:lnTo>
                    <a:lnTo>
                      <a:pt x="496" y="2773"/>
                    </a:lnTo>
                    <a:lnTo>
                      <a:pt x="501" y="2776"/>
                    </a:lnTo>
                    <a:lnTo>
                      <a:pt x="506" y="2779"/>
                    </a:lnTo>
                    <a:lnTo>
                      <a:pt x="508" y="2784"/>
                    </a:lnTo>
                    <a:lnTo>
                      <a:pt x="510" y="2789"/>
                    </a:lnTo>
                    <a:lnTo>
                      <a:pt x="508" y="2794"/>
                    </a:lnTo>
                    <a:lnTo>
                      <a:pt x="505" y="2806"/>
                    </a:lnTo>
                    <a:lnTo>
                      <a:pt x="500" y="2819"/>
                    </a:lnTo>
                    <a:lnTo>
                      <a:pt x="498" y="2826"/>
                    </a:lnTo>
                    <a:lnTo>
                      <a:pt x="497" y="2832"/>
                    </a:lnTo>
                    <a:lnTo>
                      <a:pt x="497" y="2838"/>
                    </a:lnTo>
                    <a:lnTo>
                      <a:pt x="498" y="2844"/>
                    </a:lnTo>
                    <a:lnTo>
                      <a:pt x="501" y="2850"/>
                    </a:lnTo>
                    <a:lnTo>
                      <a:pt x="507" y="2855"/>
                    </a:lnTo>
                    <a:lnTo>
                      <a:pt x="514" y="2859"/>
                    </a:lnTo>
                    <a:lnTo>
                      <a:pt x="526" y="2863"/>
                    </a:lnTo>
                    <a:lnTo>
                      <a:pt x="532" y="2865"/>
                    </a:lnTo>
                    <a:lnTo>
                      <a:pt x="538" y="2868"/>
                    </a:lnTo>
                    <a:lnTo>
                      <a:pt x="543" y="2870"/>
                    </a:lnTo>
                    <a:lnTo>
                      <a:pt x="546" y="2873"/>
                    </a:lnTo>
                    <a:lnTo>
                      <a:pt x="548" y="2877"/>
                    </a:lnTo>
                    <a:lnTo>
                      <a:pt x="551" y="2880"/>
                    </a:lnTo>
                    <a:lnTo>
                      <a:pt x="552" y="2885"/>
                    </a:lnTo>
                    <a:lnTo>
                      <a:pt x="552" y="2889"/>
                    </a:lnTo>
                    <a:lnTo>
                      <a:pt x="551" y="2897"/>
                    </a:lnTo>
                    <a:lnTo>
                      <a:pt x="546" y="2906"/>
                    </a:lnTo>
                    <a:lnTo>
                      <a:pt x="540" y="2916"/>
                    </a:lnTo>
                    <a:lnTo>
                      <a:pt x="533" y="2924"/>
                    </a:lnTo>
                    <a:lnTo>
                      <a:pt x="526" y="2932"/>
                    </a:lnTo>
                    <a:lnTo>
                      <a:pt x="520" y="2941"/>
                    </a:lnTo>
                    <a:lnTo>
                      <a:pt x="517" y="2948"/>
                    </a:lnTo>
                    <a:lnTo>
                      <a:pt x="513" y="2956"/>
                    </a:lnTo>
                    <a:lnTo>
                      <a:pt x="507" y="2972"/>
                    </a:lnTo>
                    <a:lnTo>
                      <a:pt x="503" y="2991"/>
                    </a:lnTo>
                    <a:lnTo>
                      <a:pt x="492" y="3016"/>
                    </a:lnTo>
                    <a:lnTo>
                      <a:pt x="481" y="3040"/>
                    </a:lnTo>
                    <a:lnTo>
                      <a:pt x="479" y="3045"/>
                    </a:lnTo>
                    <a:lnTo>
                      <a:pt x="478" y="3051"/>
                    </a:lnTo>
                    <a:lnTo>
                      <a:pt x="477" y="3057"/>
                    </a:lnTo>
                    <a:lnTo>
                      <a:pt x="477" y="3063"/>
                    </a:lnTo>
                    <a:lnTo>
                      <a:pt x="477" y="3069"/>
                    </a:lnTo>
                    <a:lnTo>
                      <a:pt x="479" y="3076"/>
                    </a:lnTo>
                    <a:lnTo>
                      <a:pt x="481" y="3082"/>
                    </a:lnTo>
                    <a:lnTo>
                      <a:pt x="486" y="3089"/>
                    </a:lnTo>
                    <a:lnTo>
                      <a:pt x="498" y="3107"/>
                    </a:lnTo>
                    <a:lnTo>
                      <a:pt x="510" y="3126"/>
                    </a:lnTo>
                    <a:lnTo>
                      <a:pt x="513" y="3136"/>
                    </a:lnTo>
                    <a:lnTo>
                      <a:pt x="515" y="3147"/>
                    </a:lnTo>
                    <a:lnTo>
                      <a:pt x="517" y="3156"/>
                    </a:lnTo>
                    <a:lnTo>
                      <a:pt x="515" y="3167"/>
                    </a:lnTo>
                    <a:lnTo>
                      <a:pt x="498" y="3176"/>
                    </a:lnTo>
                    <a:lnTo>
                      <a:pt x="481" y="3187"/>
                    </a:lnTo>
                    <a:lnTo>
                      <a:pt x="458" y="3207"/>
                    </a:lnTo>
                    <a:lnTo>
                      <a:pt x="458" y="3207"/>
                    </a:lnTo>
                    <a:lnTo>
                      <a:pt x="457" y="3213"/>
                    </a:lnTo>
                    <a:lnTo>
                      <a:pt x="454" y="3221"/>
                    </a:lnTo>
                    <a:lnTo>
                      <a:pt x="451" y="3228"/>
                    </a:lnTo>
                    <a:lnTo>
                      <a:pt x="446" y="3236"/>
                    </a:lnTo>
                    <a:lnTo>
                      <a:pt x="434" y="3253"/>
                    </a:lnTo>
                    <a:lnTo>
                      <a:pt x="420" y="3271"/>
                    </a:lnTo>
                    <a:lnTo>
                      <a:pt x="389" y="3304"/>
                    </a:lnTo>
                    <a:lnTo>
                      <a:pt x="365" y="3331"/>
                    </a:lnTo>
                    <a:lnTo>
                      <a:pt x="344" y="3355"/>
                    </a:lnTo>
                    <a:lnTo>
                      <a:pt x="320" y="3381"/>
                    </a:lnTo>
                    <a:lnTo>
                      <a:pt x="309" y="3394"/>
                    </a:lnTo>
                    <a:lnTo>
                      <a:pt x="297" y="3407"/>
                    </a:lnTo>
                    <a:lnTo>
                      <a:pt x="287" y="3420"/>
                    </a:lnTo>
                    <a:lnTo>
                      <a:pt x="279" y="3434"/>
                    </a:lnTo>
                    <a:lnTo>
                      <a:pt x="273" y="3439"/>
                    </a:lnTo>
                    <a:lnTo>
                      <a:pt x="269" y="3446"/>
                    </a:lnTo>
                    <a:lnTo>
                      <a:pt x="264" y="3456"/>
                    </a:lnTo>
                    <a:lnTo>
                      <a:pt x="262" y="3466"/>
                    </a:lnTo>
                    <a:lnTo>
                      <a:pt x="259" y="3478"/>
                    </a:lnTo>
                    <a:lnTo>
                      <a:pt x="257" y="3491"/>
                    </a:lnTo>
                    <a:lnTo>
                      <a:pt x="257" y="3504"/>
                    </a:lnTo>
                    <a:lnTo>
                      <a:pt x="257" y="3517"/>
                    </a:lnTo>
                    <a:lnTo>
                      <a:pt x="257" y="3531"/>
                    </a:lnTo>
                    <a:lnTo>
                      <a:pt x="258" y="3544"/>
                    </a:lnTo>
                    <a:lnTo>
                      <a:pt x="260" y="3557"/>
                    </a:lnTo>
                    <a:lnTo>
                      <a:pt x="263" y="3569"/>
                    </a:lnTo>
                    <a:lnTo>
                      <a:pt x="266" y="3579"/>
                    </a:lnTo>
                    <a:lnTo>
                      <a:pt x="270" y="3589"/>
                    </a:lnTo>
                    <a:lnTo>
                      <a:pt x="275" y="3597"/>
                    </a:lnTo>
                    <a:lnTo>
                      <a:pt x="279" y="3602"/>
                    </a:lnTo>
                    <a:lnTo>
                      <a:pt x="290" y="3612"/>
                    </a:lnTo>
                    <a:lnTo>
                      <a:pt x="302" y="3621"/>
                    </a:lnTo>
                    <a:lnTo>
                      <a:pt x="315" y="3630"/>
                    </a:lnTo>
                    <a:lnTo>
                      <a:pt x="327" y="3638"/>
                    </a:lnTo>
                    <a:lnTo>
                      <a:pt x="354" y="3655"/>
                    </a:lnTo>
                    <a:lnTo>
                      <a:pt x="384" y="3669"/>
                    </a:lnTo>
                    <a:lnTo>
                      <a:pt x="414" y="3682"/>
                    </a:lnTo>
                    <a:lnTo>
                      <a:pt x="444" y="3695"/>
                    </a:lnTo>
                    <a:lnTo>
                      <a:pt x="473" y="3707"/>
                    </a:lnTo>
                    <a:lnTo>
                      <a:pt x="500" y="3717"/>
                    </a:lnTo>
                    <a:lnTo>
                      <a:pt x="506" y="3724"/>
                    </a:lnTo>
                    <a:lnTo>
                      <a:pt x="510" y="3731"/>
                    </a:lnTo>
                    <a:lnTo>
                      <a:pt x="519" y="3741"/>
                    </a:lnTo>
                    <a:lnTo>
                      <a:pt x="530" y="3753"/>
                    </a:lnTo>
                    <a:lnTo>
                      <a:pt x="543" y="3762"/>
                    </a:lnTo>
                    <a:lnTo>
                      <a:pt x="557" y="3770"/>
                    </a:lnTo>
                    <a:lnTo>
                      <a:pt x="573" y="3777"/>
                    </a:lnTo>
                    <a:lnTo>
                      <a:pt x="590" y="3783"/>
                    </a:lnTo>
                    <a:lnTo>
                      <a:pt x="607" y="3788"/>
                    </a:lnTo>
                    <a:lnTo>
                      <a:pt x="625" y="3792"/>
                    </a:lnTo>
                    <a:lnTo>
                      <a:pt x="641" y="3794"/>
                    </a:lnTo>
                    <a:lnTo>
                      <a:pt x="658" y="3794"/>
                    </a:lnTo>
                    <a:lnTo>
                      <a:pt x="679" y="3794"/>
                    </a:lnTo>
                    <a:lnTo>
                      <a:pt x="700" y="3793"/>
                    </a:lnTo>
                    <a:lnTo>
                      <a:pt x="720" y="3790"/>
                    </a:lnTo>
                    <a:lnTo>
                      <a:pt x="740" y="3787"/>
                    </a:lnTo>
                    <a:lnTo>
                      <a:pt x="759" y="3782"/>
                    </a:lnTo>
                    <a:lnTo>
                      <a:pt x="779" y="3776"/>
                    </a:lnTo>
                    <a:lnTo>
                      <a:pt x="798" y="3770"/>
                    </a:lnTo>
                    <a:lnTo>
                      <a:pt x="818" y="3762"/>
                    </a:lnTo>
                    <a:lnTo>
                      <a:pt x="881" y="3742"/>
                    </a:lnTo>
                    <a:lnTo>
                      <a:pt x="881" y="3742"/>
                    </a:lnTo>
                    <a:lnTo>
                      <a:pt x="876" y="4628"/>
                    </a:lnTo>
                    <a:lnTo>
                      <a:pt x="876" y="4628"/>
                    </a:lnTo>
                    <a:lnTo>
                      <a:pt x="2516" y="4676"/>
                    </a:lnTo>
                    <a:lnTo>
                      <a:pt x="2519" y="4766"/>
                    </a:lnTo>
                    <a:lnTo>
                      <a:pt x="2519" y="4766"/>
                    </a:lnTo>
                    <a:lnTo>
                      <a:pt x="2774" y="4763"/>
                    </a:lnTo>
                    <a:lnTo>
                      <a:pt x="3314" y="4742"/>
                    </a:lnTo>
                    <a:lnTo>
                      <a:pt x="3767" y="4730"/>
                    </a:lnTo>
                    <a:lnTo>
                      <a:pt x="3896" y="4719"/>
                    </a:lnTo>
                    <a:lnTo>
                      <a:pt x="4034" y="4716"/>
                    </a:lnTo>
                    <a:lnTo>
                      <a:pt x="4034" y="4716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56">
                <a:extLst>
                  <a:ext uri="{FF2B5EF4-FFF2-40B4-BE49-F238E27FC236}">
                    <a16:creationId xmlns:a16="http://schemas.microsoft.com/office/drawing/2014/main" id="{855D5C15-6522-451A-9CCC-E5DE6C0D9C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09753" y="2646772"/>
                <a:ext cx="675070" cy="1154558"/>
              </a:xfrm>
              <a:custGeom>
                <a:avLst/>
                <a:gdLst>
                  <a:gd name="T0" fmla="*/ 2224 w 2756"/>
                  <a:gd name="T1" fmla="*/ 4604 h 4710"/>
                  <a:gd name="T2" fmla="*/ 2225 w 2756"/>
                  <a:gd name="T3" fmla="*/ 4597 h 4710"/>
                  <a:gd name="T4" fmla="*/ 2215 w 2756"/>
                  <a:gd name="T5" fmla="*/ 4543 h 4710"/>
                  <a:gd name="T6" fmla="*/ 2180 w 2756"/>
                  <a:gd name="T7" fmla="*/ 4450 h 4710"/>
                  <a:gd name="T8" fmla="*/ 2148 w 2756"/>
                  <a:gd name="T9" fmla="*/ 4373 h 4710"/>
                  <a:gd name="T10" fmla="*/ 2130 w 2756"/>
                  <a:gd name="T11" fmla="*/ 4313 h 4710"/>
                  <a:gd name="T12" fmla="*/ 2130 w 2756"/>
                  <a:gd name="T13" fmla="*/ 4279 h 4710"/>
                  <a:gd name="T14" fmla="*/ 2136 w 2756"/>
                  <a:gd name="T15" fmla="*/ 4261 h 4710"/>
                  <a:gd name="T16" fmla="*/ 2146 w 2756"/>
                  <a:gd name="T17" fmla="*/ 4246 h 4710"/>
                  <a:gd name="T18" fmla="*/ 2172 w 2756"/>
                  <a:gd name="T19" fmla="*/ 4225 h 4710"/>
                  <a:gd name="T20" fmla="*/ 2198 w 2756"/>
                  <a:gd name="T21" fmla="*/ 4195 h 4710"/>
                  <a:gd name="T22" fmla="*/ 2209 w 2756"/>
                  <a:gd name="T23" fmla="*/ 4176 h 4710"/>
                  <a:gd name="T24" fmla="*/ 2209 w 2756"/>
                  <a:gd name="T25" fmla="*/ 4156 h 4710"/>
                  <a:gd name="T26" fmla="*/ 2178 w 2756"/>
                  <a:gd name="T27" fmla="*/ 4116 h 4710"/>
                  <a:gd name="T28" fmla="*/ 2168 w 2756"/>
                  <a:gd name="T29" fmla="*/ 4070 h 4710"/>
                  <a:gd name="T30" fmla="*/ 2171 w 2756"/>
                  <a:gd name="T31" fmla="*/ 4040 h 4710"/>
                  <a:gd name="T32" fmla="*/ 2183 w 2756"/>
                  <a:gd name="T33" fmla="*/ 4021 h 4710"/>
                  <a:gd name="T34" fmla="*/ 2205 w 2756"/>
                  <a:gd name="T35" fmla="*/ 4008 h 4710"/>
                  <a:gd name="T36" fmla="*/ 2238 w 2756"/>
                  <a:gd name="T37" fmla="*/ 4008 h 4710"/>
                  <a:gd name="T38" fmla="*/ 2267 w 2756"/>
                  <a:gd name="T39" fmla="*/ 4016 h 4710"/>
                  <a:gd name="T40" fmla="*/ 2300 w 2756"/>
                  <a:gd name="T41" fmla="*/ 4021 h 4710"/>
                  <a:gd name="T42" fmla="*/ 2343 w 2756"/>
                  <a:gd name="T43" fmla="*/ 4014 h 4710"/>
                  <a:gd name="T44" fmla="*/ 2494 w 2756"/>
                  <a:gd name="T45" fmla="*/ 2924 h 4710"/>
                  <a:gd name="T46" fmla="*/ 2425 w 2756"/>
                  <a:gd name="T47" fmla="*/ 2935 h 4710"/>
                  <a:gd name="T48" fmla="*/ 2393 w 2756"/>
                  <a:gd name="T49" fmla="*/ 2933 h 4710"/>
                  <a:gd name="T50" fmla="*/ 2372 w 2756"/>
                  <a:gd name="T51" fmla="*/ 2927 h 4710"/>
                  <a:gd name="T52" fmla="*/ 2323 w 2756"/>
                  <a:gd name="T53" fmla="*/ 2888 h 4710"/>
                  <a:gd name="T54" fmla="*/ 2276 w 2756"/>
                  <a:gd name="T55" fmla="*/ 2841 h 4710"/>
                  <a:gd name="T56" fmla="*/ 2238 w 2756"/>
                  <a:gd name="T57" fmla="*/ 2816 h 4710"/>
                  <a:gd name="T58" fmla="*/ 2192 w 2756"/>
                  <a:gd name="T59" fmla="*/ 2796 h 4710"/>
                  <a:gd name="T60" fmla="*/ 2180 w 2756"/>
                  <a:gd name="T61" fmla="*/ 2396 h 4710"/>
                  <a:gd name="T62" fmla="*/ 2607 w 2756"/>
                  <a:gd name="T63" fmla="*/ 1375 h 4710"/>
                  <a:gd name="T64" fmla="*/ 2754 w 2756"/>
                  <a:gd name="T65" fmla="*/ 704 h 4710"/>
                  <a:gd name="T66" fmla="*/ 2748 w 2756"/>
                  <a:gd name="T67" fmla="*/ 672 h 4710"/>
                  <a:gd name="T68" fmla="*/ 2728 w 2756"/>
                  <a:gd name="T69" fmla="*/ 627 h 4710"/>
                  <a:gd name="T70" fmla="*/ 2718 w 2756"/>
                  <a:gd name="T71" fmla="*/ 577 h 4710"/>
                  <a:gd name="T72" fmla="*/ 2706 w 2756"/>
                  <a:gd name="T73" fmla="*/ 559 h 4710"/>
                  <a:gd name="T74" fmla="*/ 2686 w 2756"/>
                  <a:gd name="T75" fmla="*/ 560 h 4710"/>
                  <a:gd name="T76" fmla="*/ 2652 w 2756"/>
                  <a:gd name="T77" fmla="*/ 572 h 4710"/>
                  <a:gd name="T78" fmla="*/ 2624 w 2756"/>
                  <a:gd name="T79" fmla="*/ 575 h 4710"/>
                  <a:gd name="T80" fmla="*/ 2608 w 2756"/>
                  <a:gd name="T81" fmla="*/ 572 h 4710"/>
                  <a:gd name="T82" fmla="*/ 2587 w 2756"/>
                  <a:gd name="T83" fmla="*/ 546 h 4710"/>
                  <a:gd name="T84" fmla="*/ 2554 w 2756"/>
                  <a:gd name="T85" fmla="*/ 514 h 4710"/>
                  <a:gd name="T86" fmla="*/ 2535 w 2756"/>
                  <a:gd name="T87" fmla="*/ 496 h 4710"/>
                  <a:gd name="T88" fmla="*/ 2573 w 2756"/>
                  <a:gd name="T89" fmla="*/ 474 h 4710"/>
                  <a:gd name="T90" fmla="*/ 2627 w 2756"/>
                  <a:gd name="T91" fmla="*/ 440 h 4710"/>
                  <a:gd name="T92" fmla="*/ 2634 w 2756"/>
                  <a:gd name="T93" fmla="*/ 426 h 4710"/>
                  <a:gd name="T94" fmla="*/ 2639 w 2756"/>
                  <a:gd name="T95" fmla="*/ 406 h 4710"/>
                  <a:gd name="T96" fmla="*/ 2647 w 2756"/>
                  <a:gd name="T97" fmla="*/ 397 h 4710"/>
                  <a:gd name="T98" fmla="*/ 2667 w 2756"/>
                  <a:gd name="T99" fmla="*/ 393 h 4710"/>
                  <a:gd name="T100" fmla="*/ 2695 w 2756"/>
                  <a:gd name="T101" fmla="*/ 392 h 4710"/>
                  <a:gd name="T102" fmla="*/ 2718 w 2756"/>
                  <a:gd name="T103" fmla="*/ 387 h 4710"/>
                  <a:gd name="T104" fmla="*/ 2739 w 2756"/>
                  <a:gd name="T105" fmla="*/ 374 h 4710"/>
                  <a:gd name="T106" fmla="*/ 2754 w 2756"/>
                  <a:gd name="T107" fmla="*/ 353 h 4710"/>
                  <a:gd name="T108" fmla="*/ 2755 w 2756"/>
                  <a:gd name="T109" fmla="*/ 326 h 4710"/>
                  <a:gd name="T110" fmla="*/ 2398 w 2756"/>
                  <a:gd name="T111" fmla="*/ 307 h 4710"/>
                  <a:gd name="T112" fmla="*/ 1197 w 2756"/>
                  <a:gd name="T113" fmla="*/ 0 h 4710"/>
                  <a:gd name="T114" fmla="*/ 53 w 2756"/>
                  <a:gd name="T115" fmla="*/ 4654 h 4710"/>
                  <a:gd name="T116" fmla="*/ 2231 w 2756"/>
                  <a:gd name="T117" fmla="*/ 4710 h 4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56" h="4710">
                    <a:moveTo>
                      <a:pt x="2231" y="4710"/>
                    </a:moveTo>
                    <a:lnTo>
                      <a:pt x="2222" y="4606"/>
                    </a:lnTo>
                    <a:lnTo>
                      <a:pt x="2224" y="4604"/>
                    </a:lnTo>
                    <a:lnTo>
                      <a:pt x="2225" y="4602"/>
                    </a:lnTo>
                    <a:lnTo>
                      <a:pt x="2226" y="4599"/>
                    </a:lnTo>
                    <a:lnTo>
                      <a:pt x="2225" y="4597"/>
                    </a:lnTo>
                    <a:lnTo>
                      <a:pt x="2224" y="4581"/>
                    </a:lnTo>
                    <a:lnTo>
                      <a:pt x="2220" y="4562"/>
                    </a:lnTo>
                    <a:lnTo>
                      <a:pt x="2215" y="4543"/>
                    </a:lnTo>
                    <a:lnTo>
                      <a:pt x="2209" y="4523"/>
                    </a:lnTo>
                    <a:lnTo>
                      <a:pt x="2193" y="4484"/>
                    </a:lnTo>
                    <a:lnTo>
                      <a:pt x="2180" y="4450"/>
                    </a:lnTo>
                    <a:lnTo>
                      <a:pt x="2171" y="4427"/>
                    </a:lnTo>
                    <a:lnTo>
                      <a:pt x="2159" y="4401"/>
                    </a:lnTo>
                    <a:lnTo>
                      <a:pt x="2148" y="4373"/>
                    </a:lnTo>
                    <a:lnTo>
                      <a:pt x="2137" y="4342"/>
                    </a:lnTo>
                    <a:lnTo>
                      <a:pt x="2133" y="4328"/>
                    </a:lnTo>
                    <a:lnTo>
                      <a:pt x="2130" y="4313"/>
                    </a:lnTo>
                    <a:lnTo>
                      <a:pt x="2129" y="4299"/>
                    </a:lnTo>
                    <a:lnTo>
                      <a:pt x="2129" y="4286"/>
                    </a:lnTo>
                    <a:lnTo>
                      <a:pt x="2130" y="4279"/>
                    </a:lnTo>
                    <a:lnTo>
                      <a:pt x="2131" y="4273"/>
                    </a:lnTo>
                    <a:lnTo>
                      <a:pt x="2133" y="4267"/>
                    </a:lnTo>
                    <a:lnTo>
                      <a:pt x="2136" y="4261"/>
                    </a:lnTo>
                    <a:lnTo>
                      <a:pt x="2138" y="4255"/>
                    </a:lnTo>
                    <a:lnTo>
                      <a:pt x="2143" y="4250"/>
                    </a:lnTo>
                    <a:lnTo>
                      <a:pt x="2146" y="4246"/>
                    </a:lnTo>
                    <a:lnTo>
                      <a:pt x="2152" y="4241"/>
                    </a:lnTo>
                    <a:lnTo>
                      <a:pt x="2162" y="4234"/>
                    </a:lnTo>
                    <a:lnTo>
                      <a:pt x="2172" y="4225"/>
                    </a:lnTo>
                    <a:lnTo>
                      <a:pt x="2183" y="4214"/>
                    </a:lnTo>
                    <a:lnTo>
                      <a:pt x="2193" y="4202"/>
                    </a:lnTo>
                    <a:lnTo>
                      <a:pt x="2198" y="4195"/>
                    </a:lnTo>
                    <a:lnTo>
                      <a:pt x="2203" y="4189"/>
                    </a:lnTo>
                    <a:lnTo>
                      <a:pt x="2205" y="4182"/>
                    </a:lnTo>
                    <a:lnTo>
                      <a:pt x="2209" y="4176"/>
                    </a:lnTo>
                    <a:lnTo>
                      <a:pt x="2210" y="4169"/>
                    </a:lnTo>
                    <a:lnTo>
                      <a:pt x="2210" y="4162"/>
                    </a:lnTo>
                    <a:lnTo>
                      <a:pt x="2209" y="4156"/>
                    </a:lnTo>
                    <a:lnTo>
                      <a:pt x="2207" y="4149"/>
                    </a:lnTo>
                    <a:lnTo>
                      <a:pt x="2192" y="4133"/>
                    </a:lnTo>
                    <a:lnTo>
                      <a:pt x="2178" y="4116"/>
                    </a:lnTo>
                    <a:lnTo>
                      <a:pt x="2173" y="4102"/>
                    </a:lnTo>
                    <a:lnTo>
                      <a:pt x="2170" y="4085"/>
                    </a:lnTo>
                    <a:lnTo>
                      <a:pt x="2168" y="4070"/>
                    </a:lnTo>
                    <a:lnTo>
                      <a:pt x="2168" y="4054"/>
                    </a:lnTo>
                    <a:lnTo>
                      <a:pt x="2170" y="4047"/>
                    </a:lnTo>
                    <a:lnTo>
                      <a:pt x="2171" y="4040"/>
                    </a:lnTo>
                    <a:lnTo>
                      <a:pt x="2175" y="4035"/>
                    </a:lnTo>
                    <a:lnTo>
                      <a:pt x="2176" y="4029"/>
                    </a:lnTo>
                    <a:lnTo>
                      <a:pt x="2183" y="4021"/>
                    </a:lnTo>
                    <a:lnTo>
                      <a:pt x="2189" y="4015"/>
                    </a:lnTo>
                    <a:lnTo>
                      <a:pt x="2196" y="4011"/>
                    </a:lnTo>
                    <a:lnTo>
                      <a:pt x="2205" y="4008"/>
                    </a:lnTo>
                    <a:lnTo>
                      <a:pt x="2217" y="4005"/>
                    </a:lnTo>
                    <a:lnTo>
                      <a:pt x="2227" y="4007"/>
                    </a:lnTo>
                    <a:lnTo>
                      <a:pt x="2238" y="4008"/>
                    </a:lnTo>
                    <a:lnTo>
                      <a:pt x="2249" y="4009"/>
                    </a:lnTo>
                    <a:lnTo>
                      <a:pt x="2257" y="4012"/>
                    </a:lnTo>
                    <a:lnTo>
                      <a:pt x="2267" y="4016"/>
                    </a:lnTo>
                    <a:lnTo>
                      <a:pt x="2278" y="4019"/>
                    </a:lnTo>
                    <a:lnTo>
                      <a:pt x="2286" y="4021"/>
                    </a:lnTo>
                    <a:lnTo>
                      <a:pt x="2300" y="4021"/>
                    </a:lnTo>
                    <a:lnTo>
                      <a:pt x="2314" y="4019"/>
                    </a:lnTo>
                    <a:lnTo>
                      <a:pt x="2329" y="4017"/>
                    </a:lnTo>
                    <a:lnTo>
                      <a:pt x="2343" y="4014"/>
                    </a:lnTo>
                    <a:lnTo>
                      <a:pt x="2493" y="3299"/>
                    </a:lnTo>
                    <a:lnTo>
                      <a:pt x="2494" y="2924"/>
                    </a:lnTo>
                    <a:lnTo>
                      <a:pt x="2494" y="2924"/>
                    </a:lnTo>
                    <a:lnTo>
                      <a:pt x="2453" y="2929"/>
                    </a:lnTo>
                    <a:lnTo>
                      <a:pt x="2439" y="2933"/>
                    </a:lnTo>
                    <a:lnTo>
                      <a:pt x="2425" y="2935"/>
                    </a:lnTo>
                    <a:lnTo>
                      <a:pt x="2413" y="2934"/>
                    </a:lnTo>
                    <a:lnTo>
                      <a:pt x="2401" y="2934"/>
                    </a:lnTo>
                    <a:lnTo>
                      <a:pt x="2393" y="2933"/>
                    </a:lnTo>
                    <a:lnTo>
                      <a:pt x="2385" y="2932"/>
                    </a:lnTo>
                    <a:lnTo>
                      <a:pt x="2378" y="2929"/>
                    </a:lnTo>
                    <a:lnTo>
                      <a:pt x="2372" y="2927"/>
                    </a:lnTo>
                    <a:lnTo>
                      <a:pt x="2360" y="2920"/>
                    </a:lnTo>
                    <a:lnTo>
                      <a:pt x="2347" y="2910"/>
                    </a:lnTo>
                    <a:lnTo>
                      <a:pt x="2323" y="2888"/>
                    </a:lnTo>
                    <a:lnTo>
                      <a:pt x="2300" y="2863"/>
                    </a:lnTo>
                    <a:lnTo>
                      <a:pt x="2289" y="2851"/>
                    </a:lnTo>
                    <a:lnTo>
                      <a:pt x="2276" y="2841"/>
                    </a:lnTo>
                    <a:lnTo>
                      <a:pt x="2264" y="2830"/>
                    </a:lnTo>
                    <a:lnTo>
                      <a:pt x="2250" y="2822"/>
                    </a:lnTo>
                    <a:lnTo>
                      <a:pt x="2238" y="2816"/>
                    </a:lnTo>
                    <a:lnTo>
                      <a:pt x="2219" y="2809"/>
                    </a:lnTo>
                    <a:lnTo>
                      <a:pt x="2200" y="2801"/>
                    </a:lnTo>
                    <a:lnTo>
                      <a:pt x="2192" y="2796"/>
                    </a:lnTo>
                    <a:lnTo>
                      <a:pt x="2189" y="2794"/>
                    </a:lnTo>
                    <a:lnTo>
                      <a:pt x="2184" y="2792"/>
                    </a:lnTo>
                    <a:lnTo>
                      <a:pt x="2180" y="2396"/>
                    </a:lnTo>
                    <a:lnTo>
                      <a:pt x="2452" y="2455"/>
                    </a:lnTo>
                    <a:lnTo>
                      <a:pt x="2668" y="1375"/>
                    </a:lnTo>
                    <a:lnTo>
                      <a:pt x="2607" y="1375"/>
                    </a:lnTo>
                    <a:lnTo>
                      <a:pt x="2627" y="1298"/>
                    </a:lnTo>
                    <a:lnTo>
                      <a:pt x="2627" y="1298"/>
                    </a:lnTo>
                    <a:lnTo>
                      <a:pt x="2754" y="704"/>
                    </a:lnTo>
                    <a:lnTo>
                      <a:pt x="2754" y="692"/>
                    </a:lnTo>
                    <a:lnTo>
                      <a:pt x="2752" y="682"/>
                    </a:lnTo>
                    <a:lnTo>
                      <a:pt x="2748" y="672"/>
                    </a:lnTo>
                    <a:lnTo>
                      <a:pt x="2745" y="664"/>
                    </a:lnTo>
                    <a:lnTo>
                      <a:pt x="2736" y="646"/>
                    </a:lnTo>
                    <a:lnTo>
                      <a:pt x="2728" y="627"/>
                    </a:lnTo>
                    <a:lnTo>
                      <a:pt x="2725" y="611"/>
                    </a:lnTo>
                    <a:lnTo>
                      <a:pt x="2720" y="593"/>
                    </a:lnTo>
                    <a:lnTo>
                      <a:pt x="2718" y="577"/>
                    </a:lnTo>
                    <a:lnTo>
                      <a:pt x="2714" y="561"/>
                    </a:lnTo>
                    <a:lnTo>
                      <a:pt x="2711" y="559"/>
                    </a:lnTo>
                    <a:lnTo>
                      <a:pt x="2706" y="559"/>
                    </a:lnTo>
                    <a:lnTo>
                      <a:pt x="2701" y="558"/>
                    </a:lnTo>
                    <a:lnTo>
                      <a:pt x="2696" y="559"/>
                    </a:lnTo>
                    <a:lnTo>
                      <a:pt x="2686" y="560"/>
                    </a:lnTo>
                    <a:lnTo>
                      <a:pt x="2674" y="564"/>
                    </a:lnTo>
                    <a:lnTo>
                      <a:pt x="2662" y="567"/>
                    </a:lnTo>
                    <a:lnTo>
                      <a:pt x="2652" y="572"/>
                    </a:lnTo>
                    <a:lnTo>
                      <a:pt x="2641" y="574"/>
                    </a:lnTo>
                    <a:lnTo>
                      <a:pt x="2631" y="575"/>
                    </a:lnTo>
                    <a:lnTo>
                      <a:pt x="2624" y="575"/>
                    </a:lnTo>
                    <a:lnTo>
                      <a:pt x="2618" y="574"/>
                    </a:lnTo>
                    <a:lnTo>
                      <a:pt x="2613" y="573"/>
                    </a:lnTo>
                    <a:lnTo>
                      <a:pt x="2608" y="572"/>
                    </a:lnTo>
                    <a:lnTo>
                      <a:pt x="2601" y="567"/>
                    </a:lnTo>
                    <a:lnTo>
                      <a:pt x="2597" y="560"/>
                    </a:lnTo>
                    <a:lnTo>
                      <a:pt x="2587" y="546"/>
                    </a:lnTo>
                    <a:lnTo>
                      <a:pt x="2575" y="528"/>
                    </a:lnTo>
                    <a:lnTo>
                      <a:pt x="2565" y="520"/>
                    </a:lnTo>
                    <a:lnTo>
                      <a:pt x="2554" y="514"/>
                    </a:lnTo>
                    <a:lnTo>
                      <a:pt x="2544" y="507"/>
                    </a:lnTo>
                    <a:lnTo>
                      <a:pt x="2532" y="500"/>
                    </a:lnTo>
                    <a:lnTo>
                      <a:pt x="2535" y="496"/>
                    </a:lnTo>
                    <a:lnTo>
                      <a:pt x="2545" y="491"/>
                    </a:lnTo>
                    <a:lnTo>
                      <a:pt x="2558" y="482"/>
                    </a:lnTo>
                    <a:lnTo>
                      <a:pt x="2573" y="474"/>
                    </a:lnTo>
                    <a:lnTo>
                      <a:pt x="2604" y="458"/>
                    </a:lnTo>
                    <a:lnTo>
                      <a:pt x="2622" y="445"/>
                    </a:lnTo>
                    <a:lnTo>
                      <a:pt x="2627" y="440"/>
                    </a:lnTo>
                    <a:lnTo>
                      <a:pt x="2631" y="435"/>
                    </a:lnTo>
                    <a:lnTo>
                      <a:pt x="2632" y="430"/>
                    </a:lnTo>
                    <a:lnTo>
                      <a:pt x="2634" y="426"/>
                    </a:lnTo>
                    <a:lnTo>
                      <a:pt x="2635" y="416"/>
                    </a:lnTo>
                    <a:lnTo>
                      <a:pt x="2638" y="409"/>
                    </a:lnTo>
                    <a:lnTo>
                      <a:pt x="2639" y="406"/>
                    </a:lnTo>
                    <a:lnTo>
                      <a:pt x="2641" y="402"/>
                    </a:lnTo>
                    <a:lnTo>
                      <a:pt x="2644" y="400"/>
                    </a:lnTo>
                    <a:lnTo>
                      <a:pt x="2647" y="397"/>
                    </a:lnTo>
                    <a:lnTo>
                      <a:pt x="2653" y="395"/>
                    </a:lnTo>
                    <a:lnTo>
                      <a:pt x="2659" y="394"/>
                    </a:lnTo>
                    <a:lnTo>
                      <a:pt x="2667" y="393"/>
                    </a:lnTo>
                    <a:lnTo>
                      <a:pt x="2678" y="393"/>
                    </a:lnTo>
                    <a:lnTo>
                      <a:pt x="2687" y="393"/>
                    </a:lnTo>
                    <a:lnTo>
                      <a:pt x="2695" y="392"/>
                    </a:lnTo>
                    <a:lnTo>
                      <a:pt x="2702" y="390"/>
                    </a:lnTo>
                    <a:lnTo>
                      <a:pt x="2711" y="389"/>
                    </a:lnTo>
                    <a:lnTo>
                      <a:pt x="2718" y="387"/>
                    </a:lnTo>
                    <a:lnTo>
                      <a:pt x="2725" y="383"/>
                    </a:lnTo>
                    <a:lnTo>
                      <a:pt x="2732" y="379"/>
                    </a:lnTo>
                    <a:lnTo>
                      <a:pt x="2739" y="374"/>
                    </a:lnTo>
                    <a:lnTo>
                      <a:pt x="2746" y="368"/>
                    </a:lnTo>
                    <a:lnTo>
                      <a:pt x="2752" y="360"/>
                    </a:lnTo>
                    <a:lnTo>
                      <a:pt x="2754" y="353"/>
                    </a:lnTo>
                    <a:lnTo>
                      <a:pt x="2756" y="343"/>
                    </a:lnTo>
                    <a:lnTo>
                      <a:pt x="2756" y="335"/>
                    </a:lnTo>
                    <a:lnTo>
                      <a:pt x="2755" y="326"/>
                    </a:lnTo>
                    <a:lnTo>
                      <a:pt x="2753" y="317"/>
                    </a:lnTo>
                    <a:lnTo>
                      <a:pt x="2750" y="308"/>
                    </a:lnTo>
                    <a:lnTo>
                      <a:pt x="2398" y="307"/>
                    </a:lnTo>
                    <a:lnTo>
                      <a:pt x="2398" y="38"/>
                    </a:lnTo>
                    <a:lnTo>
                      <a:pt x="2398" y="38"/>
                    </a:lnTo>
                    <a:lnTo>
                      <a:pt x="1197" y="0"/>
                    </a:lnTo>
                    <a:lnTo>
                      <a:pt x="1197" y="0"/>
                    </a:lnTo>
                    <a:lnTo>
                      <a:pt x="0" y="4406"/>
                    </a:lnTo>
                    <a:lnTo>
                      <a:pt x="53" y="4654"/>
                    </a:lnTo>
                    <a:lnTo>
                      <a:pt x="101" y="4656"/>
                    </a:lnTo>
                    <a:lnTo>
                      <a:pt x="101" y="4656"/>
                    </a:lnTo>
                    <a:lnTo>
                      <a:pt x="2231" y="4710"/>
                    </a:lnTo>
                    <a:lnTo>
                      <a:pt x="2231" y="4710"/>
                    </a:lnTo>
                    <a:close/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11F0F3F8-765F-4026-AA5F-5DCE500A3937}"/>
                </a:ext>
              </a:extLst>
            </p:cNvPr>
            <p:cNvGrpSpPr/>
            <p:nvPr/>
          </p:nvGrpSpPr>
          <p:grpSpPr>
            <a:xfrm>
              <a:off x="10269708" y="3732322"/>
              <a:ext cx="1154393" cy="1281008"/>
              <a:chOff x="10269708" y="3732322"/>
              <a:chExt cx="1154393" cy="1281008"/>
            </a:xfrm>
          </p:grpSpPr>
          <p:sp>
            <p:nvSpPr>
              <p:cNvPr id="146" name="Freeform 12">
                <a:extLst>
                  <a:ext uri="{FF2B5EF4-FFF2-40B4-BE49-F238E27FC236}">
                    <a16:creationId xmlns:a16="http://schemas.microsoft.com/office/drawing/2014/main" id="{E83A7000-3C99-40C0-B7F8-FDEC99F91C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566905" y="3732322"/>
                <a:ext cx="857196" cy="865472"/>
              </a:xfrm>
              <a:custGeom>
                <a:avLst/>
                <a:gdLst>
                  <a:gd name="T0" fmla="*/ 3323 w 3738"/>
                  <a:gd name="T1" fmla="*/ 3575 h 3773"/>
                  <a:gd name="T2" fmla="*/ 632 w 3738"/>
                  <a:gd name="T3" fmla="*/ 1969 h 3773"/>
                  <a:gd name="T4" fmla="*/ 1013 w 3738"/>
                  <a:gd name="T5" fmla="*/ 2117 h 3773"/>
                  <a:gd name="T6" fmla="*/ 1074 w 3738"/>
                  <a:gd name="T7" fmla="*/ 2138 h 3773"/>
                  <a:gd name="T8" fmla="*/ 1976 w 3738"/>
                  <a:gd name="T9" fmla="*/ 2329 h 3773"/>
                  <a:gd name="T10" fmla="*/ 1737 w 3738"/>
                  <a:gd name="T11" fmla="*/ 2382 h 3773"/>
                  <a:gd name="T12" fmla="*/ 1932 w 3738"/>
                  <a:gd name="T13" fmla="*/ 2490 h 3773"/>
                  <a:gd name="T14" fmla="*/ 2503 w 3738"/>
                  <a:gd name="T15" fmla="*/ 2200 h 3773"/>
                  <a:gd name="T16" fmla="*/ 2948 w 3738"/>
                  <a:gd name="T17" fmla="*/ 2080 h 3773"/>
                  <a:gd name="T18" fmla="*/ 3367 w 3738"/>
                  <a:gd name="T19" fmla="*/ 1672 h 3773"/>
                  <a:gd name="T20" fmla="*/ 3300 w 3738"/>
                  <a:gd name="T21" fmla="*/ 1277 h 3773"/>
                  <a:gd name="T22" fmla="*/ 3344 w 3738"/>
                  <a:gd name="T23" fmla="*/ 1156 h 3773"/>
                  <a:gd name="T24" fmla="*/ 3257 w 3738"/>
                  <a:gd name="T25" fmla="*/ 1090 h 3773"/>
                  <a:gd name="T26" fmla="*/ 3056 w 3738"/>
                  <a:gd name="T27" fmla="*/ 1024 h 3773"/>
                  <a:gd name="T28" fmla="*/ 3068 w 3738"/>
                  <a:gd name="T29" fmla="*/ 1173 h 3773"/>
                  <a:gd name="T30" fmla="*/ 3007 w 3738"/>
                  <a:gd name="T31" fmla="*/ 918 h 3773"/>
                  <a:gd name="T32" fmla="*/ 2837 w 3738"/>
                  <a:gd name="T33" fmla="*/ 268 h 3773"/>
                  <a:gd name="T34" fmla="*/ 2439 w 3738"/>
                  <a:gd name="T35" fmla="*/ 363 h 3773"/>
                  <a:gd name="T36" fmla="*/ 2408 w 3738"/>
                  <a:gd name="T37" fmla="*/ 412 h 3773"/>
                  <a:gd name="T38" fmla="*/ 2210 w 3738"/>
                  <a:gd name="T39" fmla="*/ 69 h 3773"/>
                  <a:gd name="T40" fmla="*/ 3025 w 3738"/>
                  <a:gd name="T41" fmla="*/ 221 h 3773"/>
                  <a:gd name="T42" fmla="*/ 3489 w 3738"/>
                  <a:gd name="T43" fmla="*/ 971 h 3773"/>
                  <a:gd name="T44" fmla="*/ 3629 w 3738"/>
                  <a:gd name="T45" fmla="*/ 1617 h 3773"/>
                  <a:gd name="T46" fmla="*/ 3626 w 3738"/>
                  <a:gd name="T47" fmla="*/ 1818 h 3773"/>
                  <a:gd name="T48" fmla="*/ 3722 w 3738"/>
                  <a:gd name="T49" fmla="*/ 2640 h 3773"/>
                  <a:gd name="T50" fmla="*/ 3682 w 3738"/>
                  <a:gd name="T51" fmla="*/ 2201 h 3773"/>
                  <a:gd name="T52" fmla="*/ 3652 w 3738"/>
                  <a:gd name="T53" fmla="*/ 2099 h 3773"/>
                  <a:gd name="T54" fmla="*/ 3558 w 3738"/>
                  <a:gd name="T55" fmla="*/ 2068 h 3773"/>
                  <a:gd name="T56" fmla="*/ 3568 w 3738"/>
                  <a:gd name="T57" fmla="*/ 2285 h 3773"/>
                  <a:gd name="T58" fmla="*/ 3549 w 3738"/>
                  <a:gd name="T59" fmla="*/ 2447 h 3773"/>
                  <a:gd name="T60" fmla="*/ 3637 w 3738"/>
                  <a:gd name="T61" fmla="*/ 2641 h 3773"/>
                  <a:gd name="T62" fmla="*/ 3565 w 3738"/>
                  <a:gd name="T63" fmla="*/ 3106 h 3773"/>
                  <a:gd name="T64" fmla="*/ 3635 w 3738"/>
                  <a:gd name="T65" fmla="*/ 2821 h 3773"/>
                  <a:gd name="T66" fmla="*/ 3549 w 3738"/>
                  <a:gd name="T67" fmla="*/ 2786 h 3773"/>
                  <a:gd name="T68" fmla="*/ 3165 w 3738"/>
                  <a:gd name="T69" fmla="*/ 2761 h 3773"/>
                  <a:gd name="T70" fmla="*/ 2437 w 3738"/>
                  <a:gd name="T71" fmla="*/ 2893 h 3773"/>
                  <a:gd name="T72" fmla="*/ 2317 w 3738"/>
                  <a:gd name="T73" fmla="*/ 2959 h 3773"/>
                  <a:gd name="T74" fmla="*/ 2089 w 3738"/>
                  <a:gd name="T75" fmla="*/ 3023 h 3773"/>
                  <a:gd name="T76" fmla="*/ 2045 w 3738"/>
                  <a:gd name="T77" fmla="*/ 2902 h 3773"/>
                  <a:gd name="T78" fmla="*/ 1819 w 3738"/>
                  <a:gd name="T79" fmla="*/ 3029 h 3773"/>
                  <a:gd name="T80" fmla="*/ 1515 w 3738"/>
                  <a:gd name="T81" fmla="*/ 3135 h 3773"/>
                  <a:gd name="T82" fmla="*/ 1398 w 3738"/>
                  <a:gd name="T83" fmla="*/ 3159 h 3773"/>
                  <a:gd name="T84" fmla="*/ 1408 w 3738"/>
                  <a:gd name="T85" fmla="*/ 3024 h 3773"/>
                  <a:gd name="T86" fmla="*/ 1255 w 3738"/>
                  <a:gd name="T87" fmla="*/ 3137 h 3773"/>
                  <a:gd name="T88" fmla="*/ 1115 w 3738"/>
                  <a:gd name="T89" fmla="*/ 3196 h 3773"/>
                  <a:gd name="T90" fmla="*/ 1114 w 3738"/>
                  <a:gd name="T91" fmla="*/ 3302 h 3773"/>
                  <a:gd name="T92" fmla="*/ 1035 w 3738"/>
                  <a:gd name="T93" fmla="*/ 3489 h 3773"/>
                  <a:gd name="T94" fmla="*/ 845 w 3738"/>
                  <a:gd name="T95" fmla="*/ 3412 h 3773"/>
                  <a:gd name="T96" fmla="*/ 765 w 3738"/>
                  <a:gd name="T97" fmla="*/ 3513 h 3773"/>
                  <a:gd name="T98" fmla="*/ 235 w 3738"/>
                  <a:gd name="T99" fmla="*/ 3641 h 3773"/>
                  <a:gd name="T100" fmla="*/ 22 w 3738"/>
                  <a:gd name="T101" fmla="*/ 3710 h 3773"/>
                  <a:gd name="T102" fmla="*/ 130 w 3738"/>
                  <a:gd name="T103" fmla="*/ 3623 h 3773"/>
                  <a:gd name="T104" fmla="*/ 202 w 3738"/>
                  <a:gd name="T105" fmla="*/ 3398 h 3773"/>
                  <a:gd name="T106" fmla="*/ 218 w 3738"/>
                  <a:gd name="T107" fmla="*/ 3200 h 3773"/>
                  <a:gd name="T108" fmla="*/ 215 w 3738"/>
                  <a:gd name="T109" fmla="*/ 2945 h 3773"/>
                  <a:gd name="T110" fmla="*/ 338 w 3738"/>
                  <a:gd name="T111" fmla="*/ 2823 h 3773"/>
                  <a:gd name="T112" fmla="*/ 192 w 3738"/>
                  <a:gd name="T113" fmla="*/ 2757 h 3773"/>
                  <a:gd name="T114" fmla="*/ 325 w 3738"/>
                  <a:gd name="T115" fmla="*/ 2681 h 3773"/>
                  <a:gd name="T116" fmla="*/ 250 w 3738"/>
                  <a:gd name="T117" fmla="*/ 2641 h 3773"/>
                  <a:gd name="T118" fmla="*/ 202 w 3738"/>
                  <a:gd name="T119" fmla="*/ 2599 h 3773"/>
                  <a:gd name="T120" fmla="*/ 344 w 3738"/>
                  <a:gd name="T121" fmla="*/ 2445 h 3773"/>
                  <a:gd name="T122" fmla="*/ 269 w 3738"/>
                  <a:gd name="T123" fmla="*/ 2381 h 3773"/>
                  <a:gd name="T124" fmla="*/ 376 w 3738"/>
                  <a:gd name="T125" fmla="*/ 2172 h 3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8" h="3773">
                    <a:moveTo>
                      <a:pt x="3449" y="3149"/>
                    </a:moveTo>
                    <a:lnTo>
                      <a:pt x="3445" y="3155"/>
                    </a:lnTo>
                    <a:lnTo>
                      <a:pt x="3443" y="3160"/>
                    </a:lnTo>
                    <a:lnTo>
                      <a:pt x="3440" y="3163"/>
                    </a:lnTo>
                    <a:lnTo>
                      <a:pt x="3437" y="3167"/>
                    </a:lnTo>
                    <a:lnTo>
                      <a:pt x="3435" y="3172"/>
                    </a:lnTo>
                    <a:lnTo>
                      <a:pt x="3433" y="3177"/>
                    </a:lnTo>
                    <a:lnTo>
                      <a:pt x="3429" y="3190"/>
                    </a:lnTo>
                    <a:lnTo>
                      <a:pt x="3425" y="3206"/>
                    </a:lnTo>
                    <a:lnTo>
                      <a:pt x="3422" y="3235"/>
                    </a:lnTo>
                    <a:lnTo>
                      <a:pt x="3420" y="3258"/>
                    </a:lnTo>
                    <a:lnTo>
                      <a:pt x="3416" y="3287"/>
                    </a:lnTo>
                    <a:lnTo>
                      <a:pt x="3413" y="3316"/>
                    </a:lnTo>
                    <a:lnTo>
                      <a:pt x="3411" y="3332"/>
                    </a:lnTo>
                    <a:lnTo>
                      <a:pt x="3409" y="3346"/>
                    </a:lnTo>
                    <a:lnTo>
                      <a:pt x="3407" y="3361"/>
                    </a:lnTo>
                    <a:lnTo>
                      <a:pt x="3403" y="3375"/>
                    </a:lnTo>
                    <a:lnTo>
                      <a:pt x="3397" y="3395"/>
                    </a:lnTo>
                    <a:lnTo>
                      <a:pt x="3388" y="3417"/>
                    </a:lnTo>
                    <a:lnTo>
                      <a:pt x="3382" y="3426"/>
                    </a:lnTo>
                    <a:lnTo>
                      <a:pt x="3376" y="3436"/>
                    </a:lnTo>
                    <a:lnTo>
                      <a:pt x="3370" y="3444"/>
                    </a:lnTo>
                    <a:lnTo>
                      <a:pt x="3363" y="3452"/>
                    </a:lnTo>
                    <a:lnTo>
                      <a:pt x="3357" y="3457"/>
                    </a:lnTo>
                    <a:lnTo>
                      <a:pt x="3351" y="3464"/>
                    </a:lnTo>
                    <a:lnTo>
                      <a:pt x="3346" y="3471"/>
                    </a:lnTo>
                    <a:lnTo>
                      <a:pt x="3340" y="3478"/>
                    </a:lnTo>
                    <a:lnTo>
                      <a:pt x="3335" y="3486"/>
                    </a:lnTo>
                    <a:lnTo>
                      <a:pt x="3330" y="3494"/>
                    </a:lnTo>
                    <a:lnTo>
                      <a:pt x="3327" y="3503"/>
                    </a:lnTo>
                    <a:lnTo>
                      <a:pt x="3323" y="3512"/>
                    </a:lnTo>
                    <a:lnTo>
                      <a:pt x="3321" y="3522"/>
                    </a:lnTo>
                    <a:lnTo>
                      <a:pt x="3319" y="3530"/>
                    </a:lnTo>
                    <a:lnTo>
                      <a:pt x="3317" y="3539"/>
                    </a:lnTo>
                    <a:lnTo>
                      <a:pt x="3317" y="3549"/>
                    </a:lnTo>
                    <a:lnTo>
                      <a:pt x="3319" y="3558"/>
                    </a:lnTo>
                    <a:lnTo>
                      <a:pt x="3321" y="3566"/>
                    </a:lnTo>
                    <a:lnTo>
                      <a:pt x="3323" y="3575"/>
                    </a:lnTo>
                    <a:lnTo>
                      <a:pt x="3328" y="3583"/>
                    </a:lnTo>
                    <a:lnTo>
                      <a:pt x="3333" y="3588"/>
                    </a:lnTo>
                    <a:lnTo>
                      <a:pt x="3337" y="3592"/>
                    </a:lnTo>
                    <a:lnTo>
                      <a:pt x="3343" y="3595"/>
                    </a:lnTo>
                    <a:lnTo>
                      <a:pt x="3349" y="3597"/>
                    </a:lnTo>
                    <a:lnTo>
                      <a:pt x="3355" y="3597"/>
                    </a:lnTo>
                    <a:lnTo>
                      <a:pt x="3361" y="3597"/>
                    </a:lnTo>
                    <a:lnTo>
                      <a:pt x="3367" y="3596"/>
                    </a:lnTo>
                    <a:lnTo>
                      <a:pt x="3373" y="3593"/>
                    </a:lnTo>
                    <a:lnTo>
                      <a:pt x="3378" y="3591"/>
                    </a:lnTo>
                    <a:lnTo>
                      <a:pt x="3384" y="3588"/>
                    </a:lnTo>
                    <a:lnTo>
                      <a:pt x="3389" y="3584"/>
                    </a:lnTo>
                    <a:lnTo>
                      <a:pt x="3394" y="3579"/>
                    </a:lnTo>
                    <a:lnTo>
                      <a:pt x="3397" y="3575"/>
                    </a:lnTo>
                    <a:lnTo>
                      <a:pt x="3401" y="3569"/>
                    </a:lnTo>
                    <a:lnTo>
                      <a:pt x="3403" y="3563"/>
                    </a:lnTo>
                    <a:lnTo>
                      <a:pt x="3404" y="3557"/>
                    </a:lnTo>
                    <a:lnTo>
                      <a:pt x="3437" y="3324"/>
                    </a:lnTo>
                    <a:lnTo>
                      <a:pt x="3440" y="3304"/>
                    </a:lnTo>
                    <a:lnTo>
                      <a:pt x="3441" y="3282"/>
                    </a:lnTo>
                    <a:lnTo>
                      <a:pt x="3442" y="3261"/>
                    </a:lnTo>
                    <a:lnTo>
                      <a:pt x="3444" y="3241"/>
                    </a:lnTo>
                    <a:lnTo>
                      <a:pt x="3447" y="3226"/>
                    </a:lnTo>
                    <a:lnTo>
                      <a:pt x="3450" y="3209"/>
                    </a:lnTo>
                    <a:lnTo>
                      <a:pt x="3452" y="3193"/>
                    </a:lnTo>
                    <a:lnTo>
                      <a:pt x="3454" y="3176"/>
                    </a:lnTo>
                    <a:lnTo>
                      <a:pt x="3449" y="3149"/>
                    </a:lnTo>
                    <a:close/>
                    <a:moveTo>
                      <a:pt x="398" y="2107"/>
                    </a:moveTo>
                    <a:lnTo>
                      <a:pt x="539" y="2029"/>
                    </a:lnTo>
                    <a:lnTo>
                      <a:pt x="543" y="2028"/>
                    </a:lnTo>
                    <a:lnTo>
                      <a:pt x="546" y="2026"/>
                    </a:lnTo>
                    <a:lnTo>
                      <a:pt x="559" y="2020"/>
                    </a:lnTo>
                    <a:lnTo>
                      <a:pt x="572" y="2013"/>
                    </a:lnTo>
                    <a:lnTo>
                      <a:pt x="585" y="2006"/>
                    </a:lnTo>
                    <a:lnTo>
                      <a:pt x="597" y="1998"/>
                    </a:lnTo>
                    <a:lnTo>
                      <a:pt x="610" y="1988"/>
                    </a:lnTo>
                    <a:lnTo>
                      <a:pt x="620" y="1979"/>
                    </a:lnTo>
                    <a:lnTo>
                      <a:pt x="632" y="1969"/>
                    </a:lnTo>
                    <a:lnTo>
                      <a:pt x="641" y="1959"/>
                    </a:lnTo>
                    <a:lnTo>
                      <a:pt x="689" y="1909"/>
                    </a:lnTo>
                    <a:lnTo>
                      <a:pt x="755" y="1829"/>
                    </a:lnTo>
                    <a:lnTo>
                      <a:pt x="755" y="1829"/>
                    </a:lnTo>
                    <a:lnTo>
                      <a:pt x="775" y="1861"/>
                    </a:lnTo>
                    <a:lnTo>
                      <a:pt x="798" y="1893"/>
                    </a:lnTo>
                    <a:lnTo>
                      <a:pt x="822" y="1924"/>
                    </a:lnTo>
                    <a:lnTo>
                      <a:pt x="848" y="1954"/>
                    </a:lnTo>
                    <a:lnTo>
                      <a:pt x="860" y="1967"/>
                    </a:lnTo>
                    <a:lnTo>
                      <a:pt x="873" y="1979"/>
                    </a:lnTo>
                    <a:lnTo>
                      <a:pt x="886" y="1990"/>
                    </a:lnTo>
                    <a:lnTo>
                      <a:pt x="897" y="2000"/>
                    </a:lnTo>
                    <a:lnTo>
                      <a:pt x="908" y="2008"/>
                    </a:lnTo>
                    <a:lnTo>
                      <a:pt x="920" y="2015"/>
                    </a:lnTo>
                    <a:lnTo>
                      <a:pt x="929" y="2020"/>
                    </a:lnTo>
                    <a:lnTo>
                      <a:pt x="939" y="2022"/>
                    </a:lnTo>
                    <a:lnTo>
                      <a:pt x="940" y="2023"/>
                    </a:lnTo>
                    <a:lnTo>
                      <a:pt x="942" y="2025"/>
                    </a:lnTo>
                    <a:lnTo>
                      <a:pt x="942" y="2027"/>
                    </a:lnTo>
                    <a:lnTo>
                      <a:pt x="941" y="2029"/>
                    </a:lnTo>
                    <a:lnTo>
                      <a:pt x="940" y="2031"/>
                    </a:lnTo>
                    <a:lnTo>
                      <a:pt x="939" y="2032"/>
                    </a:lnTo>
                    <a:lnTo>
                      <a:pt x="937" y="2033"/>
                    </a:lnTo>
                    <a:lnTo>
                      <a:pt x="937" y="2035"/>
                    </a:lnTo>
                    <a:lnTo>
                      <a:pt x="933" y="2040"/>
                    </a:lnTo>
                    <a:lnTo>
                      <a:pt x="930" y="2046"/>
                    </a:lnTo>
                    <a:lnTo>
                      <a:pt x="929" y="2046"/>
                    </a:lnTo>
                    <a:lnTo>
                      <a:pt x="928" y="2047"/>
                    </a:lnTo>
                    <a:lnTo>
                      <a:pt x="929" y="2047"/>
                    </a:lnTo>
                    <a:lnTo>
                      <a:pt x="929" y="2048"/>
                    </a:lnTo>
                    <a:lnTo>
                      <a:pt x="933" y="2049"/>
                    </a:lnTo>
                    <a:lnTo>
                      <a:pt x="937" y="2051"/>
                    </a:lnTo>
                    <a:lnTo>
                      <a:pt x="947" y="2052"/>
                    </a:lnTo>
                    <a:lnTo>
                      <a:pt x="952" y="2053"/>
                    </a:lnTo>
                    <a:lnTo>
                      <a:pt x="1041" y="2118"/>
                    </a:lnTo>
                    <a:lnTo>
                      <a:pt x="1031" y="2119"/>
                    </a:lnTo>
                    <a:lnTo>
                      <a:pt x="1022" y="2118"/>
                    </a:lnTo>
                    <a:lnTo>
                      <a:pt x="1013" y="2117"/>
                    </a:lnTo>
                    <a:lnTo>
                      <a:pt x="1003" y="2113"/>
                    </a:lnTo>
                    <a:lnTo>
                      <a:pt x="993" y="2111"/>
                    </a:lnTo>
                    <a:lnTo>
                      <a:pt x="983" y="2110"/>
                    </a:lnTo>
                    <a:lnTo>
                      <a:pt x="979" y="2108"/>
                    </a:lnTo>
                    <a:lnTo>
                      <a:pt x="974" y="2110"/>
                    </a:lnTo>
                    <a:lnTo>
                      <a:pt x="969" y="2110"/>
                    </a:lnTo>
                    <a:lnTo>
                      <a:pt x="964" y="2111"/>
                    </a:lnTo>
                    <a:lnTo>
                      <a:pt x="963" y="2113"/>
                    </a:lnTo>
                    <a:lnTo>
                      <a:pt x="962" y="2114"/>
                    </a:lnTo>
                    <a:lnTo>
                      <a:pt x="962" y="2117"/>
                    </a:lnTo>
                    <a:lnTo>
                      <a:pt x="963" y="2120"/>
                    </a:lnTo>
                    <a:lnTo>
                      <a:pt x="968" y="2127"/>
                    </a:lnTo>
                    <a:lnTo>
                      <a:pt x="975" y="2135"/>
                    </a:lnTo>
                    <a:lnTo>
                      <a:pt x="990" y="2151"/>
                    </a:lnTo>
                    <a:lnTo>
                      <a:pt x="1001" y="2160"/>
                    </a:lnTo>
                    <a:lnTo>
                      <a:pt x="1015" y="2168"/>
                    </a:lnTo>
                    <a:lnTo>
                      <a:pt x="1028" y="2176"/>
                    </a:lnTo>
                    <a:lnTo>
                      <a:pt x="1035" y="2178"/>
                    </a:lnTo>
                    <a:lnTo>
                      <a:pt x="1043" y="2179"/>
                    </a:lnTo>
                    <a:lnTo>
                      <a:pt x="1051" y="2180"/>
                    </a:lnTo>
                    <a:lnTo>
                      <a:pt x="1060" y="2180"/>
                    </a:lnTo>
                    <a:lnTo>
                      <a:pt x="1080" y="2181"/>
                    </a:lnTo>
                    <a:lnTo>
                      <a:pt x="1098" y="2180"/>
                    </a:lnTo>
                    <a:lnTo>
                      <a:pt x="1101" y="2180"/>
                    </a:lnTo>
                    <a:lnTo>
                      <a:pt x="1103" y="2179"/>
                    </a:lnTo>
                    <a:lnTo>
                      <a:pt x="1104" y="2178"/>
                    </a:lnTo>
                    <a:lnTo>
                      <a:pt x="1104" y="2176"/>
                    </a:lnTo>
                    <a:lnTo>
                      <a:pt x="1104" y="2173"/>
                    </a:lnTo>
                    <a:lnTo>
                      <a:pt x="1102" y="2170"/>
                    </a:lnTo>
                    <a:lnTo>
                      <a:pt x="1097" y="2166"/>
                    </a:lnTo>
                    <a:lnTo>
                      <a:pt x="1093" y="2161"/>
                    </a:lnTo>
                    <a:lnTo>
                      <a:pt x="1077" y="2156"/>
                    </a:lnTo>
                    <a:lnTo>
                      <a:pt x="1063" y="2147"/>
                    </a:lnTo>
                    <a:lnTo>
                      <a:pt x="1055" y="2138"/>
                    </a:lnTo>
                    <a:lnTo>
                      <a:pt x="1048" y="2130"/>
                    </a:lnTo>
                    <a:lnTo>
                      <a:pt x="1055" y="2131"/>
                    </a:lnTo>
                    <a:lnTo>
                      <a:pt x="1063" y="2133"/>
                    </a:lnTo>
                    <a:lnTo>
                      <a:pt x="1074" y="2138"/>
                    </a:lnTo>
                    <a:lnTo>
                      <a:pt x="1084" y="2143"/>
                    </a:lnTo>
                    <a:lnTo>
                      <a:pt x="1107" y="2153"/>
                    </a:lnTo>
                    <a:lnTo>
                      <a:pt x="1125" y="2160"/>
                    </a:lnTo>
                    <a:lnTo>
                      <a:pt x="1167" y="2174"/>
                    </a:lnTo>
                    <a:lnTo>
                      <a:pt x="1208" y="2191"/>
                    </a:lnTo>
                    <a:lnTo>
                      <a:pt x="1229" y="2199"/>
                    </a:lnTo>
                    <a:lnTo>
                      <a:pt x="1250" y="2207"/>
                    </a:lnTo>
                    <a:lnTo>
                      <a:pt x="1271" y="2214"/>
                    </a:lnTo>
                    <a:lnTo>
                      <a:pt x="1292" y="2220"/>
                    </a:lnTo>
                    <a:lnTo>
                      <a:pt x="1329" y="2230"/>
                    </a:lnTo>
                    <a:lnTo>
                      <a:pt x="1383" y="2246"/>
                    </a:lnTo>
                    <a:lnTo>
                      <a:pt x="1410" y="2255"/>
                    </a:lnTo>
                    <a:lnTo>
                      <a:pt x="1435" y="2264"/>
                    </a:lnTo>
                    <a:lnTo>
                      <a:pt x="1444" y="2269"/>
                    </a:lnTo>
                    <a:lnTo>
                      <a:pt x="1452" y="2273"/>
                    </a:lnTo>
                    <a:lnTo>
                      <a:pt x="1458" y="2278"/>
                    </a:lnTo>
                    <a:lnTo>
                      <a:pt x="1463" y="2282"/>
                    </a:lnTo>
                    <a:lnTo>
                      <a:pt x="1499" y="2286"/>
                    </a:lnTo>
                    <a:lnTo>
                      <a:pt x="1536" y="2293"/>
                    </a:lnTo>
                    <a:lnTo>
                      <a:pt x="1554" y="2297"/>
                    </a:lnTo>
                    <a:lnTo>
                      <a:pt x="1573" y="2299"/>
                    </a:lnTo>
                    <a:lnTo>
                      <a:pt x="1592" y="2302"/>
                    </a:lnTo>
                    <a:lnTo>
                      <a:pt x="1611" y="2303"/>
                    </a:lnTo>
                    <a:lnTo>
                      <a:pt x="1646" y="2303"/>
                    </a:lnTo>
                    <a:lnTo>
                      <a:pt x="1683" y="2302"/>
                    </a:lnTo>
                    <a:lnTo>
                      <a:pt x="1719" y="2300"/>
                    </a:lnTo>
                    <a:lnTo>
                      <a:pt x="1755" y="2298"/>
                    </a:lnTo>
                    <a:lnTo>
                      <a:pt x="1793" y="2298"/>
                    </a:lnTo>
                    <a:lnTo>
                      <a:pt x="1828" y="2299"/>
                    </a:lnTo>
                    <a:lnTo>
                      <a:pt x="1846" y="2300"/>
                    </a:lnTo>
                    <a:lnTo>
                      <a:pt x="1865" y="2303"/>
                    </a:lnTo>
                    <a:lnTo>
                      <a:pt x="1881" y="2305"/>
                    </a:lnTo>
                    <a:lnTo>
                      <a:pt x="1899" y="2309"/>
                    </a:lnTo>
                    <a:lnTo>
                      <a:pt x="1916" y="2312"/>
                    </a:lnTo>
                    <a:lnTo>
                      <a:pt x="1934" y="2316"/>
                    </a:lnTo>
                    <a:lnTo>
                      <a:pt x="1952" y="2319"/>
                    </a:lnTo>
                    <a:lnTo>
                      <a:pt x="1969" y="2324"/>
                    </a:lnTo>
                    <a:lnTo>
                      <a:pt x="1976" y="2329"/>
                    </a:lnTo>
                    <a:lnTo>
                      <a:pt x="1986" y="2335"/>
                    </a:lnTo>
                    <a:lnTo>
                      <a:pt x="1998" y="2344"/>
                    </a:lnTo>
                    <a:lnTo>
                      <a:pt x="2009" y="2355"/>
                    </a:lnTo>
                    <a:lnTo>
                      <a:pt x="2020" y="2366"/>
                    </a:lnTo>
                    <a:lnTo>
                      <a:pt x="2027" y="2377"/>
                    </a:lnTo>
                    <a:lnTo>
                      <a:pt x="2029" y="2382"/>
                    </a:lnTo>
                    <a:lnTo>
                      <a:pt x="2030" y="2387"/>
                    </a:lnTo>
                    <a:lnTo>
                      <a:pt x="2030" y="2391"/>
                    </a:lnTo>
                    <a:lnTo>
                      <a:pt x="2029" y="2395"/>
                    </a:lnTo>
                    <a:lnTo>
                      <a:pt x="2026" y="2398"/>
                    </a:lnTo>
                    <a:lnTo>
                      <a:pt x="2022" y="2399"/>
                    </a:lnTo>
                    <a:lnTo>
                      <a:pt x="2018" y="2399"/>
                    </a:lnTo>
                    <a:lnTo>
                      <a:pt x="2014" y="2398"/>
                    </a:lnTo>
                    <a:lnTo>
                      <a:pt x="2003" y="2392"/>
                    </a:lnTo>
                    <a:lnTo>
                      <a:pt x="1994" y="2384"/>
                    </a:lnTo>
                    <a:lnTo>
                      <a:pt x="1983" y="2376"/>
                    </a:lnTo>
                    <a:lnTo>
                      <a:pt x="1974" y="2370"/>
                    </a:lnTo>
                    <a:lnTo>
                      <a:pt x="1971" y="2368"/>
                    </a:lnTo>
                    <a:lnTo>
                      <a:pt x="1967" y="2366"/>
                    </a:lnTo>
                    <a:lnTo>
                      <a:pt x="1963" y="2368"/>
                    </a:lnTo>
                    <a:lnTo>
                      <a:pt x="1960" y="2370"/>
                    </a:lnTo>
                    <a:lnTo>
                      <a:pt x="1953" y="2378"/>
                    </a:lnTo>
                    <a:lnTo>
                      <a:pt x="1945" y="2383"/>
                    </a:lnTo>
                    <a:lnTo>
                      <a:pt x="1935" y="2388"/>
                    </a:lnTo>
                    <a:lnTo>
                      <a:pt x="1927" y="2389"/>
                    </a:lnTo>
                    <a:lnTo>
                      <a:pt x="1918" y="2390"/>
                    </a:lnTo>
                    <a:lnTo>
                      <a:pt x="1908" y="2389"/>
                    </a:lnTo>
                    <a:lnTo>
                      <a:pt x="1899" y="2387"/>
                    </a:lnTo>
                    <a:lnTo>
                      <a:pt x="1888" y="2384"/>
                    </a:lnTo>
                    <a:lnTo>
                      <a:pt x="1867" y="2378"/>
                    </a:lnTo>
                    <a:lnTo>
                      <a:pt x="1846" y="2371"/>
                    </a:lnTo>
                    <a:lnTo>
                      <a:pt x="1834" y="2369"/>
                    </a:lnTo>
                    <a:lnTo>
                      <a:pt x="1824" y="2368"/>
                    </a:lnTo>
                    <a:lnTo>
                      <a:pt x="1812" y="2366"/>
                    </a:lnTo>
                    <a:lnTo>
                      <a:pt x="1800" y="2368"/>
                    </a:lnTo>
                    <a:lnTo>
                      <a:pt x="1779" y="2371"/>
                    </a:lnTo>
                    <a:lnTo>
                      <a:pt x="1758" y="2377"/>
                    </a:lnTo>
                    <a:lnTo>
                      <a:pt x="1737" y="2382"/>
                    </a:lnTo>
                    <a:lnTo>
                      <a:pt x="1715" y="2384"/>
                    </a:lnTo>
                    <a:lnTo>
                      <a:pt x="1705" y="2384"/>
                    </a:lnTo>
                    <a:lnTo>
                      <a:pt x="1694" y="2383"/>
                    </a:lnTo>
                    <a:lnTo>
                      <a:pt x="1684" y="2381"/>
                    </a:lnTo>
                    <a:lnTo>
                      <a:pt x="1674" y="2378"/>
                    </a:lnTo>
                    <a:lnTo>
                      <a:pt x="1665" y="2375"/>
                    </a:lnTo>
                    <a:lnTo>
                      <a:pt x="1656" y="2372"/>
                    </a:lnTo>
                    <a:lnTo>
                      <a:pt x="1647" y="2371"/>
                    </a:lnTo>
                    <a:lnTo>
                      <a:pt x="1639" y="2370"/>
                    </a:lnTo>
                    <a:lnTo>
                      <a:pt x="1639" y="2376"/>
                    </a:lnTo>
                    <a:lnTo>
                      <a:pt x="1641" y="2383"/>
                    </a:lnTo>
                    <a:lnTo>
                      <a:pt x="1645" y="2390"/>
                    </a:lnTo>
                    <a:lnTo>
                      <a:pt x="1648" y="2397"/>
                    </a:lnTo>
                    <a:lnTo>
                      <a:pt x="1656" y="2412"/>
                    </a:lnTo>
                    <a:lnTo>
                      <a:pt x="1660" y="2425"/>
                    </a:lnTo>
                    <a:lnTo>
                      <a:pt x="1663" y="2454"/>
                    </a:lnTo>
                    <a:lnTo>
                      <a:pt x="1666" y="2478"/>
                    </a:lnTo>
                    <a:lnTo>
                      <a:pt x="1668" y="2483"/>
                    </a:lnTo>
                    <a:lnTo>
                      <a:pt x="1671" y="2488"/>
                    </a:lnTo>
                    <a:lnTo>
                      <a:pt x="1674" y="2491"/>
                    </a:lnTo>
                    <a:lnTo>
                      <a:pt x="1679" y="2495"/>
                    </a:lnTo>
                    <a:lnTo>
                      <a:pt x="1684" y="2498"/>
                    </a:lnTo>
                    <a:lnTo>
                      <a:pt x="1691" y="2500"/>
                    </a:lnTo>
                    <a:lnTo>
                      <a:pt x="1699" y="2501"/>
                    </a:lnTo>
                    <a:lnTo>
                      <a:pt x="1707" y="2502"/>
                    </a:lnTo>
                    <a:lnTo>
                      <a:pt x="1723" y="2501"/>
                    </a:lnTo>
                    <a:lnTo>
                      <a:pt x="1737" y="2498"/>
                    </a:lnTo>
                    <a:lnTo>
                      <a:pt x="1751" y="2496"/>
                    </a:lnTo>
                    <a:lnTo>
                      <a:pt x="1765" y="2493"/>
                    </a:lnTo>
                    <a:lnTo>
                      <a:pt x="1780" y="2490"/>
                    </a:lnTo>
                    <a:lnTo>
                      <a:pt x="1794" y="2487"/>
                    </a:lnTo>
                    <a:lnTo>
                      <a:pt x="1808" y="2486"/>
                    </a:lnTo>
                    <a:lnTo>
                      <a:pt x="1824" y="2484"/>
                    </a:lnTo>
                    <a:lnTo>
                      <a:pt x="1844" y="2486"/>
                    </a:lnTo>
                    <a:lnTo>
                      <a:pt x="1864" y="2488"/>
                    </a:lnTo>
                    <a:lnTo>
                      <a:pt x="1884" y="2490"/>
                    </a:lnTo>
                    <a:lnTo>
                      <a:pt x="1905" y="2491"/>
                    </a:lnTo>
                    <a:lnTo>
                      <a:pt x="1932" y="2490"/>
                    </a:lnTo>
                    <a:lnTo>
                      <a:pt x="1959" y="2487"/>
                    </a:lnTo>
                    <a:lnTo>
                      <a:pt x="1987" y="2483"/>
                    </a:lnTo>
                    <a:lnTo>
                      <a:pt x="2015" y="2481"/>
                    </a:lnTo>
                    <a:lnTo>
                      <a:pt x="2029" y="2480"/>
                    </a:lnTo>
                    <a:lnTo>
                      <a:pt x="2042" y="2477"/>
                    </a:lnTo>
                    <a:lnTo>
                      <a:pt x="2054" y="2473"/>
                    </a:lnTo>
                    <a:lnTo>
                      <a:pt x="2066" y="2468"/>
                    </a:lnTo>
                    <a:lnTo>
                      <a:pt x="2076" y="2463"/>
                    </a:lnTo>
                    <a:lnTo>
                      <a:pt x="2088" y="2460"/>
                    </a:lnTo>
                    <a:lnTo>
                      <a:pt x="2100" y="2456"/>
                    </a:lnTo>
                    <a:lnTo>
                      <a:pt x="2113" y="2455"/>
                    </a:lnTo>
                    <a:lnTo>
                      <a:pt x="2123" y="2450"/>
                    </a:lnTo>
                    <a:lnTo>
                      <a:pt x="2134" y="2443"/>
                    </a:lnTo>
                    <a:lnTo>
                      <a:pt x="2144" y="2436"/>
                    </a:lnTo>
                    <a:lnTo>
                      <a:pt x="2155" y="2427"/>
                    </a:lnTo>
                    <a:lnTo>
                      <a:pt x="2176" y="2407"/>
                    </a:lnTo>
                    <a:lnTo>
                      <a:pt x="2195" y="2383"/>
                    </a:lnTo>
                    <a:lnTo>
                      <a:pt x="2215" y="2359"/>
                    </a:lnTo>
                    <a:lnTo>
                      <a:pt x="2234" y="2336"/>
                    </a:lnTo>
                    <a:lnTo>
                      <a:pt x="2251" y="2315"/>
                    </a:lnTo>
                    <a:lnTo>
                      <a:pt x="2268" y="2296"/>
                    </a:lnTo>
                    <a:lnTo>
                      <a:pt x="2289" y="2278"/>
                    </a:lnTo>
                    <a:lnTo>
                      <a:pt x="2310" y="2262"/>
                    </a:lnTo>
                    <a:lnTo>
                      <a:pt x="2332" y="2246"/>
                    </a:lnTo>
                    <a:lnTo>
                      <a:pt x="2357" y="2233"/>
                    </a:lnTo>
                    <a:lnTo>
                      <a:pt x="2376" y="2223"/>
                    </a:lnTo>
                    <a:lnTo>
                      <a:pt x="2401" y="2210"/>
                    </a:lnTo>
                    <a:lnTo>
                      <a:pt x="2412" y="2204"/>
                    </a:lnTo>
                    <a:lnTo>
                      <a:pt x="2424" y="2198"/>
                    </a:lnTo>
                    <a:lnTo>
                      <a:pt x="2435" y="2194"/>
                    </a:lnTo>
                    <a:lnTo>
                      <a:pt x="2443" y="2193"/>
                    </a:lnTo>
                    <a:lnTo>
                      <a:pt x="2451" y="2200"/>
                    </a:lnTo>
                    <a:lnTo>
                      <a:pt x="2459" y="2205"/>
                    </a:lnTo>
                    <a:lnTo>
                      <a:pt x="2468" y="2207"/>
                    </a:lnTo>
                    <a:lnTo>
                      <a:pt x="2476" y="2209"/>
                    </a:lnTo>
                    <a:lnTo>
                      <a:pt x="2485" y="2207"/>
                    </a:lnTo>
                    <a:lnTo>
                      <a:pt x="2493" y="2204"/>
                    </a:lnTo>
                    <a:lnTo>
                      <a:pt x="2503" y="2200"/>
                    </a:lnTo>
                    <a:lnTo>
                      <a:pt x="2512" y="2194"/>
                    </a:lnTo>
                    <a:lnTo>
                      <a:pt x="2521" y="2190"/>
                    </a:lnTo>
                    <a:lnTo>
                      <a:pt x="2529" y="2185"/>
                    </a:lnTo>
                    <a:lnTo>
                      <a:pt x="2537" y="2181"/>
                    </a:lnTo>
                    <a:lnTo>
                      <a:pt x="2545" y="2179"/>
                    </a:lnTo>
                    <a:lnTo>
                      <a:pt x="2563" y="2176"/>
                    </a:lnTo>
                    <a:lnTo>
                      <a:pt x="2579" y="2172"/>
                    </a:lnTo>
                    <a:lnTo>
                      <a:pt x="2596" y="2170"/>
                    </a:lnTo>
                    <a:lnTo>
                      <a:pt x="2612" y="2166"/>
                    </a:lnTo>
                    <a:lnTo>
                      <a:pt x="2620" y="2163"/>
                    </a:lnTo>
                    <a:lnTo>
                      <a:pt x="2629" y="2159"/>
                    </a:lnTo>
                    <a:lnTo>
                      <a:pt x="2637" y="2156"/>
                    </a:lnTo>
                    <a:lnTo>
                      <a:pt x="2645" y="2150"/>
                    </a:lnTo>
                    <a:lnTo>
                      <a:pt x="2652" y="2145"/>
                    </a:lnTo>
                    <a:lnTo>
                      <a:pt x="2659" y="2141"/>
                    </a:lnTo>
                    <a:lnTo>
                      <a:pt x="2666" y="2139"/>
                    </a:lnTo>
                    <a:lnTo>
                      <a:pt x="2672" y="2138"/>
                    </a:lnTo>
                    <a:lnTo>
                      <a:pt x="2679" y="2138"/>
                    </a:lnTo>
                    <a:lnTo>
                      <a:pt x="2686" y="2139"/>
                    </a:lnTo>
                    <a:lnTo>
                      <a:pt x="2693" y="2141"/>
                    </a:lnTo>
                    <a:lnTo>
                      <a:pt x="2702" y="2144"/>
                    </a:lnTo>
                    <a:lnTo>
                      <a:pt x="2712" y="2147"/>
                    </a:lnTo>
                    <a:lnTo>
                      <a:pt x="2723" y="2150"/>
                    </a:lnTo>
                    <a:lnTo>
                      <a:pt x="2733" y="2151"/>
                    </a:lnTo>
                    <a:lnTo>
                      <a:pt x="2743" y="2152"/>
                    </a:lnTo>
                    <a:lnTo>
                      <a:pt x="2763" y="2151"/>
                    </a:lnTo>
                    <a:lnTo>
                      <a:pt x="2785" y="2150"/>
                    </a:lnTo>
                    <a:lnTo>
                      <a:pt x="2796" y="2144"/>
                    </a:lnTo>
                    <a:lnTo>
                      <a:pt x="2806" y="2139"/>
                    </a:lnTo>
                    <a:lnTo>
                      <a:pt x="2818" y="2135"/>
                    </a:lnTo>
                    <a:lnTo>
                      <a:pt x="2830" y="2132"/>
                    </a:lnTo>
                    <a:lnTo>
                      <a:pt x="2841" y="2128"/>
                    </a:lnTo>
                    <a:lnTo>
                      <a:pt x="2854" y="2125"/>
                    </a:lnTo>
                    <a:lnTo>
                      <a:pt x="2865" y="2120"/>
                    </a:lnTo>
                    <a:lnTo>
                      <a:pt x="2877" y="2115"/>
                    </a:lnTo>
                    <a:lnTo>
                      <a:pt x="2904" y="2100"/>
                    </a:lnTo>
                    <a:lnTo>
                      <a:pt x="2934" y="2087"/>
                    </a:lnTo>
                    <a:lnTo>
                      <a:pt x="2948" y="2080"/>
                    </a:lnTo>
                    <a:lnTo>
                      <a:pt x="2964" y="2075"/>
                    </a:lnTo>
                    <a:lnTo>
                      <a:pt x="2979" y="2071"/>
                    </a:lnTo>
                    <a:lnTo>
                      <a:pt x="2994" y="2066"/>
                    </a:lnTo>
                    <a:lnTo>
                      <a:pt x="3006" y="2064"/>
                    </a:lnTo>
                    <a:lnTo>
                      <a:pt x="3018" y="2064"/>
                    </a:lnTo>
                    <a:lnTo>
                      <a:pt x="3028" y="2065"/>
                    </a:lnTo>
                    <a:lnTo>
                      <a:pt x="3040" y="2066"/>
                    </a:lnTo>
                    <a:lnTo>
                      <a:pt x="3047" y="2066"/>
                    </a:lnTo>
                    <a:lnTo>
                      <a:pt x="3053" y="2066"/>
                    </a:lnTo>
                    <a:lnTo>
                      <a:pt x="3060" y="2064"/>
                    </a:lnTo>
                    <a:lnTo>
                      <a:pt x="3066" y="2061"/>
                    </a:lnTo>
                    <a:lnTo>
                      <a:pt x="3078" y="2055"/>
                    </a:lnTo>
                    <a:lnTo>
                      <a:pt x="3091" y="2053"/>
                    </a:lnTo>
                    <a:lnTo>
                      <a:pt x="3116" y="2034"/>
                    </a:lnTo>
                    <a:lnTo>
                      <a:pt x="3143" y="2018"/>
                    </a:lnTo>
                    <a:lnTo>
                      <a:pt x="3169" y="2002"/>
                    </a:lnTo>
                    <a:lnTo>
                      <a:pt x="3195" y="1988"/>
                    </a:lnTo>
                    <a:lnTo>
                      <a:pt x="3208" y="1981"/>
                    </a:lnTo>
                    <a:lnTo>
                      <a:pt x="3221" y="1973"/>
                    </a:lnTo>
                    <a:lnTo>
                      <a:pt x="3233" y="1965"/>
                    </a:lnTo>
                    <a:lnTo>
                      <a:pt x="3244" y="1955"/>
                    </a:lnTo>
                    <a:lnTo>
                      <a:pt x="3256" y="1945"/>
                    </a:lnTo>
                    <a:lnTo>
                      <a:pt x="3268" y="1934"/>
                    </a:lnTo>
                    <a:lnTo>
                      <a:pt x="3279" y="1921"/>
                    </a:lnTo>
                    <a:lnTo>
                      <a:pt x="3289" y="1907"/>
                    </a:lnTo>
                    <a:lnTo>
                      <a:pt x="3310" y="1884"/>
                    </a:lnTo>
                    <a:lnTo>
                      <a:pt x="3333" y="1862"/>
                    </a:lnTo>
                    <a:lnTo>
                      <a:pt x="3343" y="1850"/>
                    </a:lnTo>
                    <a:lnTo>
                      <a:pt x="3351" y="1837"/>
                    </a:lnTo>
                    <a:lnTo>
                      <a:pt x="3355" y="1830"/>
                    </a:lnTo>
                    <a:lnTo>
                      <a:pt x="3358" y="1824"/>
                    </a:lnTo>
                    <a:lnTo>
                      <a:pt x="3361" y="1816"/>
                    </a:lnTo>
                    <a:lnTo>
                      <a:pt x="3362" y="1809"/>
                    </a:lnTo>
                    <a:lnTo>
                      <a:pt x="3366" y="1777"/>
                    </a:lnTo>
                    <a:lnTo>
                      <a:pt x="3367" y="1742"/>
                    </a:lnTo>
                    <a:lnTo>
                      <a:pt x="3367" y="1708"/>
                    </a:lnTo>
                    <a:lnTo>
                      <a:pt x="3364" y="1677"/>
                    </a:lnTo>
                    <a:lnTo>
                      <a:pt x="3367" y="1672"/>
                    </a:lnTo>
                    <a:lnTo>
                      <a:pt x="3368" y="1666"/>
                    </a:lnTo>
                    <a:lnTo>
                      <a:pt x="3368" y="1659"/>
                    </a:lnTo>
                    <a:lnTo>
                      <a:pt x="3368" y="1651"/>
                    </a:lnTo>
                    <a:lnTo>
                      <a:pt x="3367" y="1632"/>
                    </a:lnTo>
                    <a:lnTo>
                      <a:pt x="3363" y="1612"/>
                    </a:lnTo>
                    <a:lnTo>
                      <a:pt x="3355" y="1573"/>
                    </a:lnTo>
                    <a:lnTo>
                      <a:pt x="3348" y="1544"/>
                    </a:lnTo>
                    <a:lnTo>
                      <a:pt x="3344" y="1524"/>
                    </a:lnTo>
                    <a:lnTo>
                      <a:pt x="3341" y="1500"/>
                    </a:lnTo>
                    <a:lnTo>
                      <a:pt x="3338" y="1474"/>
                    </a:lnTo>
                    <a:lnTo>
                      <a:pt x="3337" y="1446"/>
                    </a:lnTo>
                    <a:lnTo>
                      <a:pt x="3338" y="1419"/>
                    </a:lnTo>
                    <a:lnTo>
                      <a:pt x="3340" y="1392"/>
                    </a:lnTo>
                    <a:lnTo>
                      <a:pt x="3341" y="1380"/>
                    </a:lnTo>
                    <a:lnTo>
                      <a:pt x="3343" y="1369"/>
                    </a:lnTo>
                    <a:lnTo>
                      <a:pt x="3347" y="1359"/>
                    </a:lnTo>
                    <a:lnTo>
                      <a:pt x="3349" y="1350"/>
                    </a:lnTo>
                    <a:lnTo>
                      <a:pt x="3358" y="1332"/>
                    </a:lnTo>
                    <a:lnTo>
                      <a:pt x="3371" y="1306"/>
                    </a:lnTo>
                    <a:lnTo>
                      <a:pt x="3374" y="1299"/>
                    </a:lnTo>
                    <a:lnTo>
                      <a:pt x="3376" y="1294"/>
                    </a:lnTo>
                    <a:lnTo>
                      <a:pt x="3376" y="1289"/>
                    </a:lnTo>
                    <a:lnTo>
                      <a:pt x="3376" y="1284"/>
                    </a:lnTo>
                    <a:lnTo>
                      <a:pt x="3375" y="1282"/>
                    </a:lnTo>
                    <a:lnTo>
                      <a:pt x="3371" y="1282"/>
                    </a:lnTo>
                    <a:lnTo>
                      <a:pt x="3367" y="1282"/>
                    </a:lnTo>
                    <a:lnTo>
                      <a:pt x="3361" y="1286"/>
                    </a:lnTo>
                    <a:lnTo>
                      <a:pt x="3353" y="1289"/>
                    </a:lnTo>
                    <a:lnTo>
                      <a:pt x="3346" y="1292"/>
                    </a:lnTo>
                    <a:lnTo>
                      <a:pt x="3338" y="1293"/>
                    </a:lnTo>
                    <a:lnTo>
                      <a:pt x="3333" y="1294"/>
                    </a:lnTo>
                    <a:lnTo>
                      <a:pt x="3326" y="1294"/>
                    </a:lnTo>
                    <a:lnTo>
                      <a:pt x="3321" y="1293"/>
                    </a:lnTo>
                    <a:lnTo>
                      <a:pt x="3315" y="1290"/>
                    </a:lnTo>
                    <a:lnTo>
                      <a:pt x="3310" y="1288"/>
                    </a:lnTo>
                    <a:lnTo>
                      <a:pt x="3307" y="1284"/>
                    </a:lnTo>
                    <a:lnTo>
                      <a:pt x="3302" y="1281"/>
                    </a:lnTo>
                    <a:lnTo>
                      <a:pt x="3300" y="1277"/>
                    </a:lnTo>
                    <a:lnTo>
                      <a:pt x="3296" y="1273"/>
                    </a:lnTo>
                    <a:lnTo>
                      <a:pt x="3293" y="1264"/>
                    </a:lnTo>
                    <a:lnTo>
                      <a:pt x="3290" y="1255"/>
                    </a:lnTo>
                    <a:lnTo>
                      <a:pt x="3290" y="1250"/>
                    </a:lnTo>
                    <a:lnTo>
                      <a:pt x="3291" y="1247"/>
                    </a:lnTo>
                    <a:lnTo>
                      <a:pt x="3293" y="1242"/>
                    </a:lnTo>
                    <a:lnTo>
                      <a:pt x="3294" y="1239"/>
                    </a:lnTo>
                    <a:lnTo>
                      <a:pt x="3296" y="1236"/>
                    </a:lnTo>
                    <a:lnTo>
                      <a:pt x="3300" y="1233"/>
                    </a:lnTo>
                    <a:lnTo>
                      <a:pt x="3303" y="1231"/>
                    </a:lnTo>
                    <a:lnTo>
                      <a:pt x="3308" y="1230"/>
                    </a:lnTo>
                    <a:lnTo>
                      <a:pt x="3313" y="1229"/>
                    </a:lnTo>
                    <a:lnTo>
                      <a:pt x="3319" y="1229"/>
                    </a:lnTo>
                    <a:lnTo>
                      <a:pt x="3324" y="1231"/>
                    </a:lnTo>
                    <a:lnTo>
                      <a:pt x="3331" y="1234"/>
                    </a:lnTo>
                    <a:lnTo>
                      <a:pt x="3340" y="1237"/>
                    </a:lnTo>
                    <a:lnTo>
                      <a:pt x="3348" y="1241"/>
                    </a:lnTo>
                    <a:lnTo>
                      <a:pt x="3357" y="1247"/>
                    </a:lnTo>
                    <a:lnTo>
                      <a:pt x="3368" y="1255"/>
                    </a:lnTo>
                    <a:lnTo>
                      <a:pt x="3373" y="1259"/>
                    </a:lnTo>
                    <a:lnTo>
                      <a:pt x="3377" y="1260"/>
                    </a:lnTo>
                    <a:lnTo>
                      <a:pt x="3380" y="1260"/>
                    </a:lnTo>
                    <a:lnTo>
                      <a:pt x="3380" y="1257"/>
                    </a:lnTo>
                    <a:lnTo>
                      <a:pt x="3380" y="1250"/>
                    </a:lnTo>
                    <a:lnTo>
                      <a:pt x="3375" y="1239"/>
                    </a:lnTo>
                    <a:lnTo>
                      <a:pt x="3364" y="1214"/>
                    </a:lnTo>
                    <a:lnTo>
                      <a:pt x="3360" y="1198"/>
                    </a:lnTo>
                    <a:lnTo>
                      <a:pt x="3364" y="1190"/>
                    </a:lnTo>
                    <a:lnTo>
                      <a:pt x="3368" y="1183"/>
                    </a:lnTo>
                    <a:lnTo>
                      <a:pt x="3370" y="1177"/>
                    </a:lnTo>
                    <a:lnTo>
                      <a:pt x="3371" y="1173"/>
                    </a:lnTo>
                    <a:lnTo>
                      <a:pt x="3371" y="1169"/>
                    </a:lnTo>
                    <a:lnTo>
                      <a:pt x="3370" y="1165"/>
                    </a:lnTo>
                    <a:lnTo>
                      <a:pt x="3368" y="1164"/>
                    </a:lnTo>
                    <a:lnTo>
                      <a:pt x="3366" y="1162"/>
                    </a:lnTo>
                    <a:lnTo>
                      <a:pt x="3357" y="1160"/>
                    </a:lnTo>
                    <a:lnTo>
                      <a:pt x="3349" y="1157"/>
                    </a:lnTo>
                    <a:lnTo>
                      <a:pt x="3344" y="1156"/>
                    </a:lnTo>
                    <a:lnTo>
                      <a:pt x="3338" y="1154"/>
                    </a:lnTo>
                    <a:lnTo>
                      <a:pt x="3334" y="1151"/>
                    </a:lnTo>
                    <a:lnTo>
                      <a:pt x="3330" y="1147"/>
                    </a:lnTo>
                    <a:lnTo>
                      <a:pt x="3333" y="1161"/>
                    </a:lnTo>
                    <a:lnTo>
                      <a:pt x="3334" y="1173"/>
                    </a:lnTo>
                    <a:lnTo>
                      <a:pt x="3334" y="1180"/>
                    </a:lnTo>
                    <a:lnTo>
                      <a:pt x="3333" y="1185"/>
                    </a:lnTo>
                    <a:lnTo>
                      <a:pt x="3330" y="1189"/>
                    </a:lnTo>
                    <a:lnTo>
                      <a:pt x="3326" y="1190"/>
                    </a:lnTo>
                    <a:lnTo>
                      <a:pt x="3321" y="1190"/>
                    </a:lnTo>
                    <a:lnTo>
                      <a:pt x="3316" y="1188"/>
                    </a:lnTo>
                    <a:lnTo>
                      <a:pt x="3289" y="1171"/>
                    </a:lnTo>
                    <a:lnTo>
                      <a:pt x="3263" y="1155"/>
                    </a:lnTo>
                    <a:lnTo>
                      <a:pt x="3255" y="1145"/>
                    </a:lnTo>
                    <a:lnTo>
                      <a:pt x="3248" y="1137"/>
                    </a:lnTo>
                    <a:lnTo>
                      <a:pt x="3242" y="1129"/>
                    </a:lnTo>
                    <a:lnTo>
                      <a:pt x="3237" y="1119"/>
                    </a:lnTo>
                    <a:lnTo>
                      <a:pt x="3234" y="1110"/>
                    </a:lnTo>
                    <a:lnTo>
                      <a:pt x="3230" y="1101"/>
                    </a:lnTo>
                    <a:lnTo>
                      <a:pt x="3227" y="1091"/>
                    </a:lnTo>
                    <a:lnTo>
                      <a:pt x="3224" y="1081"/>
                    </a:lnTo>
                    <a:lnTo>
                      <a:pt x="3223" y="1070"/>
                    </a:lnTo>
                    <a:lnTo>
                      <a:pt x="3222" y="1062"/>
                    </a:lnTo>
                    <a:lnTo>
                      <a:pt x="3223" y="1055"/>
                    </a:lnTo>
                    <a:lnTo>
                      <a:pt x="3226" y="1051"/>
                    </a:lnTo>
                    <a:lnTo>
                      <a:pt x="3227" y="1050"/>
                    </a:lnTo>
                    <a:lnTo>
                      <a:pt x="3229" y="1050"/>
                    </a:lnTo>
                    <a:lnTo>
                      <a:pt x="3230" y="1051"/>
                    </a:lnTo>
                    <a:lnTo>
                      <a:pt x="3233" y="1053"/>
                    </a:lnTo>
                    <a:lnTo>
                      <a:pt x="3236" y="1059"/>
                    </a:lnTo>
                    <a:lnTo>
                      <a:pt x="3240" y="1071"/>
                    </a:lnTo>
                    <a:lnTo>
                      <a:pt x="3244" y="1083"/>
                    </a:lnTo>
                    <a:lnTo>
                      <a:pt x="3248" y="1090"/>
                    </a:lnTo>
                    <a:lnTo>
                      <a:pt x="3249" y="1092"/>
                    </a:lnTo>
                    <a:lnTo>
                      <a:pt x="3252" y="1094"/>
                    </a:lnTo>
                    <a:lnTo>
                      <a:pt x="3253" y="1094"/>
                    </a:lnTo>
                    <a:lnTo>
                      <a:pt x="3255" y="1094"/>
                    </a:lnTo>
                    <a:lnTo>
                      <a:pt x="3257" y="1090"/>
                    </a:lnTo>
                    <a:lnTo>
                      <a:pt x="3261" y="1085"/>
                    </a:lnTo>
                    <a:lnTo>
                      <a:pt x="3263" y="1077"/>
                    </a:lnTo>
                    <a:lnTo>
                      <a:pt x="3264" y="1069"/>
                    </a:lnTo>
                    <a:lnTo>
                      <a:pt x="3266" y="1059"/>
                    </a:lnTo>
                    <a:lnTo>
                      <a:pt x="3267" y="1050"/>
                    </a:lnTo>
                    <a:lnTo>
                      <a:pt x="3267" y="1040"/>
                    </a:lnTo>
                    <a:lnTo>
                      <a:pt x="3266" y="1032"/>
                    </a:lnTo>
                    <a:lnTo>
                      <a:pt x="3264" y="1025"/>
                    </a:lnTo>
                    <a:lnTo>
                      <a:pt x="3262" y="1019"/>
                    </a:lnTo>
                    <a:lnTo>
                      <a:pt x="3261" y="1017"/>
                    </a:lnTo>
                    <a:lnTo>
                      <a:pt x="3260" y="1016"/>
                    </a:lnTo>
                    <a:lnTo>
                      <a:pt x="3257" y="1015"/>
                    </a:lnTo>
                    <a:lnTo>
                      <a:pt x="3256" y="1016"/>
                    </a:lnTo>
                    <a:lnTo>
                      <a:pt x="3243" y="1017"/>
                    </a:lnTo>
                    <a:lnTo>
                      <a:pt x="3228" y="1017"/>
                    </a:lnTo>
                    <a:lnTo>
                      <a:pt x="3213" y="1017"/>
                    </a:lnTo>
                    <a:lnTo>
                      <a:pt x="3196" y="1017"/>
                    </a:lnTo>
                    <a:lnTo>
                      <a:pt x="3180" y="1017"/>
                    </a:lnTo>
                    <a:lnTo>
                      <a:pt x="3166" y="1018"/>
                    </a:lnTo>
                    <a:lnTo>
                      <a:pt x="3159" y="1019"/>
                    </a:lnTo>
                    <a:lnTo>
                      <a:pt x="3152" y="1022"/>
                    </a:lnTo>
                    <a:lnTo>
                      <a:pt x="3146" y="1024"/>
                    </a:lnTo>
                    <a:lnTo>
                      <a:pt x="3141" y="1028"/>
                    </a:lnTo>
                    <a:lnTo>
                      <a:pt x="3129" y="1037"/>
                    </a:lnTo>
                    <a:lnTo>
                      <a:pt x="3119" y="1043"/>
                    </a:lnTo>
                    <a:lnTo>
                      <a:pt x="3113" y="1044"/>
                    </a:lnTo>
                    <a:lnTo>
                      <a:pt x="3106" y="1045"/>
                    </a:lnTo>
                    <a:lnTo>
                      <a:pt x="3100" y="1044"/>
                    </a:lnTo>
                    <a:lnTo>
                      <a:pt x="3093" y="1042"/>
                    </a:lnTo>
                    <a:lnTo>
                      <a:pt x="3088" y="1039"/>
                    </a:lnTo>
                    <a:lnTo>
                      <a:pt x="3083" y="1036"/>
                    </a:lnTo>
                    <a:lnTo>
                      <a:pt x="3081" y="1032"/>
                    </a:lnTo>
                    <a:lnTo>
                      <a:pt x="3078" y="1029"/>
                    </a:lnTo>
                    <a:lnTo>
                      <a:pt x="3074" y="1025"/>
                    </a:lnTo>
                    <a:lnTo>
                      <a:pt x="3071" y="1022"/>
                    </a:lnTo>
                    <a:lnTo>
                      <a:pt x="3067" y="1020"/>
                    </a:lnTo>
                    <a:lnTo>
                      <a:pt x="3062" y="1022"/>
                    </a:lnTo>
                    <a:lnTo>
                      <a:pt x="3056" y="1024"/>
                    </a:lnTo>
                    <a:lnTo>
                      <a:pt x="3051" y="1029"/>
                    </a:lnTo>
                    <a:lnTo>
                      <a:pt x="3044" y="1033"/>
                    </a:lnTo>
                    <a:lnTo>
                      <a:pt x="3039" y="1039"/>
                    </a:lnTo>
                    <a:lnTo>
                      <a:pt x="3036" y="1042"/>
                    </a:lnTo>
                    <a:lnTo>
                      <a:pt x="3035" y="1045"/>
                    </a:lnTo>
                    <a:lnTo>
                      <a:pt x="3034" y="1048"/>
                    </a:lnTo>
                    <a:lnTo>
                      <a:pt x="3034" y="1050"/>
                    </a:lnTo>
                    <a:lnTo>
                      <a:pt x="3035" y="1053"/>
                    </a:lnTo>
                    <a:lnTo>
                      <a:pt x="3038" y="1056"/>
                    </a:lnTo>
                    <a:lnTo>
                      <a:pt x="3041" y="1058"/>
                    </a:lnTo>
                    <a:lnTo>
                      <a:pt x="3045" y="1059"/>
                    </a:lnTo>
                    <a:lnTo>
                      <a:pt x="3056" y="1062"/>
                    </a:lnTo>
                    <a:lnTo>
                      <a:pt x="3068" y="1064"/>
                    </a:lnTo>
                    <a:lnTo>
                      <a:pt x="3079" y="1064"/>
                    </a:lnTo>
                    <a:lnTo>
                      <a:pt x="3091" y="1065"/>
                    </a:lnTo>
                    <a:lnTo>
                      <a:pt x="3101" y="1065"/>
                    </a:lnTo>
                    <a:lnTo>
                      <a:pt x="3112" y="1065"/>
                    </a:lnTo>
                    <a:lnTo>
                      <a:pt x="3122" y="1066"/>
                    </a:lnTo>
                    <a:lnTo>
                      <a:pt x="3133" y="1068"/>
                    </a:lnTo>
                    <a:lnTo>
                      <a:pt x="3132" y="1072"/>
                    </a:lnTo>
                    <a:lnTo>
                      <a:pt x="3130" y="1076"/>
                    </a:lnTo>
                    <a:lnTo>
                      <a:pt x="3127" y="1079"/>
                    </a:lnTo>
                    <a:lnTo>
                      <a:pt x="3125" y="1083"/>
                    </a:lnTo>
                    <a:lnTo>
                      <a:pt x="3115" y="1089"/>
                    </a:lnTo>
                    <a:lnTo>
                      <a:pt x="3105" y="1095"/>
                    </a:lnTo>
                    <a:lnTo>
                      <a:pt x="3094" y="1099"/>
                    </a:lnTo>
                    <a:lnTo>
                      <a:pt x="3085" y="1105"/>
                    </a:lnTo>
                    <a:lnTo>
                      <a:pt x="3080" y="1109"/>
                    </a:lnTo>
                    <a:lnTo>
                      <a:pt x="3076" y="1114"/>
                    </a:lnTo>
                    <a:lnTo>
                      <a:pt x="3073" y="1117"/>
                    </a:lnTo>
                    <a:lnTo>
                      <a:pt x="3071" y="1122"/>
                    </a:lnTo>
                    <a:lnTo>
                      <a:pt x="3069" y="1129"/>
                    </a:lnTo>
                    <a:lnTo>
                      <a:pt x="3069" y="1136"/>
                    </a:lnTo>
                    <a:lnTo>
                      <a:pt x="3071" y="1143"/>
                    </a:lnTo>
                    <a:lnTo>
                      <a:pt x="3071" y="1150"/>
                    </a:lnTo>
                    <a:lnTo>
                      <a:pt x="3072" y="1157"/>
                    </a:lnTo>
                    <a:lnTo>
                      <a:pt x="3071" y="1164"/>
                    </a:lnTo>
                    <a:lnTo>
                      <a:pt x="3068" y="1173"/>
                    </a:lnTo>
                    <a:lnTo>
                      <a:pt x="3063" y="1181"/>
                    </a:lnTo>
                    <a:lnTo>
                      <a:pt x="3058" y="1193"/>
                    </a:lnTo>
                    <a:lnTo>
                      <a:pt x="3052" y="1204"/>
                    </a:lnTo>
                    <a:lnTo>
                      <a:pt x="3048" y="1216"/>
                    </a:lnTo>
                    <a:lnTo>
                      <a:pt x="3047" y="1229"/>
                    </a:lnTo>
                    <a:lnTo>
                      <a:pt x="3046" y="1241"/>
                    </a:lnTo>
                    <a:lnTo>
                      <a:pt x="3047" y="1253"/>
                    </a:lnTo>
                    <a:lnTo>
                      <a:pt x="3048" y="1266"/>
                    </a:lnTo>
                    <a:lnTo>
                      <a:pt x="3051" y="1277"/>
                    </a:lnTo>
                    <a:lnTo>
                      <a:pt x="3055" y="1302"/>
                    </a:lnTo>
                    <a:lnTo>
                      <a:pt x="3061" y="1328"/>
                    </a:lnTo>
                    <a:lnTo>
                      <a:pt x="3063" y="1340"/>
                    </a:lnTo>
                    <a:lnTo>
                      <a:pt x="3066" y="1353"/>
                    </a:lnTo>
                    <a:lnTo>
                      <a:pt x="3067" y="1366"/>
                    </a:lnTo>
                    <a:lnTo>
                      <a:pt x="3068" y="1379"/>
                    </a:lnTo>
                    <a:lnTo>
                      <a:pt x="3066" y="1376"/>
                    </a:lnTo>
                    <a:lnTo>
                      <a:pt x="3062" y="1372"/>
                    </a:lnTo>
                    <a:lnTo>
                      <a:pt x="3060" y="1366"/>
                    </a:lnTo>
                    <a:lnTo>
                      <a:pt x="3058" y="1358"/>
                    </a:lnTo>
                    <a:lnTo>
                      <a:pt x="3053" y="1336"/>
                    </a:lnTo>
                    <a:lnTo>
                      <a:pt x="3048" y="1313"/>
                    </a:lnTo>
                    <a:lnTo>
                      <a:pt x="3041" y="1266"/>
                    </a:lnTo>
                    <a:lnTo>
                      <a:pt x="3038" y="1236"/>
                    </a:lnTo>
                    <a:lnTo>
                      <a:pt x="3036" y="1213"/>
                    </a:lnTo>
                    <a:lnTo>
                      <a:pt x="3035" y="1189"/>
                    </a:lnTo>
                    <a:lnTo>
                      <a:pt x="3035" y="1164"/>
                    </a:lnTo>
                    <a:lnTo>
                      <a:pt x="3035" y="1141"/>
                    </a:lnTo>
                    <a:lnTo>
                      <a:pt x="3035" y="1117"/>
                    </a:lnTo>
                    <a:lnTo>
                      <a:pt x="3034" y="1092"/>
                    </a:lnTo>
                    <a:lnTo>
                      <a:pt x="3032" y="1069"/>
                    </a:lnTo>
                    <a:lnTo>
                      <a:pt x="3028" y="1046"/>
                    </a:lnTo>
                    <a:lnTo>
                      <a:pt x="3025" y="1025"/>
                    </a:lnTo>
                    <a:lnTo>
                      <a:pt x="3022" y="1004"/>
                    </a:lnTo>
                    <a:lnTo>
                      <a:pt x="3019" y="983"/>
                    </a:lnTo>
                    <a:lnTo>
                      <a:pt x="3014" y="960"/>
                    </a:lnTo>
                    <a:lnTo>
                      <a:pt x="3012" y="947"/>
                    </a:lnTo>
                    <a:lnTo>
                      <a:pt x="3009" y="933"/>
                    </a:lnTo>
                    <a:lnTo>
                      <a:pt x="3007" y="918"/>
                    </a:lnTo>
                    <a:lnTo>
                      <a:pt x="3006" y="901"/>
                    </a:lnTo>
                    <a:lnTo>
                      <a:pt x="3005" y="886"/>
                    </a:lnTo>
                    <a:lnTo>
                      <a:pt x="3002" y="871"/>
                    </a:lnTo>
                    <a:lnTo>
                      <a:pt x="2999" y="858"/>
                    </a:lnTo>
                    <a:lnTo>
                      <a:pt x="2995" y="847"/>
                    </a:lnTo>
                    <a:lnTo>
                      <a:pt x="3000" y="830"/>
                    </a:lnTo>
                    <a:lnTo>
                      <a:pt x="3004" y="809"/>
                    </a:lnTo>
                    <a:lnTo>
                      <a:pt x="3006" y="788"/>
                    </a:lnTo>
                    <a:lnTo>
                      <a:pt x="3006" y="767"/>
                    </a:lnTo>
                    <a:lnTo>
                      <a:pt x="3006" y="723"/>
                    </a:lnTo>
                    <a:lnTo>
                      <a:pt x="3005" y="685"/>
                    </a:lnTo>
                    <a:lnTo>
                      <a:pt x="3004" y="654"/>
                    </a:lnTo>
                    <a:lnTo>
                      <a:pt x="3000" y="620"/>
                    </a:lnTo>
                    <a:lnTo>
                      <a:pt x="2998" y="602"/>
                    </a:lnTo>
                    <a:lnTo>
                      <a:pt x="2994" y="586"/>
                    </a:lnTo>
                    <a:lnTo>
                      <a:pt x="2991" y="570"/>
                    </a:lnTo>
                    <a:lnTo>
                      <a:pt x="2987" y="557"/>
                    </a:lnTo>
                    <a:lnTo>
                      <a:pt x="2981" y="538"/>
                    </a:lnTo>
                    <a:lnTo>
                      <a:pt x="2977" y="518"/>
                    </a:lnTo>
                    <a:lnTo>
                      <a:pt x="2973" y="498"/>
                    </a:lnTo>
                    <a:lnTo>
                      <a:pt x="2971" y="479"/>
                    </a:lnTo>
                    <a:lnTo>
                      <a:pt x="2968" y="466"/>
                    </a:lnTo>
                    <a:lnTo>
                      <a:pt x="2965" y="454"/>
                    </a:lnTo>
                    <a:lnTo>
                      <a:pt x="2960" y="439"/>
                    </a:lnTo>
                    <a:lnTo>
                      <a:pt x="2954" y="424"/>
                    </a:lnTo>
                    <a:lnTo>
                      <a:pt x="2941" y="397"/>
                    </a:lnTo>
                    <a:lnTo>
                      <a:pt x="2928" y="372"/>
                    </a:lnTo>
                    <a:lnTo>
                      <a:pt x="2922" y="362"/>
                    </a:lnTo>
                    <a:lnTo>
                      <a:pt x="2915" y="350"/>
                    </a:lnTo>
                    <a:lnTo>
                      <a:pt x="2907" y="339"/>
                    </a:lnTo>
                    <a:lnTo>
                      <a:pt x="2901" y="327"/>
                    </a:lnTo>
                    <a:lnTo>
                      <a:pt x="2894" y="317"/>
                    </a:lnTo>
                    <a:lnTo>
                      <a:pt x="2884" y="306"/>
                    </a:lnTo>
                    <a:lnTo>
                      <a:pt x="2874" y="296"/>
                    </a:lnTo>
                    <a:lnTo>
                      <a:pt x="2870" y="289"/>
                    </a:lnTo>
                    <a:lnTo>
                      <a:pt x="2858" y="279"/>
                    </a:lnTo>
                    <a:lnTo>
                      <a:pt x="2845" y="272"/>
                    </a:lnTo>
                    <a:lnTo>
                      <a:pt x="2837" y="268"/>
                    </a:lnTo>
                    <a:lnTo>
                      <a:pt x="2827" y="261"/>
                    </a:lnTo>
                    <a:lnTo>
                      <a:pt x="2818" y="254"/>
                    </a:lnTo>
                    <a:lnTo>
                      <a:pt x="2807" y="247"/>
                    </a:lnTo>
                    <a:lnTo>
                      <a:pt x="2788" y="231"/>
                    </a:lnTo>
                    <a:lnTo>
                      <a:pt x="2772" y="215"/>
                    </a:lnTo>
                    <a:lnTo>
                      <a:pt x="2756" y="204"/>
                    </a:lnTo>
                    <a:lnTo>
                      <a:pt x="2739" y="192"/>
                    </a:lnTo>
                    <a:lnTo>
                      <a:pt x="2721" y="182"/>
                    </a:lnTo>
                    <a:lnTo>
                      <a:pt x="2702" y="174"/>
                    </a:lnTo>
                    <a:lnTo>
                      <a:pt x="2682" y="167"/>
                    </a:lnTo>
                    <a:lnTo>
                      <a:pt x="2662" y="161"/>
                    </a:lnTo>
                    <a:lnTo>
                      <a:pt x="2640" y="158"/>
                    </a:lnTo>
                    <a:lnTo>
                      <a:pt x="2619" y="155"/>
                    </a:lnTo>
                    <a:lnTo>
                      <a:pt x="2598" y="155"/>
                    </a:lnTo>
                    <a:lnTo>
                      <a:pt x="2577" y="158"/>
                    </a:lnTo>
                    <a:lnTo>
                      <a:pt x="2568" y="159"/>
                    </a:lnTo>
                    <a:lnTo>
                      <a:pt x="2557" y="161"/>
                    </a:lnTo>
                    <a:lnTo>
                      <a:pt x="2548" y="165"/>
                    </a:lnTo>
                    <a:lnTo>
                      <a:pt x="2538" y="168"/>
                    </a:lnTo>
                    <a:lnTo>
                      <a:pt x="2529" y="172"/>
                    </a:lnTo>
                    <a:lnTo>
                      <a:pt x="2519" y="178"/>
                    </a:lnTo>
                    <a:lnTo>
                      <a:pt x="2511" y="182"/>
                    </a:lnTo>
                    <a:lnTo>
                      <a:pt x="2503" y="190"/>
                    </a:lnTo>
                    <a:lnTo>
                      <a:pt x="2495" y="195"/>
                    </a:lnTo>
                    <a:lnTo>
                      <a:pt x="2486" y="204"/>
                    </a:lnTo>
                    <a:lnTo>
                      <a:pt x="2479" y="212"/>
                    </a:lnTo>
                    <a:lnTo>
                      <a:pt x="2472" y="221"/>
                    </a:lnTo>
                    <a:lnTo>
                      <a:pt x="2462" y="237"/>
                    </a:lnTo>
                    <a:lnTo>
                      <a:pt x="2451" y="256"/>
                    </a:lnTo>
                    <a:lnTo>
                      <a:pt x="2439" y="276"/>
                    </a:lnTo>
                    <a:lnTo>
                      <a:pt x="2431" y="297"/>
                    </a:lnTo>
                    <a:lnTo>
                      <a:pt x="2428" y="307"/>
                    </a:lnTo>
                    <a:lnTo>
                      <a:pt x="2425" y="318"/>
                    </a:lnTo>
                    <a:lnTo>
                      <a:pt x="2425" y="327"/>
                    </a:lnTo>
                    <a:lnTo>
                      <a:pt x="2425" y="337"/>
                    </a:lnTo>
                    <a:lnTo>
                      <a:pt x="2429" y="346"/>
                    </a:lnTo>
                    <a:lnTo>
                      <a:pt x="2432" y="355"/>
                    </a:lnTo>
                    <a:lnTo>
                      <a:pt x="2439" y="363"/>
                    </a:lnTo>
                    <a:lnTo>
                      <a:pt x="2449" y="370"/>
                    </a:lnTo>
                    <a:lnTo>
                      <a:pt x="2461" y="376"/>
                    </a:lnTo>
                    <a:lnTo>
                      <a:pt x="2472" y="379"/>
                    </a:lnTo>
                    <a:lnTo>
                      <a:pt x="2482" y="380"/>
                    </a:lnTo>
                    <a:lnTo>
                      <a:pt x="2491" y="379"/>
                    </a:lnTo>
                    <a:lnTo>
                      <a:pt x="2498" y="376"/>
                    </a:lnTo>
                    <a:lnTo>
                      <a:pt x="2505" y="371"/>
                    </a:lnTo>
                    <a:lnTo>
                      <a:pt x="2512" y="364"/>
                    </a:lnTo>
                    <a:lnTo>
                      <a:pt x="2518" y="358"/>
                    </a:lnTo>
                    <a:lnTo>
                      <a:pt x="2529" y="343"/>
                    </a:lnTo>
                    <a:lnTo>
                      <a:pt x="2538" y="330"/>
                    </a:lnTo>
                    <a:lnTo>
                      <a:pt x="2543" y="325"/>
                    </a:lnTo>
                    <a:lnTo>
                      <a:pt x="2548" y="320"/>
                    </a:lnTo>
                    <a:lnTo>
                      <a:pt x="2553" y="319"/>
                    </a:lnTo>
                    <a:lnTo>
                      <a:pt x="2558" y="319"/>
                    </a:lnTo>
                    <a:lnTo>
                      <a:pt x="2560" y="329"/>
                    </a:lnTo>
                    <a:lnTo>
                      <a:pt x="2560" y="338"/>
                    </a:lnTo>
                    <a:lnTo>
                      <a:pt x="2559" y="349"/>
                    </a:lnTo>
                    <a:lnTo>
                      <a:pt x="2557" y="358"/>
                    </a:lnTo>
                    <a:lnTo>
                      <a:pt x="2553" y="367"/>
                    </a:lnTo>
                    <a:lnTo>
                      <a:pt x="2549" y="376"/>
                    </a:lnTo>
                    <a:lnTo>
                      <a:pt x="2543" y="384"/>
                    </a:lnTo>
                    <a:lnTo>
                      <a:pt x="2537" y="392"/>
                    </a:lnTo>
                    <a:lnTo>
                      <a:pt x="2530" y="399"/>
                    </a:lnTo>
                    <a:lnTo>
                      <a:pt x="2522" y="406"/>
                    </a:lnTo>
                    <a:lnTo>
                      <a:pt x="2513" y="412"/>
                    </a:lnTo>
                    <a:lnTo>
                      <a:pt x="2504" y="418"/>
                    </a:lnTo>
                    <a:lnTo>
                      <a:pt x="2495" y="422"/>
                    </a:lnTo>
                    <a:lnTo>
                      <a:pt x="2485" y="425"/>
                    </a:lnTo>
                    <a:lnTo>
                      <a:pt x="2476" y="428"/>
                    </a:lnTo>
                    <a:lnTo>
                      <a:pt x="2466" y="429"/>
                    </a:lnTo>
                    <a:lnTo>
                      <a:pt x="2457" y="429"/>
                    </a:lnTo>
                    <a:lnTo>
                      <a:pt x="2448" y="428"/>
                    </a:lnTo>
                    <a:lnTo>
                      <a:pt x="2439" y="426"/>
                    </a:lnTo>
                    <a:lnTo>
                      <a:pt x="2431" y="424"/>
                    </a:lnTo>
                    <a:lnTo>
                      <a:pt x="2423" y="421"/>
                    </a:lnTo>
                    <a:lnTo>
                      <a:pt x="2415" y="417"/>
                    </a:lnTo>
                    <a:lnTo>
                      <a:pt x="2408" y="412"/>
                    </a:lnTo>
                    <a:lnTo>
                      <a:pt x="2401" y="408"/>
                    </a:lnTo>
                    <a:lnTo>
                      <a:pt x="2388" y="396"/>
                    </a:lnTo>
                    <a:lnTo>
                      <a:pt x="2375" y="383"/>
                    </a:lnTo>
                    <a:lnTo>
                      <a:pt x="2363" y="370"/>
                    </a:lnTo>
                    <a:lnTo>
                      <a:pt x="2351" y="356"/>
                    </a:lnTo>
                    <a:lnTo>
                      <a:pt x="2343" y="346"/>
                    </a:lnTo>
                    <a:lnTo>
                      <a:pt x="2337" y="336"/>
                    </a:lnTo>
                    <a:lnTo>
                      <a:pt x="2331" y="324"/>
                    </a:lnTo>
                    <a:lnTo>
                      <a:pt x="2325" y="313"/>
                    </a:lnTo>
                    <a:lnTo>
                      <a:pt x="2316" y="289"/>
                    </a:lnTo>
                    <a:lnTo>
                      <a:pt x="2305" y="265"/>
                    </a:lnTo>
                    <a:lnTo>
                      <a:pt x="2301" y="253"/>
                    </a:lnTo>
                    <a:lnTo>
                      <a:pt x="2295" y="243"/>
                    </a:lnTo>
                    <a:lnTo>
                      <a:pt x="2288" y="232"/>
                    </a:lnTo>
                    <a:lnTo>
                      <a:pt x="2281" y="221"/>
                    </a:lnTo>
                    <a:lnTo>
                      <a:pt x="2274" y="213"/>
                    </a:lnTo>
                    <a:lnTo>
                      <a:pt x="2264" y="205"/>
                    </a:lnTo>
                    <a:lnTo>
                      <a:pt x="2254" y="198"/>
                    </a:lnTo>
                    <a:lnTo>
                      <a:pt x="2242" y="193"/>
                    </a:lnTo>
                    <a:lnTo>
                      <a:pt x="2233" y="188"/>
                    </a:lnTo>
                    <a:lnTo>
                      <a:pt x="2223" y="185"/>
                    </a:lnTo>
                    <a:lnTo>
                      <a:pt x="2215" y="180"/>
                    </a:lnTo>
                    <a:lnTo>
                      <a:pt x="2206" y="174"/>
                    </a:lnTo>
                    <a:lnTo>
                      <a:pt x="2198" y="168"/>
                    </a:lnTo>
                    <a:lnTo>
                      <a:pt x="2190" y="161"/>
                    </a:lnTo>
                    <a:lnTo>
                      <a:pt x="2183" y="154"/>
                    </a:lnTo>
                    <a:lnTo>
                      <a:pt x="2177" y="146"/>
                    </a:lnTo>
                    <a:lnTo>
                      <a:pt x="2174" y="140"/>
                    </a:lnTo>
                    <a:lnTo>
                      <a:pt x="2171" y="135"/>
                    </a:lnTo>
                    <a:lnTo>
                      <a:pt x="2170" y="131"/>
                    </a:lnTo>
                    <a:lnTo>
                      <a:pt x="2170" y="125"/>
                    </a:lnTo>
                    <a:lnTo>
                      <a:pt x="2171" y="120"/>
                    </a:lnTo>
                    <a:lnTo>
                      <a:pt x="2174" y="115"/>
                    </a:lnTo>
                    <a:lnTo>
                      <a:pt x="2175" y="111"/>
                    </a:lnTo>
                    <a:lnTo>
                      <a:pt x="2179" y="106"/>
                    </a:lnTo>
                    <a:lnTo>
                      <a:pt x="2191" y="89"/>
                    </a:lnTo>
                    <a:lnTo>
                      <a:pt x="2204" y="73"/>
                    </a:lnTo>
                    <a:lnTo>
                      <a:pt x="2210" y="69"/>
                    </a:lnTo>
                    <a:lnTo>
                      <a:pt x="2218" y="65"/>
                    </a:lnTo>
                    <a:lnTo>
                      <a:pt x="2226" y="59"/>
                    </a:lnTo>
                    <a:lnTo>
                      <a:pt x="2235" y="50"/>
                    </a:lnTo>
                    <a:lnTo>
                      <a:pt x="2243" y="43"/>
                    </a:lnTo>
                    <a:lnTo>
                      <a:pt x="2253" y="36"/>
                    </a:lnTo>
                    <a:lnTo>
                      <a:pt x="2261" y="30"/>
                    </a:lnTo>
                    <a:lnTo>
                      <a:pt x="2269" y="26"/>
                    </a:lnTo>
                    <a:lnTo>
                      <a:pt x="2287" y="20"/>
                    </a:lnTo>
                    <a:lnTo>
                      <a:pt x="2304" y="14"/>
                    </a:lnTo>
                    <a:lnTo>
                      <a:pt x="2322" y="10"/>
                    </a:lnTo>
                    <a:lnTo>
                      <a:pt x="2341" y="7"/>
                    </a:lnTo>
                    <a:lnTo>
                      <a:pt x="2361" y="3"/>
                    </a:lnTo>
                    <a:lnTo>
                      <a:pt x="2379" y="1"/>
                    </a:lnTo>
                    <a:lnTo>
                      <a:pt x="2399" y="0"/>
                    </a:lnTo>
                    <a:lnTo>
                      <a:pt x="2419" y="0"/>
                    </a:lnTo>
                    <a:lnTo>
                      <a:pt x="2439" y="0"/>
                    </a:lnTo>
                    <a:lnTo>
                      <a:pt x="2459" y="1"/>
                    </a:lnTo>
                    <a:lnTo>
                      <a:pt x="2481" y="2"/>
                    </a:lnTo>
                    <a:lnTo>
                      <a:pt x="2501" y="4"/>
                    </a:lnTo>
                    <a:lnTo>
                      <a:pt x="2543" y="10"/>
                    </a:lnTo>
                    <a:lnTo>
                      <a:pt x="2584" y="19"/>
                    </a:lnTo>
                    <a:lnTo>
                      <a:pt x="2625" y="28"/>
                    </a:lnTo>
                    <a:lnTo>
                      <a:pt x="2666" y="41"/>
                    </a:lnTo>
                    <a:lnTo>
                      <a:pt x="2705" y="54"/>
                    </a:lnTo>
                    <a:lnTo>
                      <a:pt x="2744" y="69"/>
                    </a:lnTo>
                    <a:lnTo>
                      <a:pt x="2781" y="87"/>
                    </a:lnTo>
                    <a:lnTo>
                      <a:pt x="2817" y="105"/>
                    </a:lnTo>
                    <a:lnTo>
                      <a:pt x="2850" y="124"/>
                    </a:lnTo>
                    <a:lnTo>
                      <a:pt x="2881" y="142"/>
                    </a:lnTo>
                    <a:lnTo>
                      <a:pt x="2886" y="147"/>
                    </a:lnTo>
                    <a:lnTo>
                      <a:pt x="2891" y="147"/>
                    </a:lnTo>
                    <a:lnTo>
                      <a:pt x="2907" y="160"/>
                    </a:lnTo>
                    <a:lnTo>
                      <a:pt x="2926" y="171"/>
                    </a:lnTo>
                    <a:lnTo>
                      <a:pt x="2946" y="180"/>
                    </a:lnTo>
                    <a:lnTo>
                      <a:pt x="2966" y="191"/>
                    </a:lnTo>
                    <a:lnTo>
                      <a:pt x="2986" y="200"/>
                    </a:lnTo>
                    <a:lnTo>
                      <a:pt x="3006" y="211"/>
                    </a:lnTo>
                    <a:lnTo>
                      <a:pt x="3025" y="221"/>
                    </a:lnTo>
                    <a:lnTo>
                      <a:pt x="3042" y="235"/>
                    </a:lnTo>
                    <a:lnTo>
                      <a:pt x="3069" y="260"/>
                    </a:lnTo>
                    <a:lnTo>
                      <a:pt x="3096" y="284"/>
                    </a:lnTo>
                    <a:lnTo>
                      <a:pt x="3121" y="307"/>
                    </a:lnTo>
                    <a:lnTo>
                      <a:pt x="3145" y="332"/>
                    </a:lnTo>
                    <a:lnTo>
                      <a:pt x="3155" y="345"/>
                    </a:lnTo>
                    <a:lnTo>
                      <a:pt x="3166" y="358"/>
                    </a:lnTo>
                    <a:lnTo>
                      <a:pt x="3176" y="372"/>
                    </a:lnTo>
                    <a:lnTo>
                      <a:pt x="3186" y="386"/>
                    </a:lnTo>
                    <a:lnTo>
                      <a:pt x="3195" y="402"/>
                    </a:lnTo>
                    <a:lnTo>
                      <a:pt x="3205" y="418"/>
                    </a:lnTo>
                    <a:lnTo>
                      <a:pt x="3213" y="435"/>
                    </a:lnTo>
                    <a:lnTo>
                      <a:pt x="3221" y="452"/>
                    </a:lnTo>
                    <a:lnTo>
                      <a:pt x="3236" y="485"/>
                    </a:lnTo>
                    <a:lnTo>
                      <a:pt x="3253" y="517"/>
                    </a:lnTo>
                    <a:lnTo>
                      <a:pt x="3272" y="548"/>
                    </a:lnTo>
                    <a:lnTo>
                      <a:pt x="3290" y="577"/>
                    </a:lnTo>
                    <a:lnTo>
                      <a:pt x="3309" y="608"/>
                    </a:lnTo>
                    <a:lnTo>
                      <a:pt x="3328" y="637"/>
                    </a:lnTo>
                    <a:lnTo>
                      <a:pt x="3346" y="668"/>
                    </a:lnTo>
                    <a:lnTo>
                      <a:pt x="3361" y="700"/>
                    </a:lnTo>
                    <a:lnTo>
                      <a:pt x="3369" y="714"/>
                    </a:lnTo>
                    <a:lnTo>
                      <a:pt x="3376" y="729"/>
                    </a:lnTo>
                    <a:lnTo>
                      <a:pt x="3383" y="745"/>
                    </a:lnTo>
                    <a:lnTo>
                      <a:pt x="3388" y="761"/>
                    </a:lnTo>
                    <a:lnTo>
                      <a:pt x="3400" y="793"/>
                    </a:lnTo>
                    <a:lnTo>
                      <a:pt x="3413" y="824"/>
                    </a:lnTo>
                    <a:lnTo>
                      <a:pt x="3443" y="885"/>
                    </a:lnTo>
                    <a:lnTo>
                      <a:pt x="3451" y="898"/>
                    </a:lnTo>
                    <a:lnTo>
                      <a:pt x="3461" y="913"/>
                    </a:lnTo>
                    <a:lnTo>
                      <a:pt x="3465" y="920"/>
                    </a:lnTo>
                    <a:lnTo>
                      <a:pt x="3470" y="927"/>
                    </a:lnTo>
                    <a:lnTo>
                      <a:pt x="3472" y="934"/>
                    </a:lnTo>
                    <a:lnTo>
                      <a:pt x="3475" y="941"/>
                    </a:lnTo>
                    <a:lnTo>
                      <a:pt x="3478" y="949"/>
                    </a:lnTo>
                    <a:lnTo>
                      <a:pt x="3483" y="954"/>
                    </a:lnTo>
                    <a:lnTo>
                      <a:pt x="3487" y="963"/>
                    </a:lnTo>
                    <a:lnTo>
                      <a:pt x="3489" y="971"/>
                    </a:lnTo>
                    <a:lnTo>
                      <a:pt x="3495" y="989"/>
                    </a:lnTo>
                    <a:lnTo>
                      <a:pt x="3500" y="1007"/>
                    </a:lnTo>
                    <a:lnTo>
                      <a:pt x="3508" y="1046"/>
                    </a:lnTo>
                    <a:lnTo>
                      <a:pt x="3516" y="1079"/>
                    </a:lnTo>
                    <a:lnTo>
                      <a:pt x="3525" y="1110"/>
                    </a:lnTo>
                    <a:lnTo>
                      <a:pt x="3535" y="1145"/>
                    </a:lnTo>
                    <a:lnTo>
                      <a:pt x="3539" y="1163"/>
                    </a:lnTo>
                    <a:lnTo>
                      <a:pt x="3544" y="1180"/>
                    </a:lnTo>
                    <a:lnTo>
                      <a:pt x="3547" y="1196"/>
                    </a:lnTo>
                    <a:lnTo>
                      <a:pt x="3549" y="1211"/>
                    </a:lnTo>
                    <a:lnTo>
                      <a:pt x="3556" y="1226"/>
                    </a:lnTo>
                    <a:lnTo>
                      <a:pt x="3564" y="1246"/>
                    </a:lnTo>
                    <a:lnTo>
                      <a:pt x="3571" y="1266"/>
                    </a:lnTo>
                    <a:lnTo>
                      <a:pt x="3575" y="1281"/>
                    </a:lnTo>
                    <a:lnTo>
                      <a:pt x="3588" y="1319"/>
                    </a:lnTo>
                    <a:lnTo>
                      <a:pt x="3598" y="1356"/>
                    </a:lnTo>
                    <a:lnTo>
                      <a:pt x="3608" y="1395"/>
                    </a:lnTo>
                    <a:lnTo>
                      <a:pt x="3616" y="1433"/>
                    </a:lnTo>
                    <a:lnTo>
                      <a:pt x="3623" y="1472"/>
                    </a:lnTo>
                    <a:lnTo>
                      <a:pt x="3631" y="1511"/>
                    </a:lnTo>
                    <a:lnTo>
                      <a:pt x="3638" y="1550"/>
                    </a:lnTo>
                    <a:lnTo>
                      <a:pt x="3645" y="1589"/>
                    </a:lnTo>
                    <a:lnTo>
                      <a:pt x="3649" y="1616"/>
                    </a:lnTo>
                    <a:lnTo>
                      <a:pt x="3652" y="1645"/>
                    </a:lnTo>
                    <a:lnTo>
                      <a:pt x="3657" y="1675"/>
                    </a:lnTo>
                    <a:lnTo>
                      <a:pt x="3663" y="1702"/>
                    </a:lnTo>
                    <a:lnTo>
                      <a:pt x="3664" y="1716"/>
                    </a:lnTo>
                    <a:lnTo>
                      <a:pt x="3663" y="1735"/>
                    </a:lnTo>
                    <a:lnTo>
                      <a:pt x="3663" y="1751"/>
                    </a:lnTo>
                    <a:lnTo>
                      <a:pt x="3663" y="1761"/>
                    </a:lnTo>
                    <a:lnTo>
                      <a:pt x="3663" y="1749"/>
                    </a:lnTo>
                    <a:lnTo>
                      <a:pt x="3661" y="1737"/>
                    </a:lnTo>
                    <a:lnTo>
                      <a:pt x="3657" y="1724"/>
                    </a:lnTo>
                    <a:lnTo>
                      <a:pt x="3653" y="1712"/>
                    </a:lnTo>
                    <a:lnTo>
                      <a:pt x="3646" y="1686"/>
                    </a:lnTo>
                    <a:lnTo>
                      <a:pt x="3641" y="1663"/>
                    </a:lnTo>
                    <a:lnTo>
                      <a:pt x="3636" y="1644"/>
                    </a:lnTo>
                    <a:lnTo>
                      <a:pt x="3629" y="1617"/>
                    </a:lnTo>
                    <a:lnTo>
                      <a:pt x="3625" y="1605"/>
                    </a:lnTo>
                    <a:lnTo>
                      <a:pt x="3621" y="1598"/>
                    </a:lnTo>
                    <a:lnTo>
                      <a:pt x="3619" y="1597"/>
                    </a:lnTo>
                    <a:lnTo>
                      <a:pt x="3617" y="1597"/>
                    </a:lnTo>
                    <a:lnTo>
                      <a:pt x="3616" y="1600"/>
                    </a:lnTo>
                    <a:lnTo>
                      <a:pt x="3615" y="1605"/>
                    </a:lnTo>
                    <a:lnTo>
                      <a:pt x="3611" y="1615"/>
                    </a:lnTo>
                    <a:lnTo>
                      <a:pt x="3608" y="1624"/>
                    </a:lnTo>
                    <a:lnTo>
                      <a:pt x="3603" y="1633"/>
                    </a:lnTo>
                    <a:lnTo>
                      <a:pt x="3597" y="1640"/>
                    </a:lnTo>
                    <a:lnTo>
                      <a:pt x="3590" y="1648"/>
                    </a:lnTo>
                    <a:lnTo>
                      <a:pt x="3582" y="1653"/>
                    </a:lnTo>
                    <a:lnTo>
                      <a:pt x="3574" y="1658"/>
                    </a:lnTo>
                    <a:lnTo>
                      <a:pt x="3563" y="1662"/>
                    </a:lnTo>
                    <a:lnTo>
                      <a:pt x="3557" y="1664"/>
                    </a:lnTo>
                    <a:lnTo>
                      <a:pt x="3552" y="1668"/>
                    </a:lnTo>
                    <a:lnTo>
                      <a:pt x="3550" y="1672"/>
                    </a:lnTo>
                    <a:lnTo>
                      <a:pt x="3549" y="1678"/>
                    </a:lnTo>
                    <a:lnTo>
                      <a:pt x="3550" y="1685"/>
                    </a:lnTo>
                    <a:lnTo>
                      <a:pt x="3551" y="1691"/>
                    </a:lnTo>
                    <a:lnTo>
                      <a:pt x="3555" y="1699"/>
                    </a:lnTo>
                    <a:lnTo>
                      <a:pt x="3558" y="1706"/>
                    </a:lnTo>
                    <a:lnTo>
                      <a:pt x="3568" y="1723"/>
                    </a:lnTo>
                    <a:lnTo>
                      <a:pt x="3577" y="1739"/>
                    </a:lnTo>
                    <a:lnTo>
                      <a:pt x="3581" y="1747"/>
                    </a:lnTo>
                    <a:lnTo>
                      <a:pt x="3584" y="1754"/>
                    </a:lnTo>
                    <a:lnTo>
                      <a:pt x="3586" y="1761"/>
                    </a:lnTo>
                    <a:lnTo>
                      <a:pt x="3589" y="1767"/>
                    </a:lnTo>
                    <a:lnTo>
                      <a:pt x="3590" y="1774"/>
                    </a:lnTo>
                    <a:lnTo>
                      <a:pt x="3591" y="1778"/>
                    </a:lnTo>
                    <a:lnTo>
                      <a:pt x="3594" y="1783"/>
                    </a:lnTo>
                    <a:lnTo>
                      <a:pt x="3597" y="1788"/>
                    </a:lnTo>
                    <a:lnTo>
                      <a:pt x="3603" y="1795"/>
                    </a:lnTo>
                    <a:lnTo>
                      <a:pt x="3609" y="1801"/>
                    </a:lnTo>
                    <a:lnTo>
                      <a:pt x="3616" y="1807"/>
                    </a:lnTo>
                    <a:lnTo>
                      <a:pt x="3622" y="1813"/>
                    </a:lnTo>
                    <a:lnTo>
                      <a:pt x="3624" y="1815"/>
                    </a:lnTo>
                    <a:lnTo>
                      <a:pt x="3626" y="1818"/>
                    </a:lnTo>
                    <a:lnTo>
                      <a:pt x="3628" y="1823"/>
                    </a:lnTo>
                    <a:lnTo>
                      <a:pt x="3630" y="1828"/>
                    </a:lnTo>
                    <a:lnTo>
                      <a:pt x="3632" y="1842"/>
                    </a:lnTo>
                    <a:lnTo>
                      <a:pt x="3636" y="1854"/>
                    </a:lnTo>
                    <a:lnTo>
                      <a:pt x="3641" y="1866"/>
                    </a:lnTo>
                    <a:lnTo>
                      <a:pt x="3648" y="1877"/>
                    </a:lnTo>
                    <a:lnTo>
                      <a:pt x="3650" y="1880"/>
                    </a:lnTo>
                    <a:lnTo>
                      <a:pt x="3653" y="1880"/>
                    </a:lnTo>
                    <a:lnTo>
                      <a:pt x="3657" y="1880"/>
                    </a:lnTo>
                    <a:lnTo>
                      <a:pt x="3661" y="1880"/>
                    </a:lnTo>
                    <a:lnTo>
                      <a:pt x="3668" y="1876"/>
                    </a:lnTo>
                    <a:lnTo>
                      <a:pt x="3672" y="1873"/>
                    </a:lnTo>
                    <a:lnTo>
                      <a:pt x="3675" y="1867"/>
                    </a:lnTo>
                    <a:lnTo>
                      <a:pt x="3676" y="1861"/>
                    </a:lnTo>
                    <a:lnTo>
                      <a:pt x="3677" y="1854"/>
                    </a:lnTo>
                    <a:lnTo>
                      <a:pt x="3677" y="1846"/>
                    </a:lnTo>
                    <a:lnTo>
                      <a:pt x="3677" y="1830"/>
                    </a:lnTo>
                    <a:lnTo>
                      <a:pt x="3677" y="1813"/>
                    </a:lnTo>
                    <a:lnTo>
                      <a:pt x="3676" y="1796"/>
                    </a:lnTo>
                    <a:lnTo>
                      <a:pt x="3675" y="1778"/>
                    </a:lnTo>
                    <a:lnTo>
                      <a:pt x="3676" y="1763"/>
                    </a:lnTo>
                    <a:lnTo>
                      <a:pt x="3679" y="1749"/>
                    </a:lnTo>
                    <a:lnTo>
                      <a:pt x="3684" y="1758"/>
                    </a:lnTo>
                    <a:lnTo>
                      <a:pt x="3688" y="1772"/>
                    </a:lnTo>
                    <a:lnTo>
                      <a:pt x="3690" y="1789"/>
                    </a:lnTo>
                    <a:lnTo>
                      <a:pt x="3692" y="1808"/>
                    </a:lnTo>
                    <a:lnTo>
                      <a:pt x="3696" y="1843"/>
                    </a:lnTo>
                    <a:lnTo>
                      <a:pt x="3696" y="1869"/>
                    </a:lnTo>
                    <a:lnTo>
                      <a:pt x="3697" y="1867"/>
                    </a:lnTo>
                    <a:lnTo>
                      <a:pt x="3698" y="1866"/>
                    </a:lnTo>
                    <a:lnTo>
                      <a:pt x="3736" y="2417"/>
                    </a:lnTo>
                    <a:lnTo>
                      <a:pt x="3738" y="2441"/>
                    </a:lnTo>
                    <a:lnTo>
                      <a:pt x="3738" y="2478"/>
                    </a:lnTo>
                    <a:lnTo>
                      <a:pt x="3737" y="2524"/>
                    </a:lnTo>
                    <a:lnTo>
                      <a:pt x="3732" y="2573"/>
                    </a:lnTo>
                    <a:lnTo>
                      <a:pt x="3729" y="2596"/>
                    </a:lnTo>
                    <a:lnTo>
                      <a:pt x="3725" y="2620"/>
                    </a:lnTo>
                    <a:lnTo>
                      <a:pt x="3722" y="2640"/>
                    </a:lnTo>
                    <a:lnTo>
                      <a:pt x="3716" y="2659"/>
                    </a:lnTo>
                    <a:lnTo>
                      <a:pt x="3713" y="2666"/>
                    </a:lnTo>
                    <a:lnTo>
                      <a:pt x="3710" y="2673"/>
                    </a:lnTo>
                    <a:lnTo>
                      <a:pt x="3706" y="2679"/>
                    </a:lnTo>
                    <a:lnTo>
                      <a:pt x="3703" y="2684"/>
                    </a:lnTo>
                    <a:lnTo>
                      <a:pt x="3699" y="2687"/>
                    </a:lnTo>
                    <a:lnTo>
                      <a:pt x="3696" y="2689"/>
                    </a:lnTo>
                    <a:lnTo>
                      <a:pt x="3691" y="2691"/>
                    </a:lnTo>
                    <a:lnTo>
                      <a:pt x="3686" y="2691"/>
                    </a:lnTo>
                    <a:lnTo>
                      <a:pt x="3685" y="2680"/>
                    </a:lnTo>
                    <a:lnTo>
                      <a:pt x="3686" y="2667"/>
                    </a:lnTo>
                    <a:lnTo>
                      <a:pt x="3689" y="2653"/>
                    </a:lnTo>
                    <a:lnTo>
                      <a:pt x="3692" y="2638"/>
                    </a:lnTo>
                    <a:lnTo>
                      <a:pt x="3702" y="2607"/>
                    </a:lnTo>
                    <a:lnTo>
                      <a:pt x="3710" y="2581"/>
                    </a:lnTo>
                    <a:lnTo>
                      <a:pt x="3717" y="2556"/>
                    </a:lnTo>
                    <a:lnTo>
                      <a:pt x="3722" y="2531"/>
                    </a:lnTo>
                    <a:lnTo>
                      <a:pt x="3723" y="2519"/>
                    </a:lnTo>
                    <a:lnTo>
                      <a:pt x="3723" y="2506"/>
                    </a:lnTo>
                    <a:lnTo>
                      <a:pt x="3723" y="2494"/>
                    </a:lnTo>
                    <a:lnTo>
                      <a:pt x="3719" y="2481"/>
                    </a:lnTo>
                    <a:lnTo>
                      <a:pt x="3715" y="2461"/>
                    </a:lnTo>
                    <a:lnTo>
                      <a:pt x="3709" y="2444"/>
                    </a:lnTo>
                    <a:lnTo>
                      <a:pt x="3706" y="2435"/>
                    </a:lnTo>
                    <a:lnTo>
                      <a:pt x="3704" y="2425"/>
                    </a:lnTo>
                    <a:lnTo>
                      <a:pt x="3703" y="2415"/>
                    </a:lnTo>
                    <a:lnTo>
                      <a:pt x="3703" y="2403"/>
                    </a:lnTo>
                    <a:lnTo>
                      <a:pt x="3703" y="2376"/>
                    </a:lnTo>
                    <a:lnTo>
                      <a:pt x="3703" y="2350"/>
                    </a:lnTo>
                    <a:lnTo>
                      <a:pt x="3702" y="2323"/>
                    </a:lnTo>
                    <a:lnTo>
                      <a:pt x="3702" y="2298"/>
                    </a:lnTo>
                    <a:lnTo>
                      <a:pt x="3699" y="2272"/>
                    </a:lnTo>
                    <a:lnTo>
                      <a:pt x="3697" y="2247"/>
                    </a:lnTo>
                    <a:lnTo>
                      <a:pt x="3693" y="2222"/>
                    </a:lnTo>
                    <a:lnTo>
                      <a:pt x="3688" y="2197"/>
                    </a:lnTo>
                    <a:lnTo>
                      <a:pt x="3686" y="2196"/>
                    </a:lnTo>
                    <a:lnTo>
                      <a:pt x="3684" y="2196"/>
                    </a:lnTo>
                    <a:lnTo>
                      <a:pt x="3682" y="2201"/>
                    </a:lnTo>
                    <a:lnTo>
                      <a:pt x="3678" y="2206"/>
                    </a:lnTo>
                    <a:lnTo>
                      <a:pt x="3673" y="2212"/>
                    </a:lnTo>
                    <a:lnTo>
                      <a:pt x="3668" y="2218"/>
                    </a:lnTo>
                    <a:lnTo>
                      <a:pt x="3662" y="2223"/>
                    </a:lnTo>
                    <a:lnTo>
                      <a:pt x="3655" y="2226"/>
                    </a:lnTo>
                    <a:lnTo>
                      <a:pt x="3649" y="2229"/>
                    </a:lnTo>
                    <a:lnTo>
                      <a:pt x="3643" y="2230"/>
                    </a:lnTo>
                    <a:lnTo>
                      <a:pt x="3641" y="2226"/>
                    </a:lnTo>
                    <a:lnTo>
                      <a:pt x="3637" y="2219"/>
                    </a:lnTo>
                    <a:lnTo>
                      <a:pt x="3632" y="2207"/>
                    </a:lnTo>
                    <a:lnTo>
                      <a:pt x="3629" y="2196"/>
                    </a:lnTo>
                    <a:lnTo>
                      <a:pt x="3628" y="2190"/>
                    </a:lnTo>
                    <a:lnTo>
                      <a:pt x="3628" y="2184"/>
                    </a:lnTo>
                    <a:lnTo>
                      <a:pt x="3630" y="2179"/>
                    </a:lnTo>
                    <a:lnTo>
                      <a:pt x="3632" y="2176"/>
                    </a:lnTo>
                    <a:lnTo>
                      <a:pt x="3637" y="2173"/>
                    </a:lnTo>
                    <a:lnTo>
                      <a:pt x="3643" y="2171"/>
                    </a:lnTo>
                    <a:lnTo>
                      <a:pt x="3651" y="2172"/>
                    </a:lnTo>
                    <a:lnTo>
                      <a:pt x="3663" y="2173"/>
                    </a:lnTo>
                    <a:lnTo>
                      <a:pt x="3671" y="2177"/>
                    </a:lnTo>
                    <a:lnTo>
                      <a:pt x="3682" y="2181"/>
                    </a:lnTo>
                    <a:lnTo>
                      <a:pt x="3686" y="2184"/>
                    </a:lnTo>
                    <a:lnTo>
                      <a:pt x="3691" y="2184"/>
                    </a:lnTo>
                    <a:lnTo>
                      <a:pt x="3696" y="2183"/>
                    </a:lnTo>
                    <a:lnTo>
                      <a:pt x="3698" y="2180"/>
                    </a:lnTo>
                    <a:lnTo>
                      <a:pt x="3700" y="2176"/>
                    </a:lnTo>
                    <a:lnTo>
                      <a:pt x="3700" y="2171"/>
                    </a:lnTo>
                    <a:lnTo>
                      <a:pt x="3700" y="2166"/>
                    </a:lnTo>
                    <a:lnTo>
                      <a:pt x="3698" y="2160"/>
                    </a:lnTo>
                    <a:lnTo>
                      <a:pt x="3695" y="2150"/>
                    </a:lnTo>
                    <a:lnTo>
                      <a:pt x="3689" y="2141"/>
                    </a:lnTo>
                    <a:lnTo>
                      <a:pt x="3675" y="2132"/>
                    </a:lnTo>
                    <a:lnTo>
                      <a:pt x="3661" y="2125"/>
                    </a:lnTo>
                    <a:lnTo>
                      <a:pt x="3656" y="2123"/>
                    </a:lnTo>
                    <a:lnTo>
                      <a:pt x="3653" y="2119"/>
                    </a:lnTo>
                    <a:lnTo>
                      <a:pt x="3652" y="2115"/>
                    </a:lnTo>
                    <a:lnTo>
                      <a:pt x="3651" y="2111"/>
                    </a:lnTo>
                    <a:lnTo>
                      <a:pt x="3652" y="2099"/>
                    </a:lnTo>
                    <a:lnTo>
                      <a:pt x="3652" y="2087"/>
                    </a:lnTo>
                    <a:lnTo>
                      <a:pt x="3652" y="2084"/>
                    </a:lnTo>
                    <a:lnTo>
                      <a:pt x="3655" y="2080"/>
                    </a:lnTo>
                    <a:lnTo>
                      <a:pt x="3658" y="2077"/>
                    </a:lnTo>
                    <a:lnTo>
                      <a:pt x="3662" y="2073"/>
                    </a:lnTo>
                    <a:lnTo>
                      <a:pt x="3666" y="2068"/>
                    </a:lnTo>
                    <a:lnTo>
                      <a:pt x="3669" y="2062"/>
                    </a:lnTo>
                    <a:lnTo>
                      <a:pt x="3672" y="2056"/>
                    </a:lnTo>
                    <a:lnTo>
                      <a:pt x="3672" y="2049"/>
                    </a:lnTo>
                    <a:lnTo>
                      <a:pt x="3652" y="2048"/>
                    </a:lnTo>
                    <a:lnTo>
                      <a:pt x="3630" y="2048"/>
                    </a:lnTo>
                    <a:lnTo>
                      <a:pt x="3621" y="2049"/>
                    </a:lnTo>
                    <a:lnTo>
                      <a:pt x="3613" y="2052"/>
                    </a:lnTo>
                    <a:lnTo>
                      <a:pt x="3612" y="2054"/>
                    </a:lnTo>
                    <a:lnTo>
                      <a:pt x="3611" y="2056"/>
                    </a:lnTo>
                    <a:lnTo>
                      <a:pt x="3612" y="2060"/>
                    </a:lnTo>
                    <a:lnTo>
                      <a:pt x="3615" y="2064"/>
                    </a:lnTo>
                    <a:lnTo>
                      <a:pt x="3621" y="2075"/>
                    </a:lnTo>
                    <a:lnTo>
                      <a:pt x="3628" y="2092"/>
                    </a:lnTo>
                    <a:lnTo>
                      <a:pt x="3631" y="2100"/>
                    </a:lnTo>
                    <a:lnTo>
                      <a:pt x="3632" y="2108"/>
                    </a:lnTo>
                    <a:lnTo>
                      <a:pt x="3633" y="2115"/>
                    </a:lnTo>
                    <a:lnTo>
                      <a:pt x="3632" y="2121"/>
                    </a:lnTo>
                    <a:lnTo>
                      <a:pt x="3626" y="2126"/>
                    </a:lnTo>
                    <a:lnTo>
                      <a:pt x="3616" y="2131"/>
                    </a:lnTo>
                    <a:lnTo>
                      <a:pt x="3603" y="2135"/>
                    </a:lnTo>
                    <a:lnTo>
                      <a:pt x="3595" y="2139"/>
                    </a:lnTo>
                    <a:lnTo>
                      <a:pt x="3591" y="2139"/>
                    </a:lnTo>
                    <a:lnTo>
                      <a:pt x="3589" y="2138"/>
                    </a:lnTo>
                    <a:lnTo>
                      <a:pt x="3586" y="2135"/>
                    </a:lnTo>
                    <a:lnTo>
                      <a:pt x="3584" y="2131"/>
                    </a:lnTo>
                    <a:lnTo>
                      <a:pt x="3581" y="2118"/>
                    </a:lnTo>
                    <a:lnTo>
                      <a:pt x="3576" y="2102"/>
                    </a:lnTo>
                    <a:lnTo>
                      <a:pt x="3574" y="2095"/>
                    </a:lnTo>
                    <a:lnTo>
                      <a:pt x="3570" y="2087"/>
                    </a:lnTo>
                    <a:lnTo>
                      <a:pt x="3568" y="2080"/>
                    </a:lnTo>
                    <a:lnTo>
                      <a:pt x="3563" y="2073"/>
                    </a:lnTo>
                    <a:lnTo>
                      <a:pt x="3558" y="2068"/>
                    </a:lnTo>
                    <a:lnTo>
                      <a:pt x="3552" y="2064"/>
                    </a:lnTo>
                    <a:lnTo>
                      <a:pt x="3547" y="2061"/>
                    </a:lnTo>
                    <a:lnTo>
                      <a:pt x="3539" y="2060"/>
                    </a:lnTo>
                    <a:lnTo>
                      <a:pt x="3539" y="2065"/>
                    </a:lnTo>
                    <a:lnTo>
                      <a:pt x="3542" y="2068"/>
                    </a:lnTo>
                    <a:lnTo>
                      <a:pt x="3544" y="2073"/>
                    </a:lnTo>
                    <a:lnTo>
                      <a:pt x="3547" y="2078"/>
                    </a:lnTo>
                    <a:lnTo>
                      <a:pt x="3549" y="2082"/>
                    </a:lnTo>
                    <a:lnTo>
                      <a:pt x="3551" y="2087"/>
                    </a:lnTo>
                    <a:lnTo>
                      <a:pt x="3552" y="2092"/>
                    </a:lnTo>
                    <a:lnTo>
                      <a:pt x="3551" y="2098"/>
                    </a:lnTo>
                    <a:lnTo>
                      <a:pt x="3539" y="2115"/>
                    </a:lnTo>
                    <a:lnTo>
                      <a:pt x="3529" y="2132"/>
                    </a:lnTo>
                    <a:lnTo>
                      <a:pt x="3538" y="2132"/>
                    </a:lnTo>
                    <a:lnTo>
                      <a:pt x="3545" y="2134"/>
                    </a:lnTo>
                    <a:lnTo>
                      <a:pt x="3551" y="2137"/>
                    </a:lnTo>
                    <a:lnTo>
                      <a:pt x="3556" y="2140"/>
                    </a:lnTo>
                    <a:lnTo>
                      <a:pt x="3561" y="2145"/>
                    </a:lnTo>
                    <a:lnTo>
                      <a:pt x="3563" y="2151"/>
                    </a:lnTo>
                    <a:lnTo>
                      <a:pt x="3566" y="2158"/>
                    </a:lnTo>
                    <a:lnTo>
                      <a:pt x="3570" y="2166"/>
                    </a:lnTo>
                    <a:lnTo>
                      <a:pt x="3570" y="2168"/>
                    </a:lnTo>
                    <a:lnTo>
                      <a:pt x="3570" y="2170"/>
                    </a:lnTo>
                    <a:lnTo>
                      <a:pt x="3569" y="2172"/>
                    </a:lnTo>
                    <a:lnTo>
                      <a:pt x="3568" y="2174"/>
                    </a:lnTo>
                    <a:lnTo>
                      <a:pt x="3563" y="2178"/>
                    </a:lnTo>
                    <a:lnTo>
                      <a:pt x="3557" y="2181"/>
                    </a:lnTo>
                    <a:lnTo>
                      <a:pt x="3544" y="2189"/>
                    </a:lnTo>
                    <a:lnTo>
                      <a:pt x="3536" y="2196"/>
                    </a:lnTo>
                    <a:lnTo>
                      <a:pt x="3532" y="2201"/>
                    </a:lnTo>
                    <a:lnTo>
                      <a:pt x="3530" y="2210"/>
                    </a:lnTo>
                    <a:lnTo>
                      <a:pt x="3530" y="2217"/>
                    </a:lnTo>
                    <a:lnTo>
                      <a:pt x="3531" y="2226"/>
                    </a:lnTo>
                    <a:lnTo>
                      <a:pt x="3536" y="2243"/>
                    </a:lnTo>
                    <a:lnTo>
                      <a:pt x="3542" y="2257"/>
                    </a:lnTo>
                    <a:lnTo>
                      <a:pt x="3551" y="2267"/>
                    </a:lnTo>
                    <a:lnTo>
                      <a:pt x="3562" y="2279"/>
                    </a:lnTo>
                    <a:lnTo>
                      <a:pt x="3568" y="2285"/>
                    </a:lnTo>
                    <a:lnTo>
                      <a:pt x="3572" y="2291"/>
                    </a:lnTo>
                    <a:lnTo>
                      <a:pt x="3576" y="2298"/>
                    </a:lnTo>
                    <a:lnTo>
                      <a:pt x="3577" y="2306"/>
                    </a:lnTo>
                    <a:lnTo>
                      <a:pt x="3576" y="2308"/>
                    </a:lnTo>
                    <a:lnTo>
                      <a:pt x="3433" y="2308"/>
                    </a:lnTo>
                    <a:lnTo>
                      <a:pt x="3430" y="2310"/>
                    </a:lnTo>
                    <a:lnTo>
                      <a:pt x="3429" y="2313"/>
                    </a:lnTo>
                    <a:lnTo>
                      <a:pt x="3428" y="2319"/>
                    </a:lnTo>
                    <a:lnTo>
                      <a:pt x="3427" y="2325"/>
                    </a:lnTo>
                    <a:lnTo>
                      <a:pt x="3427" y="2339"/>
                    </a:lnTo>
                    <a:lnTo>
                      <a:pt x="3427" y="2349"/>
                    </a:lnTo>
                    <a:lnTo>
                      <a:pt x="3414" y="2432"/>
                    </a:lnTo>
                    <a:lnTo>
                      <a:pt x="3413" y="2441"/>
                    </a:lnTo>
                    <a:lnTo>
                      <a:pt x="3414" y="2447"/>
                    </a:lnTo>
                    <a:lnTo>
                      <a:pt x="3415" y="2448"/>
                    </a:lnTo>
                    <a:lnTo>
                      <a:pt x="3417" y="2449"/>
                    </a:lnTo>
                    <a:lnTo>
                      <a:pt x="3418" y="2450"/>
                    </a:lnTo>
                    <a:lnTo>
                      <a:pt x="3421" y="2450"/>
                    </a:lnTo>
                    <a:lnTo>
                      <a:pt x="3427" y="2448"/>
                    </a:lnTo>
                    <a:lnTo>
                      <a:pt x="3434" y="2444"/>
                    </a:lnTo>
                    <a:lnTo>
                      <a:pt x="3442" y="2440"/>
                    </a:lnTo>
                    <a:lnTo>
                      <a:pt x="3450" y="2435"/>
                    </a:lnTo>
                    <a:lnTo>
                      <a:pt x="3468" y="2422"/>
                    </a:lnTo>
                    <a:lnTo>
                      <a:pt x="3484" y="2411"/>
                    </a:lnTo>
                    <a:lnTo>
                      <a:pt x="3492" y="2407"/>
                    </a:lnTo>
                    <a:lnTo>
                      <a:pt x="3500" y="2403"/>
                    </a:lnTo>
                    <a:lnTo>
                      <a:pt x="3505" y="2402"/>
                    </a:lnTo>
                    <a:lnTo>
                      <a:pt x="3510" y="2403"/>
                    </a:lnTo>
                    <a:lnTo>
                      <a:pt x="3519" y="2407"/>
                    </a:lnTo>
                    <a:lnTo>
                      <a:pt x="3528" y="2411"/>
                    </a:lnTo>
                    <a:lnTo>
                      <a:pt x="3535" y="2415"/>
                    </a:lnTo>
                    <a:lnTo>
                      <a:pt x="3542" y="2421"/>
                    </a:lnTo>
                    <a:lnTo>
                      <a:pt x="3547" y="2425"/>
                    </a:lnTo>
                    <a:lnTo>
                      <a:pt x="3550" y="2431"/>
                    </a:lnTo>
                    <a:lnTo>
                      <a:pt x="3550" y="2435"/>
                    </a:lnTo>
                    <a:lnTo>
                      <a:pt x="3551" y="2440"/>
                    </a:lnTo>
                    <a:lnTo>
                      <a:pt x="3550" y="2443"/>
                    </a:lnTo>
                    <a:lnTo>
                      <a:pt x="3549" y="2447"/>
                    </a:lnTo>
                    <a:lnTo>
                      <a:pt x="3545" y="2448"/>
                    </a:lnTo>
                    <a:lnTo>
                      <a:pt x="3543" y="2449"/>
                    </a:lnTo>
                    <a:lnTo>
                      <a:pt x="3541" y="2450"/>
                    </a:lnTo>
                    <a:lnTo>
                      <a:pt x="3538" y="2453"/>
                    </a:lnTo>
                    <a:lnTo>
                      <a:pt x="3535" y="2458"/>
                    </a:lnTo>
                    <a:lnTo>
                      <a:pt x="3532" y="2465"/>
                    </a:lnTo>
                    <a:lnTo>
                      <a:pt x="3532" y="2471"/>
                    </a:lnTo>
                    <a:lnTo>
                      <a:pt x="3535" y="2476"/>
                    </a:lnTo>
                    <a:lnTo>
                      <a:pt x="3536" y="2477"/>
                    </a:lnTo>
                    <a:lnTo>
                      <a:pt x="3537" y="2477"/>
                    </a:lnTo>
                    <a:lnTo>
                      <a:pt x="3539" y="2477"/>
                    </a:lnTo>
                    <a:lnTo>
                      <a:pt x="3542" y="2476"/>
                    </a:lnTo>
                    <a:lnTo>
                      <a:pt x="3544" y="2475"/>
                    </a:lnTo>
                    <a:lnTo>
                      <a:pt x="3549" y="2474"/>
                    </a:lnTo>
                    <a:lnTo>
                      <a:pt x="3555" y="2475"/>
                    </a:lnTo>
                    <a:lnTo>
                      <a:pt x="3562" y="2475"/>
                    </a:lnTo>
                    <a:lnTo>
                      <a:pt x="3577" y="2478"/>
                    </a:lnTo>
                    <a:lnTo>
                      <a:pt x="3595" y="2483"/>
                    </a:lnTo>
                    <a:lnTo>
                      <a:pt x="3611" y="2488"/>
                    </a:lnTo>
                    <a:lnTo>
                      <a:pt x="3626" y="2494"/>
                    </a:lnTo>
                    <a:lnTo>
                      <a:pt x="3638" y="2498"/>
                    </a:lnTo>
                    <a:lnTo>
                      <a:pt x="3646" y="2503"/>
                    </a:lnTo>
                    <a:lnTo>
                      <a:pt x="3652" y="2509"/>
                    </a:lnTo>
                    <a:lnTo>
                      <a:pt x="3658" y="2513"/>
                    </a:lnTo>
                    <a:lnTo>
                      <a:pt x="3661" y="2516"/>
                    </a:lnTo>
                    <a:lnTo>
                      <a:pt x="3662" y="2519"/>
                    </a:lnTo>
                    <a:lnTo>
                      <a:pt x="3662" y="2522"/>
                    </a:lnTo>
                    <a:lnTo>
                      <a:pt x="3659" y="2527"/>
                    </a:lnTo>
                    <a:lnTo>
                      <a:pt x="3656" y="2531"/>
                    </a:lnTo>
                    <a:lnTo>
                      <a:pt x="3651" y="2540"/>
                    </a:lnTo>
                    <a:lnTo>
                      <a:pt x="3645" y="2547"/>
                    </a:lnTo>
                    <a:lnTo>
                      <a:pt x="3642" y="2554"/>
                    </a:lnTo>
                    <a:lnTo>
                      <a:pt x="3639" y="2561"/>
                    </a:lnTo>
                    <a:lnTo>
                      <a:pt x="3638" y="2568"/>
                    </a:lnTo>
                    <a:lnTo>
                      <a:pt x="3635" y="2583"/>
                    </a:lnTo>
                    <a:lnTo>
                      <a:pt x="3632" y="2600"/>
                    </a:lnTo>
                    <a:lnTo>
                      <a:pt x="3633" y="2620"/>
                    </a:lnTo>
                    <a:lnTo>
                      <a:pt x="3637" y="2641"/>
                    </a:lnTo>
                    <a:lnTo>
                      <a:pt x="3642" y="2662"/>
                    </a:lnTo>
                    <a:lnTo>
                      <a:pt x="3645" y="2681"/>
                    </a:lnTo>
                    <a:lnTo>
                      <a:pt x="3646" y="2692"/>
                    </a:lnTo>
                    <a:lnTo>
                      <a:pt x="3645" y="2702"/>
                    </a:lnTo>
                    <a:lnTo>
                      <a:pt x="3644" y="2712"/>
                    </a:lnTo>
                    <a:lnTo>
                      <a:pt x="3642" y="2721"/>
                    </a:lnTo>
                    <a:lnTo>
                      <a:pt x="3639" y="2730"/>
                    </a:lnTo>
                    <a:lnTo>
                      <a:pt x="3637" y="2739"/>
                    </a:lnTo>
                    <a:lnTo>
                      <a:pt x="3636" y="2748"/>
                    </a:lnTo>
                    <a:lnTo>
                      <a:pt x="3635" y="2759"/>
                    </a:lnTo>
                    <a:lnTo>
                      <a:pt x="3642" y="2761"/>
                    </a:lnTo>
                    <a:lnTo>
                      <a:pt x="3646" y="2764"/>
                    </a:lnTo>
                    <a:lnTo>
                      <a:pt x="3652" y="2767"/>
                    </a:lnTo>
                    <a:lnTo>
                      <a:pt x="3656" y="2771"/>
                    </a:lnTo>
                    <a:lnTo>
                      <a:pt x="3659" y="2775"/>
                    </a:lnTo>
                    <a:lnTo>
                      <a:pt x="3662" y="2779"/>
                    </a:lnTo>
                    <a:lnTo>
                      <a:pt x="3663" y="2785"/>
                    </a:lnTo>
                    <a:lnTo>
                      <a:pt x="3664" y="2790"/>
                    </a:lnTo>
                    <a:lnTo>
                      <a:pt x="3665" y="2800"/>
                    </a:lnTo>
                    <a:lnTo>
                      <a:pt x="3664" y="2812"/>
                    </a:lnTo>
                    <a:lnTo>
                      <a:pt x="3662" y="2824"/>
                    </a:lnTo>
                    <a:lnTo>
                      <a:pt x="3657" y="2837"/>
                    </a:lnTo>
                    <a:lnTo>
                      <a:pt x="3648" y="2863"/>
                    </a:lnTo>
                    <a:lnTo>
                      <a:pt x="3636" y="2889"/>
                    </a:lnTo>
                    <a:lnTo>
                      <a:pt x="3631" y="2900"/>
                    </a:lnTo>
                    <a:lnTo>
                      <a:pt x="3626" y="2912"/>
                    </a:lnTo>
                    <a:lnTo>
                      <a:pt x="3624" y="2923"/>
                    </a:lnTo>
                    <a:lnTo>
                      <a:pt x="3622" y="2932"/>
                    </a:lnTo>
                    <a:lnTo>
                      <a:pt x="3621" y="2950"/>
                    </a:lnTo>
                    <a:lnTo>
                      <a:pt x="3618" y="2971"/>
                    </a:lnTo>
                    <a:lnTo>
                      <a:pt x="3615" y="2992"/>
                    </a:lnTo>
                    <a:lnTo>
                      <a:pt x="3609" y="3015"/>
                    </a:lnTo>
                    <a:lnTo>
                      <a:pt x="3603" y="3037"/>
                    </a:lnTo>
                    <a:lnTo>
                      <a:pt x="3596" y="3057"/>
                    </a:lnTo>
                    <a:lnTo>
                      <a:pt x="3588" y="3076"/>
                    </a:lnTo>
                    <a:lnTo>
                      <a:pt x="3579" y="3091"/>
                    </a:lnTo>
                    <a:lnTo>
                      <a:pt x="3574" y="3098"/>
                    </a:lnTo>
                    <a:lnTo>
                      <a:pt x="3565" y="3106"/>
                    </a:lnTo>
                    <a:lnTo>
                      <a:pt x="3555" y="3114"/>
                    </a:lnTo>
                    <a:lnTo>
                      <a:pt x="3544" y="3120"/>
                    </a:lnTo>
                    <a:lnTo>
                      <a:pt x="3532" y="3126"/>
                    </a:lnTo>
                    <a:lnTo>
                      <a:pt x="3521" y="3129"/>
                    </a:lnTo>
                    <a:lnTo>
                      <a:pt x="3516" y="3129"/>
                    </a:lnTo>
                    <a:lnTo>
                      <a:pt x="3510" y="3129"/>
                    </a:lnTo>
                    <a:lnTo>
                      <a:pt x="3507" y="3128"/>
                    </a:lnTo>
                    <a:lnTo>
                      <a:pt x="3502" y="3126"/>
                    </a:lnTo>
                    <a:lnTo>
                      <a:pt x="3498" y="3121"/>
                    </a:lnTo>
                    <a:lnTo>
                      <a:pt x="3496" y="3117"/>
                    </a:lnTo>
                    <a:lnTo>
                      <a:pt x="3495" y="3113"/>
                    </a:lnTo>
                    <a:lnTo>
                      <a:pt x="3496" y="3108"/>
                    </a:lnTo>
                    <a:lnTo>
                      <a:pt x="3497" y="3103"/>
                    </a:lnTo>
                    <a:lnTo>
                      <a:pt x="3501" y="3098"/>
                    </a:lnTo>
                    <a:lnTo>
                      <a:pt x="3504" y="3094"/>
                    </a:lnTo>
                    <a:lnTo>
                      <a:pt x="3508" y="3089"/>
                    </a:lnTo>
                    <a:lnTo>
                      <a:pt x="3527" y="3072"/>
                    </a:lnTo>
                    <a:lnTo>
                      <a:pt x="3542" y="3060"/>
                    </a:lnTo>
                    <a:lnTo>
                      <a:pt x="3549" y="3051"/>
                    </a:lnTo>
                    <a:lnTo>
                      <a:pt x="3555" y="3044"/>
                    </a:lnTo>
                    <a:lnTo>
                      <a:pt x="3558" y="3036"/>
                    </a:lnTo>
                    <a:lnTo>
                      <a:pt x="3562" y="3027"/>
                    </a:lnTo>
                    <a:lnTo>
                      <a:pt x="3564" y="3018"/>
                    </a:lnTo>
                    <a:lnTo>
                      <a:pt x="3566" y="3009"/>
                    </a:lnTo>
                    <a:lnTo>
                      <a:pt x="3566" y="2998"/>
                    </a:lnTo>
                    <a:lnTo>
                      <a:pt x="3568" y="2988"/>
                    </a:lnTo>
                    <a:lnTo>
                      <a:pt x="3568" y="2981"/>
                    </a:lnTo>
                    <a:lnTo>
                      <a:pt x="3570" y="2972"/>
                    </a:lnTo>
                    <a:lnTo>
                      <a:pt x="3575" y="2965"/>
                    </a:lnTo>
                    <a:lnTo>
                      <a:pt x="3578" y="2957"/>
                    </a:lnTo>
                    <a:lnTo>
                      <a:pt x="3588" y="2942"/>
                    </a:lnTo>
                    <a:lnTo>
                      <a:pt x="3596" y="2929"/>
                    </a:lnTo>
                    <a:lnTo>
                      <a:pt x="3603" y="2910"/>
                    </a:lnTo>
                    <a:lnTo>
                      <a:pt x="3608" y="2891"/>
                    </a:lnTo>
                    <a:lnTo>
                      <a:pt x="3613" y="2872"/>
                    </a:lnTo>
                    <a:lnTo>
                      <a:pt x="3622" y="2852"/>
                    </a:lnTo>
                    <a:lnTo>
                      <a:pt x="3629" y="2836"/>
                    </a:lnTo>
                    <a:lnTo>
                      <a:pt x="3635" y="2821"/>
                    </a:lnTo>
                    <a:lnTo>
                      <a:pt x="3636" y="2814"/>
                    </a:lnTo>
                    <a:lnTo>
                      <a:pt x="3637" y="2806"/>
                    </a:lnTo>
                    <a:lnTo>
                      <a:pt x="3637" y="2798"/>
                    </a:lnTo>
                    <a:lnTo>
                      <a:pt x="3635" y="2790"/>
                    </a:lnTo>
                    <a:lnTo>
                      <a:pt x="3632" y="2790"/>
                    </a:lnTo>
                    <a:lnTo>
                      <a:pt x="3629" y="2791"/>
                    </a:lnTo>
                    <a:lnTo>
                      <a:pt x="3625" y="2793"/>
                    </a:lnTo>
                    <a:lnTo>
                      <a:pt x="3622" y="2797"/>
                    </a:lnTo>
                    <a:lnTo>
                      <a:pt x="3615" y="2807"/>
                    </a:lnTo>
                    <a:lnTo>
                      <a:pt x="3605" y="2819"/>
                    </a:lnTo>
                    <a:lnTo>
                      <a:pt x="3597" y="2832"/>
                    </a:lnTo>
                    <a:lnTo>
                      <a:pt x="3588" y="2843"/>
                    </a:lnTo>
                    <a:lnTo>
                      <a:pt x="3582" y="2849"/>
                    </a:lnTo>
                    <a:lnTo>
                      <a:pt x="3577" y="2852"/>
                    </a:lnTo>
                    <a:lnTo>
                      <a:pt x="3572" y="2856"/>
                    </a:lnTo>
                    <a:lnTo>
                      <a:pt x="3566" y="2857"/>
                    </a:lnTo>
                    <a:lnTo>
                      <a:pt x="3557" y="2858"/>
                    </a:lnTo>
                    <a:lnTo>
                      <a:pt x="3545" y="2857"/>
                    </a:lnTo>
                    <a:lnTo>
                      <a:pt x="3530" y="2854"/>
                    </a:lnTo>
                    <a:lnTo>
                      <a:pt x="3516" y="2851"/>
                    </a:lnTo>
                    <a:lnTo>
                      <a:pt x="3502" y="2846"/>
                    </a:lnTo>
                    <a:lnTo>
                      <a:pt x="3490" y="2840"/>
                    </a:lnTo>
                    <a:lnTo>
                      <a:pt x="3485" y="2837"/>
                    </a:lnTo>
                    <a:lnTo>
                      <a:pt x="3482" y="2832"/>
                    </a:lnTo>
                    <a:lnTo>
                      <a:pt x="3480" y="2829"/>
                    </a:lnTo>
                    <a:lnTo>
                      <a:pt x="3478" y="2824"/>
                    </a:lnTo>
                    <a:lnTo>
                      <a:pt x="3502" y="2826"/>
                    </a:lnTo>
                    <a:lnTo>
                      <a:pt x="3515" y="2826"/>
                    </a:lnTo>
                    <a:lnTo>
                      <a:pt x="3517" y="2826"/>
                    </a:lnTo>
                    <a:lnTo>
                      <a:pt x="3519" y="2825"/>
                    </a:lnTo>
                    <a:lnTo>
                      <a:pt x="3521" y="2823"/>
                    </a:lnTo>
                    <a:lnTo>
                      <a:pt x="3522" y="2819"/>
                    </a:lnTo>
                    <a:lnTo>
                      <a:pt x="3523" y="2810"/>
                    </a:lnTo>
                    <a:lnTo>
                      <a:pt x="3523" y="2797"/>
                    </a:lnTo>
                    <a:lnTo>
                      <a:pt x="3532" y="2793"/>
                    </a:lnTo>
                    <a:lnTo>
                      <a:pt x="3539" y="2791"/>
                    </a:lnTo>
                    <a:lnTo>
                      <a:pt x="3545" y="2788"/>
                    </a:lnTo>
                    <a:lnTo>
                      <a:pt x="3549" y="2786"/>
                    </a:lnTo>
                    <a:lnTo>
                      <a:pt x="3550" y="2784"/>
                    </a:lnTo>
                    <a:lnTo>
                      <a:pt x="3551" y="2781"/>
                    </a:lnTo>
                    <a:lnTo>
                      <a:pt x="3550" y="2779"/>
                    </a:lnTo>
                    <a:lnTo>
                      <a:pt x="3547" y="2777"/>
                    </a:lnTo>
                    <a:lnTo>
                      <a:pt x="3539" y="2774"/>
                    </a:lnTo>
                    <a:lnTo>
                      <a:pt x="3528" y="2773"/>
                    </a:lnTo>
                    <a:lnTo>
                      <a:pt x="3514" y="2773"/>
                    </a:lnTo>
                    <a:lnTo>
                      <a:pt x="3500" y="2775"/>
                    </a:lnTo>
                    <a:lnTo>
                      <a:pt x="3497" y="2786"/>
                    </a:lnTo>
                    <a:lnTo>
                      <a:pt x="3494" y="2796"/>
                    </a:lnTo>
                    <a:lnTo>
                      <a:pt x="3491" y="2803"/>
                    </a:lnTo>
                    <a:lnTo>
                      <a:pt x="3488" y="2810"/>
                    </a:lnTo>
                    <a:lnTo>
                      <a:pt x="3484" y="2814"/>
                    </a:lnTo>
                    <a:lnTo>
                      <a:pt x="3481" y="2818"/>
                    </a:lnTo>
                    <a:lnTo>
                      <a:pt x="3477" y="2821"/>
                    </a:lnTo>
                    <a:lnTo>
                      <a:pt x="3474" y="2824"/>
                    </a:lnTo>
                    <a:lnTo>
                      <a:pt x="3469" y="2825"/>
                    </a:lnTo>
                    <a:lnTo>
                      <a:pt x="3465" y="2825"/>
                    </a:lnTo>
                    <a:lnTo>
                      <a:pt x="3461" y="2824"/>
                    </a:lnTo>
                    <a:lnTo>
                      <a:pt x="3457" y="2823"/>
                    </a:lnTo>
                    <a:lnTo>
                      <a:pt x="3448" y="2818"/>
                    </a:lnTo>
                    <a:lnTo>
                      <a:pt x="3440" y="2811"/>
                    </a:lnTo>
                    <a:lnTo>
                      <a:pt x="3421" y="2793"/>
                    </a:lnTo>
                    <a:lnTo>
                      <a:pt x="3402" y="2772"/>
                    </a:lnTo>
                    <a:lnTo>
                      <a:pt x="3391" y="2763"/>
                    </a:lnTo>
                    <a:lnTo>
                      <a:pt x="3382" y="2753"/>
                    </a:lnTo>
                    <a:lnTo>
                      <a:pt x="3373" y="2745"/>
                    </a:lnTo>
                    <a:lnTo>
                      <a:pt x="3363" y="2739"/>
                    </a:lnTo>
                    <a:lnTo>
                      <a:pt x="3351" y="2735"/>
                    </a:lnTo>
                    <a:lnTo>
                      <a:pt x="3338" y="2733"/>
                    </a:lnTo>
                    <a:lnTo>
                      <a:pt x="3324" y="2732"/>
                    </a:lnTo>
                    <a:lnTo>
                      <a:pt x="3308" y="2732"/>
                    </a:lnTo>
                    <a:lnTo>
                      <a:pt x="3291" y="2733"/>
                    </a:lnTo>
                    <a:lnTo>
                      <a:pt x="3274" y="2735"/>
                    </a:lnTo>
                    <a:lnTo>
                      <a:pt x="3255" y="2739"/>
                    </a:lnTo>
                    <a:lnTo>
                      <a:pt x="3237" y="2742"/>
                    </a:lnTo>
                    <a:lnTo>
                      <a:pt x="3200" y="2752"/>
                    </a:lnTo>
                    <a:lnTo>
                      <a:pt x="3165" y="2761"/>
                    </a:lnTo>
                    <a:lnTo>
                      <a:pt x="3133" y="2771"/>
                    </a:lnTo>
                    <a:lnTo>
                      <a:pt x="3108" y="2778"/>
                    </a:lnTo>
                    <a:lnTo>
                      <a:pt x="3087" y="2777"/>
                    </a:lnTo>
                    <a:lnTo>
                      <a:pt x="3066" y="2777"/>
                    </a:lnTo>
                    <a:lnTo>
                      <a:pt x="3044" y="2779"/>
                    </a:lnTo>
                    <a:lnTo>
                      <a:pt x="3021" y="2783"/>
                    </a:lnTo>
                    <a:lnTo>
                      <a:pt x="2978" y="2791"/>
                    </a:lnTo>
                    <a:lnTo>
                      <a:pt x="2937" y="2799"/>
                    </a:lnTo>
                    <a:lnTo>
                      <a:pt x="2913" y="2804"/>
                    </a:lnTo>
                    <a:lnTo>
                      <a:pt x="2887" y="2811"/>
                    </a:lnTo>
                    <a:lnTo>
                      <a:pt x="2863" y="2818"/>
                    </a:lnTo>
                    <a:lnTo>
                      <a:pt x="2839" y="2827"/>
                    </a:lnTo>
                    <a:lnTo>
                      <a:pt x="2828" y="2831"/>
                    </a:lnTo>
                    <a:lnTo>
                      <a:pt x="2816" y="2836"/>
                    </a:lnTo>
                    <a:lnTo>
                      <a:pt x="2801" y="2838"/>
                    </a:lnTo>
                    <a:lnTo>
                      <a:pt x="2787" y="2841"/>
                    </a:lnTo>
                    <a:lnTo>
                      <a:pt x="2773" y="2845"/>
                    </a:lnTo>
                    <a:lnTo>
                      <a:pt x="2760" y="2850"/>
                    </a:lnTo>
                    <a:lnTo>
                      <a:pt x="2750" y="2854"/>
                    </a:lnTo>
                    <a:lnTo>
                      <a:pt x="2740" y="2860"/>
                    </a:lnTo>
                    <a:lnTo>
                      <a:pt x="2724" y="2864"/>
                    </a:lnTo>
                    <a:lnTo>
                      <a:pt x="2709" y="2869"/>
                    </a:lnTo>
                    <a:lnTo>
                      <a:pt x="2700" y="2871"/>
                    </a:lnTo>
                    <a:lnTo>
                      <a:pt x="2692" y="2873"/>
                    </a:lnTo>
                    <a:lnTo>
                      <a:pt x="2683" y="2874"/>
                    </a:lnTo>
                    <a:lnTo>
                      <a:pt x="2673" y="2876"/>
                    </a:lnTo>
                    <a:lnTo>
                      <a:pt x="2649" y="2874"/>
                    </a:lnTo>
                    <a:lnTo>
                      <a:pt x="2623" y="2872"/>
                    </a:lnTo>
                    <a:lnTo>
                      <a:pt x="2610" y="2871"/>
                    </a:lnTo>
                    <a:lnTo>
                      <a:pt x="2597" y="2870"/>
                    </a:lnTo>
                    <a:lnTo>
                      <a:pt x="2584" y="2870"/>
                    </a:lnTo>
                    <a:lnTo>
                      <a:pt x="2572" y="2871"/>
                    </a:lnTo>
                    <a:lnTo>
                      <a:pt x="2459" y="2882"/>
                    </a:lnTo>
                    <a:lnTo>
                      <a:pt x="2457" y="2885"/>
                    </a:lnTo>
                    <a:lnTo>
                      <a:pt x="2454" y="2887"/>
                    </a:lnTo>
                    <a:lnTo>
                      <a:pt x="2450" y="2890"/>
                    </a:lnTo>
                    <a:lnTo>
                      <a:pt x="2445" y="2892"/>
                    </a:lnTo>
                    <a:lnTo>
                      <a:pt x="2437" y="2893"/>
                    </a:lnTo>
                    <a:lnTo>
                      <a:pt x="2428" y="2895"/>
                    </a:lnTo>
                    <a:lnTo>
                      <a:pt x="2428" y="2893"/>
                    </a:lnTo>
                    <a:lnTo>
                      <a:pt x="2426" y="2892"/>
                    </a:lnTo>
                    <a:lnTo>
                      <a:pt x="2428" y="2883"/>
                    </a:lnTo>
                    <a:lnTo>
                      <a:pt x="2428" y="2874"/>
                    </a:lnTo>
                    <a:lnTo>
                      <a:pt x="2434" y="2874"/>
                    </a:lnTo>
                    <a:lnTo>
                      <a:pt x="2437" y="2873"/>
                    </a:lnTo>
                    <a:lnTo>
                      <a:pt x="2441" y="2871"/>
                    </a:lnTo>
                    <a:lnTo>
                      <a:pt x="2444" y="2869"/>
                    </a:lnTo>
                    <a:lnTo>
                      <a:pt x="2451" y="2865"/>
                    </a:lnTo>
                    <a:lnTo>
                      <a:pt x="2457" y="2862"/>
                    </a:lnTo>
                    <a:lnTo>
                      <a:pt x="2457" y="2859"/>
                    </a:lnTo>
                    <a:lnTo>
                      <a:pt x="2455" y="2858"/>
                    </a:lnTo>
                    <a:lnTo>
                      <a:pt x="2452" y="2854"/>
                    </a:lnTo>
                    <a:lnTo>
                      <a:pt x="2451" y="2850"/>
                    </a:lnTo>
                    <a:lnTo>
                      <a:pt x="2451" y="2844"/>
                    </a:lnTo>
                    <a:lnTo>
                      <a:pt x="2451" y="2834"/>
                    </a:lnTo>
                    <a:lnTo>
                      <a:pt x="2449" y="2829"/>
                    </a:lnTo>
                    <a:lnTo>
                      <a:pt x="2446" y="2827"/>
                    </a:lnTo>
                    <a:lnTo>
                      <a:pt x="2442" y="2831"/>
                    </a:lnTo>
                    <a:lnTo>
                      <a:pt x="2437" y="2836"/>
                    </a:lnTo>
                    <a:lnTo>
                      <a:pt x="2431" y="2841"/>
                    </a:lnTo>
                    <a:lnTo>
                      <a:pt x="2422" y="2854"/>
                    </a:lnTo>
                    <a:lnTo>
                      <a:pt x="2417" y="2864"/>
                    </a:lnTo>
                    <a:lnTo>
                      <a:pt x="2416" y="2876"/>
                    </a:lnTo>
                    <a:lnTo>
                      <a:pt x="2415" y="2892"/>
                    </a:lnTo>
                    <a:lnTo>
                      <a:pt x="2415" y="2900"/>
                    </a:lnTo>
                    <a:lnTo>
                      <a:pt x="2414" y="2909"/>
                    </a:lnTo>
                    <a:lnTo>
                      <a:pt x="2411" y="2913"/>
                    </a:lnTo>
                    <a:lnTo>
                      <a:pt x="2409" y="2917"/>
                    </a:lnTo>
                    <a:lnTo>
                      <a:pt x="2397" y="2922"/>
                    </a:lnTo>
                    <a:lnTo>
                      <a:pt x="2383" y="2925"/>
                    </a:lnTo>
                    <a:lnTo>
                      <a:pt x="2368" y="2929"/>
                    </a:lnTo>
                    <a:lnTo>
                      <a:pt x="2356" y="2932"/>
                    </a:lnTo>
                    <a:lnTo>
                      <a:pt x="2344" y="2937"/>
                    </a:lnTo>
                    <a:lnTo>
                      <a:pt x="2335" y="2943"/>
                    </a:lnTo>
                    <a:lnTo>
                      <a:pt x="2325" y="2951"/>
                    </a:lnTo>
                    <a:lnTo>
                      <a:pt x="2317" y="2959"/>
                    </a:lnTo>
                    <a:lnTo>
                      <a:pt x="2308" y="2966"/>
                    </a:lnTo>
                    <a:lnTo>
                      <a:pt x="2297" y="2973"/>
                    </a:lnTo>
                    <a:lnTo>
                      <a:pt x="2293" y="2977"/>
                    </a:lnTo>
                    <a:lnTo>
                      <a:pt x="2287" y="2979"/>
                    </a:lnTo>
                    <a:lnTo>
                      <a:pt x="2281" y="2982"/>
                    </a:lnTo>
                    <a:lnTo>
                      <a:pt x="2274" y="2984"/>
                    </a:lnTo>
                    <a:lnTo>
                      <a:pt x="2250" y="2989"/>
                    </a:lnTo>
                    <a:lnTo>
                      <a:pt x="2229" y="2996"/>
                    </a:lnTo>
                    <a:lnTo>
                      <a:pt x="2210" y="3004"/>
                    </a:lnTo>
                    <a:lnTo>
                      <a:pt x="2193" y="3014"/>
                    </a:lnTo>
                    <a:lnTo>
                      <a:pt x="2175" y="3025"/>
                    </a:lnTo>
                    <a:lnTo>
                      <a:pt x="2160" y="3039"/>
                    </a:lnTo>
                    <a:lnTo>
                      <a:pt x="2144" y="3055"/>
                    </a:lnTo>
                    <a:lnTo>
                      <a:pt x="2129" y="3072"/>
                    </a:lnTo>
                    <a:lnTo>
                      <a:pt x="2124" y="3078"/>
                    </a:lnTo>
                    <a:lnTo>
                      <a:pt x="2121" y="3087"/>
                    </a:lnTo>
                    <a:lnTo>
                      <a:pt x="2119" y="3094"/>
                    </a:lnTo>
                    <a:lnTo>
                      <a:pt x="2116" y="3101"/>
                    </a:lnTo>
                    <a:lnTo>
                      <a:pt x="2113" y="3116"/>
                    </a:lnTo>
                    <a:lnTo>
                      <a:pt x="2109" y="3129"/>
                    </a:lnTo>
                    <a:lnTo>
                      <a:pt x="2106" y="3135"/>
                    </a:lnTo>
                    <a:lnTo>
                      <a:pt x="2103" y="3141"/>
                    </a:lnTo>
                    <a:lnTo>
                      <a:pt x="2099" y="3144"/>
                    </a:lnTo>
                    <a:lnTo>
                      <a:pt x="2094" y="3148"/>
                    </a:lnTo>
                    <a:lnTo>
                      <a:pt x="2087" y="3150"/>
                    </a:lnTo>
                    <a:lnTo>
                      <a:pt x="2079" y="3150"/>
                    </a:lnTo>
                    <a:lnTo>
                      <a:pt x="2068" y="3149"/>
                    </a:lnTo>
                    <a:lnTo>
                      <a:pt x="2056" y="3147"/>
                    </a:lnTo>
                    <a:lnTo>
                      <a:pt x="2056" y="3111"/>
                    </a:lnTo>
                    <a:lnTo>
                      <a:pt x="2056" y="3081"/>
                    </a:lnTo>
                    <a:lnTo>
                      <a:pt x="2059" y="3067"/>
                    </a:lnTo>
                    <a:lnTo>
                      <a:pt x="2061" y="3051"/>
                    </a:lnTo>
                    <a:lnTo>
                      <a:pt x="2065" y="3035"/>
                    </a:lnTo>
                    <a:lnTo>
                      <a:pt x="2069" y="3017"/>
                    </a:lnTo>
                    <a:lnTo>
                      <a:pt x="2076" y="3018"/>
                    </a:lnTo>
                    <a:lnTo>
                      <a:pt x="2082" y="3022"/>
                    </a:lnTo>
                    <a:lnTo>
                      <a:pt x="2086" y="3022"/>
                    </a:lnTo>
                    <a:lnTo>
                      <a:pt x="2089" y="3023"/>
                    </a:lnTo>
                    <a:lnTo>
                      <a:pt x="2093" y="3023"/>
                    </a:lnTo>
                    <a:lnTo>
                      <a:pt x="2097" y="3022"/>
                    </a:lnTo>
                    <a:lnTo>
                      <a:pt x="2103" y="3019"/>
                    </a:lnTo>
                    <a:lnTo>
                      <a:pt x="2109" y="3016"/>
                    </a:lnTo>
                    <a:lnTo>
                      <a:pt x="2113" y="3012"/>
                    </a:lnTo>
                    <a:lnTo>
                      <a:pt x="2117" y="3008"/>
                    </a:lnTo>
                    <a:lnTo>
                      <a:pt x="2121" y="3004"/>
                    </a:lnTo>
                    <a:lnTo>
                      <a:pt x="2127" y="3002"/>
                    </a:lnTo>
                    <a:lnTo>
                      <a:pt x="2133" y="2999"/>
                    </a:lnTo>
                    <a:lnTo>
                      <a:pt x="2140" y="2998"/>
                    </a:lnTo>
                    <a:lnTo>
                      <a:pt x="2151" y="2997"/>
                    </a:lnTo>
                    <a:lnTo>
                      <a:pt x="2162" y="2996"/>
                    </a:lnTo>
                    <a:lnTo>
                      <a:pt x="2174" y="2995"/>
                    </a:lnTo>
                    <a:lnTo>
                      <a:pt x="2186" y="2994"/>
                    </a:lnTo>
                    <a:lnTo>
                      <a:pt x="2187" y="2988"/>
                    </a:lnTo>
                    <a:lnTo>
                      <a:pt x="2187" y="2981"/>
                    </a:lnTo>
                    <a:lnTo>
                      <a:pt x="2187" y="2973"/>
                    </a:lnTo>
                    <a:lnTo>
                      <a:pt x="2187" y="2968"/>
                    </a:lnTo>
                    <a:lnTo>
                      <a:pt x="2184" y="2953"/>
                    </a:lnTo>
                    <a:lnTo>
                      <a:pt x="2183" y="2940"/>
                    </a:lnTo>
                    <a:lnTo>
                      <a:pt x="2174" y="2942"/>
                    </a:lnTo>
                    <a:lnTo>
                      <a:pt x="2168" y="2944"/>
                    </a:lnTo>
                    <a:lnTo>
                      <a:pt x="2164" y="2944"/>
                    </a:lnTo>
                    <a:lnTo>
                      <a:pt x="2162" y="2942"/>
                    </a:lnTo>
                    <a:lnTo>
                      <a:pt x="2159" y="2938"/>
                    </a:lnTo>
                    <a:lnTo>
                      <a:pt x="2153" y="2931"/>
                    </a:lnTo>
                    <a:lnTo>
                      <a:pt x="2149" y="2926"/>
                    </a:lnTo>
                    <a:lnTo>
                      <a:pt x="2147" y="2924"/>
                    </a:lnTo>
                    <a:lnTo>
                      <a:pt x="2143" y="2922"/>
                    </a:lnTo>
                    <a:lnTo>
                      <a:pt x="2140" y="2919"/>
                    </a:lnTo>
                    <a:lnTo>
                      <a:pt x="2134" y="2918"/>
                    </a:lnTo>
                    <a:lnTo>
                      <a:pt x="2127" y="2918"/>
                    </a:lnTo>
                    <a:lnTo>
                      <a:pt x="2113" y="2920"/>
                    </a:lnTo>
                    <a:lnTo>
                      <a:pt x="2099" y="2919"/>
                    </a:lnTo>
                    <a:lnTo>
                      <a:pt x="2086" y="2916"/>
                    </a:lnTo>
                    <a:lnTo>
                      <a:pt x="2070" y="2910"/>
                    </a:lnTo>
                    <a:lnTo>
                      <a:pt x="2055" y="2904"/>
                    </a:lnTo>
                    <a:lnTo>
                      <a:pt x="2045" y="2902"/>
                    </a:lnTo>
                    <a:lnTo>
                      <a:pt x="2043" y="2910"/>
                    </a:lnTo>
                    <a:lnTo>
                      <a:pt x="2041" y="2915"/>
                    </a:lnTo>
                    <a:lnTo>
                      <a:pt x="2036" y="2919"/>
                    </a:lnTo>
                    <a:lnTo>
                      <a:pt x="2033" y="2922"/>
                    </a:lnTo>
                    <a:lnTo>
                      <a:pt x="2028" y="2925"/>
                    </a:lnTo>
                    <a:lnTo>
                      <a:pt x="2025" y="2930"/>
                    </a:lnTo>
                    <a:lnTo>
                      <a:pt x="2023" y="2936"/>
                    </a:lnTo>
                    <a:lnTo>
                      <a:pt x="2023" y="2945"/>
                    </a:lnTo>
                    <a:lnTo>
                      <a:pt x="2025" y="2952"/>
                    </a:lnTo>
                    <a:lnTo>
                      <a:pt x="2028" y="2959"/>
                    </a:lnTo>
                    <a:lnTo>
                      <a:pt x="2032" y="2965"/>
                    </a:lnTo>
                    <a:lnTo>
                      <a:pt x="2035" y="2971"/>
                    </a:lnTo>
                    <a:lnTo>
                      <a:pt x="2039" y="2977"/>
                    </a:lnTo>
                    <a:lnTo>
                      <a:pt x="2042" y="2983"/>
                    </a:lnTo>
                    <a:lnTo>
                      <a:pt x="2045" y="2990"/>
                    </a:lnTo>
                    <a:lnTo>
                      <a:pt x="2045" y="2998"/>
                    </a:lnTo>
                    <a:lnTo>
                      <a:pt x="2040" y="2998"/>
                    </a:lnTo>
                    <a:lnTo>
                      <a:pt x="2034" y="2996"/>
                    </a:lnTo>
                    <a:lnTo>
                      <a:pt x="2026" y="2992"/>
                    </a:lnTo>
                    <a:lnTo>
                      <a:pt x="2019" y="2988"/>
                    </a:lnTo>
                    <a:lnTo>
                      <a:pt x="2009" y="2984"/>
                    </a:lnTo>
                    <a:lnTo>
                      <a:pt x="2001" y="2979"/>
                    </a:lnTo>
                    <a:lnTo>
                      <a:pt x="1993" y="2977"/>
                    </a:lnTo>
                    <a:lnTo>
                      <a:pt x="1983" y="2976"/>
                    </a:lnTo>
                    <a:lnTo>
                      <a:pt x="1968" y="2976"/>
                    </a:lnTo>
                    <a:lnTo>
                      <a:pt x="1953" y="2978"/>
                    </a:lnTo>
                    <a:lnTo>
                      <a:pt x="1946" y="2979"/>
                    </a:lnTo>
                    <a:lnTo>
                      <a:pt x="1939" y="2983"/>
                    </a:lnTo>
                    <a:lnTo>
                      <a:pt x="1933" y="2986"/>
                    </a:lnTo>
                    <a:lnTo>
                      <a:pt x="1926" y="2992"/>
                    </a:lnTo>
                    <a:lnTo>
                      <a:pt x="1906" y="3003"/>
                    </a:lnTo>
                    <a:lnTo>
                      <a:pt x="1880" y="3017"/>
                    </a:lnTo>
                    <a:lnTo>
                      <a:pt x="1867" y="3024"/>
                    </a:lnTo>
                    <a:lnTo>
                      <a:pt x="1854" y="3030"/>
                    </a:lnTo>
                    <a:lnTo>
                      <a:pt x="1844" y="3035"/>
                    </a:lnTo>
                    <a:lnTo>
                      <a:pt x="1833" y="3036"/>
                    </a:lnTo>
                    <a:lnTo>
                      <a:pt x="1828" y="3034"/>
                    </a:lnTo>
                    <a:lnTo>
                      <a:pt x="1819" y="3029"/>
                    </a:lnTo>
                    <a:lnTo>
                      <a:pt x="1808" y="3022"/>
                    </a:lnTo>
                    <a:lnTo>
                      <a:pt x="1797" y="3012"/>
                    </a:lnTo>
                    <a:lnTo>
                      <a:pt x="1775" y="2995"/>
                    </a:lnTo>
                    <a:lnTo>
                      <a:pt x="1760" y="2983"/>
                    </a:lnTo>
                    <a:lnTo>
                      <a:pt x="1752" y="2978"/>
                    </a:lnTo>
                    <a:lnTo>
                      <a:pt x="1745" y="2975"/>
                    </a:lnTo>
                    <a:lnTo>
                      <a:pt x="1738" y="2971"/>
                    </a:lnTo>
                    <a:lnTo>
                      <a:pt x="1731" y="2969"/>
                    </a:lnTo>
                    <a:lnTo>
                      <a:pt x="1717" y="2965"/>
                    </a:lnTo>
                    <a:lnTo>
                      <a:pt x="1703" y="2964"/>
                    </a:lnTo>
                    <a:lnTo>
                      <a:pt x="1688" y="2965"/>
                    </a:lnTo>
                    <a:lnTo>
                      <a:pt x="1676" y="2969"/>
                    </a:lnTo>
                    <a:lnTo>
                      <a:pt x="1663" y="2973"/>
                    </a:lnTo>
                    <a:lnTo>
                      <a:pt x="1650" y="2979"/>
                    </a:lnTo>
                    <a:lnTo>
                      <a:pt x="1624" y="2992"/>
                    </a:lnTo>
                    <a:lnTo>
                      <a:pt x="1599" y="3008"/>
                    </a:lnTo>
                    <a:lnTo>
                      <a:pt x="1587" y="3015"/>
                    </a:lnTo>
                    <a:lnTo>
                      <a:pt x="1576" y="3022"/>
                    </a:lnTo>
                    <a:lnTo>
                      <a:pt x="1564" y="3028"/>
                    </a:lnTo>
                    <a:lnTo>
                      <a:pt x="1552" y="3032"/>
                    </a:lnTo>
                    <a:lnTo>
                      <a:pt x="1552" y="3034"/>
                    </a:lnTo>
                    <a:lnTo>
                      <a:pt x="1556" y="3036"/>
                    </a:lnTo>
                    <a:lnTo>
                      <a:pt x="1562" y="3039"/>
                    </a:lnTo>
                    <a:lnTo>
                      <a:pt x="1566" y="3044"/>
                    </a:lnTo>
                    <a:lnTo>
                      <a:pt x="1572" y="3051"/>
                    </a:lnTo>
                    <a:lnTo>
                      <a:pt x="1576" y="3058"/>
                    </a:lnTo>
                    <a:lnTo>
                      <a:pt x="1579" y="3065"/>
                    </a:lnTo>
                    <a:lnTo>
                      <a:pt x="1580" y="3068"/>
                    </a:lnTo>
                    <a:lnTo>
                      <a:pt x="1580" y="3071"/>
                    </a:lnTo>
                    <a:lnTo>
                      <a:pt x="1580" y="3074"/>
                    </a:lnTo>
                    <a:lnTo>
                      <a:pt x="1579" y="3077"/>
                    </a:lnTo>
                    <a:lnTo>
                      <a:pt x="1572" y="3087"/>
                    </a:lnTo>
                    <a:lnTo>
                      <a:pt x="1565" y="3096"/>
                    </a:lnTo>
                    <a:lnTo>
                      <a:pt x="1557" y="3104"/>
                    </a:lnTo>
                    <a:lnTo>
                      <a:pt x="1547" y="3113"/>
                    </a:lnTo>
                    <a:lnTo>
                      <a:pt x="1537" y="3121"/>
                    </a:lnTo>
                    <a:lnTo>
                      <a:pt x="1526" y="3128"/>
                    </a:lnTo>
                    <a:lnTo>
                      <a:pt x="1515" y="3135"/>
                    </a:lnTo>
                    <a:lnTo>
                      <a:pt x="1503" y="3141"/>
                    </a:lnTo>
                    <a:lnTo>
                      <a:pt x="1490" y="3146"/>
                    </a:lnTo>
                    <a:lnTo>
                      <a:pt x="1478" y="3150"/>
                    </a:lnTo>
                    <a:lnTo>
                      <a:pt x="1465" y="3154"/>
                    </a:lnTo>
                    <a:lnTo>
                      <a:pt x="1453" y="3156"/>
                    </a:lnTo>
                    <a:lnTo>
                      <a:pt x="1440" y="3157"/>
                    </a:lnTo>
                    <a:lnTo>
                      <a:pt x="1430" y="3157"/>
                    </a:lnTo>
                    <a:lnTo>
                      <a:pt x="1418" y="3157"/>
                    </a:lnTo>
                    <a:lnTo>
                      <a:pt x="1408" y="3155"/>
                    </a:lnTo>
                    <a:lnTo>
                      <a:pt x="1409" y="3148"/>
                    </a:lnTo>
                    <a:lnTo>
                      <a:pt x="1411" y="3141"/>
                    </a:lnTo>
                    <a:lnTo>
                      <a:pt x="1415" y="3134"/>
                    </a:lnTo>
                    <a:lnTo>
                      <a:pt x="1419" y="3127"/>
                    </a:lnTo>
                    <a:lnTo>
                      <a:pt x="1430" y="3111"/>
                    </a:lnTo>
                    <a:lnTo>
                      <a:pt x="1439" y="3097"/>
                    </a:lnTo>
                    <a:lnTo>
                      <a:pt x="1443" y="3091"/>
                    </a:lnTo>
                    <a:lnTo>
                      <a:pt x="1445" y="3087"/>
                    </a:lnTo>
                    <a:lnTo>
                      <a:pt x="1446" y="3082"/>
                    </a:lnTo>
                    <a:lnTo>
                      <a:pt x="1446" y="3078"/>
                    </a:lnTo>
                    <a:lnTo>
                      <a:pt x="1443" y="3076"/>
                    </a:lnTo>
                    <a:lnTo>
                      <a:pt x="1438" y="3074"/>
                    </a:lnTo>
                    <a:lnTo>
                      <a:pt x="1430" y="3075"/>
                    </a:lnTo>
                    <a:lnTo>
                      <a:pt x="1418" y="3076"/>
                    </a:lnTo>
                    <a:lnTo>
                      <a:pt x="1408" y="3077"/>
                    </a:lnTo>
                    <a:lnTo>
                      <a:pt x="1399" y="3076"/>
                    </a:lnTo>
                    <a:lnTo>
                      <a:pt x="1393" y="3075"/>
                    </a:lnTo>
                    <a:lnTo>
                      <a:pt x="1389" y="3074"/>
                    </a:lnTo>
                    <a:lnTo>
                      <a:pt x="1388" y="3074"/>
                    </a:lnTo>
                    <a:lnTo>
                      <a:pt x="1386" y="3075"/>
                    </a:lnTo>
                    <a:lnTo>
                      <a:pt x="1386" y="3076"/>
                    </a:lnTo>
                    <a:lnTo>
                      <a:pt x="1386" y="3078"/>
                    </a:lnTo>
                    <a:lnTo>
                      <a:pt x="1388" y="3085"/>
                    </a:lnTo>
                    <a:lnTo>
                      <a:pt x="1391" y="3100"/>
                    </a:lnTo>
                    <a:lnTo>
                      <a:pt x="1393" y="3114"/>
                    </a:lnTo>
                    <a:lnTo>
                      <a:pt x="1395" y="3128"/>
                    </a:lnTo>
                    <a:lnTo>
                      <a:pt x="1396" y="3143"/>
                    </a:lnTo>
                    <a:lnTo>
                      <a:pt x="1398" y="3157"/>
                    </a:lnTo>
                    <a:lnTo>
                      <a:pt x="1398" y="3159"/>
                    </a:lnTo>
                    <a:lnTo>
                      <a:pt x="1377" y="3159"/>
                    </a:lnTo>
                    <a:lnTo>
                      <a:pt x="1358" y="3161"/>
                    </a:lnTo>
                    <a:lnTo>
                      <a:pt x="1342" y="3164"/>
                    </a:lnTo>
                    <a:lnTo>
                      <a:pt x="1321" y="3168"/>
                    </a:lnTo>
                    <a:lnTo>
                      <a:pt x="1309" y="3169"/>
                    </a:lnTo>
                    <a:lnTo>
                      <a:pt x="1299" y="3169"/>
                    </a:lnTo>
                    <a:lnTo>
                      <a:pt x="1291" y="3168"/>
                    </a:lnTo>
                    <a:lnTo>
                      <a:pt x="1284" y="3167"/>
                    </a:lnTo>
                    <a:lnTo>
                      <a:pt x="1271" y="3162"/>
                    </a:lnTo>
                    <a:lnTo>
                      <a:pt x="1252" y="3156"/>
                    </a:lnTo>
                    <a:lnTo>
                      <a:pt x="1268" y="3151"/>
                    </a:lnTo>
                    <a:lnTo>
                      <a:pt x="1287" y="3146"/>
                    </a:lnTo>
                    <a:lnTo>
                      <a:pt x="1296" y="3139"/>
                    </a:lnTo>
                    <a:lnTo>
                      <a:pt x="1301" y="3133"/>
                    </a:lnTo>
                    <a:lnTo>
                      <a:pt x="1302" y="3128"/>
                    </a:lnTo>
                    <a:lnTo>
                      <a:pt x="1302" y="3123"/>
                    </a:lnTo>
                    <a:lnTo>
                      <a:pt x="1299" y="3118"/>
                    </a:lnTo>
                    <a:lnTo>
                      <a:pt x="1296" y="3113"/>
                    </a:lnTo>
                    <a:lnTo>
                      <a:pt x="1295" y="3106"/>
                    </a:lnTo>
                    <a:lnTo>
                      <a:pt x="1296" y="3096"/>
                    </a:lnTo>
                    <a:lnTo>
                      <a:pt x="1298" y="3090"/>
                    </a:lnTo>
                    <a:lnTo>
                      <a:pt x="1303" y="3082"/>
                    </a:lnTo>
                    <a:lnTo>
                      <a:pt x="1310" y="3071"/>
                    </a:lnTo>
                    <a:lnTo>
                      <a:pt x="1317" y="3061"/>
                    </a:lnTo>
                    <a:lnTo>
                      <a:pt x="1325" y="3050"/>
                    </a:lnTo>
                    <a:lnTo>
                      <a:pt x="1334" y="3041"/>
                    </a:lnTo>
                    <a:lnTo>
                      <a:pt x="1341" y="3034"/>
                    </a:lnTo>
                    <a:lnTo>
                      <a:pt x="1346" y="3030"/>
                    </a:lnTo>
                    <a:lnTo>
                      <a:pt x="1351" y="3028"/>
                    </a:lnTo>
                    <a:lnTo>
                      <a:pt x="1356" y="3027"/>
                    </a:lnTo>
                    <a:lnTo>
                      <a:pt x="1359" y="3027"/>
                    </a:lnTo>
                    <a:lnTo>
                      <a:pt x="1364" y="3028"/>
                    </a:lnTo>
                    <a:lnTo>
                      <a:pt x="1373" y="3031"/>
                    </a:lnTo>
                    <a:lnTo>
                      <a:pt x="1382" y="3035"/>
                    </a:lnTo>
                    <a:lnTo>
                      <a:pt x="1389" y="3035"/>
                    </a:lnTo>
                    <a:lnTo>
                      <a:pt x="1395" y="3034"/>
                    </a:lnTo>
                    <a:lnTo>
                      <a:pt x="1401" y="3029"/>
                    </a:lnTo>
                    <a:lnTo>
                      <a:pt x="1408" y="3024"/>
                    </a:lnTo>
                    <a:lnTo>
                      <a:pt x="1415" y="3019"/>
                    </a:lnTo>
                    <a:lnTo>
                      <a:pt x="1423" y="3016"/>
                    </a:lnTo>
                    <a:lnTo>
                      <a:pt x="1431" y="3012"/>
                    </a:lnTo>
                    <a:lnTo>
                      <a:pt x="1439" y="3011"/>
                    </a:lnTo>
                    <a:lnTo>
                      <a:pt x="1438" y="3008"/>
                    </a:lnTo>
                    <a:lnTo>
                      <a:pt x="1435" y="3004"/>
                    </a:lnTo>
                    <a:lnTo>
                      <a:pt x="1430" y="3001"/>
                    </a:lnTo>
                    <a:lnTo>
                      <a:pt x="1424" y="2997"/>
                    </a:lnTo>
                    <a:lnTo>
                      <a:pt x="1413" y="2991"/>
                    </a:lnTo>
                    <a:lnTo>
                      <a:pt x="1405" y="2985"/>
                    </a:lnTo>
                    <a:lnTo>
                      <a:pt x="1401" y="2977"/>
                    </a:lnTo>
                    <a:lnTo>
                      <a:pt x="1396" y="2969"/>
                    </a:lnTo>
                    <a:lnTo>
                      <a:pt x="1393" y="2964"/>
                    </a:lnTo>
                    <a:lnTo>
                      <a:pt x="1391" y="2962"/>
                    </a:lnTo>
                    <a:lnTo>
                      <a:pt x="1388" y="2959"/>
                    </a:lnTo>
                    <a:lnTo>
                      <a:pt x="1383" y="2958"/>
                    </a:lnTo>
                    <a:lnTo>
                      <a:pt x="1379" y="2971"/>
                    </a:lnTo>
                    <a:lnTo>
                      <a:pt x="1377" y="2982"/>
                    </a:lnTo>
                    <a:lnTo>
                      <a:pt x="1375" y="2989"/>
                    </a:lnTo>
                    <a:lnTo>
                      <a:pt x="1371" y="2995"/>
                    </a:lnTo>
                    <a:lnTo>
                      <a:pt x="1366" y="2999"/>
                    </a:lnTo>
                    <a:lnTo>
                      <a:pt x="1361" y="3005"/>
                    </a:lnTo>
                    <a:lnTo>
                      <a:pt x="1352" y="3010"/>
                    </a:lnTo>
                    <a:lnTo>
                      <a:pt x="1341" y="3017"/>
                    </a:lnTo>
                    <a:lnTo>
                      <a:pt x="1321" y="3032"/>
                    </a:lnTo>
                    <a:lnTo>
                      <a:pt x="1289" y="3056"/>
                    </a:lnTo>
                    <a:lnTo>
                      <a:pt x="1275" y="3069"/>
                    </a:lnTo>
                    <a:lnTo>
                      <a:pt x="1262" y="3081"/>
                    </a:lnTo>
                    <a:lnTo>
                      <a:pt x="1256" y="3085"/>
                    </a:lnTo>
                    <a:lnTo>
                      <a:pt x="1252" y="3090"/>
                    </a:lnTo>
                    <a:lnTo>
                      <a:pt x="1250" y="3094"/>
                    </a:lnTo>
                    <a:lnTo>
                      <a:pt x="1249" y="3096"/>
                    </a:lnTo>
                    <a:lnTo>
                      <a:pt x="1252" y="3108"/>
                    </a:lnTo>
                    <a:lnTo>
                      <a:pt x="1258" y="3121"/>
                    </a:lnTo>
                    <a:lnTo>
                      <a:pt x="1259" y="3127"/>
                    </a:lnTo>
                    <a:lnTo>
                      <a:pt x="1258" y="3133"/>
                    </a:lnTo>
                    <a:lnTo>
                      <a:pt x="1257" y="3135"/>
                    </a:lnTo>
                    <a:lnTo>
                      <a:pt x="1255" y="3137"/>
                    </a:lnTo>
                    <a:lnTo>
                      <a:pt x="1252" y="3140"/>
                    </a:lnTo>
                    <a:lnTo>
                      <a:pt x="1249" y="3141"/>
                    </a:lnTo>
                    <a:lnTo>
                      <a:pt x="1242" y="3144"/>
                    </a:lnTo>
                    <a:lnTo>
                      <a:pt x="1238" y="3148"/>
                    </a:lnTo>
                    <a:lnTo>
                      <a:pt x="1235" y="3153"/>
                    </a:lnTo>
                    <a:lnTo>
                      <a:pt x="1234" y="3159"/>
                    </a:lnTo>
                    <a:lnTo>
                      <a:pt x="1232" y="3167"/>
                    </a:lnTo>
                    <a:lnTo>
                      <a:pt x="1232" y="3172"/>
                    </a:lnTo>
                    <a:lnTo>
                      <a:pt x="1229" y="3179"/>
                    </a:lnTo>
                    <a:lnTo>
                      <a:pt x="1227" y="3188"/>
                    </a:lnTo>
                    <a:lnTo>
                      <a:pt x="1218" y="3202"/>
                    </a:lnTo>
                    <a:lnTo>
                      <a:pt x="1211" y="3216"/>
                    </a:lnTo>
                    <a:lnTo>
                      <a:pt x="1204" y="3232"/>
                    </a:lnTo>
                    <a:lnTo>
                      <a:pt x="1198" y="3246"/>
                    </a:lnTo>
                    <a:lnTo>
                      <a:pt x="1196" y="3256"/>
                    </a:lnTo>
                    <a:lnTo>
                      <a:pt x="1192" y="3267"/>
                    </a:lnTo>
                    <a:lnTo>
                      <a:pt x="1184" y="3275"/>
                    </a:lnTo>
                    <a:lnTo>
                      <a:pt x="1177" y="3282"/>
                    </a:lnTo>
                    <a:lnTo>
                      <a:pt x="1175" y="3282"/>
                    </a:lnTo>
                    <a:lnTo>
                      <a:pt x="1174" y="3285"/>
                    </a:lnTo>
                    <a:lnTo>
                      <a:pt x="1170" y="3286"/>
                    </a:lnTo>
                    <a:lnTo>
                      <a:pt x="1167" y="3286"/>
                    </a:lnTo>
                    <a:lnTo>
                      <a:pt x="1161" y="3286"/>
                    </a:lnTo>
                    <a:lnTo>
                      <a:pt x="1156" y="3285"/>
                    </a:lnTo>
                    <a:lnTo>
                      <a:pt x="1153" y="3283"/>
                    </a:lnTo>
                    <a:lnTo>
                      <a:pt x="1149" y="3281"/>
                    </a:lnTo>
                    <a:lnTo>
                      <a:pt x="1147" y="3279"/>
                    </a:lnTo>
                    <a:lnTo>
                      <a:pt x="1145" y="3267"/>
                    </a:lnTo>
                    <a:lnTo>
                      <a:pt x="1145" y="3253"/>
                    </a:lnTo>
                    <a:lnTo>
                      <a:pt x="1145" y="3239"/>
                    </a:lnTo>
                    <a:lnTo>
                      <a:pt x="1144" y="3226"/>
                    </a:lnTo>
                    <a:lnTo>
                      <a:pt x="1131" y="3226"/>
                    </a:lnTo>
                    <a:lnTo>
                      <a:pt x="1121" y="3226"/>
                    </a:lnTo>
                    <a:lnTo>
                      <a:pt x="1116" y="3225"/>
                    </a:lnTo>
                    <a:lnTo>
                      <a:pt x="1114" y="3221"/>
                    </a:lnTo>
                    <a:lnTo>
                      <a:pt x="1111" y="3215"/>
                    </a:lnTo>
                    <a:lnTo>
                      <a:pt x="1111" y="3207"/>
                    </a:lnTo>
                    <a:lnTo>
                      <a:pt x="1115" y="3196"/>
                    </a:lnTo>
                    <a:lnTo>
                      <a:pt x="1120" y="3184"/>
                    </a:lnTo>
                    <a:lnTo>
                      <a:pt x="1127" y="3173"/>
                    </a:lnTo>
                    <a:lnTo>
                      <a:pt x="1133" y="3163"/>
                    </a:lnTo>
                    <a:lnTo>
                      <a:pt x="1140" y="3150"/>
                    </a:lnTo>
                    <a:lnTo>
                      <a:pt x="1144" y="3140"/>
                    </a:lnTo>
                    <a:lnTo>
                      <a:pt x="1145" y="3129"/>
                    </a:lnTo>
                    <a:lnTo>
                      <a:pt x="1147" y="3114"/>
                    </a:lnTo>
                    <a:lnTo>
                      <a:pt x="1147" y="3109"/>
                    </a:lnTo>
                    <a:lnTo>
                      <a:pt x="1147" y="3107"/>
                    </a:lnTo>
                    <a:lnTo>
                      <a:pt x="1145" y="3104"/>
                    </a:lnTo>
                    <a:lnTo>
                      <a:pt x="1144" y="3104"/>
                    </a:lnTo>
                    <a:lnTo>
                      <a:pt x="1141" y="3106"/>
                    </a:lnTo>
                    <a:lnTo>
                      <a:pt x="1137" y="3110"/>
                    </a:lnTo>
                    <a:lnTo>
                      <a:pt x="1128" y="3122"/>
                    </a:lnTo>
                    <a:lnTo>
                      <a:pt x="1123" y="3133"/>
                    </a:lnTo>
                    <a:lnTo>
                      <a:pt x="1118" y="3146"/>
                    </a:lnTo>
                    <a:lnTo>
                      <a:pt x="1114" y="3159"/>
                    </a:lnTo>
                    <a:lnTo>
                      <a:pt x="1109" y="3172"/>
                    </a:lnTo>
                    <a:lnTo>
                      <a:pt x="1102" y="3184"/>
                    </a:lnTo>
                    <a:lnTo>
                      <a:pt x="1097" y="3200"/>
                    </a:lnTo>
                    <a:lnTo>
                      <a:pt x="1095" y="3214"/>
                    </a:lnTo>
                    <a:lnTo>
                      <a:pt x="1090" y="3232"/>
                    </a:lnTo>
                    <a:lnTo>
                      <a:pt x="1082" y="3249"/>
                    </a:lnTo>
                    <a:lnTo>
                      <a:pt x="1078" y="3258"/>
                    </a:lnTo>
                    <a:lnTo>
                      <a:pt x="1075" y="3267"/>
                    </a:lnTo>
                    <a:lnTo>
                      <a:pt x="1073" y="3275"/>
                    </a:lnTo>
                    <a:lnTo>
                      <a:pt x="1071" y="3283"/>
                    </a:lnTo>
                    <a:lnTo>
                      <a:pt x="1073" y="3287"/>
                    </a:lnTo>
                    <a:lnTo>
                      <a:pt x="1075" y="3288"/>
                    </a:lnTo>
                    <a:lnTo>
                      <a:pt x="1080" y="3289"/>
                    </a:lnTo>
                    <a:lnTo>
                      <a:pt x="1086" y="3289"/>
                    </a:lnTo>
                    <a:lnTo>
                      <a:pt x="1096" y="3289"/>
                    </a:lnTo>
                    <a:lnTo>
                      <a:pt x="1106" y="3288"/>
                    </a:lnTo>
                    <a:lnTo>
                      <a:pt x="1109" y="3289"/>
                    </a:lnTo>
                    <a:lnTo>
                      <a:pt x="1110" y="3291"/>
                    </a:lnTo>
                    <a:lnTo>
                      <a:pt x="1113" y="3293"/>
                    </a:lnTo>
                    <a:lnTo>
                      <a:pt x="1114" y="3295"/>
                    </a:lnTo>
                    <a:lnTo>
                      <a:pt x="1114" y="3302"/>
                    </a:lnTo>
                    <a:lnTo>
                      <a:pt x="1114" y="3311"/>
                    </a:lnTo>
                    <a:lnTo>
                      <a:pt x="1114" y="3318"/>
                    </a:lnTo>
                    <a:lnTo>
                      <a:pt x="1115" y="3325"/>
                    </a:lnTo>
                    <a:lnTo>
                      <a:pt x="1116" y="3328"/>
                    </a:lnTo>
                    <a:lnTo>
                      <a:pt x="1117" y="3331"/>
                    </a:lnTo>
                    <a:lnTo>
                      <a:pt x="1120" y="3332"/>
                    </a:lnTo>
                    <a:lnTo>
                      <a:pt x="1123" y="3333"/>
                    </a:lnTo>
                    <a:lnTo>
                      <a:pt x="1125" y="3333"/>
                    </a:lnTo>
                    <a:lnTo>
                      <a:pt x="1128" y="3332"/>
                    </a:lnTo>
                    <a:lnTo>
                      <a:pt x="1130" y="3331"/>
                    </a:lnTo>
                    <a:lnTo>
                      <a:pt x="1133" y="3328"/>
                    </a:lnTo>
                    <a:lnTo>
                      <a:pt x="1137" y="3322"/>
                    </a:lnTo>
                    <a:lnTo>
                      <a:pt x="1141" y="3315"/>
                    </a:lnTo>
                    <a:lnTo>
                      <a:pt x="1145" y="3308"/>
                    </a:lnTo>
                    <a:lnTo>
                      <a:pt x="1150" y="3302"/>
                    </a:lnTo>
                    <a:lnTo>
                      <a:pt x="1153" y="3299"/>
                    </a:lnTo>
                    <a:lnTo>
                      <a:pt x="1155" y="3298"/>
                    </a:lnTo>
                    <a:lnTo>
                      <a:pt x="1158" y="3296"/>
                    </a:lnTo>
                    <a:lnTo>
                      <a:pt x="1161" y="3295"/>
                    </a:lnTo>
                    <a:lnTo>
                      <a:pt x="1156" y="3309"/>
                    </a:lnTo>
                    <a:lnTo>
                      <a:pt x="1150" y="3322"/>
                    </a:lnTo>
                    <a:lnTo>
                      <a:pt x="1144" y="3337"/>
                    </a:lnTo>
                    <a:lnTo>
                      <a:pt x="1137" y="3351"/>
                    </a:lnTo>
                    <a:lnTo>
                      <a:pt x="1130" y="3360"/>
                    </a:lnTo>
                    <a:lnTo>
                      <a:pt x="1123" y="3370"/>
                    </a:lnTo>
                    <a:lnTo>
                      <a:pt x="1115" y="3380"/>
                    </a:lnTo>
                    <a:lnTo>
                      <a:pt x="1109" y="3390"/>
                    </a:lnTo>
                    <a:lnTo>
                      <a:pt x="1104" y="3397"/>
                    </a:lnTo>
                    <a:lnTo>
                      <a:pt x="1100" y="3404"/>
                    </a:lnTo>
                    <a:lnTo>
                      <a:pt x="1096" y="3410"/>
                    </a:lnTo>
                    <a:lnTo>
                      <a:pt x="1093" y="3414"/>
                    </a:lnTo>
                    <a:lnTo>
                      <a:pt x="1093" y="3415"/>
                    </a:lnTo>
                    <a:lnTo>
                      <a:pt x="1091" y="3417"/>
                    </a:lnTo>
                    <a:lnTo>
                      <a:pt x="1075" y="3438"/>
                    </a:lnTo>
                    <a:lnTo>
                      <a:pt x="1060" y="3459"/>
                    </a:lnTo>
                    <a:lnTo>
                      <a:pt x="1053" y="3470"/>
                    </a:lnTo>
                    <a:lnTo>
                      <a:pt x="1044" y="3479"/>
                    </a:lnTo>
                    <a:lnTo>
                      <a:pt x="1035" y="3489"/>
                    </a:lnTo>
                    <a:lnTo>
                      <a:pt x="1023" y="3497"/>
                    </a:lnTo>
                    <a:lnTo>
                      <a:pt x="1009" y="3504"/>
                    </a:lnTo>
                    <a:lnTo>
                      <a:pt x="996" y="3510"/>
                    </a:lnTo>
                    <a:lnTo>
                      <a:pt x="982" y="3513"/>
                    </a:lnTo>
                    <a:lnTo>
                      <a:pt x="968" y="3516"/>
                    </a:lnTo>
                    <a:lnTo>
                      <a:pt x="940" y="3518"/>
                    </a:lnTo>
                    <a:lnTo>
                      <a:pt x="909" y="3523"/>
                    </a:lnTo>
                    <a:lnTo>
                      <a:pt x="888" y="3525"/>
                    </a:lnTo>
                    <a:lnTo>
                      <a:pt x="858" y="3530"/>
                    </a:lnTo>
                    <a:lnTo>
                      <a:pt x="842" y="3532"/>
                    </a:lnTo>
                    <a:lnTo>
                      <a:pt x="829" y="3536"/>
                    </a:lnTo>
                    <a:lnTo>
                      <a:pt x="823" y="3538"/>
                    </a:lnTo>
                    <a:lnTo>
                      <a:pt x="819" y="3540"/>
                    </a:lnTo>
                    <a:lnTo>
                      <a:pt x="814" y="3543"/>
                    </a:lnTo>
                    <a:lnTo>
                      <a:pt x="812" y="3545"/>
                    </a:lnTo>
                    <a:lnTo>
                      <a:pt x="808" y="3545"/>
                    </a:lnTo>
                    <a:lnTo>
                      <a:pt x="807" y="3547"/>
                    </a:lnTo>
                    <a:lnTo>
                      <a:pt x="805" y="3549"/>
                    </a:lnTo>
                    <a:lnTo>
                      <a:pt x="801" y="3549"/>
                    </a:lnTo>
                    <a:lnTo>
                      <a:pt x="798" y="3546"/>
                    </a:lnTo>
                    <a:lnTo>
                      <a:pt x="795" y="3544"/>
                    </a:lnTo>
                    <a:lnTo>
                      <a:pt x="793" y="3542"/>
                    </a:lnTo>
                    <a:lnTo>
                      <a:pt x="791" y="3538"/>
                    </a:lnTo>
                    <a:lnTo>
                      <a:pt x="791" y="3533"/>
                    </a:lnTo>
                    <a:lnTo>
                      <a:pt x="807" y="3527"/>
                    </a:lnTo>
                    <a:lnTo>
                      <a:pt x="827" y="3524"/>
                    </a:lnTo>
                    <a:lnTo>
                      <a:pt x="836" y="3522"/>
                    </a:lnTo>
                    <a:lnTo>
                      <a:pt x="846" y="3518"/>
                    </a:lnTo>
                    <a:lnTo>
                      <a:pt x="854" y="3514"/>
                    </a:lnTo>
                    <a:lnTo>
                      <a:pt x="862" y="3511"/>
                    </a:lnTo>
                    <a:lnTo>
                      <a:pt x="860" y="3503"/>
                    </a:lnTo>
                    <a:lnTo>
                      <a:pt x="854" y="3493"/>
                    </a:lnTo>
                    <a:lnTo>
                      <a:pt x="849" y="3483"/>
                    </a:lnTo>
                    <a:lnTo>
                      <a:pt x="846" y="3473"/>
                    </a:lnTo>
                    <a:lnTo>
                      <a:pt x="846" y="3454"/>
                    </a:lnTo>
                    <a:lnTo>
                      <a:pt x="847" y="3432"/>
                    </a:lnTo>
                    <a:lnTo>
                      <a:pt x="846" y="3421"/>
                    </a:lnTo>
                    <a:lnTo>
                      <a:pt x="845" y="3412"/>
                    </a:lnTo>
                    <a:lnTo>
                      <a:pt x="842" y="3407"/>
                    </a:lnTo>
                    <a:lnTo>
                      <a:pt x="840" y="3404"/>
                    </a:lnTo>
                    <a:lnTo>
                      <a:pt x="838" y="3400"/>
                    </a:lnTo>
                    <a:lnTo>
                      <a:pt x="833" y="3398"/>
                    </a:lnTo>
                    <a:lnTo>
                      <a:pt x="831" y="3394"/>
                    </a:lnTo>
                    <a:lnTo>
                      <a:pt x="828" y="3388"/>
                    </a:lnTo>
                    <a:lnTo>
                      <a:pt x="826" y="3381"/>
                    </a:lnTo>
                    <a:lnTo>
                      <a:pt x="822" y="3372"/>
                    </a:lnTo>
                    <a:lnTo>
                      <a:pt x="820" y="3362"/>
                    </a:lnTo>
                    <a:lnTo>
                      <a:pt x="818" y="3354"/>
                    </a:lnTo>
                    <a:lnTo>
                      <a:pt x="814" y="3346"/>
                    </a:lnTo>
                    <a:lnTo>
                      <a:pt x="809" y="3340"/>
                    </a:lnTo>
                    <a:lnTo>
                      <a:pt x="806" y="3337"/>
                    </a:lnTo>
                    <a:lnTo>
                      <a:pt x="802" y="3335"/>
                    </a:lnTo>
                    <a:lnTo>
                      <a:pt x="800" y="3337"/>
                    </a:lnTo>
                    <a:lnTo>
                      <a:pt x="798" y="3340"/>
                    </a:lnTo>
                    <a:lnTo>
                      <a:pt x="793" y="3351"/>
                    </a:lnTo>
                    <a:lnTo>
                      <a:pt x="791" y="3365"/>
                    </a:lnTo>
                    <a:lnTo>
                      <a:pt x="788" y="3397"/>
                    </a:lnTo>
                    <a:lnTo>
                      <a:pt x="786" y="3418"/>
                    </a:lnTo>
                    <a:lnTo>
                      <a:pt x="782" y="3433"/>
                    </a:lnTo>
                    <a:lnTo>
                      <a:pt x="774" y="3457"/>
                    </a:lnTo>
                    <a:lnTo>
                      <a:pt x="769" y="3469"/>
                    </a:lnTo>
                    <a:lnTo>
                      <a:pt x="765" y="3478"/>
                    </a:lnTo>
                    <a:lnTo>
                      <a:pt x="762" y="3483"/>
                    </a:lnTo>
                    <a:lnTo>
                      <a:pt x="760" y="3486"/>
                    </a:lnTo>
                    <a:lnTo>
                      <a:pt x="758" y="3489"/>
                    </a:lnTo>
                    <a:lnTo>
                      <a:pt x="755" y="3490"/>
                    </a:lnTo>
                    <a:lnTo>
                      <a:pt x="751" y="3496"/>
                    </a:lnTo>
                    <a:lnTo>
                      <a:pt x="746" y="3502"/>
                    </a:lnTo>
                    <a:lnTo>
                      <a:pt x="746" y="3503"/>
                    </a:lnTo>
                    <a:lnTo>
                      <a:pt x="746" y="3504"/>
                    </a:lnTo>
                    <a:lnTo>
                      <a:pt x="745" y="3505"/>
                    </a:lnTo>
                    <a:lnTo>
                      <a:pt x="746" y="3506"/>
                    </a:lnTo>
                    <a:lnTo>
                      <a:pt x="749" y="3509"/>
                    </a:lnTo>
                    <a:lnTo>
                      <a:pt x="754" y="3510"/>
                    </a:lnTo>
                    <a:lnTo>
                      <a:pt x="760" y="3512"/>
                    </a:lnTo>
                    <a:lnTo>
                      <a:pt x="765" y="3513"/>
                    </a:lnTo>
                    <a:lnTo>
                      <a:pt x="768" y="3516"/>
                    </a:lnTo>
                    <a:lnTo>
                      <a:pt x="769" y="3518"/>
                    </a:lnTo>
                    <a:lnTo>
                      <a:pt x="773" y="3520"/>
                    </a:lnTo>
                    <a:lnTo>
                      <a:pt x="775" y="3526"/>
                    </a:lnTo>
                    <a:lnTo>
                      <a:pt x="778" y="3533"/>
                    </a:lnTo>
                    <a:lnTo>
                      <a:pt x="779" y="3540"/>
                    </a:lnTo>
                    <a:lnTo>
                      <a:pt x="779" y="3547"/>
                    </a:lnTo>
                    <a:lnTo>
                      <a:pt x="776" y="3552"/>
                    </a:lnTo>
                    <a:lnTo>
                      <a:pt x="775" y="3553"/>
                    </a:lnTo>
                    <a:lnTo>
                      <a:pt x="773" y="3553"/>
                    </a:lnTo>
                    <a:lnTo>
                      <a:pt x="771" y="3552"/>
                    </a:lnTo>
                    <a:lnTo>
                      <a:pt x="767" y="3550"/>
                    </a:lnTo>
                    <a:lnTo>
                      <a:pt x="755" y="3544"/>
                    </a:lnTo>
                    <a:lnTo>
                      <a:pt x="738" y="3537"/>
                    </a:lnTo>
                    <a:lnTo>
                      <a:pt x="719" y="3532"/>
                    </a:lnTo>
                    <a:lnTo>
                      <a:pt x="707" y="3530"/>
                    </a:lnTo>
                    <a:lnTo>
                      <a:pt x="705" y="3527"/>
                    </a:lnTo>
                    <a:lnTo>
                      <a:pt x="701" y="3527"/>
                    </a:lnTo>
                    <a:lnTo>
                      <a:pt x="698" y="3527"/>
                    </a:lnTo>
                    <a:lnTo>
                      <a:pt x="694" y="3527"/>
                    </a:lnTo>
                    <a:lnTo>
                      <a:pt x="693" y="3530"/>
                    </a:lnTo>
                    <a:lnTo>
                      <a:pt x="691" y="3531"/>
                    </a:lnTo>
                    <a:lnTo>
                      <a:pt x="651" y="3539"/>
                    </a:lnTo>
                    <a:lnTo>
                      <a:pt x="612" y="3547"/>
                    </a:lnTo>
                    <a:lnTo>
                      <a:pt x="572" y="3556"/>
                    </a:lnTo>
                    <a:lnTo>
                      <a:pt x="533" y="3563"/>
                    </a:lnTo>
                    <a:lnTo>
                      <a:pt x="493" y="3570"/>
                    </a:lnTo>
                    <a:lnTo>
                      <a:pt x="453" y="3576"/>
                    </a:lnTo>
                    <a:lnTo>
                      <a:pt x="413" y="3579"/>
                    </a:lnTo>
                    <a:lnTo>
                      <a:pt x="372" y="3583"/>
                    </a:lnTo>
                    <a:lnTo>
                      <a:pt x="352" y="3584"/>
                    </a:lnTo>
                    <a:lnTo>
                      <a:pt x="332" y="3588"/>
                    </a:lnTo>
                    <a:lnTo>
                      <a:pt x="313" y="3593"/>
                    </a:lnTo>
                    <a:lnTo>
                      <a:pt x="295" y="3599"/>
                    </a:lnTo>
                    <a:lnTo>
                      <a:pt x="278" y="3608"/>
                    </a:lnTo>
                    <a:lnTo>
                      <a:pt x="263" y="3617"/>
                    </a:lnTo>
                    <a:lnTo>
                      <a:pt x="248" y="3628"/>
                    </a:lnTo>
                    <a:lnTo>
                      <a:pt x="235" y="3641"/>
                    </a:lnTo>
                    <a:lnTo>
                      <a:pt x="222" y="3654"/>
                    </a:lnTo>
                    <a:lnTo>
                      <a:pt x="210" y="3668"/>
                    </a:lnTo>
                    <a:lnTo>
                      <a:pt x="199" y="3683"/>
                    </a:lnTo>
                    <a:lnTo>
                      <a:pt x="190" y="3700"/>
                    </a:lnTo>
                    <a:lnTo>
                      <a:pt x="182" y="3716"/>
                    </a:lnTo>
                    <a:lnTo>
                      <a:pt x="175" y="3734"/>
                    </a:lnTo>
                    <a:lnTo>
                      <a:pt x="168" y="3753"/>
                    </a:lnTo>
                    <a:lnTo>
                      <a:pt x="163" y="3773"/>
                    </a:lnTo>
                    <a:lnTo>
                      <a:pt x="149" y="3763"/>
                    </a:lnTo>
                    <a:lnTo>
                      <a:pt x="134" y="3754"/>
                    </a:lnTo>
                    <a:lnTo>
                      <a:pt x="118" y="3750"/>
                    </a:lnTo>
                    <a:lnTo>
                      <a:pt x="104" y="3748"/>
                    </a:lnTo>
                    <a:lnTo>
                      <a:pt x="98" y="3747"/>
                    </a:lnTo>
                    <a:lnTo>
                      <a:pt x="92" y="3743"/>
                    </a:lnTo>
                    <a:lnTo>
                      <a:pt x="88" y="3738"/>
                    </a:lnTo>
                    <a:lnTo>
                      <a:pt x="83" y="3730"/>
                    </a:lnTo>
                    <a:lnTo>
                      <a:pt x="80" y="3718"/>
                    </a:lnTo>
                    <a:lnTo>
                      <a:pt x="75" y="3703"/>
                    </a:lnTo>
                    <a:lnTo>
                      <a:pt x="71" y="3696"/>
                    </a:lnTo>
                    <a:lnTo>
                      <a:pt x="68" y="3690"/>
                    </a:lnTo>
                    <a:lnTo>
                      <a:pt x="65" y="3689"/>
                    </a:lnTo>
                    <a:lnTo>
                      <a:pt x="63" y="3687"/>
                    </a:lnTo>
                    <a:lnTo>
                      <a:pt x="61" y="3685"/>
                    </a:lnTo>
                    <a:lnTo>
                      <a:pt x="57" y="3685"/>
                    </a:lnTo>
                    <a:lnTo>
                      <a:pt x="49" y="3683"/>
                    </a:lnTo>
                    <a:lnTo>
                      <a:pt x="40" y="3681"/>
                    </a:lnTo>
                    <a:lnTo>
                      <a:pt x="35" y="3680"/>
                    </a:lnTo>
                    <a:lnTo>
                      <a:pt x="30" y="3678"/>
                    </a:lnTo>
                    <a:lnTo>
                      <a:pt x="25" y="3678"/>
                    </a:lnTo>
                    <a:lnTo>
                      <a:pt x="23" y="3680"/>
                    </a:lnTo>
                    <a:lnTo>
                      <a:pt x="22" y="3682"/>
                    </a:lnTo>
                    <a:lnTo>
                      <a:pt x="21" y="3684"/>
                    </a:lnTo>
                    <a:lnTo>
                      <a:pt x="21" y="3687"/>
                    </a:lnTo>
                    <a:lnTo>
                      <a:pt x="21" y="3689"/>
                    </a:lnTo>
                    <a:lnTo>
                      <a:pt x="22" y="3694"/>
                    </a:lnTo>
                    <a:lnTo>
                      <a:pt x="23" y="3698"/>
                    </a:lnTo>
                    <a:lnTo>
                      <a:pt x="23" y="3704"/>
                    </a:lnTo>
                    <a:lnTo>
                      <a:pt x="22" y="3710"/>
                    </a:lnTo>
                    <a:lnTo>
                      <a:pt x="21" y="3714"/>
                    </a:lnTo>
                    <a:lnTo>
                      <a:pt x="18" y="3717"/>
                    </a:lnTo>
                    <a:lnTo>
                      <a:pt x="15" y="3720"/>
                    </a:lnTo>
                    <a:lnTo>
                      <a:pt x="11" y="3723"/>
                    </a:lnTo>
                    <a:lnTo>
                      <a:pt x="9" y="3724"/>
                    </a:lnTo>
                    <a:lnTo>
                      <a:pt x="7" y="3723"/>
                    </a:lnTo>
                    <a:lnTo>
                      <a:pt x="5" y="3721"/>
                    </a:lnTo>
                    <a:lnTo>
                      <a:pt x="4" y="3717"/>
                    </a:lnTo>
                    <a:lnTo>
                      <a:pt x="2" y="3708"/>
                    </a:lnTo>
                    <a:lnTo>
                      <a:pt x="1" y="3696"/>
                    </a:lnTo>
                    <a:lnTo>
                      <a:pt x="0" y="3683"/>
                    </a:lnTo>
                    <a:lnTo>
                      <a:pt x="0" y="3671"/>
                    </a:lnTo>
                    <a:lnTo>
                      <a:pt x="1" y="3662"/>
                    </a:lnTo>
                    <a:lnTo>
                      <a:pt x="2" y="3656"/>
                    </a:lnTo>
                    <a:lnTo>
                      <a:pt x="14" y="3657"/>
                    </a:lnTo>
                    <a:lnTo>
                      <a:pt x="29" y="3662"/>
                    </a:lnTo>
                    <a:lnTo>
                      <a:pt x="45" y="3667"/>
                    </a:lnTo>
                    <a:lnTo>
                      <a:pt x="58" y="3671"/>
                    </a:lnTo>
                    <a:lnTo>
                      <a:pt x="64" y="3671"/>
                    </a:lnTo>
                    <a:lnTo>
                      <a:pt x="68" y="3671"/>
                    </a:lnTo>
                    <a:lnTo>
                      <a:pt x="71" y="3669"/>
                    </a:lnTo>
                    <a:lnTo>
                      <a:pt x="74" y="3665"/>
                    </a:lnTo>
                    <a:lnTo>
                      <a:pt x="78" y="3656"/>
                    </a:lnTo>
                    <a:lnTo>
                      <a:pt x="81" y="3644"/>
                    </a:lnTo>
                    <a:lnTo>
                      <a:pt x="83" y="3631"/>
                    </a:lnTo>
                    <a:lnTo>
                      <a:pt x="84" y="3621"/>
                    </a:lnTo>
                    <a:lnTo>
                      <a:pt x="87" y="3616"/>
                    </a:lnTo>
                    <a:lnTo>
                      <a:pt x="88" y="3612"/>
                    </a:lnTo>
                    <a:lnTo>
                      <a:pt x="90" y="3610"/>
                    </a:lnTo>
                    <a:lnTo>
                      <a:pt x="92" y="3608"/>
                    </a:lnTo>
                    <a:lnTo>
                      <a:pt x="95" y="3614"/>
                    </a:lnTo>
                    <a:lnTo>
                      <a:pt x="98" y="3618"/>
                    </a:lnTo>
                    <a:lnTo>
                      <a:pt x="103" y="3621"/>
                    </a:lnTo>
                    <a:lnTo>
                      <a:pt x="108" y="3623"/>
                    </a:lnTo>
                    <a:lnTo>
                      <a:pt x="112" y="3624"/>
                    </a:lnTo>
                    <a:lnTo>
                      <a:pt x="118" y="3624"/>
                    </a:lnTo>
                    <a:lnTo>
                      <a:pt x="124" y="3624"/>
                    </a:lnTo>
                    <a:lnTo>
                      <a:pt x="130" y="3623"/>
                    </a:lnTo>
                    <a:lnTo>
                      <a:pt x="136" y="3621"/>
                    </a:lnTo>
                    <a:lnTo>
                      <a:pt x="141" y="3618"/>
                    </a:lnTo>
                    <a:lnTo>
                      <a:pt x="145" y="3615"/>
                    </a:lnTo>
                    <a:lnTo>
                      <a:pt x="150" y="3612"/>
                    </a:lnTo>
                    <a:lnTo>
                      <a:pt x="154" y="3609"/>
                    </a:lnTo>
                    <a:lnTo>
                      <a:pt x="156" y="3604"/>
                    </a:lnTo>
                    <a:lnTo>
                      <a:pt x="158" y="3601"/>
                    </a:lnTo>
                    <a:lnTo>
                      <a:pt x="158" y="3596"/>
                    </a:lnTo>
                    <a:lnTo>
                      <a:pt x="149" y="3593"/>
                    </a:lnTo>
                    <a:lnTo>
                      <a:pt x="141" y="3591"/>
                    </a:lnTo>
                    <a:lnTo>
                      <a:pt x="136" y="3588"/>
                    </a:lnTo>
                    <a:lnTo>
                      <a:pt x="132" y="3585"/>
                    </a:lnTo>
                    <a:lnTo>
                      <a:pt x="131" y="3583"/>
                    </a:lnTo>
                    <a:lnTo>
                      <a:pt x="132" y="3579"/>
                    </a:lnTo>
                    <a:lnTo>
                      <a:pt x="134" y="3576"/>
                    </a:lnTo>
                    <a:lnTo>
                      <a:pt x="136" y="3573"/>
                    </a:lnTo>
                    <a:lnTo>
                      <a:pt x="143" y="3565"/>
                    </a:lnTo>
                    <a:lnTo>
                      <a:pt x="150" y="3557"/>
                    </a:lnTo>
                    <a:lnTo>
                      <a:pt x="154" y="3551"/>
                    </a:lnTo>
                    <a:lnTo>
                      <a:pt x="156" y="3545"/>
                    </a:lnTo>
                    <a:lnTo>
                      <a:pt x="158" y="3539"/>
                    </a:lnTo>
                    <a:lnTo>
                      <a:pt x="158" y="3532"/>
                    </a:lnTo>
                    <a:lnTo>
                      <a:pt x="158" y="3512"/>
                    </a:lnTo>
                    <a:lnTo>
                      <a:pt x="157" y="3491"/>
                    </a:lnTo>
                    <a:lnTo>
                      <a:pt x="156" y="3470"/>
                    </a:lnTo>
                    <a:lnTo>
                      <a:pt x="158" y="3450"/>
                    </a:lnTo>
                    <a:lnTo>
                      <a:pt x="159" y="3445"/>
                    </a:lnTo>
                    <a:lnTo>
                      <a:pt x="161" y="3441"/>
                    </a:lnTo>
                    <a:lnTo>
                      <a:pt x="163" y="3438"/>
                    </a:lnTo>
                    <a:lnTo>
                      <a:pt x="165" y="3436"/>
                    </a:lnTo>
                    <a:lnTo>
                      <a:pt x="170" y="3431"/>
                    </a:lnTo>
                    <a:lnTo>
                      <a:pt x="176" y="3427"/>
                    </a:lnTo>
                    <a:lnTo>
                      <a:pt x="183" y="3425"/>
                    </a:lnTo>
                    <a:lnTo>
                      <a:pt x="188" y="3421"/>
                    </a:lnTo>
                    <a:lnTo>
                      <a:pt x="192" y="3418"/>
                    </a:lnTo>
                    <a:lnTo>
                      <a:pt x="195" y="3413"/>
                    </a:lnTo>
                    <a:lnTo>
                      <a:pt x="198" y="3405"/>
                    </a:lnTo>
                    <a:lnTo>
                      <a:pt x="202" y="3398"/>
                    </a:lnTo>
                    <a:lnTo>
                      <a:pt x="206" y="3393"/>
                    </a:lnTo>
                    <a:lnTo>
                      <a:pt x="211" y="3388"/>
                    </a:lnTo>
                    <a:lnTo>
                      <a:pt x="216" y="3384"/>
                    </a:lnTo>
                    <a:lnTo>
                      <a:pt x="219" y="3378"/>
                    </a:lnTo>
                    <a:lnTo>
                      <a:pt x="222" y="3370"/>
                    </a:lnTo>
                    <a:lnTo>
                      <a:pt x="222" y="3358"/>
                    </a:lnTo>
                    <a:lnTo>
                      <a:pt x="221" y="3337"/>
                    </a:lnTo>
                    <a:lnTo>
                      <a:pt x="218" y="3311"/>
                    </a:lnTo>
                    <a:lnTo>
                      <a:pt x="216" y="3298"/>
                    </a:lnTo>
                    <a:lnTo>
                      <a:pt x="212" y="3286"/>
                    </a:lnTo>
                    <a:lnTo>
                      <a:pt x="208" y="3275"/>
                    </a:lnTo>
                    <a:lnTo>
                      <a:pt x="202" y="3267"/>
                    </a:lnTo>
                    <a:lnTo>
                      <a:pt x="201" y="3261"/>
                    </a:lnTo>
                    <a:lnTo>
                      <a:pt x="199" y="3255"/>
                    </a:lnTo>
                    <a:lnTo>
                      <a:pt x="197" y="3249"/>
                    </a:lnTo>
                    <a:lnTo>
                      <a:pt x="195" y="3243"/>
                    </a:lnTo>
                    <a:lnTo>
                      <a:pt x="189" y="3232"/>
                    </a:lnTo>
                    <a:lnTo>
                      <a:pt x="183" y="3220"/>
                    </a:lnTo>
                    <a:lnTo>
                      <a:pt x="176" y="3209"/>
                    </a:lnTo>
                    <a:lnTo>
                      <a:pt x="170" y="3197"/>
                    </a:lnTo>
                    <a:lnTo>
                      <a:pt x="169" y="3192"/>
                    </a:lnTo>
                    <a:lnTo>
                      <a:pt x="166" y="3186"/>
                    </a:lnTo>
                    <a:lnTo>
                      <a:pt x="165" y="3181"/>
                    </a:lnTo>
                    <a:lnTo>
                      <a:pt x="165" y="3175"/>
                    </a:lnTo>
                    <a:lnTo>
                      <a:pt x="189" y="3174"/>
                    </a:lnTo>
                    <a:lnTo>
                      <a:pt x="201" y="3174"/>
                    </a:lnTo>
                    <a:lnTo>
                      <a:pt x="202" y="3175"/>
                    </a:lnTo>
                    <a:lnTo>
                      <a:pt x="203" y="3176"/>
                    </a:lnTo>
                    <a:lnTo>
                      <a:pt x="204" y="3179"/>
                    </a:lnTo>
                    <a:lnTo>
                      <a:pt x="204" y="3181"/>
                    </a:lnTo>
                    <a:lnTo>
                      <a:pt x="204" y="3190"/>
                    </a:lnTo>
                    <a:lnTo>
                      <a:pt x="204" y="3202"/>
                    </a:lnTo>
                    <a:lnTo>
                      <a:pt x="204" y="3209"/>
                    </a:lnTo>
                    <a:lnTo>
                      <a:pt x="205" y="3214"/>
                    </a:lnTo>
                    <a:lnTo>
                      <a:pt x="206" y="3216"/>
                    </a:lnTo>
                    <a:lnTo>
                      <a:pt x="209" y="3216"/>
                    </a:lnTo>
                    <a:lnTo>
                      <a:pt x="214" y="3210"/>
                    </a:lnTo>
                    <a:lnTo>
                      <a:pt x="218" y="3200"/>
                    </a:lnTo>
                    <a:lnTo>
                      <a:pt x="223" y="3186"/>
                    </a:lnTo>
                    <a:lnTo>
                      <a:pt x="228" y="3170"/>
                    </a:lnTo>
                    <a:lnTo>
                      <a:pt x="231" y="3157"/>
                    </a:lnTo>
                    <a:lnTo>
                      <a:pt x="232" y="3149"/>
                    </a:lnTo>
                    <a:lnTo>
                      <a:pt x="221" y="3149"/>
                    </a:lnTo>
                    <a:lnTo>
                      <a:pt x="209" y="3151"/>
                    </a:lnTo>
                    <a:lnTo>
                      <a:pt x="198" y="3154"/>
                    </a:lnTo>
                    <a:lnTo>
                      <a:pt x="185" y="3154"/>
                    </a:lnTo>
                    <a:lnTo>
                      <a:pt x="177" y="3154"/>
                    </a:lnTo>
                    <a:lnTo>
                      <a:pt x="172" y="3153"/>
                    </a:lnTo>
                    <a:lnTo>
                      <a:pt x="170" y="3151"/>
                    </a:lnTo>
                    <a:lnTo>
                      <a:pt x="170" y="3149"/>
                    </a:lnTo>
                    <a:lnTo>
                      <a:pt x="175" y="3142"/>
                    </a:lnTo>
                    <a:lnTo>
                      <a:pt x="182" y="3133"/>
                    </a:lnTo>
                    <a:lnTo>
                      <a:pt x="188" y="3124"/>
                    </a:lnTo>
                    <a:lnTo>
                      <a:pt x="192" y="3116"/>
                    </a:lnTo>
                    <a:lnTo>
                      <a:pt x="197" y="3108"/>
                    </a:lnTo>
                    <a:lnTo>
                      <a:pt x="201" y="3100"/>
                    </a:lnTo>
                    <a:lnTo>
                      <a:pt x="208" y="3083"/>
                    </a:lnTo>
                    <a:lnTo>
                      <a:pt x="217" y="3067"/>
                    </a:lnTo>
                    <a:lnTo>
                      <a:pt x="221" y="3060"/>
                    </a:lnTo>
                    <a:lnTo>
                      <a:pt x="223" y="3052"/>
                    </a:lnTo>
                    <a:lnTo>
                      <a:pt x="223" y="3047"/>
                    </a:lnTo>
                    <a:lnTo>
                      <a:pt x="223" y="3039"/>
                    </a:lnTo>
                    <a:lnTo>
                      <a:pt x="219" y="3028"/>
                    </a:lnTo>
                    <a:lnTo>
                      <a:pt x="215" y="3017"/>
                    </a:lnTo>
                    <a:lnTo>
                      <a:pt x="209" y="3006"/>
                    </a:lnTo>
                    <a:lnTo>
                      <a:pt x="205" y="2997"/>
                    </a:lnTo>
                    <a:lnTo>
                      <a:pt x="204" y="2992"/>
                    </a:lnTo>
                    <a:lnTo>
                      <a:pt x="204" y="2989"/>
                    </a:lnTo>
                    <a:lnTo>
                      <a:pt x="206" y="2984"/>
                    </a:lnTo>
                    <a:lnTo>
                      <a:pt x="209" y="2981"/>
                    </a:lnTo>
                    <a:lnTo>
                      <a:pt x="211" y="2977"/>
                    </a:lnTo>
                    <a:lnTo>
                      <a:pt x="214" y="2971"/>
                    </a:lnTo>
                    <a:lnTo>
                      <a:pt x="216" y="2965"/>
                    </a:lnTo>
                    <a:lnTo>
                      <a:pt x="216" y="2958"/>
                    </a:lnTo>
                    <a:lnTo>
                      <a:pt x="216" y="2951"/>
                    </a:lnTo>
                    <a:lnTo>
                      <a:pt x="215" y="2945"/>
                    </a:lnTo>
                    <a:lnTo>
                      <a:pt x="215" y="2943"/>
                    </a:lnTo>
                    <a:lnTo>
                      <a:pt x="212" y="2942"/>
                    </a:lnTo>
                    <a:lnTo>
                      <a:pt x="211" y="2940"/>
                    </a:lnTo>
                    <a:lnTo>
                      <a:pt x="209" y="2940"/>
                    </a:lnTo>
                    <a:lnTo>
                      <a:pt x="204" y="2940"/>
                    </a:lnTo>
                    <a:lnTo>
                      <a:pt x="201" y="2943"/>
                    </a:lnTo>
                    <a:lnTo>
                      <a:pt x="196" y="2946"/>
                    </a:lnTo>
                    <a:lnTo>
                      <a:pt x="191" y="2950"/>
                    </a:lnTo>
                    <a:lnTo>
                      <a:pt x="186" y="2953"/>
                    </a:lnTo>
                    <a:lnTo>
                      <a:pt x="181" y="2956"/>
                    </a:lnTo>
                    <a:lnTo>
                      <a:pt x="176" y="2958"/>
                    </a:lnTo>
                    <a:lnTo>
                      <a:pt x="170" y="2959"/>
                    </a:lnTo>
                    <a:lnTo>
                      <a:pt x="172" y="2951"/>
                    </a:lnTo>
                    <a:lnTo>
                      <a:pt x="177" y="2942"/>
                    </a:lnTo>
                    <a:lnTo>
                      <a:pt x="178" y="2937"/>
                    </a:lnTo>
                    <a:lnTo>
                      <a:pt x="179" y="2931"/>
                    </a:lnTo>
                    <a:lnTo>
                      <a:pt x="181" y="2926"/>
                    </a:lnTo>
                    <a:lnTo>
                      <a:pt x="179" y="2922"/>
                    </a:lnTo>
                    <a:lnTo>
                      <a:pt x="179" y="2917"/>
                    </a:lnTo>
                    <a:lnTo>
                      <a:pt x="179" y="2913"/>
                    </a:lnTo>
                    <a:lnTo>
                      <a:pt x="179" y="2910"/>
                    </a:lnTo>
                    <a:lnTo>
                      <a:pt x="181" y="2907"/>
                    </a:lnTo>
                    <a:lnTo>
                      <a:pt x="184" y="2905"/>
                    </a:lnTo>
                    <a:lnTo>
                      <a:pt x="189" y="2903"/>
                    </a:lnTo>
                    <a:lnTo>
                      <a:pt x="202" y="2900"/>
                    </a:lnTo>
                    <a:lnTo>
                      <a:pt x="216" y="2896"/>
                    </a:lnTo>
                    <a:lnTo>
                      <a:pt x="237" y="2887"/>
                    </a:lnTo>
                    <a:lnTo>
                      <a:pt x="263" y="2878"/>
                    </a:lnTo>
                    <a:lnTo>
                      <a:pt x="277" y="2872"/>
                    </a:lnTo>
                    <a:lnTo>
                      <a:pt x="289" y="2867"/>
                    </a:lnTo>
                    <a:lnTo>
                      <a:pt x="298" y="2862"/>
                    </a:lnTo>
                    <a:lnTo>
                      <a:pt x="304" y="2854"/>
                    </a:lnTo>
                    <a:lnTo>
                      <a:pt x="310" y="2847"/>
                    </a:lnTo>
                    <a:lnTo>
                      <a:pt x="317" y="2840"/>
                    </a:lnTo>
                    <a:lnTo>
                      <a:pt x="324" y="2836"/>
                    </a:lnTo>
                    <a:lnTo>
                      <a:pt x="332" y="2831"/>
                    </a:lnTo>
                    <a:lnTo>
                      <a:pt x="336" y="2827"/>
                    </a:lnTo>
                    <a:lnTo>
                      <a:pt x="338" y="2823"/>
                    </a:lnTo>
                    <a:lnTo>
                      <a:pt x="339" y="2817"/>
                    </a:lnTo>
                    <a:lnTo>
                      <a:pt x="339" y="2811"/>
                    </a:lnTo>
                    <a:lnTo>
                      <a:pt x="337" y="2798"/>
                    </a:lnTo>
                    <a:lnTo>
                      <a:pt x="335" y="2787"/>
                    </a:lnTo>
                    <a:lnTo>
                      <a:pt x="326" y="2793"/>
                    </a:lnTo>
                    <a:lnTo>
                      <a:pt x="318" y="2801"/>
                    </a:lnTo>
                    <a:lnTo>
                      <a:pt x="313" y="2804"/>
                    </a:lnTo>
                    <a:lnTo>
                      <a:pt x="309" y="2805"/>
                    </a:lnTo>
                    <a:lnTo>
                      <a:pt x="305" y="2805"/>
                    </a:lnTo>
                    <a:lnTo>
                      <a:pt x="302" y="2804"/>
                    </a:lnTo>
                    <a:lnTo>
                      <a:pt x="298" y="2803"/>
                    </a:lnTo>
                    <a:lnTo>
                      <a:pt x="293" y="2800"/>
                    </a:lnTo>
                    <a:lnTo>
                      <a:pt x="289" y="2797"/>
                    </a:lnTo>
                    <a:lnTo>
                      <a:pt x="283" y="2794"/>
                    </a:lnTo>
                    <a:lnTo>
                      <a:pt x="278" y="2793"/>
                    </a:lnTo>
                    <a:lnTo>
                      <a:pt x="273" y="2792"/>
                    </a:lnTo>
                    <a:lnTo>
                      <a:pt x="270" y="2792"/>
                    </a:lnTo>
                    <a:lnTo>
                      <a:pt x="266" y="2793"/>
                    </a:lnTo>
                    <a:lnTo>
                      <a:pt x="263" y="2794"/>
                    </a:lnTo>
                    <a:lnTo>
                      <a:pt x="261" y="2796"/>
                    </a:lnTo>
                    <a:lnTo>
                      <a:pt x="255" y="2800"/>
                    </a:lnTo>
                    <a:lnTo>
                      <a:pt x="249" y="2805"/>
                    </a:lnTo>
                    <a:lnTo>
                      <a:pt x="242" y="2810"/>
                    </a:lnTo>
                    <a:lnTo>
                      <a:pt x="235" y="2813"/>
                    </a:lnTo>
                    <a:lnTo>
                      <a:pt x="228" y="2813"/>
                    </a:lnTo>
                    <a:lnTo>
                      <a:pt x="221" y="2812"/>
                    </a:lnTo>
                    <a:lnTo>
                      <a:pt x="214" y="2810"/>
                    </a:lnTo>
                    <a:lnTo>
                      <a:pt x="206" y="2806"/>
                    </a:lnTo>
                    <a:lnTo>
                      <a:pt x="191" y="2798"/>
                    </a:lnTo>
                    <a:lnTo>
                      <a:pt x="178" y="2791"/>
                    </a:lnTo>
                    <a:lnTo>
                      <a:pt x="175" y="2788"/>
                    </a:lnTo>
                    <a:lnTo>
                      <a:pt x="174" y="2785"/>
                    </a:lnTo>
                    <a:lnTo>
                      <a:pt x="174" y="2781"/>
                    </a:lnTo>
                    <a:lnTo>
                      <a:pt x="175" y="2777"/>
                    </a:lnTo>
                    <a:lnTo>
                      <a:pt x="177" y="2772"/>
                    </a:lnTo>
                    <a:lnTo>
                      <a:pt x="182" y="2766"/>
                    </a:lnTo>
                    <a:lnTo>
                      <a:pt x="186" y="2761"/>
                    </a:lnTo>
                    <a:lnTo>
                      <a:pt x="192" y="2757"/>
                    </a:lnTo>
                    <a:lnTo>
                      <a:pt x="198" y="2753"/>
                    </a:lnTo>
                    <a:lnTo>
                      <a:pt x="205" y="2750"/>
                    </a:lnTo>
                    <a:lnTo>
                      <a:pt x="212" y="2747"/>
                    </a:lnTo>
                    <a:lnTo>
                      <a:pt x="218" y="2745"/>
                    </a:lnTo>
                    <a:lnTo>
                      <a:pt x="225" y="2745"/>
                    </a:lnTo>
                    <a:lnTo>
                      <a:pt x="231" y="2746"/>
                    </a:lnTo>
                    <a:lnTo>
                      <a:pt x="237" y="2748"/>
                    </a:lnTo>
                    <a:lnTo>
                      <a:pt x="242" y="2752"/>
                    </a:lnTo>
                    <a:lnTo>
                      <a:pt x="249" y="2761"/>
                    </a:lnTo>
                    <a:lnTo>
                      <a:pt x="256" y="2770"/>
                    </a:lnTo>
                    <a:lnTo>
                      <a:pt x="261" y="2773"/>
                    </a:lnTo>
                    <a:lnTo>
                      <a:pt x="265" y="2777"/>
                    </a:lnTo>
                    <a:lnTo>
                      <a:pt x="270" y="2778"/>
                    </a:lnTo>
                    <a:lnTo>
                      <a:pt x="276" y="2779"/>
                    </a:lnTo>
                    <a:lnTo>
                      <a:pt x="280" y="2779"/>
                    </a:lnTo>
                    <a:lnTo>
                      <a:pt x="285" y="2778"/>
                    </a:lnTo>
                    <a:lnTo>
                      <a:pt x="288" y="2777"/>
                    </a:lnTo>
                    <a:lnTo>
                      <a:pt x="291" y="2775"/>
                    </a:lnTo>
                    <a:lnTo>
                      <a:pt x="295" y="2771"/>
                    </a:lnTo>
                    <a:lnTo>
                      <a:pt x="296" y="2765"/>
                    </a:lnTo>
                    <a:lnTo>
                      <a:pt x="295" y="2752"/>
                    </a:lnTo>
                    <a:lnTo>
                      <a:pt x="293" y="2738"/>
                    </a:lnTo>
                    <a:lnTo>
                      <a:pt x="310" y="2740"/>
                    </a:lnTo>
                    <a:lnTo>
                      <a:pt x="322" y="2742"/>
                    </a:lnTo>
                    <a:lnTo>
                      <a:pt x="328" y="2741"/>
                    </a:lnTo>
                    <a:lnTo>
                      <a:pt x="332" y="2738"/>
                    </a:lnTo>
                    <a:lnTo>
                      <a:pt x="338" y="2732"/>
                    </a:lnTo>
                    <a:lnTo>
                      <a:pt x="344" y="2721"/>
                    </a:lnTo>
                    <a:lnTo>
                      <a:pt x="349" y="2714"/>
                    </a:lnTo>
                    <a:lnTo>
                      <a:pt x="350" y="2709"/>
                    </a:lnTo>
                    <a:lnTo>
                      <a:pt x="350" y="2706"/>
                    </a:lnTo>
                    <a:lnTo>
                      <a:pt x="347" y="2704"/>
                    </a:lnTo>
                    <a:lnTo>
                      <a:pt x="338" y="2701"/>
                    </a:lnTo>
                    <a:lnTo>
                      <a:pt x="326" y="2697"/>
                    </a:lnTo>
                    <a:lnTo>
                      <a:pt x="324" y="2694"/>
                    </a:lnTo>
                    <a:lnTo>
                      <a:pt x="323" y="2691"/>
                    </a:lnTo>
                    <a:lnTo>
                      <a:pt x="323" y="2686"/>
                    </a:lnTo>
                    <a:lnTo>
                      <a:pt x="325" y="2681"/>
                    </a:lnTo>
                    <a:lnTo>
                      <a:pt x="330" y="2672"/>
                    </a:lnTo>
                    <a:lnTo>
                      <a:pt x="333" y="2664"/>
                    </a:lnTo>
                    <a:lnTo>
                      <a:pt x="333" y="2659"/>
                    </a:lnTo>
                    <a:lnTo>
                      <a:pt x="332" y="2652"/>
                    </a:lnTo>
                    <a:lnTo>
                      <a:pt x="331" y="2648"/>
                    </a:lnTo>
                    <a:lnTo>
                      <a:pt x="330" y="2646"/>
                    </a:lnTo>
                    <a:lnTo>
                      <a:pt x="329" y="2643"/>
                    </a:lnTo>
                    <a:lnTo>
                      <a:pt x="326" y="2643"/>
                    </a:lnTo>
                    <a:lnTo>
                      <a:pt x="323" y="2647"/>
                    </a:lnTo>
                    <a:lnTo>
                      <a:pt x="318" y="2656"/>
                    </a:lnTo>
                    <a:lnTo>
                      <a:pt x="316" y="2660"/>
                    </a:lnTo>
                    <a:lnTo>
                      <a:pt x="312" y="2665"/>
                    </a:lnTo>
                    <a:lnTo>
                      <a:pt x="309" y="2667"/>
                    </a:lnTo>
                    <a:lnTo>
                      <a:pt x="303" y="2668"/>
                    </a:lnTo>
                    <a:lnTo>
                      <a:pt x="288" y="2661"/>
                    </a:lnTo>
                    <a:lnTo>
                      <a:pt x="275" y="2653"/>
                    </a:lnTo>
                    <a:lnTo>
                      <a:pt x="273" y="2654"/>
                    </a:lnTo>
                    <a:lnTo>
                      <a:pt x="271" y="2655"/>
                    </a:lnTo>
                    <a:lnTo>
                      <a:pt x="271" y="2658"/>
                    </a:lnTo>
                    <a:lnTo>
                      <a:pt x="270" y="2660"/>
                    </a:lnTo>
                    <a:lnTo>
                      <a:pt x="269" y="2667"/>
                    </a:lnTo>
                    <a:lnTo>
                      <a:pt x="268" y="2675"/>
                    </a:lnTo>
                    <a:lnTo>
                      <a:pt x="268" y="2693"/>
                    </a:lnTo>
                    <a:lnTo>
                      <a:pt x="268" y="2705"/>
                    </a:lnTo>
                    <a:lnTo>
                      <a:pt x="265" y="2705"/>
                    </a:lnTo>
                    <a:lnTo>
                      <a:pt x="265" y="2698"/>
                    </a:lnTo>
                    <a:lnTo>
                      <a:pt x="262" y="2692"/>
                    </a:lnTo>
                    <a:lnTo>
                      <a:pt x="258" y="2687"/>
                    </a:lnTo>
                    <a:lnTo>
                      <a:pt x="252" y="2684"/>
                    </a:lnTo>
                    <a:lnTo>
                      <a:pt x="242" y="2676"/>
                    </a:lnTo>
                    <a:lnTo>
                      <a:pt x="232" y="2669"/>
                    </a:lnTo>
                    <a:lnTo>
                      <a:pt x="229" y="2667"/>
                    </a:lnTo>
                    <a:lnTo>
                      <a:pt x="228" y="2664"/>
                    </a:lnTo>
                    <a:lnTo>
                      <a:pt x="226" y="2660"/>
                    </a:lnTo>
                    <a:lnTo>
                      <a:pt x="226" y="2658"/>
                    </a:lnTo>
                    <a:lnTo>
                      <a:pt x="230" y="2653"/>
                    </a:lnTo>
                    <a:lnTo>
                      <a:pt x="236" y="2648"/>
                    </a:lnTo>
                    <a:lnTo>
                      <a:pt x="250" y="2641"/>
                    </a:lnTo>
                    <a:lnTo>
                      <a:pt x="265" y="2635"/>
                    </a:lnTo>
                    <a:lnTo>
                      <a:pt x="271" y="2633"/>
                    </a:lnTo>
                    <a:lnTo>
                      <a:pt x="279" y="2629"/>
                    </a:lnTo>
                    <a:lnTo>
                      <a:pt x="286" y="2626"/>
                    </a:lnTo>
                    <a:lnTo>
                      <a:pt x="290" y="2621"/>
                    </a:lnTo>
                    <a:lnTo>
                      <a:pt x="291" y="2614"/>
                    </a:lnTo>
                    <a:lnTo>
                      <a:pt x="289" y="2603"/>
                    </a:lnTo>
                    <a:lnTo>
                      <a:pt x="288" y="2598"/>
                    </a:lnTo>
                    <a:lnTo>
                      <a:pt x="286" y="2594"/>
                    </a:lnTo>
                    <a:lnTo>
                      <a:pt x="284" y="2590"/>
                    </a:lnTo>
                    <a:lnTo>
                      <a:pt x="282" y="2589"/>
                    </a:lnTo>
                    <a:lnTo>
                      <a:pt x="279" y="2594"/>
                    </a:lnTo>
                    <a:lnTo>
                      <a:pt x="276" y="2600"/>
                    </a:lnTo>
                    <a:lnTo>
                      <a:pt x="271" y="2605"/>
                    </a:lnTo>
                    <a:lnTo>
                      <a:pt x="266" y="2609"/>
                    </a:lnTo>
                    <a:lnTo>
                      <a:pt x="255" y="2618"/>
                    </a:lnTo>
                    <a:lnTo>
                      <a:pt x="244" y="2623"/>
                    </a:lnTo>
                    <a:lnTo>
                      <a:pt x="238" y="2627"/>
                    </a:lnTo>
                    <a:lnTo>
                      <a:pt x="232" y="2632"/>
                    </a:lnTo>
                    <a:lnTo>
                      <a:pt x="225" y="2638"/>
                    </a:lnTo>
                    <a:lnTo>
                      <a:pt x="218" y="2645"/>
                    </a:lnTo>
                    <a:lnTo>
                      <a:pt x="204" y="2660"/>
                    </a:lnTo>
                    <a:lnTo>
                      <a:pt x="192" y="2672"/>
                    </a:lnTo>
                    <a:lnTo>
                      <a:pt x="188" y="2674"/>
                    </a:lnTo>
                    <a:lnTo>
                      <a:pt x="179" y="2675"/>
                    </a:lnTo>
                    <a:lnTo>
                      <a:pt x="169" y="2676"/>
                    </a:lnTo>
                    <a:lnTo>
                      <a:pt x="156" y="2676"/>
                    </a:lnTo>
                    <a:lnTo>
                      <a:pt x="132" y="2678"/>
                    </a:lnTo>
                    <a:lnTo>
                      <a:pt x="116" y="2676"/>
                    </a:lnTo>
                    <a:lnTo>
                      <a:pt x="116" y="2674"/>
                    </a:lnTo>
                    <a:lnTo>
                      <a:pt x="117" y="2671"/>
                    </a:lnTo>
                    <a:lnTo>
                      <a:pt x="121" y="2667"/>
                    </a:lnTo>
                    <a:lnTo>
                      <a:pt x="124" y="2664"/>
                    </a:lnTo>
                    <a:lnTo>
                      <a:pt x="135" y="2654"/>
                    </a:lnTo>
                    <a:lnTo>
                      <a:pt x="147" y="2645"/>
                    </a:lnTo>
                    <a:lnTo>
                      <a:pt x="174" y="2626"/>
                    </a:lnTo>
                    <a:lnTo>
                      <a:pt x="191" y="2612"/>
                    </a:lnTo>
                    <a:lnTo>
                      <a:pt x="202" y="2599"/>
                    </a:lnTo>
                    <a:lnTo>
                      <a:pt x="209" y="2589"/>
                    </a:lnTo>
                    <a:lnTo>
                      <a:pt x="214" y="2586"/>
                    </a:lnTo>
                    <a:lnTo>
                      <a:pt x="218" y="2582"/>
                    </a:lnTo>
                    <a:lnTo>
                      <a:pt x="225" y="2580"/>
                    </a:lnTo>
                    <a:lnTo>
                      <a:pt x="235" y="2576"/>
                    </a:lnTo>
                    <a:lnTo>
                      <a:pt x="259" y="2570"/>
                    </a:lnTo>
                    <a:lnTo>
                      <a:pt x="286" y="2562"/>
                    </a:lnTo>
                    <a:lnTo>
                      <a:pt x="300" y="2557"/>
                    </a:lnTo>
                    <a:lnTo>
                      <a:pt x="312" y="2552"/>
                    </a:lnTo>
                    <a:lnTo>
                      <a:pt x="324" y="2546"/>
                    </a:lnTo>
                    <a:lnTo>
                      <a:pt x="335" y="2537"/>
                    </a:lnTo>
                    <a:lnTo>
                      <a:pt x="338" y="2535"/>
                    </a:lnTo>
                    <a:lnTo>
                      <a:pt x="342" y="2531"/>
                    </a:lnTo>
                    <a:lnTo>
                      <a:pt x="344" y="2527"/>
                    </a:lnTo>
                    <a:lnTo>
                      <a:pt x="346" y="2522"/>
                    </a:lnTo>
                    <a:lnTo>
                      <a:pt x="349" y="2513"/>
                    </a:lnTo>
                    <a:lnTo>
                      <a:pt x="351" y="2502"/>
                    </a:lnTo>
                    <a:lnTo>
                      <a:pt x="351" y="2480"/>
                    </a:lnTo>
                    <a:lnTo>
                      <a:pt x="351" y="2458"/>
                    </a:lnTo>
                    <a:lnTo>
                      <a:pt x="351" y="2458"/>
                    </a:lnTo>
                    <a:lnTo>
                      <a:pt x="347" y="2461"/>
                    </a:lnTo>
                    <a:lnTo>
                      <a:pt x="344" y="2467"/>
                    </a:lnTo>
                    <a:lnTo>
                      <a:pt x="339" y="2475"/>
                    </a:lnTo>
                    <a:lnTo>
                      <a:pt x="336" y="2484"/>
                    </a:lnTo>
                    <a:lnTo>
                      <a:pt x="326" y="2503"/>
                    </a:lnTo>
                    <a:lnTo>
                      <a:pt x="323" y="2515"/>
                    </a:lnTo>
                    <a:lnTo>
                      <a:pt x="319" y="2509"/>
                    </a:lnTo>
                    <a:lnTo>
                      <a:pt x="316" y="2496"/>
                    </a:lnTo>
                    <a:lnTo>
                      <a:pt x="312" y="2482"/>
                    </a:lnTo>
                    <a:lnTo>
                      <a:pt x="311" y="2473"/>
                    </a:lnTo>
                    <a:lnTo>
                      <a:pt x="311" y="2469"/>
                    </a:lnTo>
                    <a:lnTo>
                      <a:pt x="312" y="2465"/>
                    </a:lnTo>
                    <a:lnTo>
                      <a:pt x="315" y="2463"/>
                    </a:lnTo>
                    <a:lnTo>
                      <a:pt x="317" y="2461"/>
                    </a:lnTo>
                    <a:lnTo>
                      <a:pt x="323" y="2457"/>
                    </a:lnTo>
                    <a:lnTo>
                      <a:pt x="330" y="2454"/>
                    </a:lnTo>
                    <a:lnTo>
                      <a:pt x="337" y="2450"/>
                    </a:lnTo>
                    <a:lnTo>
                      <a:pt x="344" y="2445"/>
                    </a:lnTo>
                    <a:lnTo>
                      <a:pt x="346" y="2442"/>
                    </a:lnTo>
                    <a:lnTo>
                      <a:pt x="349" y="2438"/>
                    </a:lnTo>
                    <a:lnTo>
                      <a:pt x="350" y="2434"/>
                    </a:lnTo>
                    <a:lnTo>
                      <a:pt x="350" y="2429"/>
                    </a:lnTo>
                    <a:lnTo>
                      <a:pt x="349" y="2417"/>
                    </a:lnTo>
                    <a:lnTo>
                      <a:pt x="346" y="2407"/>
                    </a:lnTo>
                    <a:lnTo>
                      <a:pt x="342" y="2397"/>
                    </a:lnTo>
                    <a:lnTo>
                      <a:pt x="336" y="2389"/>
                    </a:lnTo>
                    <a:lnTo>
                      <a:pt x="332" y="2385"/>
                    </a:lnTo>
                    <a:lnTo>
                      <a:pt x="329" y="2383"/>
                    </a:lnTo>
                    <a:lnTo>
                      <a:pt x="324" y="2381"/>
                    </a:lnTo>
                    <a:lnTo>
                      <a:pt x="319" y="2379"/>
                    </a:lnTo>
                    <a:lnTo>
                      <a:pt x="315" y="2378"/>
                    </a:lnTo>
                    <a:lnTo>
                      <a:pt x="310" y="2378"/>
                    </a:lnTo>
                    <a:lnTo>
                      <a:pt x="304" y="2379"/>
                    </a:lnTo>
                    <a:lnTo>
                      <a:pt x="298" y="2382"/>
                    </a:lnTo>
                    <a:lnTo>
                      <a:pt x="292" y="2384"/>
                    </a:lnTo>
                    <a:lnTo>
                      <a:pt x="288" y="2388"/>
                    </a:lnTo>
                    <a:lnTo>
                      <a:pt x="284" y="2392"/>
                    </a:lnTo>
                    <a:lnTo>
                      <a:pt x="280" y="2397"/>
                    </a:lnTo>
                    <a:lnTo>
                      <a:pt x="277" y="2407"/>
                    </a:lnTo>
                    <a:lnTo>
                      <a:pt x="275" y="2418"/>
                    </a:lnTo>
                    <a:lnTo>
                      <a:pt x="272" y="2429"/>
                    </a:lnTo>
                    <a:lnTo>
                      <a:pt x="271" y="2441"/>
                    </a:lnTo>
                    <a:lnTo>
                      <a:pt x="269" y="2445"/>
                    </a:lnTo>
                    <a:lnTo>
                      <a:pt x="268" y="2449"/>
                    </a:lnTo>
                    <a:lnTo>
                      <a:pt x="264" y="2454"/>
                    </a:lnTo>
                    <a:lnTo>
                      <a:pt x="261" y="2456"/>
                    </a:lnTo>
                    <a:lnTo>
                      <a:pt x="252" y="2449"/>
                    </a:lnTo>
                    <a:lnTo>
                      <a:pt x="245" y="2440"/>
                    </a:lnTo>
                    <a:lnTo>
                      <a:pt x="243" y="2435"/>
                    </a:lnTo>
                    <a:lnTo>
                      <a:pt x="242" y="2429"/>
                    </a:lnTo>
                    <a:lnTo>
                      <a:pt x="242" y="2424"/>
                    </a:lnTo>
                    <a:lnTo>
                      <a:pt x="244" y="2420"/>
                    </a:lnTo>
                    <a:lnTo>
                      <a:pt x="251" y="2403"/>
                    </a:lnTo>
                    <a:lnTo>
                      <a:pt x="258" y="2387"/>
                    </a:lnTo>
                    <a:lnTo>
                      <a:pt x="263" y="2384"/>
                    </a:lnTo>
                    <a:lnTo>
                      <a:pt x="269" y="2381"/>
                    </a:lnTo>
                    <a:lnTo>
                      <a:pt x="275" y="2379"/>
                    </a:lnTo>
                    <a:lnTo>
                      <a:pt x="282" y="2377"/>
                    </a:lnTo>
                    <a:lnTo>
                      <a:pt x="288" y="2375"/>
                    </a:lnTo>
                    <a:lnTo>
                      <a:pt x="293" y="2371"/>
                    </a:lnTo>
                    <a:lnTo>
                      <a:pt x="298" y="2368"/>
                    </a:lnTo>
                    <a:lnTo>
                      <a:pt x="302" y="2362"/>
                    </a:lnTo>
                    <a:lnTo>
                      <a:pt x="304" y="2352"/>
                    </a:lnTo>
                    <a:lnTo>
                      <a:pt x="305" y="2341"/>
                    </a:lnTo>
                    <a:lnTo>
                      <a:pt x="306" y="2328"/>
                    </a:lnTo>
                    <a:lnTo>
                      <a:pt x="309" y="2317"/>
                    </a:lnTo>
                    <a:lnTo>
                      <a:pt x="312" y="2312"/>
                    </a:lnTo>
                    <a:lnTo>
                      <a:pt x="317" y="2306"/>
                    </a:lnTo>
                    <a:lnTo>
                      <a:pt x="309" y="2304"/>
                    </a:lnTo>
                    <a:lnTo>
                      <a:pt x="303" y="2302"/>
                    </a:lnTo>
                    <a:lnTo>
                      <a:pt x="299" y="2298"/>
                    </a:lnTo>
                    <a:lnTo>
                      <a:pt x="297" y="2295"/>
                    </a:lnTo>
                    <a:lnTo>
                      <a:pt x="296" y="2291"/>
                    </a:lnTo>
                    <a:lnTo>
                      <a:pt x="296" y="2288"/>
                    </a:lnTo>
                    <a:lnTo>
                      <a:pt x="297" y="2283"/>
                    </a:lnTo>
                    <a:lnTo>
                      <a:pt x="299" y="2279"/>
                    </a:lnTo>
                    <a:lnTo>
                      <a:pt x="311" y="2263"/>
                    </a:lnTo>
                    <a:lnTo>
                      <a:pt x="322" y="2247"/>
                    </a:lnTo>
                    <a:lnTo>
                      <a:pt x="323" y="2239"/>
                    </a:lnTo>
                    <a:lnTo>
                      <a:pt x="323" y="2232"/>
                    </a:lnTo>
                    <a:lnTo>
                      <a:pt x="320" y="2225"/>
                    </a:lnTo>
                    <a:lnTo>
                      <a:pt x="318" y="2218"/>
                    </a:lnTo>
                    <a:lnTo>
                      <a:pt x="317" y="2212"/>
                    </a:lnTo>
                    <a:lnTo>
                      <a:pt x="316" y="2205"/>
                    </a:lnTo>
                    <a:lnTo>
                      <a:pt x="317" y="2201"/>
                    </a:lnTo>
                    <a:lnTo>
                      <a:pt x="318" y="2198"/>
                    </a:lnTo>
                    <a:lnTo>
                      <a:pt x="320" y="2193"/>
                    </a:lnTo>
                    <a:lnTo>
                      <a:pt x="324" y="2189"/>
                    </a:lnTo>
                    <a:lnTo>
                      <a:pt x="331" y="2183"/>
                    </a:lnTo>
                    <a:lnTo>
                      <a:pt x="342" y="2177"/>
                    </a:lnTo>
                    <a:lnTo>
                      <a:pt x="353" y="2172"/>
                    </a:lnTo>
                    <a:lnTo>
                      <a:pt x="363" y="2170"/>
                    </a:lnTo>
                    <a:lnTo>
                      <a:pt x="372" y="2171"/>
                    </a:lnTo>
                    <a:lnTo>
                      <a:pt x="376" y="2172"/>
                    </a:lnTo>
                    <a:lnTo>
                      <a:pt x="379" y="2171"/>
                    </a:lnTo>
                    <a:lnTo>
                      <a:pt x="385" y="2164"/>
                    </a:lnTo>
                    <a:lnTo>
                      <a:pt x="390" y="2158"/>
                    </a:lnTo>
                    <a:lnTo>
                      <a:pt x="396" y="2152"/>
                    </a:lnTo>
                    <a:lnTo>
                      <a:pt x="399" y="2145"/>
                    </a:lnTo>
                    <a:lnTo>
                      <a:pt x="404" y="2138"/>
                    </a:lnTo>
                    <a:lnTo>
                      <a:pt x="405" y="2130"/>
                    </a:lnTo>
                    <a:lnTo>
                      <a:pt x="405" y="2123"/>
                    </a:lnTo>
                    <a:lnTo>
                      <a:pt x="405" y="2118"/>
                    </a:lnTo>
                    <a:lnTo>
                      <a:pt x="403" y="2114"/>
                    </a:lnTo>
                    <a:lnTo>
                      <a:pt x="400" y="2111"/>
                    </a:lnTo>
                    <a:lnTo>
                      <a:pt x="398" y="2107"/>
                    </a:lnTo>
                    <a:lnTo>
                      <a:pt x="398" y="2107"/>
                    </a:lnTo>
                    <a:close/>
                  </a:path>
                </a:pathLst>
              </a:custGeom>
              <a:solidFill>
                <a:srgbClr val="FF7F7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5">
                <a:extLst>
                  <a:ext uri="{FF2B5EF4-FFF2-40B4-BE49-F238E27FC236}">
                    <a16:creationId xmlns:a16="http://schemas.microsoft.com/office/drawing/2014/main" id="{F9918321-22BC-4983-9D27-8A79B18D5B0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0000" y="4781482"/>
                <a:ext cx="398327" cy="231848"/>
              </a:xfrm>
              <a:custGeom>
                <a:avLst/>
                <a:gdLst>
                  <a:gd name="T0" fmla="*/ 397 w 1735"/>
                  <a:gd name="T1" fmla="*/ 730 h 1010"/>
                  <a:gd name="T2" fmla="*/ 422 w 1735"/>
                  <a:gd name="T3" fmla="*/ 712 h 1010"/>
                  <a:gd name="T4" fmla="*/ 471 w 1735"/>
                  <a:gd name="T5" fmla="*/ 747 h 1010"/>
                  <a:gd name="T6" fmla="*/ 534 w 1735"/>
                  <a:gd name="T7" fmla="*/ 776 h 1010"/>
                  <a:gd name="T8" fmla="*/ 598 w 1735"/>
                  <a:gd name="T9" fmla="*/ 710 h 1010"/>
                  <a:gd name="T10" fmla="*/ 578 w 1735"/>
                  <a:gd name="T11" fmla="*/ 671 h 1010"/>
                  <a:gd name="T12" fmla="*/ 516 w 1735"/>
                  <a:gd name="T13" fmla="*/ 678 h 1010"/>
                  <a:gd name="T14" fmla="*/ 567 w 1735"/>
                  <a:gd name="T15" fmla="*/ 631 h 1010"/>
                  <a:gd name="T16" fmla="*/ 598 w 1735"/>
                  <a:gd name="T17" fmla="*/ 633 h 1010"/>
                  <a:gd name="T18" fmla="*/ 715 w 1735"/>
                  <a:gd name="T19" fmla="*/ 654 h 1010"/>
                  <a:gd name="T20" fmla="*/ 1021 w 1735"/>
                  <a:gd name="T21" fmla="*/ 628 h 1010"/>
                  <a:gd name="T22" fmla="*/ 1090 w 1735"/>
                  <a:gd name="T23" fmla="*/ 672 h 1010"/>
                  <a:gd name="T24" fmla="*/ 1071 w 1735"/>
                  <a:gd name="T25" fmla="*/ 727 h 1010"/>
                  <a:gd name="T26" fmla="*/ 1120 w 1735"/>
                  <a:gd name="T27" fmla="*/ 746 h 1010"/>
                  <a:gd name="T28" fmla="*/ 1198 w 1735"/>
                  <a:gd name="T29" fmla="*/ 677 h 1010"/>
                  <a:gd name="T30" fmla="*/ 1216 w 1735"/>
                  <a:gd name="T31" fmla="*/ 646 h 1010"/>
                  <a:gd name="T32" fmla="*/ 1340 w 1735"/>
                  <a:gd name="T33" fmla="*/ 620 h 1010"/>
                  <a:gd name="T34" fmla="*/ 1408 w 1735"/>
                  <a:gd name="T35" fmla="*/ 571 h 1010"/>
                  <a:gd name="T36" fmla="*/ 1383 w 1735"/>
                  <a:gd name="T37" fmla="*/ 506 h 1010"/>
                  <a:gd name="T38" fmla="*/ 1483 w 1735"/>
                  <a:gd name="T39" fmla="*/ 481 h 1010"/>
                  <a:gd name="T40" fmla="*/ 1536 w 1735"/>
                  <a:gd name="T41" fmla="*/ 407 h 1010"/>
                  <a:gd name="T42" fmla="*/ 1501 w 1735"/>
                  <a:gd name="T43" fmla="*/ 338 h 1010"/>
                  <a:gd name="T44" fmla="*/ 1435 w 1735"/>
                  <a:gd name="T45" fmla="*/ 314 h 1010"/>
                  <a:gd name="T46" fmla="*/ 1393 w 1735"/>
                  <a:gd name="T47" fmla="*/ 395 h 1010"/>
                  <a:gd name="T48" fmla="*/ 1366 w 1735"/>
                  <a:gd name="T49" fmla="*/ 429 h 1010"/>
                  <a:gd name="T50" fmla="*/ 1328 w 1735"/>
                  <a:gd name="T51" fmla="*/ 457 h 1010"/>
                  <a:gd name="T52" fmla="*/ 1312 w 1735"/>
                  <a:gd name="T53" fmla="*/ 505 h 1010"/>
                  <a:gd name="T54" fmla="*/ 1279 w 1735"/>
                  <a:gd name="T55" fmla="*/ 528 h 1010"/>
                  <a:gd name="T56" fmla="*/ 1220 w 1735"/>
                  <a:gd name="T57" fmla="*/ 574 h 1010"/>
                  <a:gd name="T58" fmla="*/ 1208 w 1735"/>
                  <a:gd name="T59" fmla="*/ 607 h 1010"/>
                  <a:gd name="T60" fmla="*/ 1157 w 1735"/>
                  <a:gd name="T61" fmla="*/ 618 h 1010"/>
                  <a:gd name="T62" fmla="*/ 1106 w 1735"/>
                  <a:gd name="T63" fmla="*/ 640 h 1010"/>
                  <a:gd name="T64" fmla="*/ 1164 w 1735"/>
                  <a:gd name="T65" fmla="*/ 580 h 1010"/>
                  <a:gd name="T66" fmla="*/ 1328 w 1735"/>
                  <a:gd name="T67" fmla="*/ 424 h 1010"/>
                  <a:gd name="T68" fmla="*/ 1407 w 1735"/>
                  <a:gd name="T69" fmla="*/ 287 h 1010"/>
                  <a:gd name="T70" fmla="*/ 1423 w 1735"/>
                  <a:gd name="T71" fmla="*/ 166 h 1010"/>
                  <a:gd name="T72" fmla="*/ 1379 w 1735"/>
                  <a:gd name="T73" fmla="*/ 103 h 1010"/>
                  <a:gd name="T74" fmla="*/ 1319 w 1735"/>
                  <a:gd name="T75" fmla="*/ 71 h 1010"/>
                  <a:gd name="T76" fmla="*/ 1283 w 1735"/>
                  <a:gd name="T77" fmla="*/ 4 h 1010"/>
                  <a:gd name="T78" fmla="*/ 1339 w 1735"/>
                  <a:gd name="T79" fmla="*/ 43 h 1010"/>
                  <a:gd name="T80" fmla="*/ 1528 w 1735"/>
                  <a:gd name="T81" fmla="*/ 330 h 1010"/>
                  <a:gd name="T82" fmla="*/ 1641 w 1735"/>
                  <a:gd name="T83" fmla="*/ 534 h 1010"/>
                  <a:gd name="T84" fmla="*/ 1708 w 1735"/>
                  <a:gd name="T85" fmla="*/ 686 h 1010"/>
                  <a:gd name="T86" fmla="*/ 1734 w 1735"/>
                  <a:gd name="T87" fmla="*/ 804 h 1010"/>
                  <a:gd name="T88" fmla="*/ 1701 w 1735"/>
                  <a:gd name="T89" fmla="*/ 932 h 1010"/>
                  <a:gd name="T90" fmla="*/ 1671 w 1735"/>
                  <a:gd name="T91" fmla="*/ 963 h 1010"/>
                  <a:gd name="T92" fmla="*/ 1600 w 1735"/>
                  <a:gd name="T93" fmla="*/ 1000 h 1010"/>
                  <a:gd name="T94" fmla="*/ 1342 w 1735"/>
                  <a:gd name="T95" fmla="*/ 997 h 1010"/>
                  <a:gd name="T96" fmla="*/ 1080 w 1735"/>
                  <a:gd name="T97" fmla="*/ 990 h 1010"/>
                  <a:gd name="T98" fmla="*/ 992 w 1735"/>
                  <a:gd name="T99" fmla="*/ 1000 h 1010"/>
                  <a:gd name="T100" fmla="*/ 190 w 1735"/>
                  <a:gd name="T101" fmla="*/ 532 h 1010"/>
                  <a:gd name="T102" fmla="*/ 155 w 1735"/>
                  <a:gd name="T103" fmla="*/ 540 h 1010"/>
                  <a:gd name="T104" fmla="*/ 219 w 1735"/>
                  <a:gd name="T105" fmla="*/ 622 h 1010"/>
                  <a:gd name="T106" fmla="*/ 314 w 1735"/>
                  <a:gd name="T107" fmla="*/ 683 h 1010"/>
                  <a:gd name="T108" fmla="*/ 336 w 1735"/>
                  <a:gd name="T109" fmla="*/ 687 h 1010"/>
                  <a:gd name="T110" fmla="*/ 335 w 1735"/>
                  <a:gd name="T111" fmla="*/ 655 h 1010"/>
                  <a:gd name="T112" fmla="*/ 353 w 1735"/>
                  <a:gd name="T113" fmla="*/ 600 h 1010"/>
                  <a:gd name="T114" fmla="*/ 85 w 1735"/>
                  <a:gd name="T115" fmla="*/ 353 h 1010"/>
                  <a:gd name="T116" fmla="*/ 2 w 1735"/>
                  <a:gd name="T117" fmla="*/ 363 h 1010"/>
                  <a:gd name="T118" fmla="*/ 49 w 1735"/>
                  <a:gd name="T119" fmla="*/ 397 h 1010"/>
                  <a:gd name="T120" fmla="*/ 107 w 1735"/>
                  <a:gd name="T121" fmla="*/ 389 h 10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35" h="1010">
                    <a:moveTo>
                      <a:pt x="795" y="930"/>
                    </a:moveTo>
                    <a:lnTo>
                      <a:pt x="563" y="823"/>
                    </a:lnTo>
                    <a:lnTo>
                      <a:pt x="547" y="815"/>
                    </a:lnTo>
                    <a:lnTo>
                      <a:pt x="522" y="803"/>
                    </a:lnTo>
                    <a:lnTo>
                      <a:pt x="493" y="789"/>
                    </a:lnTo>
                    <a:lnTo>
                      <a:pt x="462" y="772"/>
                    </a:lnTo>
                    <a:lnTo>
                      <a:pt x="433" y="754"/>
                    </a:lnTo>
                    <a:lnTo>
                      <a:pt x="407" y="738"/>
                    </a:lnTo>
                    <a:lnTo>
                      <a:pt x="397" y="730"/>
                    </a:lnTo>
                    <a:lnTo>
                      <a:pt x="389" y="721"/>
                    </a:lnTo>
                    <a:lnTo>
                      <a:pt x="383" y="714"/>
                    </a:lnTo>
                    <a:lnTo>
                      <a:pt x="380" y="707"/>
                    </a:lnTo>
                    <a:lnTo>
                      <a:pt x="382" y="706"/>
                    </a:lnTo>
                    <a:lnTo>
                      <a:pt x="386" y="706"/>
                    </a:lnTo>
                    <a:lnTo>
                      <a:pt x="390" y="706"/>
                    </a:lnTo>
                    <a:lnTo>
                      <a:pt x="395" y="706"/>
                    </a:lnTo>
                    <a:lnTo>
                      <a:pt x="408" y="708"/>
                    </a:lnTo>
                    <a:lnTo>
                      <a:pt x="422" y="712"/>
                    </a:lnTo>
                    <a:lnTo>
                      <a:pt x="436" y="717"/>
                    </a:lnTo>
                    <a:lnTo>
                      <a:pt x="448" y="723"/>
                    </a:lnTo>
                    <a:lnTo>
                      <a:pt x="453" y="725"/>
                    </a:lnTo>
                    <a:lnTo>
                      <a:pt x="456" y="729"/>
                    </a:lnTo>
                    <a:lnTo>
                      <a:pt x="460" y="731"/>
                    </a:lnTo>
                    <a:lnTo>
                      <a:pt x="461" y="733"/>
                    </a:lnTo>
                    <a:lnTo>
                      <a:pt x="465" y="737"/>
                    </a:lnTo>
                    <a:lnTo>
                      <a:pt x="469" y="741"/>
                    </a:lnTo>
                    <a:lnTo>
                      <a:pt x="471" y="747"/>
                    </a:lnTo>
                    <a:lnTo>
                      <a:pt x="475" y="752"/>
                    </a:lnTo>
                    <a:lnTo>
                      <a:pt x="478" y="758"/>
                    </a:lnTo>
                    <a:lnTo>
                      <a:pt x="482" y="763"/>
                    </a:lnTo>
                    <a:lnTo>
                      <a:pt x="487" y="766"/>
                    </a:lnTo>
                    <a:lnTo>
                      <a:pt x="494" y="770"/>
                    </a:lnTo>
                    <a:lnTo>
                      <a:pt x="507" y="772"/>
                    </a:lnTo>
                    <a:lnTo>
                      <a:pt x="521" y="774"/>
                    </a:lnTo>
                    <a:lnTo>
                      <a:pt x="528" y="776"/>
                    </a:lnTo>
                    <a:lnTo>
                      <a:pt x="534" y="776"/>
                    </a:lnTo>
                    <a:lnTo>
                      <a:pt x="541" y="773"/>
                    </a:lnTo>
                    <a:lnTo>
                      <a:pt x="547" y="771"/>
                    </a:lnTo>
                    <a:lnTo>
                      <a:pt x="558" y="764"/>
                    </a:lnTo>
                    <a:lnTo>
                      <a:pt x="568" y="757"/>
                    </a:lnTo>
                    <a:lnTo>
                      <a:pt x="576" y="749"/>
                    </a:lnTo>
                    <a:lnTo>
                      <a:pt x="584" y="740"/>
                    </a:lnTo>
                    <a:lnTo>
                      <a:pt x="590" y="731"/>
                    </a:lnTo>
                    <a:lnTo>
                      <a:pt x="595" y="720"/>
                    </a:lnTo>
                    <a:lnTo>
                      <a:pt x="598" y="710"/>
                    </a:lnTo>
                    <a:lnTo>
                      <a:pt x="599" y="697"/>
                    </a:lnTo>
                    <a:lnTo>
                      <a:pt x="598" y="691"/>
                    </a:lnTo>
                    <a:lnTo>
                      <a:pt x="597" y="685"/>
                    </a:lnTo>
                    <a:lnTo>
                      <a:pt x="596" y="680"/>
                    </a:lnTo>
                    <a:lnTo>
                      <a:pt x="594" y="677"/>
                    </a:lnTo>
                    <a:lnTo>
                      <a:pt x="590" y="674"/>
                    </a:lnTo>
                    <a:lnTo>
                      <a:pt x="587" y="672"/>
                    </a:lnTo>
                    <a:lnTo>
                      <a:pt x="583" y="671"/>
                    </a:lnTo>
                    <a:lnTo>
                      <a:pt x="578" y="671"/>
                    </a:lnTo>
                    <a:lnTo>
                      <a:pt x="570" y="671"/>
                    </a:lnTo>
                    <a:lnTo>
                      <a:pt x="561" y="672"/>
                    </a:lnTo>
                    <a:lnTo>
                      <a:pt x="550" y="675"/>
                    </a:lnTo>
                    <a:lnTo>
                      <a:pt x="542" y="678"/>
                    </a:lnTo>
                    <a:lnTo>
                      <a:pt x="532" y="681"/>
                    </a:lnTo>
                    <a:lnTo>
                      <a:pt x="523" y="683"/>
                    </a:lnTo>
                    <a:lnTo>
                      <a:pt x="520" y="681"/>
                    </a:lnTo>
                    <a:lnTo>
                      <a:pt x="517" y="680"/>
                    </a:lnTo>
                    <a:lnTo>
                      <a:pt x="516" y="678"/>
                    </a:lnTo>
                    <a:lnTo>
                      <a:pt x="515" y="673"/>
                    </a:lnTo>
                    <a:lnTo>
                      <a:pt x="517" y="666"/>
                    </a:lnTo>
                    <a:lnTo>
                      <a:pt x="521" y="659"/>
                    </a:lnTo>
                    <a:lnTo>
                      <a:pt x="527" y="653"/>
                    </a:lnTo>
                    <a:lnTo>
                      <a:pt x="532" y="648"/>
                    </a:lnTo>
                    <a:lnTo>
                      <a:pt x="541" y="644"/>
                    </a:lnTo>
                    <a:lnTo>
                      <a:pt x="549" y="640"/>
                    </a:lnTo>
                    <a:lnTo>
                      <a:pt x="558" y="637"/>
                    </a:lnTo>
                    <a:lnTo>
                      <a:pt x="567" y="631"/>
                    </a:lnTo>
                    <a:lnTo>
                      <a:pt x="569" y="631"/>
                    </a:lnTo>
                    <a:lnTo>
                      <a:pt x="570" y="631"/>
                    </a:lnTo>
                    <a:lnTo>
                      <a:pt x="572" y="628"/>
                    </a:lnTo>
                    <a:lnTo>
                      <a:pt x="576" y="626"/>
                    </a:lnTo>
                    <a:lnTo>
                      <a:pt x="577" y="625"/>
                    </a:lnTo>
                    <a:lnTo>
                      <a:pt x="578" y="625"/>
                    </a:lnTo>
                    <a:lnTo>
                      <a:pt x="584" y="625"/>
                    </a:lnTo>
                    <a:lnTo>
                      <a:pt x="589" y="625"/>
                    </a:lnTo>
                    <a:lnTo>
                      <a:pt x="598" y="633"/>
                    </a:lnTo>
                    <a:lnTo>
                      <a:pt x="609" y="640"/>
                    </a:lnTo>
                    <a:lnTo>
                      <a:pt x="621" y="645"/>
                    </a:lnTo>
                    <a:lnTo>
                      <a:pt x="631" y="648"/>
                    </a:lnTo>
                    <a:lnTo>
                      <a:pt x="643" y="651"/>
                    </a:lnTo>
                    <a:lnTo>
                      <a:pt x="656" y="652"/>
                    </a:lnTo>
                    <a:lnTo>
                      <a:pt x="669" y="653"/>
                    </a:lnTo>
                    <a:lnTo>
                      <a:pt x="682" y="653"/>
                    </a:lnTo>
                    <a:lnTo>
                      <a:pt x="698" y="653"/>
                    </a:lnTo>
                    <a:lnTo>
                      <a:pt x="715" y="654"/>
                    </a:lnTo>
                    <a:lnTo>
                      <a:pt x="731" y="654"/>
                    </a:lnTo>
                    <a:lnTo>
                      <a:pt x="748" y="657"/>
                    </a:lnTo>
                    <a:lnTo>
                      <a:pt x="768" y="658"/>
                    </a:lnTo>
                    <a:lnTo>
                      <a:pt x="788" y="658"/>
                    </a:lnTo>
                    <a:lnTo>
                      <a:pt x="806" y="658"/>
                    </a:lnTo>
                    <a:lnTo>
                      <a:pt x="826" y="659"/>
                    </a:lnTo>
                    <a:lnTo>
                      <a:pt x="1008" y="621"/>
                    </a:lnTo>
                    <a:lnTo>
                      <a:pt x="1013" y="622"/>
                    </a:lnTo>
                    <a:lnTo>
                      <a:pt x="1021" y="628"/>
                    </a:lnTo>
                    <a:lnTo>
                      <a:pt x="1031" y="635"/>
                    </a:lnTo>
                    <a:lnTo>
                      <a:pt x="1043" y="645"/>
                    </a:lnTo>
                    <a:lnTo>
                      <a:pt x="1055" y="654"/>
                    </a:lnTo>
                    <a:lnTo>
                      <a:pt x="1070" y="661"/>
                    </a:lnTo>
                    <a:lnTo>
                      <a:pt x="1075" y="665"/>
                    </a:lnTo>
                    <a:lnTo>
                      <a:pt x="1083" y="667"/>
                    </a:lnTo>
                    <a:lnTo>
                      <a:pt x="1090" y="670"/>
                    </a:lnTo>
                    <a:lnTo>
                      <a:pt x="1095" y="670"/>
                    </a:lnTo>
                    <a:lnTo>
                      <a:pt x="1090" y="672"/>
                    </a:lnTo>
                    <a:lnTo>
                      <a:pt x="1084" y="677"/>
                    </a:lnTo>
                    <a:lnTo>
                      <a:pt x="1079" y="681"/>
                    </a:lnTo>
                    <a:lnTo>
                      <a:pt x="1075" y="687"/>
                    </a:lnTo>
                    <a:lnTo>
                      <a:pt x="1073" y="693"/>
                    </a:lnTo>
                    <a:lnTo>
                      <a:pt x="1071" y="700"/>
                    </a:lnTo>
                    <a:lnTo>
                      <a:pt x="1070" y="707"/>
                    </a:lnTo>
                    <a:lnTo>
                      <a:pt x="1068" y="714"/>
                    </a:lnTo>
                    <a:lnTo>
                      <a:pt x="1070" y="720"/>
                    </a:lnTo>
                    <a:lnTo>
                      <a:pt x="1071" y="727"/>
                    </a:lnTo>
                    <a:lnTo>
                      <a:pt x="1073" y="733"/>
                    </a:lnTo>
                    <a:lnTo>
                      <a:pt x="1077" y="739"/>
                    </a:lnTo>
                    <a:lnTo>
                      <a:pt x="1080" y="744"/>
                    </a:lnTo>
                    <a:lnTo>
                      <a:pt x="1085" y="747"/>
                    </a:lnTo>
                    <a:lnTo>
                      <a:pt x="1092" y="750"/>
                    </a:lnTo>
                    <a:lnTo>
                      <a:pt x="1098" y="751"/>
                    </a:lnTo>
                    <a:lnTo>
                      <a:pt x="1106" y="751"/>
                    </a:lnTo>
                    <a:lnTo>
                      <a:pt x="1113" y="749"/>
                    </a:lnTo>
                    <a:lnTo>
                      <a:pt x="1120" y="746"/>
                    </a:lnTo>
                    <a:lnTo>
                      <a:pt x="1126" y="741"/>
                    </a:lnTo>
                    <a:lnTo>
                      <a:pt x="1138" y="731"/>
                    </a:lnTo>
                    <a:lnTo>
                      <a:pt x="1149" y="717"/>
                    </a:lnTo>
                    <a:lnTo>
                      <a:pt x="1160" y="704"/>
                    </a:lnTo>
                    <a:lnTo>
                      <a:pt x="1172" y="691"/>
                    </a:lnTo>
                    <a:lnTo>
                      <a:pt x="1178" y="686"/>
                    </a:lnTo>
                    <a:lnTo>
                      <a:pt x="1184" y="681"/>
                    </a:lnTo>
                    <a:lnTo>
                      <a:pt x="1191" y="679"/>
                    </a:lnTo>
                    <a:lnTo>
                      <a:pt x="1198" y="677"/>
                    </a:lnTo>
                    <a:lnTo>
                      <a:pt x="1201" y="675"/>
                    </a:lnTo>
                    <a:lnTo>
                      <a:pt x="1205" y="674"/>
                    </a:lnTo>
                    <a:lnTo>
                      <a:pt x="1207" y="673"/>
                    </a:lnTo>
                    <a:lnTo>
                      <a:pt x="1209" y="671"/>
                    </a:lnTo>
                    <a:lnTo>
                      <a:pt x="1212" y="665"/>
                    </a:lnTo>
                    <a:lnTo>
                      <a:pt x="1213" y="659"/>
                    </a:lnTo>
                    <a:lnTo>
                      <a:pt x="1214" y="653"/>
                    </a:lnTo>
                    <a:lnTo>
                      <a:pt x="1215" y="648"/>
                    </a:lnTo>
                    <a:lnTo>
                      <a:pt x="1216" y="646"/>
                    </a:lnTo>
                    <a:lnTo>
                      <a:pt x="1218" y="645"/>
                    </a:lnTo>
                    <a:lnTo>
                      <a:pt x="1220" y="644"/>
                    </a:lnTo>
                    <a:lnTo>
                      <a:pt x="1221" y="644"/>
                    </a:lnTo>
                    <a:lnTo>
                      <a:pt x="1242" y="642"/>
                    </a:lnTo>
                    <a:lnTo>
                      <a:pt x="1272" y="638"/>
                    </a:lnTo>
                    <a:lnTo>
                      <a:pt x="1288" y="634"/>
                    </a:lnTo>
                    <a:lnTo>
                      <a:pt x="1306" y="631"/>
                    </a:lnTo>
                    <a:lnTo>
                      <a:pt x="1323" y="626"/>
                    </a:lnTo>
                    <a:lnTo>
                      <a:pt x="1340" y="620"/>
                    </a:lnTo>
                    <a:lnTo>
                      <a:pt x="1356" y="614"/>
                    </a:lnTo>
                    <a:lnTo>
                      <a:pt x="1370" y="608"/>
                    </a:lnTo>
                    <a:lnTo>
                      <a:pt x="1385" y="600"/>
                    </a:lnTo>
                    <a:lnTo>
                      <a:pt x="1395" y="593"/>
                    </a:lnTo>
                    <a:lnTo>
                      <a:pt x="1399" y="588"/>
                    </a:lnTo>
                    <a:lnTo>
                      <a:pt x="1402" y="585"/>
                    </a:lnTo>
                    <a:lnTo>
                      <a:pt x="1406" y="580"/>
                    </a:lnTo>
                    <a:lnTo>
                      <a:pt x="1407" y="575"/>
                    </a:lnTo>
                    <a:lnTo>
                      <a:pt x="1408" y="571"/>
                    </a:lnTo>
                    <a:lnTo>
                      <a:pt x="1408" y="566"/>
                    </a:lnTo>
                    <a:lnTo>
                      <a:pt x="1407" y="561"/>
                    </a:lnTo>
                    <a:lnTo>
                      <a:pt x="1405" y="556"/>
                    </a:lnTo>
                    <a:lnTo>
                      <a:pt x="1387" y="528"/>
                    </a:lnTo>
                    <a:lnTo>
                      <a:pt x="1377" y="513"/>
                    </a:lnTo>
                    <a:lnTo>
                      <a:pt x="1377" y="510"/>
                    </a:lnTo>
                    <a:lnTo>
                      <a:pt x="1377" y="508"/>
                    </a:lnTo>
                    <a:lnTo>
                      <a:pt x="1380" y="507"/>
                    </a:lnTo>
                    <a:lnTo>
                      <a:pt x="1383" y="506"/>
                    </a:lnTo>
                    <a:lnTo>
                      <a:pt x="1395" y="505"/>
                    </a:lnTo>
                    <a:lnTo>
                      <a:pt x="1414" y="503"/>
                    </a:lnTo>
                    <a:lnTo>
                      <a:pt x="1423" y="503"/>
                    </a:lnTo>
                    <a:lnTo>
                      <a:pt x="1434" y="502"/>
                    </a:lnTo>
                    <a:lnTo>
                      <a:pt x="1443" y="500"/>
                    </a:lnTo>
                    <a:lnTo>
                      <a:pt x="1454" y="496"/>
                    </a:lnTo>
                    <a:lnTo>
                      <a:pt x="1464" y="492"/>
                    </a:lnTo>
                    <a:lnTo>
                      <a:pt x="1474" y="487"/>
                    </a:lnTo>
                    <a:lnTo>
                      <a:pt x="1483" y="481"/>
                    </a:lnTo>
                    <a:lnTo>
                      <a:pt x="1494" y="475"/>
                    </a:lnTo>
                    <a:lnTo>
                      <a:pt x="1502" y="468"/>
                    </a:lnTo>
                    <a:lnTo>
                      <a:pt x="1510" y="461"/>
                    </a:lnTo>
                    <a:lnTo>
                      <a:pt x="1517" y="453"/>
                    </a:lnTo>
                    <a:lnTo>
                      <a:pt x="1524" y="444"/>
                    </a:lnTo>
                    <a:lnTo>
                      <a:pt x="1529" y="435"/>
                    </a:lnTo>
                    <a:lnTo>
                      <a:pt x="1533" y="426"/>
                    </a:lnTo>
                    <a:lnTo>
                      <a:pt x="1535" y="416"/>
                    </a:lnTo>
                    <a:lnTo>
                      <a:pt x="1536" y="407"/>
                    </a:lnTo>
                    <a:lnTo>
                      <a:pt x="1536" y="400"/>
                    </a:lnTo>
                    <a:lnTo>
                      <a:pt x="1534" y="391"/>
                    </a:lnTo>
                    <a:lnTo>
                      <a:pt x="1531" y="384"/>
                    </a:lnTo>
                    <a:lnTo>
                      <a:pt x="1528" y="376"/>
                    </a:lnTo>
                    <a:lnTo>
                      <a:pt x="1524" y="368"/>
                    </a:lnTo>
                    <a:lnTo>
                      <a:pt x="1520" y="360"/>
                    </a:lnTo>
                    <a:lnTo>
                      <a:pt x="1514" y="353"/>
                    </a:lnTo>
                    <a:lnTo>
                      <a:pt x="1508" y="345"/>
                    </a:lnTo>
                    <a:lnTo>
                      <a:pt x="1501" y="338"/>
                    </a:lnTo>
                    <a:lnTo>
                      <a:pt x="1494" y="331"/>
                    </a:lnTo>
                    <a:lnTo>
                      <a:pt x="1487" y="325"/>
                    </a:lnTo>
                    <a:lnTo>
                      <a:pt x="1480" y="321"/>
                    </a:lnTo>
                    <a:lnTo>
                      <a:pt x="1472" y="317"/>
                    </a:lnTo>
                    <a:lnTo>
                      <a:pt x="1463" y="314"/>
                    </a:lnTo>
                    <a:lnTo>
                      <a:pt x="1456" y="311"/>
                    </a:lnTo>
                    <a:lnTo>
                      <a:pt x="1448" y="311"/>
                    </a:lnTo>
                    <a:lnTo>
                      <a:pt x="1441" y="311"/>
                    </a:lnTo>
                    <a:lnTo>
                      <a:pt x="1435" y="314"/>
                    </a:lnTo>
                    <a:lnTo>
                      <a:pt x="1430" y="316"/>
                    </a:lnTo>
                    <a:lnTo>
                      <a:pt x="1425" y="320"/>
                    </a:lnTo>
                    <a:lnTo>
                      <a:pt x="1421" y="323"/>
                    </a:lnTo>
                    <a:lnTo>
                      <a:pt x="1417" y="329"/>
                    </a:lnTo>
                    <a:lnTo>
                      <a:pt x="1414" y="334"/>
                    </a:lnTo>
                    <a:lnTo>
                      <a:pt x="1410" y="340"/>
                    </a:lnTo>
                    <a:lnTo>
                      <a:pt x="1402" y="365"/>
                    </a:lnTo>
                    <a:lnTo>
                      <a:pt x="1395" y="390"/>
                    </a:lnTo>
                    <a:lnTo>
                      <a:pt x="1393" y="395"/>
                    </a:lnTo>
                    <a:lnTo>
                      <a:pt x="1390" y="397"/>
                    </a:lnTo>
                    <a:lnTo>
                      <a:pt x="1387" y="397"/>
                    </a:lnTo>
                    <a:lnTo>
                      <a:pt x="1382" y="397"/>
                    </a:lnTo>
                    <a:lnTo>
                      <a:pt x="1379" y="398"/>
                    </a:lnTo>
                    <a:lnTo>
                      <a:pt x="1374" y="400"/>
                    </a:lnTo>
                    <a:lnTo>
                      <a:pt x="1370" y="403"/>
                    </a:lnTo>
                    <a:lnTo>
                      <a:pt x="1367" y="409"/>
                    </a:lnTo>
                    <a:lnTo>
                      <a:pt x="1366" y="416"/>
                    </a:lnTo>
                    <a:lnTo>
                      <a:pt x="1366" y="429"/>
                    </a:lnTo>
                    <a:lnTo>
                      <a:pt x="1365" y="440"/>
                    </a:lnTo>
                    <a:lnTo>
                      <a:pt x="1363" y="446"/>
                    </a:lnTo>
                    <a:lnTo>
                      <a:pt x="1360" y="449"/>
                    </a:lnTo>
                    <a:lnTo>
                      <a:pt x="1356" y="450"/>
                    </a:lnTo>
                    <a:lnTo>
                      <a:pt x="1353" y="452"/>
                    </a:lnTo>
                    <a:lnTo>
                      <a:pt x="1349" y="453"/>
                    </a:lnTo>
                    <a:lnTo>
                      <a:pt x="1340" y="454"/>
                    </a:lnTo>
                    <a:lnTo>
                      <a:pt x="1332" y="456"/>
                    </a:lnTo>
                    <a:lnTo>
                      <a:pt x="1328" y="457"/>
                    </a:lnTo>
                    <a:lnTo>
                      <a:pt x="1325" y="460"/>
                    </a:lnTo>
                    <a:lnTo>
                      <a:pt x="1321" y="463"/>
                    </a:lnTo>
                    <a:lnTo>
                      <a:pt x="1319" y="467"/>
                    </a:lnTo>
                    <a:lnTo>
                      <a:pt x="1316" y="472"/>
                    </a:lnTo>
                    <a:lnTo>
                      <a:pt x="1314" y="477"/>
                    </a:lnTo>
                    <a:lnTo>
                      <a:pt x="1313" y="486"/>
                    </a:lnTo>
                    <a:lnTo>
                      <a:pt x="1313" y="495"/>
                    </a:lnTo>
                    <a:lnTo>
                      <a:pt x="1313" y="501"/>
                    </a:lnTo>
                    <a:lnTo>
                      <a:pt x="1312" y="505"/>
                    </a:lnTo>
                    <a:lnTo>
                      <a:pt x="1311" y="508"/>
                    </a:lnTo>
                    <a:lnTo>
                      <a:pt x="1309" y="512"/>
                    </a:lnTo>
                    <a:lnTo>
                      <a:pt x="1305" y="514"/>
                    </a:lnTo>
                    <a:lnTo>
                      <a:pt x="1300" y="516"/>
                    </a:lnTo>
                    <a:lnTo>
                      <a:pt x="1294" y="518"/>
                    </a:lnTo>
                    <a:lnTo>
                      <a:pt x="1288" y="520"/>
                    </a:lnTo>
                    <a:lnTo>
                      <a:pt x="1285" y="522"/>
                    </a:lnTo>
                    <a:lnTo>
                      <a:pt x="1282" y="525"/>
                    </a:lnTo>
                    <a:lnTo>
                      <a:pt x="1279" y="528"/>
                    </a:lnTo>
                    <a:lnTo>
                      <a:pt x="1276" y="532"/>
                    </a:lnTo>
                    <a:lnTo>
                      <a:pt x="1269" y="542"/>
                    </a:lnTo>
                    <a:lnTo>
                      <a:pt x="1265" y="548"/>
                    </a:lnTo>
                    <a:lnTo>
                      <a:pt x="1259" y="553"/>
                    </a:lnTo>
                    <a:lnTo>
                      <a:pt x="1253" y="556"/>
                    </a:lnTo>
                    <a:lnTo>
                      <a:pt x="1240" y="561"/>
                    </a:lnTo>
                    <a:lnTo>
                      <a:pt x="1224" y="569"/>
                    </a:lnTo>
                    <a:lnTo>
                      <a:pt x="1221" y="572"/>
                    </a:lnTo>
                    <a:lnTo>
                      <a:pt x="1220" y="574"/>
                    </a:lnTo>
                    <a:lnTo>
                      <a:pt x="1219" y="576"/>
                    </a:lnTo>
                    <a:lnTo>
                      <a:pt x="1218" y="580"/>
                    </a:lnTo>
                    <a:lnTo>
                      <a:pt x="1216" y="587"/>
                    </a:lnTo>
                    <a:lnTo>
                      <a:pt x="1216" y="594"/>
                    </a:lnTo>
                    <a:lnTo>
                      <a:pt x="1215" y="598"/>
                    </a:lnTo>
                    <a:lnTo>
                      <a:pt x="1215" y="601"/>
                    </a:lnTo>
                    <a:lnTo>
                      <a:pt x="1213" y="604"/>
                    </a:lnTo>
                    <a:lnTo>
                      <a:pt x="1212" y="606"/>
                    </a:lnTo>
                    <a:lnTo>
                      <a:pt x="1208" y="607"/>
                    </a:lnTo>
                    <a:lnTo>
                      <a:pt x="1205" y="607"/>
                    </a:lnTo>
                    <a:lnTo>
                      <a:pt x="1200" y="607"/>
                    </a:lnTo>
                    <a:lnTo>
                      <a:pt x="1195" y="606"/>
                    </a:lnTo>
                    <a:lnTo>
                      <a:pt x="1188" y="606"/>
                    </a:lnTo>
                    <a:lnTo>
                      <a:pt x="1181" y="606"/>
                    </a:lnTo>
                    <a:lnTo>
                      <a:pt x="1174" y="607"/>
                    </a:lnTo>
                    <a:lnTo>
                      <a:pt x="1168" y="609"/>
                    </a:lnTo>
                    <a:lnTo>
                      <a:pt x="1161" y="614"/>
                    </a:lnTo>
                    <a:lnTo>
                      <a:pt x="1157" y="618"/>
                    </a:lnTo>
                    <a:lnTo>
                      <a:pt x="1153" y="624"/>
                    </a:lnTo>
                    <a:lnTo>
                      <a:pt x="1151" y="630"/>
                    </a:lnTo>
                    <a:lnTo>
                      <a:pt x="1147" y="645"/>
                    </a:lnTo>
                    <a:lnTo>
                      <a:pt x="1144" y="654"/>
                    </a:lnTo>
                    <a:lnTo>
                      <a:pt x="1141" y="655"/>
                    </a:lnTo>
                    <a:lnTo>
                      <a:pt x="1138" y="655"/>
                    </a:lnTo>
                    <a:lnTo>
                      <a:pt x="1132" y="654"/>
                    </a:lnTo>
                    <a:lnTo>
                      <a:pt x="1125" y="650"/>
                    </a:lnTo>
                    <a:lnTo>
                      <a:pt x="1106" y="640"/>
                    </a:lnTo>
                    <a:lnTo>
                      <a:pt x="1093" y="633"/>
                    </a:lnTo>
                    <a:lnTo>
                      <a:pt x="1085" y="628"/>
                    </a:lnTo>
                    <a:lnTo>
                      <a:pt x="1083" y="625"/>
                    </a:lnTo>
                    <a:lnTo>
                      <a:pt x="1085" y="621"/>
                    </a:lnTo>
                    <a:lnTo>
                      <a:pt x="1092" y="618"/>
                    </a:lnTo>
                    <a:lnTo>
                      <a:pt x="1104" y="613"/>
                    </a:lnTo>
                    <a:lnTo>
                      <a:pt x="1120" y="605"/>
                    </a:lnTo>
                    <a:lnTo>
                      <a:pt x="1142" y="593"/>
                    </a:lnTo>
                    <a:lnTo>
                      <a:pt x="1164" y="580"/>
                    </a:lnTo>
                    <a:lnTo>
                      <a:pt x="1185" y="566"/>
                    </a:lnTo>
                    <a:lnTo>
                      <a:pt x="1206" y="552"/>
                    </a:lnTo>
                    <a:lnTo>
                      <a:pt x="1225" y="535"/>
                    </a:lnTo>
                    <a:lnTo>
                      <a:pt x="1245" y="519"/>
                    </a:lnTo>
                    <a:lnTo>
                      <a:pt x="1262" y="502"/>
                    </a:lnTo>
                    <a:lnTo>
                      <a:pt x="1280" y="483"/>
                    </a:lnTo>
                    <a:lnTo>
                      <a:pt x="1296" y="464"/>
                    </a:lnTo>
                    <a:lnTo>
                      <a:pt x="1313" y="444"/>
                    </a:lnTo>
                    <a:lnTo>
                      <a:pt x="1328" y="424"/>
                    </a:lnTo>
                    <a:lnTo>
                      <a:pt x="1342" y="403"/>
                    </a:lnTo>
                    <a:lnTo>
                      <a:pt x="1356" y="381"/>
                    </a:lnTo>
                    <a:lnTo>
                      <a:pt x="1369" y="358"/>
                    </a:lnTo>
                    <a:lnTo>
                      <a:pt x="1381" y="335"/>
                    </a:lnTo>
                    <a:lnTo>
                      <a:pt x="1393" y="311"/>
                    </a:lnTo>
                    <a:lnTo>
                      <a:pt x="1396" y="307"/>
                    </a:lnTo>
                    <a:lnTo>
                      <a:pt x="1400" y="301"/>
                    </a:lnTo>
                    <a:lnTo>
                      <a:pt x="1403" y="294"/>
                    </a:lnTo>
                    <a:lnTo>
                      <a:pt x="1407" y="287"/>
                    </a:lnTo>
                    <a:lnTo>
                      <a:pt x="1413" y="269"/>
                    </a:lnTo>
                    <a:lnTo>
                      <a:pt x="1417" y="251"/>
                    </a:lnTo>
                    <a:lnTo>
                      <a:pt x="1421" y="232"/>
                    </a:lnTo>
                    <a:lnTo>
                      <a:pt x="1423" y="213"/>
                    </a:lnTo>
                    <a:lnTo>
                      <a:pt x="1426" y="197"/>
                    </a:lnTo>
                    <a:lnTo>
                      <a:pt x="1426" y="184"/>
                    </a:lnTo>
                    <a:lnTo>
                      <a:pt x="1426" y="177"/>
                    </a:lnTo>
                    <a:lnTo>
                      <a:pt x="1425" y="171"/>
                    </a:lnTo>
                    <a:lnTo>
                      <a:pt x="1423" y="166"/>
                    </a:lnTo>
                    <a:lnTo>
                      <a:pt x="1421" y="160"/>
                    </a:lnTo>
                    <a:lnTo>
                      <a:pt x="1414" y="151"/>
                    </a:lnTo>
                    <a:lnTo>
                      <a:pt x="1407" y="143"/>
                    </a:lnTo>
                    <a:lnTo>
                      <a:pt x="1400" y="134"/>
                    </a:lnTo>
                    <a:lnTo>
                      <a:pt x="1393" y="126"/>
                    </a:lnTo>
                    <a:lnTo>
                      <a:pt x="1387" y="117"/>
                    </a:lnTo>
                    <a:lnTo>
                      <a:pt x="1383" y="107"/>
                    </a:lnTo>
                    <a:lnTo>
                      <a:pt x="1381" y="105"/>
                    </a:lnTo>
                    <a:lnTo>
                      <a:pt x="1379" y="103"/>
                    </a:lnTo>
                    <a:lnTo>
                      <a:pt x="1373" y="97"/>
                    </a:lnTo>
                    <a:lnTo>
                      <a:pt x="1367" y="91"/>
                    </a:lnTo>
                    <a:lnTo>
                      <a:pt x="1358" y="89"/>
                    </a:lnTo>
                    <a:lnTo>
                      <a:pt x="1342" y="84"/>
                    </a:lnTo>
                    <a:lnTo>
                      <a:pt x="1335" y="81"/>
                    </a:lnTo>
                    <a:lnTo>
                      <a:pt x="1329" y="79"/>
                    </a:lnTo>
                    <a:lnTo>
                      <a:pt x="1325" y="76"/>
                    </a:lnTo>
                    <a:lnTo>
                      <a:pt x="1322" y="73"/>
                    </a:lnTo>
                    <a:lnTo>
                      <a:pt x="1319" y="71"/>
                    </a:lnTo>
                    <a:lnTo>
                      <a:pt x="1314" y="67"/>
                    </a:lnTo>
                    <a:lnTo>
                      <a:pt x="1309" y="58"/>
                    </a:lnTo>
                    <a:lnTo>
                      <a:pt x="1301" y="46"/>
                    </a:lnTo>
                    <a:lnTo>
                      <a:pt x="1296" y="40"/>
                    </a:lnTo>
                    <a:lnTo>
                      <a:pt x="1292" y="33"/>
                    </a:lnTo>
                    <a:lnTo>
                      <a:pt x="1288" y="27"/>
                    </a:lnTo>
                    <a:lnTo>
                      <a:pt x="1286" y="20"/>
                    </a:lnTo>
                    <a:lnTo>
                      <a:pt x="1283" y="11"/>
                    </a:lnTo>
                    <a:lnTo>
                      <a:pt x="1283" y="4"/>
                    </a:lnTo>
                    <a:lnTo>
                      <a:pt x="1285" y="2"/>
                    </a:lnTo>
                    <a:lnTo>
                      <a:pt x="1286" y="0"/>
                    </a:lnTo>
                    <a:lnTo>
                      <a:pt x="1287" y="0"/>
                    </a:lnTo>
                    <a:lnTo>
                      <a:pt x="1289" y="0"/>
                    </a:lnTo>
                    <a:lnTo>
                      <a:pt x="1294" y="1"/>
                    </a:lnTo>
                    <a:lnTo>
                      <a:pt x="1299" y="5"/>
                    </a:lnTo>
                    <a:lnTo>
                      <a:pt x="1306" y="10"/>
                    </a:lnTo>
                    <a:lnTo>
                      <a:pt x="1312" y="15"/>
                    </a:lnTo>
                    <a:lnTo>
                      <a:pt x="1339" y="43"/>
                    </a:lnTo>
                    <a:lnTo>
                      <a:pt x="1354" y="59"/>
                    </a:lnTo>
                    <a:lnTo>
                      <a:pt x="1374" y="78"/>
                    </a:lnTo>
                    <a:lnTo>
                      <a:pt x="1394" y="97"/>
                    </a:lnTo>
                    <a:lnTo>
                      <a:pt x="1402" y="106"/>
                    </a:lnTo>
                    <a:lnTo>
                      <a:pt x="1412" y="117"/>
                    </a:lnTo>
                    <a:lnTo>
                      <a:pt x="1420" y="129"/>
                    </a:lnTo>
                    <a:lnTo>
                      <a:pt x="1427" y="142"/>
                    </a:lnTo>
                    <a:lnTo>
                      <a:pt x="1508" y="292"/>
                    </a:lnTo>
                    <a:lnTo>
                      <a:pt x="1528" y="330"/>
                    </a:lnTo>
                    <a:lnTo>
                      <a:pt x="1547" y="369"/>
                    </a:lnTo>
                    <a:lnTo>
                      <a:pt x="1568" y="407"/>
                    </a:lnTo>
                    <a:lnTo>
                      <a:pt x="1590" y="443"/>
                    </a:lnTo>
                    <a:lnTo>
                      <a:pt x="1597" y="461"/>
                    </a:lnTo>
                    <a:lnTo>
                      <a:pt x="1605" y="479"/>
                    </a:lnTo>
                    <a:lnTo>
                      <a:pt x="1616" y="496"/>
                    </a:lnTo>
                    <a:lnTo>
                      <a:pt x="1627" y="512"/>
                    </a:lnTo>
                    <a:lnTo>
                      <a:pt x="1634" y="522"/>
                    </a:lnTo>
                    <a:lnTo>
                      <a:pt x="1641" y="534"/>
                    </a:lnTo>
                    <a:lnTo>
                      <a:pt x="1648" y="548"/>
                    </a:lnTo>
                    <a:lnTo>
                      <a:pt x="1654" y="562"/>
                    </a:lnTo>
                    <a:lnTo>
                      <a:pt x="1665" y="592"/>
                    </a:lnTo>
                    <a:lnTo>
                      <a:pt x="1677" y="618"/>
                    </a:lnTo>
                    <a:lnTo>
                      <a:pt x="1684" y="631"/>
                    </a:lnTo>
                    <a:lnTo>
                      <a:pt x="1691" y="646"/>
                    </a:lnTo>
                    <a:lnTo>
                      <a:pt x="1698" y="660"/>
                    </a:lnTo>
                    <a:lnTo>
                      <a:pt x="1704" y="673"/>
                    </a:lnTo>
                    <a:lnTo>
                      <a:pt x="1708" y="686"/>
                    </a:lnTo>
                    <a:lnTo>
                      <a:pt x="1712" y="703"/>
                    </a:lnTo>
                    <a:lnTo>
                      <a:pt x="1717" y="719"/>
                    </a:lnTo>
                    <a:lnTo>
                      <a:pt x="1723" y="729"/>
                    </a:lnTo>
                    <a:lnTo>
                      <a:pt x="1723" y="741"/>
                    </a:lnTo>
                    <a:lnTo>
                      <a:pt x="1725" y="753"/>
                    </a:lnTo>
                    <a:lnTo>
                      <a:pt x="1727" y="765"/>
                    </a:lnTo>
                    <a:lnTo>
                      <a:pt x="1730" y="778"/>
                    </a:lnTo>
                    <a:lnTo>
                      <a:pt x="1732" y="791"/>
                    </a:lnTo>
                    <a:lnTo>
                      <a:pt x="1734" y="804"/>
                    </a:lnTo>
                    <a:lnTo>
                      <a:pt x="1735" y="817"/>
                    </a:lnTo>
                    <a:lnTo>
                      <a:pt x="1735" y="831"/>
                    </a:lnTo>
                    <a:lnTo>
                      <a:pt x="1732" y="846"/>
                    </a:lnTo>
                    <a:lnTo>
                      <a:pt x="1730" y="861"/>
                    </a:lnTo>
                    <a:lnTo>
                      <a:pt x="1725" y="876"/>
                    </a:lnTo>
                    <a:lnTo>
                      <a:pt x="1721" y="890"/>
                    </a:lnTo>
                    <a:lnTo>
                      <a:pt x="1715" y="904"/>
                    </a:lnTo>
                    <a:lnTo>
                      <a:pt x="1708" y="918"/>
                    </a:lnTo>
                    <a:lnTo>
                      <a:pt x="1701" y="932"/>
                    </a:lnTo>
                    <a:lnTo>
                      <a:pt x="1692" y="944"/>
                    </a:lnTo>
                    <a:lnTo>
                      <a:pt x="1688" y="949"/>
                    </a:lnTo>
                    <a:lnTo>
                      <a:pt x="1683" y="952"/>
                    </a:lnTo>
                    <a:lnTo>
                      <a:pt x="1682" y="954"/>
                    </a:lnTo>
                    <a:lnTo>
                      <a:pt x="1680" y="955"/>
                    </a:lnTo>
                    <a:lnTo>
                      <a:pt x="1678" y="957"/>
                    </a:lnTo>
                    <a:lnTo>
                      <a:pt x="1676" y="958"/>
                    </a:lnTo>
                    <a:lnTo>
                      <a:pt x="1675" y="958"/>
                    </a:lnTo>
                    <a:lnTo>
                      <a:pt x="1671" y="963"/>
                    </a:lnTo>
                    <a:lnTo>
                      <a:pt x="1665" y="967"/>
                    </a:lnTo>
                    <a:lnTo>
                      <a:pt x="1658" y="971"/>
                    </a:lnTo>
                    <a:lnTo>
                      <a:pt x="1651" y="975"/>
                    </a:lnTo>
                    <a:lnTo>
                      <a:pt x="1635" y="981"/>
                    </a:lnTo>
                    <a:lnTo>
                      <a:pt x="1623" y="984"/>
                    </a:lnTo>
                    <a:lnTo>
                      <a:pt x="1618" y="989"/>
                    </a:lnTo>
                    <a:lnTo>
                      <a:pt x="1614" y="993"/>
                    </a:lnTo>
                    <a:lnTo>
                      <a:pt x="1607" y="996"/>
                    </a:lnTo>
                    <a:lnTo>
                      <a:pt x="1600" y="1000"/>
                    </a:lnTo>
                    <a:lnTo>
                      <a:pt x="1584" y="1004"/>
                    </a:lnTo>
                    <a:lnTo>
                      <a:pt x="1566" y="1008"/>
                    </a:lnTo>
                    <a:lnTo>
                      <a:pt x="1544" y="1010"/>
                    </a:lnTo>
                    <a:lnTo>
                      <a:pt x="1522" y="1010"/>
                    </a:lnTo>
                    <a:lnTo>
                      <a:pt x="1499" y="1010"/>
                    </a:lnTo>
                    <a:lnTo>
                      <a:pt x="1474" y="1010"/>
                    </a:lnTo>
                    <a:lnTo>
                      <a:pt x="1426" y="1007"/>
                    </a:lnTo>
                    <a:lnTo>
                      <a:pt x="1380" y="1002"/>
                    </a:lnTo>
                    <a:lnTo>
                      <a:pt x="1342" y="997"/>
                    </a:lnTo>
                    <a:lnTo>
                      <a:pt x="1314" y="995"/>
                    </a:lnTo>
                    <a:lnTo>
                      <a:pt x="1149" y="978"/>
                    </a:lnTo>
                    <a:lnTo>
                      <a:pt x="1139" y="978"/>
                    </a:lnTo>
                    <a:lnTo>
                      <a:pt x="1130" y="978"/>
                    </a:lnTo>
                    <a:lnTo>
                      <a:pt x="1119" y="978"/>
                    </a:lnTo>
                    <a:lnTo>
                      <a:pt x="1108" y="981"/>
                    </a:lnTo>
                    <a:lnTo>
                      <a:pt x="1099" y="983"/>
                    </a:lnTo>
                    <a:lnTo>
                      <a:pt x="1090" y="985"/>
                    </a:lnTo>
                    <a:lnTo>
                      <a:pt x="1080" y="990"/>
                    </a:lnTo>
                    <a:lnTo>
                      <a:pt x="1071" y="995"/>
                    </a:lnTo>
                    <a:lnTo>
                      <a:pt x="1059" y="1002"/>
                    </a:lnTo>
                    <a:lnTo>
                      <a:pt x="1050" y="1007"/>
                    </a:lnTo>
                    <a:lnTo>
                      <a:pt x="1041" y="1010"/>
                    </a:lnTo>
                    <a:lnTo>
                      <a:pt x="1033" y="1010"/>
                    </a:lnTo>
                    <a:lnTo>
                      <a:pt x="1025" y="1009"/>
                    </a:lnTo>
                    <a:lnTo>
                      <a:pt x="1016" y="1007"/>
                    </a:lnTo>
                    <a:lnTo>
                      <a:pt x="1005" y="1003"/>
                    </a:lnTo>
                    <a:lnTo>
                      <a:pt x="992" y="1000"/>
                    </a:lnTo>
                    <a:lnTo>
                      <a:pt x="795" y="930"/>
                    </a:lnTo>
                    <a:close/>
                    <a:moveTo>
                      <a:pt x="295" y="552"/>
                    </a:moveTo>
                    <a:lnTo>
                      <a:pt x="270" y="551"/>
                    </a:lnTo>
                    <a:lnTo>
                      <a:pt x="246" y="549"/>
                    </a:lnTo>
                    <a:lnTo>
                      <a:pt x="234" y="548"/>
                    </a:lnTo>
                    <a:lnTo>
                      <a:pt x="223" y="545"/>
                    </a:lnTo>
                    <a:lnTo>
                      <a:pt x="212" y="541"/>
                    </a:lnTo>
                    <a:lnTo>
                      <a:pt x="201" y="536"/>
                    </a:lnTo>
                    <a:lnTo>
                      <a:pt x="190" y="532"/>
                    </a:lnTo>
                    <a:lnTo>
                      <a:pt x="179" y="528"/>
                    </a:lnTo>
                    <a:lnTo>
                      <a:pt x="174" y="527"/>
                    </a:lnTo>
                    <a:lnTo>
                      <a:pt x="169" y="527"/>
                    </a:lnTo>
                    <a:lnTo>
                      <a:pt x="165" y="528"/>
                    </a:lnTo>
                    <a:lnTo>
                      <a:pt x="161" y="529"/>
                    </a:lnTo>
                    <a:lnTo>
                      <a:pt x="158" y="531"/>
                    </a:lnTo>
                    <a:lnTo>
                      <a:pt x="155" y="533"/>
                    </a:lnTo>
                    <a:lnTo>
                      <a:pt x="155" y="536"/>
                    </a:lnTo>
                    <a:lnTo>
                      <a:pt x="155" y="540"/>
                    </a:lnTo>
                    <a:lnTo>
                      <a:pt x="156" y="545"/>
                    </a:lnTo>
                    <a:lnTo>
                      <a:pt x="159" y="551"/>
                    </a:lnTo>
                    <a:lnTo>
                      <a:pt x="162" y="556"/>
                    </a:lnTo>
                    <a:lnTo>
                      <a:pt x="168" y="564"/>
                    </a:lnTo>
                    <a:lnTo>
                      <a:pt x="178" y="574"/>
                    </a:lnTo>
                    <a:lnTo>
                      <a:pt x="188" y="585"/>
                    </a:lnTo>
                    <a:lnTo>
                      <a:pt x="198" y="595"/>
                    </a:lnTo>
                    <a:lnTo>
                      <a:pt x="207" y="606"/>
                    </a:lnTo>
                    <a:lnTo>
                      <a:pt x="219" y="622"/>
                    </a:lnTo>
                    <a:lnTo>
                      <a:pt x="232" y="639"/>
                    </a:lnTo>
                    <a:lnTo>
                      <a:pt x="239" y="645"/>
                    </a:lnTo>
                    <a:lnTo>
                      <a:pt x="248" y="650"/>
                    </a:lnTo>
                    <a:lnTo>
                      <a:pt x="259" y="654"/>
                    </a:lnTo>
                    <a:lnTo>
                      <a:pt x="267" y="657"/>
                    </a:lnTo>
                    <a:lnTo>
                      <a:pt x="277" y="660"/>
                    </a:lnTo>
                    <a:lnTo>
                      <a:pt x="292" y="667"/>
                    </a:lnTo>
                    <a:lnTo>
                      <a:pt x="306" y="675"/>
                    </a:lnTo>
                    <a:lnTo>
                      <a:pt x="314" y="683"/>
                    </a:lnTo>
                    <a:lnTo>
                      <a:pt x="320" y="688"/>
                    </a:lnTo>
                    <a:lnTo>
                      <a:pt x="329" y="694"/>
                    </a:lnTo>
                    <a:lnTo>
                      <a:pt x="334" y="697"/>
                    </a:lnTo>
                    <a:lnTo>
                      <a:pt x="339" y="699"/>
                    </a:lnTo>
                    <a:lnTo>
                      <a:pt x="343" y="699"/>
                    </a:lnTo>
                    <a:lnTo>
                      <a:pt x="347" y="699"/>
                    </a:lnTo>
                    <a:lnTo>
                      <a:pt x="346" y="696"/>
                    </a:lnTo>
                    <a:lnTo>
                      <a:pt x="342" y="692"/>
                    </a:lnTo>
                    <a:lnTo>
                      <a:pt x="336" y="687"/>
                    </a:lnTo>
                    <a:lnTo>
                      <a:pt x="330" y="683"/>
                    </a:lnTo>
                    <a:lnTo>
                      <a:pt x="324" y="677"/>
                    </a:lnTo>
                    <a:lnTo>
                      <a:pt x="320" y="671"/>
                    </a:lnTo>
                    <a:lnTo>
                      <a:pt x="316" y="666"/>
                    </a:lnTo>
                    <a:lnTo>
                      <a:pt x="314" y="660"/>
                    </a:lnTo>
                    <a:lnTo>
                      <a:pt x="320" y="660"/>
                    </a:lnTo>
                    <a:lnTo>
                      <a:pt x="326" y="659"/>
                    </a:lnTo>
                    <a:lnTo>
                      <a:pt x="330" y="658"/>
                    </a:lnTo>
                    <a:lnTo>
                      <a:pt x="335" y="655"/>
                    </a:lnTo>
                    <a:lnTo>
                      <a:pt x="339" y="653"/>
                    </a:lnTo>
                    <a:lnTo>
                      <a:pt x="342" y="651"/>
                    </a:lnTo>
                    <a:lnTo>
                      <a:pt x="346" y="647"/>
                    </a:lnTo>
                    <a:lnTo>
                      <a:pt x="348" y="644"/>
                    </a:lnTo>
                    <a:lnTo>
                      <a:pt x="351" y="635"/>
                    </a:lnTo>
                    <a:lnTo>
                      <a:pt x="354" y="627"/>
                    </a:lnTo>
                    <a:lnTo>
                      <a:pt x="355" y="617"/>
                    </a:lnTo>
                    <a:lnTo>
                      <a:pt x="355" y="606"/>
                    </a:lnTo>
                    <a:lnTo>
                      <a:pt x="353" y="600"/>
                    </a:lnTo>
                    <a:lnTo>
                      <a:pt x="350" y="593"/>
                    </a:lnTo>
                    <a:lnTo>
                      <a:pt x="346" y="585"/>
                    </a:lnTo>
                    <a:lnTo>
                      <a:pt x="340" y="576"/>
                    </a:lnTo>
                    <a:lnTo>
                      <a:pt x="334" y="569"/>
                    </a:lnTo>
                    <a:lnTo>
                      <a:pt x="327" y="564"/>
                    </a:lnTo>
                    <a:lnTo>
                      <a:pt x="321" y="559"/>
                    </a:lnTo>
                    <a:lnTo>
                      <a:pt x="315" y="556"/>
                    </a:lnTo>
                    <a:lnTo>
                      <a:pt x="295" y="552"/>
                    </a:lnTo>
                    <a:close/>
                    <a:moveTo>
                      <a:pt x="85" y="353"/>
                    </a:moveTo>
                    <a:lnTo>
                      <a:pt x="71" y="354"/>
                    </a:lnTo>
                    <a:lnTo>
                      <a:pt x="55" y="355"/>
                    </a:lnTo>
                    <a:lnTo>
                      <a:pt x="44" y="355"/>
                    </a:lnTo>
                    <a:lnTo>
                      <a:pt x="32" y="355"/>
                    </a:lnTo>
                    <a:lnTo>
                      <a:pt x="21" y="354"/>
                    </a:lnTo>
                    <a:lnTo>
                      <a:pt x="11" y="354"/>
                    </a:lnTo>
                    <a:lnTo>
                      <a:pt x="7" y="355"/>
                    </a:lnTo>
                    <a:lnTo>
                      <a:pt x="4" y="358"/>
                    </a:lnTo>
                    <a:lnTo>
                      <a:pt x="2" y="363"/>
                    </a:lnTo>
                    <a:lnTo>
                      <a:pt x="0" y="367"/>
                    </a:lnTo>
                    <a:lnTo>
                      <a:pt x="2" y="373"/>
                    </a:lnTo>
                    <a:lnTo>
                      <a:pt x="6" y="378"/>
                    </a:lnTo>
                    <a:lnTo>
                      <a:pt x="11" y="382"/>
                    </a:lnTo>
                    <a:lnTo>
                      <a:pt x="18" y="386"/>
                    </a:lnTo>
                    <a:lnTo>
                      <a:pt x="26" y="388"/>
                    </a:lnTo>
                    <a:lnTo>
                      <a:pt x="32" y="390"/>
                    </a:lnTo>
                    <a:lnTo>
                      <a:pt x="41" y="395"/>
                    </a:lnTo>
                    <a:lnTo>
                      <a:pt x="49" y="397"/>
                    </a:lnTo>
                    <a:lnTo>
                      <a:pt x="61" y="398"/>
                    </a:lnTo>
                    <a:lnTo>
                      <a:pt x="78" y="400"/>
                    </a:lnTo>
                    <a:lnTo>
                      <a:pt x="86" y="398"/>
                    </a:lnTo>
                    <a:lnTo>
                      <a:pt x="93" y="397"/>
                    </a:lnTo>
                    <a:lnTo>
                      <a:pt x="96" y="396"/>
                    </a:lnTo>
                    <a:lnTo>
                      <a:pt x="99" y="395"/>
                    </a:lnTo>
                    <a:lnTo>
                      <a:pt x="101" y="393"/>
                    </a:lnTo>
                    <a:lnTo>
                      <a:pt x="102" y="390"/>
                    </a:lnTo>
                    <a:lnTo>
                      <a:pt x="107" y="389"/>
                    </a:lnTo>
                    <a:lnTo>
                      <a:pt x="109" y="384"/>
                    </a:lnTo>
                    <a:lnTo>
                      <a:pt x="111" y="380"/>
                    </a:lnTo>
                    <a:lnTo>
                      <a:pt x="112" y="376"/>
                    </a:lnTo>
                    <a:lnTo>
                      <a:pt x="111" y="370"/>
                    </a:lnTo>
                    <a:lnTo>
                      <a:pt x="108" y="364"/>
                    </a:lnTo>
                    <a:lnTo>
                      <a:pt x="105" y="360"/>
                    </a:lnTo>
                    <a:lnTo>
                      <a:pt x="100" y="357"/>
                    </a:lnTo>
                    <a:lnTo>
                      <a:pt x="85" y="353"/>
                    </a:lnTo>
                    <a:close/>
                  </a:path>
                </a:pathLst>
              </a:custGeom>
              <a:solidFill>
                <a:srgbClr val="FF7F7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9">
                <a:extLst>
                  <a:ext uri="{FF2B5EF4-FFF2-40B4-BE49-F238E27FC236}">
                    <a16:creationId xmlns:a16="http://schemas.microsoft.com/office/drawing/2014/main" id="{90078E01-34CD-4009-A3C5-59BA9F87DD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69708" y="4585411"/>
                <a:ext cx="567565" cy="411409"/>
              </a:xfrm>
              <a:custGeom>
                <a:avLst/>
                <a:gdLst>
                  <a:gd name="T0" fmla="*/ 721 w 2475"/>
                  <a:gd name="T1" fmla="*/ 1767 h 1794"/>
                  <a:gd name="T2" fmla="*/ 577 w 2475"/>
                  <a:gd name="T3" fmla="*/ 1733 h 1794"/>
                  <a:gd name="T4" fmla="*/ 2316 w 2475"/>
                  <a:gd name="T5" fmla="*/ 1151 h 1794"/>
                  <a:gd name="T6" fmla="*/ 2368 w 2475"/>
                  <a:gd name="T7" fmla="*/ 1121 h 1794"/>
                  <a:gd name="T8" fmla="*/ 2204 w 2475"/>
                  <a:gd name="T9" fmla="*/ 987 h 1794"/>
                  <a:gd name="T10" fmla="*/ 2305 w 2475"/>
                  <a:gd name="T11" fmla="*/ 894 h 1794"/>
                  <a:gd name="T12" fmla="*/ 2429 w 2475"/>
                  <a:gd name="T13" fmla="*/ 933 h 1794"/>
                  <a:gd name="T14" fmla="*/ 2417 w 2475"/>
                  <a:gd name="T15" fmla="*/ 682 h 1794"/>
                  <a:gd name="T16" fmla="*/ 2471 w 2475"/>
                  <a:gd name="T17" fmla="*/ 862 h 1794"/>
                  <a:gd name="T18" fmla="*/ 1879 w 2475"/>
                  <a:gd name="T19" fmla="*/ 1118 h 1794"/>
                  <a:gd name="T20" fmla="*/ 1922 w 2475"/>
                  <a:gd name="T21" fmla="*/ 1046 h 1794"/>
                  <a:gd name="T22" fmla="*/ 1974 w 2475"/>
                  <a:gd name="T23" fmla="*/ 1082 h 1794"/>
                  <a:gd name="T24" fmla="*/ 2016 w 2475"/>
                  <a:gd name="T25" fmla="*/ 1143 h 1794"/>
                  <a:gd name="T26" fmla="*/ 2197 w 2475"/>
                  <a:gd name="T27" fmla="*/ 1081 h 1794"/>
                  <a:gd name="T28" fmla="*/ 2180 w 2475"/>
                  <a:gd name="T29" fmla="*/ 870 h 1794"/>
                  <a:gd name="T30" fmla="*/ 2081 w 2475"/>
                  <a:gd name="T31" fmla="*/ 764 h 1794"/>
                  <a:gd name="T32" fmla="*/ 2043 w 2475"/>
                  <a:gd name="T33" fmla="*/ 772 h 1794"/>
                  <a:gd name="T34" fmla="*/ 1882 w 2475"/>
                  <a:gd name="T35" fmla="*/ 693 h 1794"/>
                  <a:gd name="T36" fmla="*/ 1920 w 2475"/>
                  <a:gd name="T37" fmla="*/ 578 h 1794"/>
                  <a:gd name="T38" fmla="*/ 1925 w 2475"/>
                  <a:gd name="T39" fmla="*/ 424 h 1794"/>
                  <a:gd name="T40" fmla="*/ 1800 w 2475"/>
                  <a:gd name="T41" fmla="*/ 422 h 1794"/>
                  <a:gd name="T42" fmla="*/ 1747 w 2475"/>
                  <a:gd name="T43" fmla="*/ 505 h 1794"/>
                  <a:gd name="T44" fmla="*/ 1721 w 2475"/>
                  <a:gd name="T45" fmla="*/ 457 h 1794"/>
                  <a:gd name="T46" fmla="*/ 1707 w 2475"/>
                  <a:gd name="T47" fmla="*/ 263 h 1794"/>
                  <a:gd name="T48" fmla="*/ 1596 w 2475"/>
                  <a:gd name="T49" fmla="*/ 467 h 1794"/>
                  <a:gd name="T50" fmla="*/ 1508 w 2475"/>
                  <a:gd name="T51" fmla="*/ 405 h 1794"/>
                  <a:gd name="T52" fmla="*/ 1361 w 2475"/>
                  <a:gd name="T53" fmla="*/ 547 h 1794"/>
                  <a:gd name="T54" fmla="*/ 1221 w 2475"/>
                  <a:gd name="T55" fmla="*/ 614 h 1794"/>
                  <a:gd name="T56" fmla="*/ 1090 w 2475"/>
                  <a:gd name="T57" fmla="*/ 820 h 1794"/>
                  <a:gd name="T58" fmla="*/ 961 w 2475"/>
                  <a:gd name="T59" fmla="*/ 994 h 1794"/>
                  <a:gd name="T60" fmla="*/ 918 w 2475"/>
                  <a:gd name="T61" fmla="*/ 1220 h 1794"/>
                  <a:gd name="T62" fmla="*/ 815 w 2475"/>
                  <a:gd name="T63" fmla="*/ 1224 h 1794"/>
                  <a:gd name="T64" fmla="*/ 883 w 2475"/>
                  <a:gd name="T65" fmla="*/ 1125 h 1794"/>
                  <a:gd name="T66" fmla="*/ 621 w 2475"/>
                  <a:gd name="T67" fmla="*/ 1114 h 1794"/>
                  <a:gd name="T68" fmla="*/ 645 w 2475"/>
                  <a:gd name="T69" fmla="*/ 1280 h 1794"/>
                  <a:gd name="T70" fmla="*/ 836 w 2475"/>
                  <a:gd name="T71" fmla="*/ 1442 h 1794"/>
                  <a:gd name="T72" fmla="*/ 828 w 2475"/>
                  <a:gd name="T73" fmla="*/ 1385 h 1794"/>
                  <a:gd name="T74" fmla="*/ 799 w 2475"/>
                  <a:gd name="T75" fmla="*/ 1299 h 1794"/>
                  <a:gd name="T76" fmla="*/ 943 w 2475"/>
                  <a:gd name="T77" fmla="*/ 1318 h 1794"/>
                  <a:gd name="T78" fmla="*/ 1193 w 2475"/>
                  <a:gd name="T79" fmla="*/ 1188 h 1794"/>
                  <a:gd name="T80" fmla="*/ 1271 w 2475"/>
                  <a:gd name="T81" fmla="*/ 1126 h 1794"/>
                  <a:gd name="T82" fmla="*/ 1472 w 2475"/>
                  <a:gd name="T83" fmla="*/ 1147 h 1794"/>
                  <a:gd name="T84" fmla="*/ 1444 w 2475"/>
                  <a:gd name="T85" fmla="*/ 1078 h 1794"/>
                  <a:gd name="T86" fmla="*/ 1665 w 2475"/>
                  <a:gd name="T87" fmla="*/ 1145 h 1794"/>
                  <a:gd name="T88" fmla="*/ 51 w 2475"/>
                  <a:gd name="T89" fmla="*/ 651 h 1794"/>
                  <a:gd name="T90" fmla="*/ 42 w 2475"/>
                  <a:gd name="T91" fmla="*/ 734 h 1794"/>
                  <a:gd name="T92" fmla="*/ 390 w 2475"/>
                  <a:gd name="T93" fmla="*/ 541 h 1794"/>
                  <a:gd name="T94" fmla="*/ 231 w 2475"/>
                  <a:gd name="T95" fmla="*/ 623 h 1794"/>
                  <a:gd name="T96" fmla="*/ 466 w 2475"/>
                  <a:gd name="T97" fmla="*/ 619 h 1794"/>
                  <a:gd name="T98" fmla="*/ 674 w 2475"/>
                  <a:gd name="T99" fmla="*/ 454 h 1794"/>
                  <a:gd name="T100" fmla="*/ 600 w 2475"/>
                  <a:gd name="T101" fmla="*/ 432 h 1794"/>
                  <a:gd name="T102" fmla="*/ 548 w 2475"/>
                  <a:gd name="T103" fmla="*/ 531 h 1794"/>
                  <a:gd name="T104" fmla="*/ 694 w 2475"/>
                  <a:gd name="T105" fmla="*/ 514 h 1794"/>
                  <a:gd name="T106" fmla="*/ 721 w 2475"/>
                  <a:gd name="T107" fmla="*/ 365 h 1794"/>
                  <a:gd name="T108" fmla="*/ 887 w 2475"/>
                  <a:gd name="T109" fmla="*/ 254 h 1794"/>
                  <a:gd name="T110" fmla="*/ 1068 w 2475"/>
                  <a:gd name="T111" fmla="*/ 123 h 1794"/>
                  <a:gd name="T112" fmla="*/ 1185 w 2475"/>
                  <a:gd name="T113" fmla="*/ 28 h 1794"/>
                  <a:gd name="T114" fmla="*/ 1242 w 2475"/>
                  <a:gd name="T115" fmla="*/ 65 h 1794"/>
                  <a:gd name="T116" fmla="*/ 1322 w 2475"/>
                  <a:gd name="T117" fmla="*/ 105 h 1794"/>
                  <a:gd name="T118" fmla="*/ 1213 w 2475"/>
                  <a:gd name="T119" fmla="*/ 124 h 1794"/>
                  <a:gd name="T120" fmla="*/ 1073 w 2475"/>
                  <a:gd name="T121" fmla="*/ 230 h 1794"/>
                  <a:gd name="T122" fmla="*/ 941 w 2475"/>
                  <a:gd name="T123" fmla="*/ 346 h 1794"/>
                  <a:gd name="T124" fmla="*/ 824 w 2475"/>
                  <a:gd name="T125" fmla="*/ 477 h 1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75" h="1794">
                    <a:moveTo>
                      <a:pt x="597" y="1725"/>
                    </a:moveTo>
                    <a:lnTo>
                      <a:pt x="601" y="1727"/>
                    </a:lnTo>
                    <a:lnTo>
                      <a:pt x="607" y="1728"/>
                    </a:lnTo>
                    <a:lnTo>
                      <a:pt x="613" y="1729"/>
                    </a:lnTo>
                    <a:lnTo>
                      <a:pt x="619" y="1729"/>
                    </a:lnTo>
                    <a:lnTo>
                      <a:pt x="631" y="1729"/>
                    </a:lnTo>
                    <a:lnTo>
                      <a:pt x="643" y="1726"/>
                    </a:lnTo>
                    <a:lnTo>
                      <a:pt x="654" y="1720"/>
                    </a:lnTo>
                    <a:lnTo>
                      <a:pt x="665" y="1713"/>
                    </a:lnTo>
                    <a:lnTo>
                      <a:pt x="678" y="1704"/>
                    </a:lnTo>
                    <a:lnTo>
                      <a:pt x="687" y="1694"/>
                    </a:lnTo>
                    <a:lnTo>
                      <a:pt x="694" y="1707"/>
                    </a:lnTo>
                    <a:lnTo>
                      <a:pt x="700" y="1722"/>
                    </a:lnTo>
                    <a:lnTo>
                      <a:pt x="702" y="1726"/>
                    </a:lnTo>
                    <a:lnTo>
                      <a:pt x="705" y="1729"/>
                    </a:lnTo>
                    <a:lnTo>
                      <a:pt x="707" y="1732"/>
                    </a:lnTo>
                    <a:lnTo>
                      <a:pt x="711" y="1733"/>
                    </a:lnTo>
                    <a:lnTo>
                      <a:pt x="719" y="1734"/>
                    </a:lnTo>
                    <a:lnTo>
                      <a:pt x="727" y="1735"/>
                    </a:lnTo>
                    <a:lnTo>
                      <a:pt x="725" y="1746"/>
                    </a:lnTo>
                    <a:lnTo>
                      <a:pt x="722" y="1757"/>
                    </a:lnTo>
                    <a:lnTo>
                      <a:pt x="721" y="1767"/>
                    </a:lnTo>
                    <a:lnTo>
                      <a:pt x="720" y="1780"/>
                    </a:lnTo>
                    <a:lnTo>
                      <a:pt x="718" y="1786"/>
                    </a:lnTo>
                    <a:lnTo>
                      <a:pt x="714" y="1791"/>
                    </a:lnTo>
                    <a:lnTo>
                      <a:pt x="711" y="1793"/>
                    </a:lnTo>
                    <a:lnTo>
                      <a:pt x="705" y="1794"/>
                    </a:lnTo>
                    <a:lnTo>
                      <a:pt x="693" y="1794"/>
                    </a:lnTo>
                    <a:lnTo>
                      <a:pt x="681" y="1793"/>
                    </a:lnTo>
                    <a:lnTo>
                      <a:pt x="670" y="1791"/>
                    </a:lnTo>
                    <a:lnTo>
                      <a:pt x="659" y="1788"/>
                    </a:lnTo>
                    <a:lnTo>
                      <a:pt x="644" y="1785"/>
                    </a:lnTo>
                    <a:lnTo>
                      <a:pt x="631" y="1783"/>
                    </a:lnTo>
                    <a:lnTo>
                      <a:pt x="625" y="1780"/>
                    </a:lnTo>
                    <a:lnTo>
                      <a:pt x="619" y="1778"/>
                    </a:lnTo>
                    <a:lnTo>
                      <a:pt x="612" y="1774"/>
                    </a:lnTo>
                    <a:lnTo>
                      <a:pt x="607" y="1770"/>
                    </a:lnTo>
                    <a:lnTo>
                      <a:pt x="597" y="1762"/>
                    </a:lnTo>
                    <a:lnTo>
                      <a:pt x="585" y="1752"/>
                    </a:lnTo>
                    <a:lnTo>
                      <a:pt x="580" y="1747"/>
                    </a:lnTo>
                    <a:lnTo>
                      <a:pt x="577" y="1741"/>
                    </a:lnTo>
                    <a:lnTo>
                      <a:pt x="576" y="1739"/>
                    </a:lnTo>
                    <a:lnTo>
                      <a:pt x="576" y="1735"/>
                    </a:lnTo>
                    <a:lnTo>
                      <a:pt x="577" y="1733"/>
                    </a:lnTo>
                    <a:lnTo>
                      <a:pt x="578" y="1731"/>
                    </a:lnTo>
                    <a:lnTo>
                      <a:pt x="597" y="1725"/>
                    </a:lnTo>
                    <a:close/>
                    <a:moveTo>
                      <a:pt x="2471" y="949"/>
                    </a:moveTo>
                    <a:lnTo>
                      <a:pt x="2471" y="967"/>
                    </a:lnTo>
                    <a:lnTo>
                      <a:pt x="2470" y="985"/>
                    </a:lnTo>
                    <a:lnTo>
                      <a:pt x="2468" y="1002"/>
                    </a:lnTo>
                    <a:lnTo>
                      <a:pt x="2464" y="1020"/>
                    </a:lnTo>
                    <a:lnTo>
                      <a:pt x="2458" y="1056"/>
                    </a:lnTo>
                    <a:lnTo>
                      <a:pt x="2455" y="1093"/>
                    </a:lnTo>
                    <a:lnTo>
                      <a:pt x="2455" y="1099"/>
                    </a:lnTo>
                    <a:lnTo>
                      <a:pt x="2454" y="1105"/>
                    </a:lnTo>
                    <a:lnTo>
                      <a:pt x="2451" y="1110"/>
                    </a:lnTo>
                    <a:lnTo>
                      <a:pt x="2450" y="1114"/>
                    </a:lnTo>
                    <a:lnTo>
                      <a:pt x="2443" y="1122"/>
                    </a:lnTo>
                    <a:lnTo>
                      <a:pt x="2436" y="1130"/>
                    </a:lnTo>
                    <a:lnTo>
                      <a:pt x="2427" y="1135"/>
                    </a:lnTo>
                    <a:lnTo>
                      <a:pt x="2416" y="1140"/>
                    </a:lnTo>
                    <a:lnTo>
                      <a:pt x="2404" y="1144"/>
                    </a:lnTo>
                    <a:lnTo>
                      <a:pt x="2392" y="1146"/>
                    </a:lnTo>
                    <a:lnTo>
                      <a:pt x="2367" y="1150"/>
                    </a:lnTo>
                    <a:lnTo>
                      <a:pt x="2341" y="1151"/>
                    </a:lnTo>
                    <a:lnTo>
                      <a:pt x="2316" y="1151"/>
                    </a:lnTo>
                    <a:lnTo>
                      <a:pt x="2296" y="1151"/>
                    </a:lnTo>
                    <a:lnTo>
                      <a:pt x="2284" y="1151"/>
                    </a:lnTo>
                    <a:lnTo>
                      <a:pt x="2268" y="1151"/>
                    </a:lnTo>
                    <a:lnTo>
                      <a:pt x="2250" y="1152"/>
                    </a:lnTo>
                    <a:lnTo>
                      <a:pt x="2235" y="1152"/>
                    </a:lnTo>
                    <a:lnTo>
                      <a:pt x="2228" y="1152"/>
                    </a:lnTo>
                    <a:lnTo>
                      <a:pt x="2223" y="1151"/>
                    </a:lnTo>
                    <a:lnTo>
                      <a:pt x="2220" y="1150"/>
                    </a:lnTo>
                    <a:lnTo>
                      <a:pt x="2217" y="1148"/>
                    </a:lnTo>
                    <a:lnTo>
                      <a:pt x="2219" y="1147"/>
                    </a:lnTo>
                    <a:lnTo>
                      <a:pt x="2222" y="1144"/>
                    </a:lnTo>
                    <a:lnTo>
                      <a:pt x="2228" y="1141"/>
                    </a:lnTo>
                    <a:lnTo>
                      <a:pt x="2237" y="1138"/>
                    </a:lnTo>
                    <a:lnTo>
                      <a:pt x="2249" y="1135"/>
                    </a:lnTo>
                    <a:lnTo>
                      <a:pt x="2267" y="1134"/>
                    </a:lnTo>
                    <a:lnTo>
                      <a:pt x="2288" y="1132"/>
                    </a:lnTo>
                    <a:lnTo>
                      <a:pt x="2310" y="1131"/>
                    </a:lnTo>
                    <a:lnTo>
                      <a:pt x="2333" y="1130"/>
                    </a:lnTo>
                    <a:lnTo>
                      <a:pt x="2350" y="1127"/>
                    </a:lnTo>
                    <a:lnTo>
                      <a:pt x="2358" y="1126"/>
                    </a:lnTo>
                    <a:lnTo>
                      <a:pt x="2364" y="1124"/>
                    </a:lnTo>
                    <a:lnTo>
                      <a:pt x="2368" y="1121"/>
                    </a:lnTo>
                    <a:lnTo>
                      <a:pt x="2369" y="1119"/>
                    </a:lnTo>
                    <a:lnTo>
                      <a:pt x="2369" y="1115"/>
                    </a:lnTo>
                    <a:lnTo>
                      <a:pt x="2368" y="1111"/>
                    </a:lnTo>
                    <a:lnTo>
                      <a:pt x="2365" y="1106"/>
                    </a:lnTo>
                    <a:lnTo>
                      <a:pt x="2363" y="1102"/>
                    </a:lnTo>
                    <a:lnTo>
                      <a:pt x="2356" y="1093"/>
                    </a:lnTo>
                    <a:lnTo>
                      <a:pt x="2348" y="1084"/>
                    </a:lnTo>
                    <a:lnTo>
                      <a:pt x="2338" y="1074"/>
                    </a:lnTo>
                    <a:lnTo>
                      <a:pt x="2329" y="1067"/>
                    </a:lnTo>
                    <a:lnTo>
                      <a:pt x="2320" y="1061"/>
                    </a:lnTo>
                    <a:lnTo>
                      <a:pt x="2313" y="1058"/>
                    </a:lnTo>
                    <a:lnTo>
                      <a:pt x="2282" y="1047"/>
                    </a:lnTo>
                    <a:lnTo>
                      <a:pt x="2253" y="1040"/>
                    </a:lnTo>
                    <a:lnTo>
                      <a:pt x="2247" y="1038"/>
                    </a:lnTo>
                    <a:lnTo>
                      <a:pt x="2240" y="1035"/>
                    </a:lnTo>
                    <a:lnTo>
                      <a:pt x="2234" y="1032"/>
                    </a:lnTo>
                    <a:lnTo>
                      <a:pt x="2228" y="1027"/>
                    </a:lnTo>
                    <a:lnTo>
                      <a:pt x="2222" y="1022"/>
                    </a:lnTo>
                    <a:lnTo>
                      <a:pt x="2217" y="1015"/>
                    </a:lnTo>
                    <a:lnTo>
                      <a:pt x="2213" y="1008"/>
                    </a:lnTo>
                    <a:lnTo>
                      <a:pt x="2208" y="1000"/>
                    </a:lnTo>
                    <a:lnTo>
                      <a:pt x="2204" y="987"/>
                    </a:lnTo>
                    <a:lnTo>
                      <a:pt x="2203" y="973"/>
                    </a:lnTo>
                    <a:lnTo>
                      <a:pt x="2203" y="956"/>
                    </a:lnTo>
                    <a:lnTo>
                      <a:pt x="2202" y="940"/>
                    </a:lnTo>
                    <a:lnTo>
                      <a:pt x="2201" y="923"/>
                    </a:lnTo>
                    <a:lnTo>
                      <a:pt x="2199" y="908"/>
                    </a:lnTo>
                    <a:lnTo>
                      <a:pt x="2196" y="902"/>
                    </a:lnTo>
                    <a:lnTo>
                      <a:pt x="2193" y="895"/>
                    </a:lnTo>
                    <a:lnTo>
                      <a:pt x="2189" y="890"/>
                    </a:lnTo>
                    <a:lnTo>
                      <a:pt x="2184" y="886"/>
                    </a:lnTo>
                    <a:lnTo>
                      <a:pt x="2193" y="887"/>
                    </a:lnTo>
                    <a:lnTo>
                      <a:pt x="2202" y="889"/>
                    </a:lnTo>
                    <a:lnTo>
                      <a:pt x="2210" y="893"/>
                    </a:lnTo>
                    <a:lnTo>
                      <a:pt x="2219" y="897"/>
                    </a:lnTo>
                    <a:lnTo>
                      <a:pt x="2228" y="902"/>
                    </a:lnTo>
                    <a:lnTo>
                      <a:pt x="2236" y="906"/>
                    </a:lnTo>
                    <a:lnTo>
                      <a:pt x="2246" y="908"/>
                    </a:lnTo>
                    <a:lnTo>
                      <a:pt x="2256" y="909"/>
                    </a:lnTo>
                    <a:lnTo>
                      <a:pt x="2264" y="909"/>
                    </a:lnTo>
                    <a:lnTo>
                      <a:pt x="2274" y="908"/>
                    </a:lnTo>
                    <a:lnTo>
                      <a:pt x="2282" y="906"/>
                    </a:lnTo>
                    <a:lnTo>
                      <a:pt x="2289" y="902"/>
                    </a:lnTo>
                    <a:lnTo>
                      <a:pt x="2305" y="894"/>
                    </a:lnTo>
                    <a:lnTo>
                      <a:pt x="2320" y="884"/>
                    </a:lnTo>
                    <a:lnTo>
                      <a:pt x="2334" y="873"/>
                    </a:lnTo>
                    <a:lnTo>
                      <a:pt x="2348" y="860"/>
                    </a:lnTo>
                    <a:lnTo>
                      <a:pt x="2361" y="848"/>
                    </a:lnTo>
                    <a:lnTo>
                      <a:pt x="2372" y="836"/>
                    </a:lnTo>
                    <a:lnTo>
                      <a:pt x="2380" y="821"/>
                    </a:lnTo>
                    <a:lnTo>
                      <a:pt x="2384" y="810"/>
                    </a:lnTo>
                    <a:lnTo>
                      <a:pt x="2387" y="814"/>
                    </a:lnTo>
                    <a:lnTo>
                      <a:pt x="2387" y="823"/>
                    </a:lnTo>
                    <a:lnTo>
                      <a:pt x="2387" y="836"/>
                    </a:lnTo>
                    <a:lnTo>
                      <a:pt x="2387" y="851"/>
                    </a:lnTo>
                    <a:lnTo>
                      <a:pt x="2384" y="882"/>
                    </a:lnTo>
                    <a:lnTo>
                      <a:pt x="2385" y="902"/>
                    </a:lnTo>
                    <a:lnTo>
                      <a:pt x="2388" y="912"/>
                    </a:lnTo>
                    <a:lnTo>
                      <a:pt x="2391" y="919"/>
                    </a:lnTo>
                    <a:lnTo>
                      <a:pt x="2396" y="924"/>
                    </a:lnTo>
                    <a:lnTo>
                      <a:pt x="2401" y="929"/>
                    </a:lnTo>
                    <a:lnTo>
                      <a:pt x="2405" y="932"/>
                    </a:lnTo>
                    <a:lnTo>
                      <a:pt x="2411" y="934"/>
                    </a:lnTo>
                    <a:lnTo>
                      <a:pt x="2417" y="935"/>
                    </a:lnTo>
                    <a:lnTo>
                      <a:pt x="2423" y="934"/>
                    </a:lnTo>
                    <a:lnTo>
                      <a:pt x="2429" y="933"/>
                    </a:lnTo>
                    <a:lnTo>
                      <a:pt x="2434" y="930"/>
                    </a:lnTo>
                    <a:lnTo>
                      <a:pt x="2439" y="926"/>
                    </a:lnTo>
                    <a:lnTo>
                      <a:pt x="2444" y="921"/>
                    </a:lnTo>
                    <a:lnTo>
                      <a:pt x="2448" y="916"/>
                    </a:lnTo>
                    <a:lnTo>
                      <a:pt x="2451" y="909"/>
                    </a:lnTo>
                    <a:lnTo>
                      <a:pt x="2454" y="901"/>
                    </a:lnTo>
                    <a:lnTo>
                      <a:pt x="2455" y="893"/>
                    </a:lnTo>
                    <a:lnTo>
                      <a:pt x="2457" y="871"/>
                    </a:lnTo>
                    <a:lnTo>
                      <a:pt x="2458" y="851"/>
                    </a:lnTo>
                    <a:lnTo>
                      <a:pt x="2458" y="833"/>
                    </a:lnTo>
                    <a:lnTo>
                      <a:pt x="2457" y="812"/>
                    </a:lnTo>
                    <a:lnTo>
                      <a:pt x="2456" y="794"/>
                    </a:lnTo>
                    <a:lnTo>
                      <a:pt x="2452" y="775"/>
                    </a:lnTo>
                    <a:lnTo>
                      <a:pt x="2448" y="756"/>
                    </a:lnTo>
                    <a:lnTo>
                      <a:pt x="2442" y="736"/>
                    </a:lnTo>
                    <a:lnTo>
                      <a:pt x="2434" y="723"/>
                    </a:lnTo>
                    <a:lnTo>
                      <a:pt x="2421" y="704"/>
                    </a:lnTo>
                    <a:lnTo>
                      <a:pt x="2418" y="698"/>
                    </a:lnTo>
                    <a:lnTo>
                      <a:pt x="2417" y="693"/>
                    </a:lnTo>
                    <a:lnTo>
                      <a:pt x="2416" y="690"/>
                    </a:lnTo>
                    <a:lnTo>
                      <a:pt x="2416" y="685"/>
                    </a:lnTo>
                    <a:lnTo>
                      <a:pt x="2417" y="682"/>
                    </a:lnTo>
                    <a:lnTo>
                      <a:pt x="2421" y="679"/>
                    </a:lnTo>
                    <a:lnTo>
                      <a:pt x="2425" y="677"/>
                    </a:lnTo>
                    <a:lnTo>
                      <a:pt x="2431" y="676"/>
                    </a:lnTo>
                    <a:lnTo>
                      <a:pt x="2436" y="673"/>
                    </a:lnTo>
                    <a:lnTo>
                      <a:pt x="2444" y="670"/>
                    </a:lnTo>
                    <a:lnTo>
                      <a:pt x="2448" y="669"/>
                    </a:lnTo>
                    <a:lnTo>
                      <a:pt x="2451" y="669"/>
                    </a:lnTo>
                    <a:lnTo>
                      <a:pt x="2454" y="670"/>
                    </a:lnTo>
                    <a:lnTo>
                      <a:pt x="2455" y="672"/>
                    </a:lnTo>
                    <a:lnTo>
                      <a:pt x="2459" y="676"/>
                    </a:lnTo>
                    <a:lnTo>
                      <a:pt x="2463" y="679"/>
                    </a:lnTo>
                    <a:lnTo>
                      <a:pt x="2465" y="685"/>
                    </a:lnTo>
                    <a:lnTo>
                      <a:pt x="2468" y="691"/>
                    </a:lnTo>
                    <a:lnTo>
                      <a:pt x="2471" y="706"/>
                    </a:lnTo>
                    <a:lnTo>
                      <a:pt x="2474" y="723"/>
                    </a:lnTo>
                    <a:lnTo>
                      <a:pt x="2475" y="757"/>
                    </a:lnTo>
                    <a:lnTo>
                      <a:pt x="2475" y="783"/>
                    </a:lnTo>
                    <a:lnTo>
                      <a:pt x="2475" y="800"/>
                    </a:lnTo>
                    <a:lnTo>
                      <a:pt x="2472" y="816"/>
                    </a:lnTo>
                    <a:lnTo>
                      <a:pt x="2471" y="833"/>
                    </a:lnTo>
                    <a:lnTo>
                      <a:pt x="2471" y="849"/>
                    </a:lnTo>
                    <a:lnTo>
                      <a:pt x="2471" y="862"/>
                    </a:lnTo>
                    <a:lnTo>
                      <a:pt x="2471" y="876"/>
                    </a:lnTo>
                    <a:lnTo>
                      <a:pt x="2472" y="889"/>
                    </a:lnTo>
                    <a:lnTo>
                      <a:pt x="2472" y="901"/>
                    </a:lnTo>
                    <a:lnTo>
                      <a:pt x="2471" y="949"/>
                    </a:lnTo>
                    <a:close/>
                    <a:moveTo>
                      <a:pt x="1866" y="1140"/>
                    </a:moveTo>
                    <a:lnTo>
                      <a:pt x="1879" y="1139"/>
                    </a:lnTo>
                    <a:lnTo>
                      <a:pt x="1900" y="1137"/>
                    </a:lnTo>
                    <a:lnTo>
                      <a:pt x="1912" y="1137"/>
                    </a:lnTo>
                    <a:lnTo>
                      <a:pt x="1921" y="1135"/>
                    </a:lnTo>
                    <a:lnTo>
                      <a:pt x="1928" y="1133"/>
                    </a:lnTo>
                    <a:lnTo>
                      <a:pt x="1932" y="1131"/>
                    </a:lnTo>
                    <a:lnTo>
                      <a:pt x="1933" y="1131"/>
                    </a:lnTo>
                    <a:lnTo>
                      <a:pt x="1933" y="1130"/>
                    </a:lnTo>
                    <a:lnTo>
                      <a:pt x="1933" y="1130"/>
                    </a:lnTo>
                    <a:lnTo>
                      <a:pt x="1932" y="1130"/>
                    </a:lnTo>
                    <a:lnTo>
                      <a:pt x="1927" y="1127"/>
                    </a:lnTo>
                    <a:lnTo>
                      <a:pt x="1921" y="1126"/>
                    </a:lnTo>
                    <a:lnTo>
                      <a:pt x="1908" y="1122"/>
                    </a:lnTo>
                    <a:lnTo>
                      <a:pt x="1898" y="1120"/>
                    </a:lnTo>
                    <a:lnTo>
                      <a:pt x="1891" y="1120"/>
                    </a:lnTo>
                    <a:lnTo>
                      <a:pt x="1884" y="1119"/>
                    </a:lnTo>
                    <a:lnTo>
                      <a:pt x="1879" y="1118"/>
                    </a:lnTo>
                    <a:lnTo>
                      <a:pt x="1874" y="1114"/>
                    </a:lnTo>
                    <a:lnTo>
                      <a:pt x="1871" y="1111"/>
                    </a:lnTo>
                    <a:lnTo>
                      <a:pt x="1868" y="1105"/>
                    </a:lnTo>
                    <a:lnTo>
                      <a:pt x="1867" y="1098"/>
                    </a:lnTo>
                    <a:lnTo>
                      <a:pt x="1866" y="1089"/>
                    </a:lnTo>
                    <a:lnTo>
                      <a:pt x="1878" y="1089"/>
                    </a:lnTo>
                    <a:lnTo>
                      <a:pt x="1887" y="1089"/>
                    </a:lnTo>
                    <a:lnTo>
                      <a:pt x="1897" y="1088"/>
                    </a:lnTo>
                    <a:lnTo>
                      <a:pt x="1908" y="1086"/>
                    </a:lnTo>
                    <a:lnTo>
                      <a:pt x="1914" y="1086"/>
                    </a:lnTo>
                    <a:lnTo>
                      <a:pt x="1921" y="1086"/>
                    </a:lnTo>
                    <a:lnTo>
                      <a:pt x="1926" y="1086"/>
                    </a:lnTo>
                    <a:lnTo>
                      <a:pt x="1932" y="1087"/>
                    </a:lnTo>
                    <a:lnTo>
                      <a:pt x="1942" y="1089"/>
                    </a:lnTo>
                    <a:lnTo>
                      <a:pt x="1954" y="1091"/>
                    </a:lnTo>
                    <a:lnTo>
                      <a:pt x="1952" y="1084"/>
                    </a:lnTo>
                    <a:lnTo>
                      <a:pt x="1949" y="1077"/>
                    </a:lnTo>
                    <a:lnTo>
                      <a:pt x="1944" y="1071"/>
                    </a:lnTo>
                    <a:lnTo>
                      <a:pt x="1939" y="1065"/>
                    </a:lnTo>
                    <a:lnTo>
                      <a:pt x="1933" y="1059"/>
                    </a:lnTo>
                    <a:lnTo>
                      <a:pt x="1927" y="1053"/>
                    </a:lnTo>
                    <a:lnTo>
                      <a:pt x="1922" y="1046"/>
                    </a:lnTo>
                    <a:lnTo>
                      <a:pt x="1920" y="1038"/>
                    </a:lnTo>
                    <a:lnTo>
                      <a:pt x="1918" y="1026"/>
                    </a:lnTo>
                    <a:lnTo>
                      <a:pt x="1913" y="1006"/>
                    </a:lnTo>
                    <a:lnTo>
                      <a:pt x="1911" y="998"/>
                    </a:lnTo>
                    <a:lnTo>
                      <a:pt x="1911" y="992"/>
                    </a:lnTo>
                    <a:lnTo>
                      <a:pt x="1911" y="989"/>
                    </a:lnTo>
                    <a:lnTo>
                      <a:pt x="1912" y="989"/>
                    </a:lnTo>
                    <a:lnTo>
                      <a:pt x="1913" y="990"/>
                    </a:lnTo>
                    <a:lnTo>
                      <a:pt x="1914" y="994"/>
                    </a:lnTo>
                    <a:lnTo>
                      <a:pt x="1919" y="1005"/>
                    </a:lnTo>
                    <a:lnTo>
                      <a:pt x="1924" y="1015"/>
                    </a:lnTo>
                    <a:lnTo>
                      <a:pt x="1928" y="1026"/>
                    </a:lnTo>
                    <a:lnTo>
                      <a:pt x="1934" y="1036"/>
                    </a:lnTo>
                    <a:lnTo>
                      <a:pt x="1939" y="1042"/>
                    </a:lnTo>
                    <a:lnTo>
                      <a:pt x="1944" y="1046"/>
                    </a:lnTo>
                    <a:lnTo>
                      <a:pt x="1948" y="1047"/>
                    </a:lnTo>
                    <a:lnTo>
                      <a:pt x="1952" y="1048"/>
                    </a:lnTo>
                    <a:lnTo>
                      <a:pt x="1961" y="1047"/>
                    </a:lnTo>
                    <a:lnTo>
                      <a:pt x="1971" y="1048"/>
                    </a:lnTo>
                    <a:lnTo>
                      <a:pt x="1972" y="1060"/>
                    </a:lnTo>
                    <a:lnTo>
                      <a:pt x="1972" y="1072"/>
                    </a:lnTo>
                    <a:lnTo>
                      <a:pt x="1974" y="1082"/>
                    </a:lnTo>
                    <a:lnTo>
                      <a:pt x="1978" y="1093"/>
                    </a:lnTo>
                    <a:lnTo>
                      <a:pt x="1980" y="1099"/>
                    </a:lnTo>
                    <a:lnTo>
                      <a:pt x="1983" y="1102"/>
                    </a:lnTo>
                    <a:lnTo>
                      <a:pt x="1986" y="1107"/>
                    </a:lnTo>
                    <a:lnTo>
                      <a:pt x="1991" y="1111"/>
                    </a:lnTo>
                    <a:lnTo>
                      <a:pt x="1995" y="1114"/>
                    </a:lnTo>
                    <a:lnTo>
                      <a:pt x="2000" y="1117"/>
                    </a:lnTo>
                    <a:lnTo>
                      <a:pt x="2006" y="1119"/>
                    </a:lnTo>
                    <a:lnTo>
                      <a:pt x="2012" y="1121"/>
                    </a:lnTo>
                    <a:lnTo>
                      <a:pt x="2007" y="1125"/>
                    </a:lnTo>
                    <a:lnTo>
                      <a:pt x="1995" y="1130"/>
                    </a:lnTo>
                    <a:lnTo>
                      <a:pt x="1983" y="1133"/>
                    </a:lnTo>
                    <a:lnTo>
                      <a:pt x="1975" y="1135"/>
                    </a:lnTo>
                    <a:lnTo>
                      <a:pt x="1968" y="1135"/>
                    </a:lnTo>
                    <a:lnTo>
                      <a:pt x="1955" y="1135"/>
                    </a:lnTo>
                    <a:lnTo>
                      <a:pt x="1945" y="1137"/>
                    </a:lnTo>
                    <a:lnTo>
                      <a:pt x="1939" y="1138"/>
                    </a:lnTo>
                    <a:lnTo>
                      <a:pt x="1953" y="1139"/>
                    </a:lnTo>
                    <a:lnTo>
                      <a:pt x="1968" y="1140"/>
                    </a:lnTo>
                    <a:lnTo>
                      <a:pt x="1983" y="1141"/>
                    </a:lnTo>
                    <a:lnTo>
                      <a:pt x="1999" y="1143"/>
                    </a:lnTo>
                    <a:lnTo>
                      <a:pt x="2016" y="1143"/>
                    </a:lnTo>
                    <a:lnTo>
                      <a:pt x="2033" y="1141"/>
                    </a:lnTo>
                    <a:lnTo>
                      <a:pt x="2050" y="1141"/>
                    </a:lnTo>
                    <a:lnTo>
                      <a:pt x="2067" y="1144"/>
                    </a:lnTo>
                    <a:lnTo>
                      <a:pt x="2081" y="1146"/>
                    </a:lnTo>
                    <a:lnTo>
                      <a:pt x="2097" y="1147"/>
                    </a:lnTo>
                    <a:lnTo>
                      <a:pt x="2114" y="1148"/>
                    </a:lnTo>
                    <a:lnTo>
                      <a:pt x="2133" y="1148"/>
                    </a:lnTo>
                    <a:lnTo>
                      <a:pt x="2150" y="1148"/>
                    </a:lnTo>
                    <a:lnTo>
                      <a:pt x="2168" y="1146"/>
                    </a:lnTo>
                    <a:lnTo>
                      <a:pt x="2183" y="1144"/>
                    </a:lnTo>
                    <a:lnTo>
                      <a:pt x="2196" y="1139"/>
                    </a:lnTo>
                    <a:lnTo>
                      <a:pt x="2206" y="1132"/>
                    </a:lnTo>
                    <a:lnTo>
                      <a:pt x="2215" y="1124"/>
                    </a:lnTo>
                    <a:lnTo>
                      <a:pt x="2220" y="1120"/>
                    </a:lnTo>
                    <a:lnTo>
                      <a:pt x="2224" y="1117"/>
                    </a:lnTo>
                    <a:lnTo>
                      <a:pt x="2230" y="1113"/>
                    </a:lnTo>
                    <a:lnTo>
                      <a:pt x="2236" y="1111"/>
                    </a:lnTo>
                    <a:lnTo>
                      <a:pt x="2233" y="1106"/>
                    </a:lnTo>
                    <a:lnTo>
                      <a:pt x="2229" y="1100"/>
                    </a:lnTo>
                    <a:lnTo>
                      <a:pt x="2219" y="1097"/>
                    </a:lnTo>
                    <a:lnTo>
                      <a:pt x="2208" y="1089"/>
                    </a:lnTo>
                    <a:lnTo>
                      <a:pt x="2197" y="1081"/>
                    </a:lnTo>
                    <a:lnTo>
                      <a:pt x="2188" y="1074"/>
                    </a:lnTo>
                    <a:lnTo>
                      <a:pt x="2186" y="1065"/>
                    </a:lnTo>
                    <a:lnTo>
                      <a:pt x="2183" y="1055"/>
                    </a:lnTo>
                    <a:lnTo>
                      <a:pt x="2182" y="1046"/>
                    </a:lnTo>
                    <a:lnTo>
                      <a:pt x="2181" y="1036"/>
                    </a:lnTo>
                    <a:lnTo>
                      <a:pt x="2181" y="1019"/>
                    </a:lnTo>
                    <a:lnTo>
                      <a:pt x="2182" y="1001"/>
                    </a:lnTo>
                    <a:lnTo>
                      <a:pt x="2183" y="983"/>
                    </a:lnTo>
                    <a:lnTo>
                      <a:pt x="2183" y="966"/>
                    </a:lnTo>
                    <a:lnTo>
                      <a:pt x="2182" y="957"/>
                    </a:lnTo>
                    <a:lnTo>
                      <a:pt x="2181" y="948"/>
                    </a:lnTo>
                    <a:lnTo>
                      <a:pt x="2179" y="940"/>
                    </a:lnTo>
                    <a:lnTo>
                      <a:pt x="2176" y="933"/>
                    </a:lnTo>
                    <a:lnTo>
                      <a:pt x="2170" y="919"/>
                    </a:lnTo>
                    <a:lnTo>
                      <a:pt x="2166" y="907"/>
                    </a:lnTo>
                    <a:lnTo>
                      <a:pt x="2162" y="897"/>
                    </a:lnTo>
                    <a:lnTo>
                      <a:pt x="2161" y="890"/>
                    </a:lnTo>
                    <a:lnTo>
                      <a:pt x="2161" y="887"/>
                    </a:lnTo>
                    <a:lnTo>
                      <a:pt x="2163" y="883"/>
                    </a:lnTo>
                    <a:lnTo>
                      <a:pt x="2166" y="880"/>
                    </a:lnTo>
                    <a:lnTo>
                      <a:pt x="2169" y="877"/>
                    </a:lnTo>
                    <a:lnTo>
                      <a:pt x="2180" y="870"/>
                    </a:lnTo>
                    <a:lnTo>
                      <a:pt x="2196" y="864"/>
                    </a:lnTo>
                    <a:lnTo>
                      <a:pt x="2199" y="863"/>
                    </a:lnTo>
                    <a:lnTo>
                      <a:pt x="2200" y="861"/>
                    </a:lnTo>
                    <a:lnTo>
                      <a:pt x="2201" y="858"/>
                    </a:lnTo>
                    <a:lnTo>
                      <a:pt x="2201" y="856"/>
                    </a:lnTo>
                    <a:lnTo>
                      <a:pt x="2200" y="849"/>
                    </a:lnTo>
                    <a:lnTo>
                      <a:pt x="2196" y="841"/>
                    </a:lnTo>
                    <a:lnTo>
                      <a:pt x="2189" y="827"/>
                    </a:lnTo>
                    <a:lnTo>
                      <a:pt x="2182" y="817"/>
                    </a:lnTo>
                    <a:lnTo>
                      <a:pt x="2166" y="817"/>
                    </a:lnTo>
                    <a:lnTo>
                      <a:pt x="2149" y="817"/>
                    </a:lnTo>
                    <a:lnTo>
                      <a:pt x="2144" y="812"/>
                    </a:lnTo>
                    <a:lnTo>
                      <a:pt x="2141" y="808"/>
                    </a:lnTo>
                    <a:lnTo>
                      <a:pt x="2140" y="803"/>
                    </a:lnTo>
                    <a:lnTo>
                      <a:pt x="2137" y="798"/>
                    </a:lnTo>
                    <a:lnTo>
                      <a:pt x="2136" y="794"/>
                    </a:lnTo>
                    <a:lnTo>
                      <a:pt x="2134" y="790"/>
                    </a:lnTo>
                    <a:lnTo>
                      <a:pt x="2130" y="785"/>
                    </a:lnTo>
                    <a:lnTo>
                      <a:pt x="2125" y="782"/>
                    </a:lnTo>
                    <a:lnTo>
                      <a:pt x="2109" y="776"/>
                    </a:lnTo>
                    <a:lnTo>
                      <a:pt x="2095" y="770"/>
                    </a:lnTo>
                    <a:lnTo>
                      <a:pt x="2081" y="764"/>
                    </a:lnTo>
                    <a:lnTo>
                      <a:pt x="2067" y="756"/>
                    </a:lnTo>
                    <a:lnTo>
                      <a:pt x="2052" y="746"/>
                    </a:lnTo>
                    <a:lnTo>
                      <a:pt x="2036" y="737"/>
                    </a:lnTo>
                    <a:lnTo>
                      <a:pt x="2028" y="731"/>
                    </a:lnTo>
                    <a:lnTo>
                      <a:pt x="2021" y="726"/>
                    </a:lnTo>
                    <a:lnTo>
                      <a:pt x="2014" y="721"/>
                    </a:lnTo>
                    <a:lnTo>
                      <a:pt x="2008" y="715"/>
                    </a:lnTo>
                    <a:lnTo>
                      <a:pt x="1952" y="647"/>
                    </a:lnTo>
                    <a:lnTo>
                      <a:pt x="1952" y="658"/>
                    </a:lnTo>
                    <a:lnTo>
                      <a:pt x="1954" y="668"/>
                    </a:lnTo>
                    <a:lnTo>
                      <a:pt x="1956" y="677"/>
                    </a:lnTo>
                    <a:lnTo>
                      <a:pt x="1961" y="685"/>
                    </a:lnTo>
                    <a:lnTo>
                      <a:pt x="1966" y="693"/>
                    </a:lnTo>
                    <a:lnTo>
                      <a:pt x="1972" y="702"/>
                    </a:lnTo>
                    <a:lnTo>
                      <a:pt x="1978" y="709"/>
                    </a:lnTo>
                    <a:lnTo>
                      <a:pt x="1985" y="716"/>
                    </a:lnTo>
                    <a:lnTo>
                      <a:pt x="2015" y="742"/>
                    </a:lnTo>
                    <a:lnTo>
                      <a:pt x="2046" y="767"/>
                    </a:lnTo>
                    <a:lnTo>
                      <a:pt x="2047" y="769"/>
                    </a:lnTo>
                    <a:lnTo>
                      <a:pt x="2048" y="770"/>
                    </a:lnTo>
                    <a:lnTo>
                      <a:pt x="2047" y="771"/>
                    </a:lnTo>
                    <a:lnTo>
                      <a:pt x="2043" y="772"/>
                    </a:lnTo>
                    <a:lnTo>
                      <a:pt x="2036" y="774"/>
                    </a:lnTo>
                    <a:lnTo>
                      <a:pt x="2026" y="775"/>
                    </a:lnTo>
                    <a:lnTo>
                      <a:pt x="2014" y="774"/>
                    </a:lnTo>
                    <a:lnTo>
                      <a:pt x="2003" y="772"/>
                    </a:lnTo>
                    <a:lnTo>
                      <a:pt x="1994" y="770"/>
                    </a:lnTo>
                    <a:lnTo>
                      <a:pt x="1987" y="767"/>
                    </a:lnTo>
                    <a:lnTo>
                      <a:pt x="1975" y="756"/>
                    </a:lnTo>
                    <a:lnTo>
                      <a:pt x="1955" y="737"/>
                    </a:lnTo>
                    <a:lnTo>
                      <a:pt x="1938" y="718"/>
                    </a:lnTo>
                    <a:lnTo>
                      <a:pt x="1929" y="708"/>
                    </a:lnTo>
                    <a:lnTo>
                      <a:pt x="1931" y="697"/>
                    </a:lnTo>
                    <a:lnTo>
                      <a:pt x="1932" y="684"/>
                    </a:lnTo>
                    <a:lnTo>
                      <a:pt x="1931" y="677"/>
                    </a:lnTo>
                    <a:lnTo>
                      <a:pt x="1929" y="672"/>
                    </a:lnTo>
                    <a:lnTo>
                      <a:pt x="1928" y="671"/>
                    </a:lnTo>
                    <a:lnTo>
                      <a:pt x="1926" y="670"/>
                    </a:lnTo>
                    <a:lnTo>
                      <a:pt x="1924" y="670"/>
                    </a:lnTo>
                    <a:lnTo>
                      <a:pt x="1920" y="670"/>
                    </a:lnTo>
                    <a:lnTo>
                      <a:pt x="1905" y="679"/>
                    </a:lnTo>
                    <a:lnTo>
                      <a:pt x="1888" y="690"/>
                    </a:lnTo>
                    <a:lnTo>
                      <a:pt x="1885" y="692"/>
                    </a:lnTo>
                    <a:lnTo>
                      <a:pt x="1882" y="693"/>
                    </a:lnTo>
                    <a:lnTo>
                      <a:pt x="1880" y="693"/>
                    </a:lnTo>
                    <a:lnTo>
                      <a:pt x="1878" y="693"/>
                    </a:lnTo>
                    <a:lnTo>
                      <a:pt x="1877" y="692"/>
                    </a:lnTo>
                    <a:lnTo>
                      <a:pt x="1877" y="689"/>
                    </a:lnTo>
                    <a:lnTo>
                      <a:pt x="1878" y="684"/>
                    </a:lnTo>
                    <a:lnTo>
                      <a:pt x="1880" y="678"/>
                    </a:lnTo>
                    <a:lnTo>
                      <a:pt x="1888" y="657"/>
                    </a:lnTo>
                    <a:lnTo>
                      <a:pt x="1895" y="646"/>
                    </a:lnTo>
                    <a:lnTo>
                      <a:pt x="1895" y="642"/>
                    </a:lnTo>
                    <a:lnTo>
                      <a:pt x="1894" y="636"/>
                    </a:lnTo>
                    <a:lnTo>
                      <a:pt x="1891" y="627"/>
                    </a:lnTo>
                    <a:lnTo>
                      <a:pt x="1885" y="617"/>
                    </a:lnTo>
                    <a:lnTo>
                      <a:pt x="1884" y="613"/>
                    </a:lnTo>
                    <a:lnTo>
                      <a:pt x="1884" y="611"/>
                    </a:lnTo>
                    <a:lnTo>
                      <a:pt x="1884" y="607"/>
                    </a:lnTo>
                    <a:lnTo>
                      <a:pt x="1885" y="604"/>
                    </a:lnTo>
                    <a:lnTo>
                      <a:pt x="1888" y="597"/>
                    </a:lnTo>
                    <a:lnTo>
                      <a:pt x="1893" y="591"/>
                    </a:lnTo>
                    <a:lnTo>
                      <a:pt x="1900" y="585"/>
                    </a:lnTo>
                    <a:lnTo>
                      <a:pt x="1907" y="581"/>
                    </a:lnTo>
                    <a:lnTo>
                      <a:pt x="1914" y="579"/>
                    </a:lnTo>
                    <a:lnTo>
                      <a:pt x="1920" y="578"/>
                    </a:lnTo>
                    <a:lnTo>
                      <a:pt x="1922" y="579"/>
                    </a:lnTo>
                    <a:lnTo>
                      <a:pt x="1925" y="580"/>
                    </a:lnTo>
                    <a:lnTo>
                      <a:pt x="1927" y="583"/>
                    </a:lnTo>
                    <a:lnTo>
                      <a:pt x="1931" y="586"/>
                    </a:lnTo>
                    <a:lnTo>
                      <a:pt x="1935" y="593"/>
                    </a:lnTo>
                    <a:lnTo>
                      <a:pt x="1940" y="603"/>
                    </a:lnTo>
                    <a:lnTo>
                      <a:pt x="1948" y="622"/>
                    </a:lnTo>
                    <a:lnTo>
                      <a:pt x="1953" y="636"/>
                    </a:lnTo>
                    <a:lnTo>
                      <a:pt x="1954" y="635"/>
                    </a:lnTo>
                    <a:lnTo>
                      <a:pt x="1955" y="632"/>
                    </a:lnTo>
                    <a:lnTo>
                      <a:pt x="1955" y="630"/>
                    </a:lnTo>
                    <a:lnTo>
                      <a:pt x="1955" y="627"/>
                    </a:lnTo>
                    <a:lnTo>
                      <a:pt x="1953" y="619"/>
                    </a:lnTo>
                    <a:lnTo>
                      <a:pt x="1951" y="611"/>
                    </a:lnTo>
                    <a:lnTo>
                      <a:pt x="1944" y="593"/>
                    </a:lnTo>
                    <a:lnTo>
                      <a:pt x="1940" y="584"/>
                    </a:lnTo>
                    <a:lnTo>
                      <a:pt x="1940" y="543"/>
                    </a:lnTo>
                    <a:lnTo>
                      <a:pt x="1936" y="503"/>
                    </a:lnTo>
                    <a:lnTo>
                      <a:pt x="1935" y="484"/>
                    </a:lnTo>
                    <a:lnTo>
                      <a:pt x="1933" y="464"/>
                    </a:lnTo>
                    <a:lnTo>
                      <a:pt x="1929" y="444"/>
                    </a:lnTo>
                    <a:lnTo>
                      <a:pt x="1925" y="424"/>
                    </a:lnTo>
                    <a:lnTo>
                      <a:pt x="1921" y="405"/>
                    </a:lnTo>
                    <a:lnTo>
                      <a:pt x="1918" y="386"/>
                    </a:lnTo>
                    <a:lnTo>
                      <a:pt x="1915" y="376"/>
                    </a:lnTo>
                    <a:lnTo>
                      <a:pt x="1912" y="368"/>
                    </a:lnTo>
                    <a:lnTo>
                      <a:pt x="1908" y="361"/>
                    </a:lnTo>
                    <a:lnTo>
                      <a:pt x="1905" y="354"/>
                    </a:lnTo>
                    <a:lnTo>
                      <a:pt x="1900" y="348"/>
                    </a:lnTo>
                    <a:lnTo>
                      <a:pt x="1895" y="343"/>
                    </a:lnTo>
                    <a:lnTo>
                      <a:pt x="1889" y="340"/>
                    </a:lnTo>
                    <a:lnTo>
                      <a:pt x="1884" y="339"/>
                    </a:lnTo>
                    <a:lnTo>
                      <a:pt x="1877" y="340"/>
                    </a:lnTo>
                    <a:lnTo>
                      <a:pt x="1868" y="343"/>
                    </a:lnTo>
                    <a:lnTo>
                      <a:pt x="1859" y="348"/>
                    </a:lnTo>
                    <a:lnTo>
                      <a:pt x="1849" y="356"/>
                    </a:lnTo>
                    <a:lnTo>
                      <a:pt x="1834" y="369"/>
                    </a:lnTo>
                    <a:lnTo>
                      <a:pt x="1811" y="391"/>
                    </a:lnTo>
                    <a:lnTo>
                      <a:pt x="1798" y="401"/>
                    </a:lnTo>
                    <a:lnTo>
                      <a:pt x="1788" y="412"/>
                    </a:lnTo>
                    <a:lnTo>
                      <a:pt x="1781" y="420"/>
                    </a:lnTo>
                    <a:lnTo>
                      <a:pt x="1778" y="425"/>
                    </a:lnTo>
                    <a:lnTo>
                      <a:pt x="1787" y="424"/>
                    </a:lnTo>
                    <a:lnTo>
                      <a:pt x="1800" y="422"/>
                    </a:lnTo>
                    <a:lnTo>
                      <a:pt x="1807" y="422"/>
                    </a:lnTo>
                    <a:lnTo>
                      <a:pt x="1812" y="422"/>
                    </a:lnTo>
                    <a:lnTo>
                      <a:pt x="1817" y="424"/>
                    </a:lnTo>
                    <a:lnTo>
                      <a:pt x="1819" y="426"/>
                    </a:lnTo>
                    <a:lnTo>
                      <a:pt x="1821" y="432"/>
                    </a:lnTo>
                    <a:lnTo>
                      <a:pt x="1821" y="439"/>
                    </a:lnTo>
                    <a:lnTo>
                      <a:pt x="1821" y="446"/>
                    </a:lnTo>
                    <a:lnTo>
                      <a:pt x="1819" y="454"/>
                    </a:lnTo>
                    <a:lnTo>
                      <a:pt x="1817" y="462"/>
                    </a:lnTo>
                    <a:lnTo>
                      <a:pt x="1813" y="471"/>
                    </a:lnTo>
                    <a:lnTo>
                      <a:pt x="1810" y="477"/>
                    </a:lnTo>
                    <a:lnTo>
                      <a:pt x="1806" y="481"/>
                    </a:lnTo>
                    <a:lnTo>
                      <a:pt x="1712" y="611"/>
                    </a:lnTo>
                    <a:lnTo>
                      <a:pt x="1713" y="596"/>
                    </a:lnTo>
                    <a:lnTo>
                      <a:pt x="1714" y="581"/>
                    </a:lnTo>
                    <a:lnTo>
                      <a:pt x="1717" y="570"/>
                    </a:lnTo>
                    <a:lnTo>
                      <a:pt x="1720" y="557"/>
                    </a:lnTo>
                    <a:lnTo>
                      <a:pt x="1724" y="546"/>
                    </a:lnTo>
                    <a:lnTo>
                      <a:pt x="1730" y="534"/>
                    </a:lnTo>
                    <a:lnTo>
                      <a:pt x="1735" y="523"/>
                    </a:lnTo>
                    <a:lnTo>
                      <a:pt x="1744" y="510"/>
                    </a:lnTo>
                    <a:lnTo>
                      <a:pt x="1747" y="505"/>
                    </a:lnTo>
                    <a:lnTo>
                      <a:pt x="1753" y="495"/>
                    </a:lnTo>
                    <a:lnTo>
                      <a:pt x="1757" y="492"/>
                    </a:lnTo>
                    <a:lnTo>
                      <a:pt x="1758" y="487"/>
                    </a:lnTo>
                    <a:lnTo>
                      <a:pt x="1759" y="485"/>
                    </a:lnTo>
                    <a:lnTo>
                      <a:pt x="1758" y="482"/>
                    </a:lnTo>
                    <a:lnTo>
                      <a:pt x="1752" y="485"/>
                    </a:lnTo>
                    <a:lnTo>
                      <a:pt x="1745" y="488"/>
                    </a:lnTo>
                    <a:lnTo>
                      <a:pt x="1741" y="490"/>
                    </a:lnTo>
                    <a:lnTo>
                      <a:pt x="1738" y="490"/>
                    </a:lnTo>
                    <a:lnTo>
                      <a:pt x="1737" y="486"/>
                    </a:lnTo>
                    <a:lnTo>
                      <a:pt x="1738" y="479"/>
                    </a:lnTo>
                    <a:lnTo>
                      <a:pt x="1743" y="467"/>
                    </a:lnTo>
                    <a:lnTo>
                      <a:pt x="1750" y="455"/>
                    </a:lnTo>
                    <a:lnTo>
                      <a:pt x="1754" y="449"/>
                    </a:lnTo>
                    <a:lnTo>
                      <a:pt x="1757" y="444"/>
                    </a:lnTo>
                    <a:lnTo>
                      <a:pt x="1759" y="439"/>
                    </a:lnTo>
                    <a:lnTo>
                      <a:pt x="1760" y="434"/>
                    </a:lnTo>
                    <a:lnTo>
                      <a:pt x="1752" y="439"/>
                    </a:lnTo>
                    <a:lnTo>
                      <a:pt x="1738" y="448"/>
                    </a:lnTo>
                    <a:lnTo>
                      <a:pt x="1731" y="453"/>
                    </a:lnTo>
                    <a:lnTo>
                      <a:pt x="1724" y="455"/>
                    </a:lnTo>
                    <a:lnTo>
                      <a:pt x="1721" y="457"/>
                    </a:lnTo>
                    <a:lnTo>
                      <a:pt x="1719" y="457"/>
                    </a:lnTo>
                    <a:lnTo>
                      <a:pt x="1717" y="457"/>
                    </a:lnTo>
                    <a:lnTo>
                      <a:pt x="1716" y="455"/>
                    </a:lnTo>
                    <a:lnTo>
                      <a:pt x="1714" y="448"/>
                    </a:lnTo>
                    <a:lnTo>
                      <a:pt x="1716" y="439"/>
                    </a:lnTo>
                    <a:lnTo>
                      <a:pt x="1719" y="427"/>
                    </a:lnTo>
                    <a:lnTo>
                      <a:pt x="1724" y="414"/>
                    </a:lnTo>
                    <a:lnTo>
                      <a:pt x="1733" y="389"/>
                    </a:lnTo>
                    <a:lnTo>
                      <a:pt x="1739" y="372"/>
                    </a:lnTo>
                    <a:lnTo>
                      <a:pt x="1744" y="349"/>
                    </a:lnTo>
                    <a:lnTo>
                      <a:pt x="1746" y="325"/>
                    </a:lnTo>
                    <a:lnTo>
                      <a:pt x="1746" y="314"/>
                    </a:lnTo>
                    <a:lnTo>
                      <a:pt x="1745" y="302"/>
                    </a:lnTo>
                    <a:lnTo>
                      <a:pt x="1744" y="293"/>
                    </a:lnTo>
                    <a:lnTo>
                      <a:pt x="1740" y="283"/>
                    </a:lnTo>
                    <a:lnTo>
                      <a:pt x="1737" y="276"/>
                    </a:lnTo>
                    <a:lnTo>
                      <a:pt x="1731" y="269"/>
                    </a:lnTo>
                    <a:lnTo>
                      <a:pt x="1728" y="267"/>
                    </a:lnTo>
                    <a:lnTo>
                      <a:pt x="1725" y="266"/>
                    </a:lnTo>
                    <a:lnTo>
                      <a:pt x="1721" y="264"/>
                    </a:lnTo>
                    <a:lnTo>
                      <a:pt x="1717" y="263"/>
                    </a:lnTo>
                    <a:lnTo>
                      <a:pt x="1707" y="263"/>
                    </a:lnTo>
                    <a:lnTo>
                      <a:pt x="1697" y="267"/>
                    </a:lnTo>
                    <a:lnTo>
                      <a:pt x="1684" y="273"/>
                    </a:lnTo>
                    <a:lnTo>
                      <a:pt x="1669" y="281"/>
                    </a:lnTo>
                    <a:lnTo>
                      <a:pt x="1647" y="296"/>
                    </a:lnTo>
                    <a:lnTo>
                      <a:pt x="1618" y="320"/>
                    </a:lnTo>
                    <a:lnTo>
                      <a:pt x="1604" y="333"/>
                    </a:lnTo>
                    <a:lnTo>
                      <a:pt x="1592" y="345"/>
                    </a:lnTo>
                    <a:lnTo>
                      <a:pt x="1589" y="349"/>
                    </a:lnTo>
                    <a:lnTo>
                      <a:pt x="1585" y="354"/>
                    </a:lnTo>
                    <a:lnTo>
                      <a:pt x="1584" y="358"/>
                    </a:lnTo>
                    <a:lnTo>
                      <a:pt x="1585" y="360"/>
                    </a:lnTo>
                    <a:lnTo>
                      <a:pt x="1593" y="375"/>
                    </a:lnTo>
                    <a:lnTo>
                      <a:pt x="1600" y="388"/>
                    </a:lnTo>
                    <a:lnTo>
                      <a:pt x="1604" y="402"/>
                    </a:lnTo>
                    <a:lnTo>
                      <a:pt x="1605" y="415"/>
                    </a:lnTo>
                    <a:lnTo>
                      <a:pt x="1606" y="445"/>
                    </a:lnTo>
                    <a:lnTo>
                      <a:pt x="1605" y="481"/>
                    </a:lnTo>
                    <a:lnTo>
                      <a:pt x="1604" y="480"/>
                    </a:lnTo>
                    <a:lnTo>
                      <a:pt x="1602" y="479"/>
                    </a:lnTo>
                    <a:lnTo>
                      <a:pt x="1600" y="477"/>
                    </a:lnTo>
                    <a:lnTo>
                      <a:pt x="1598" y="474"/>
                    </a:lnTo>
                    <a:lnTo>
                      <a:pt x="1596" y="467"/>
                    </a:lnTo>
                    <a:lnTo>
                      <a:pt x="1592" y="459"/>
                    </a:lnTo>
                    <a:lnTo>
                      <a:pt x="1589" y="442"/>
                    </a:lnTo>
                    <a:lnTo>
                      <a:pt x="1587" y="431"/>
                    </a:lnTo>
                    <a:lnTo>
                      <a:pt x="1586" y="419"/>
                    </a:lnTo>
                    <a:lnTo>
                      <a:pt x="1584" y="412"/>
                    </a:lnTo>
                    <a:lnTo>
                      <a:pt x="1580" y="407"/>
                    </a:lnTo>
                    <a:lnTo>
                      <a:pt x="1577" y="405"/>
                    </a:lnTo>
                    <a:lnTo>
                      <a:pt x="1571" y="404"/>
                    </a:lnTo>
                    <a:lnTo>
                      <a:pt x="1566" y="402"/>
                    </a:lnTo>
                    <a:lnTo>
                      <a:pt x="1560" y="400"/>
                    </a:lnTo>
                    <a:lnTo>
                      <a:pt x="1555" y="395"/>
                    </a:lnTo>
                    <a:lnTo>
                      <a:pt x="1553" y="393"/>
                    </a:lnTo>
                    <a:lnTo>
                      <a:pt x="1553" y="391"/>
                    </a:lnTo>
                    <a:lnTo>
                      <a:pt x="1555" y="386"/>
                    </a:lnTo>
                    <a:lnTo>
                      <a:pt x="1556" y="382"/>
                    </a:lnTo>
                    <a:lnTo>
                      <a:pt x="1559" y="374"/>
                    </a:lnTo>
                    <a:lnTo>
                      <a:pt x="1562" y="368"/>
                    </a:lnTo>
                    <a:lnTo>
                      <a:pt x="1551" y="378"/>
                    </a:lnTo>
                    <a:lnTo>
                      <a:pt x="1539" y="388"/>
                    </a:lnTo>
                    <a:lnTo>
                      <a:pt x="1530" y="395"/>
                    </a:lnTo>
                    <a:lnTo>
                      <a:pt x="1519" y="400"/>
                    </a:lnTo>
                    <a:lnTo>
                      <a:pt x="1508" y="405"/>
                    </a:lnTo>
                    <a:lnTo>
                      <a:pt x="1496" y="408"/>
                    </a:lnTo>
                    <a:lnTo>
                      <a:pt x="1475" y="406"/>
                    </a:lnTo>
                    <a:lnTo>
                      <a:pt x="1451" y="402"/>
                    </a:lnTo>
                    <a:lnTo>
                      <a:pt x="1441" y="402"/>
                    </a:lnTo>
                    <a:lnTo>
                      <a:pt x="1430" y="404"/>
                    </a:lnTo>
                    <a:lnTo>
                      <a:pt x="1425" y="406"/>
                    </a:lnTo>
                    <a:lnTo>
                      <a:pt x="1421" y="408"/>
                    </a:lnTo>
                    <a:lnTo>
                      <a:pt x="1417" y="412"/>
                    </a:lnTo>
                    <a:lnTo>
                      <a:pt x="1413" y="416"/>
                    </a:lnTo>
                    <a:lnTo>
                      <a:pt x="1408" y="426"/>
                    </a:lnTo>
                    <a:lnTo>
                      <a:pt x="1403" y="438"/>
                    </a:lnTo>
                    <a:lnTo>
                      <a:pt x="1397" y="449"/>
                    </a:lnTo>
                    <a:lnTo>
                      <a:pt x="1392" y="464"/>
                    </a:lnTo>
                    <a:lnTo>
                      <a:pt x="1384" y="490"/>
                    </a:lnTo>
                    <a:lnTo>
                      <a:pt x="1378" y="513"/>
                    </a:lnTo>
                    <a:lnTo>
                      <a:pt x="1377" y="525"/>
                    </a:lnTo>
                    <a:lnTo>
                      <a:pt x="1375" y="541"/>
                    </a:lnTo>
                    <a:lnTo>
                      <a:pt x="1374" y="558"/>
                    </a:lnTo>
                    <a:lnTo>
                      <a:pt x="1371" y="566"/>
                    </a:lnTo>
                    <a:lnTo>
                      <a:pt x="1369" y="566"/>
                    </a:lnTo>
                    <a:lnTo>
                      <a:pt x="1365" y="556"/>
                    </a:lnTo>
                    <a:lnTo>
                      <a:pt x="1361" y="547"/>
                    </a:lnTo>
                    <a:lnTo>
                      <a:pt x="1356" y="541"/>
                    </a:lnTo>
                    <a:lnTo>
                      <a:pt x="1351" y="536"/>
                    </a:lnTo>
                    <a:lnTo>
                      <a:pt x="1345" y="532"/>
                    </a:lnTo>
                    <a:lnTo>
                      <a:pt x="1339" y="531"/>
                    </a:lnTo>
                    <a:lnTo>
                      <a:pt x="1334" y="530"/>
                    </a:lnTo>
                    <a:lnTo>
                      <a:pt x="1327" y="530"/>
                    </a:lnTo>
                    <a:lnTo>
                      <a:pt x="1321" y="532"/>
                    </a:lnTo>
                    <a:lnTo>
                      <a:pt x="1314" y="534"/>
                    </a:lnTo>
                    <a:lnTo>
                      <a:pt x="1307" y="538"/>
                    </a:lnTo>
                    <a:lnTo>
                      <a:pt x="1299" y="541"/>
                    </a:lnTo>
                    <a:lnTo>
                      <a:pt x="1287" y="552"/>
                    </a:lnTo>
                    <a:lnTo>
                      <a:pt x="1274" y="563"/>
                    </a:lnTo>
                    <a:lnTo>
                      <a:pt x="1269" y="567"/>
                    </a:lnTo>
                    <a:lnTo>
                      <a:pt x="1263" y="571"/>
                    </a:lnTo>
                    <a:lnTo>
                      <a:pt x="1258" y="572"/>
                    </a:lnTo>
                    <a:lnTo>
                      <a:pt x="1254" y="574"/>
                    </a:lnTo>
                    <a:lnTo>
                      <a:pt x="1245" y="577"/>
                    </a:lnTo>
                    <a:lnTo>
                      <a:pt x="1237" y="581"/>
                    </a:lnTo>
                    <a:lnTo>
                      <a:pt x="1231" y="589"/>
                    </a:lnTo>
                    <a:lnTo>
                      <a:pt x="1227" y="596"/>
                    </a:lnTo>
                    <a:lnTo>
                      <a:pt x="1223" y="605"/>
                    </a:lnTo>
                    <a:lnTo>
                      <a:pt x="1221" y="614"/>
                    </a:lnTo>
                    <a:lnTo>
                      <a:pt x="1218" y="624"/>
                    </a:lnTo>
                    <a:lnTo>
                      <a:pt x="1216" y="633"/>
                    </a:lnTo>
                    <a:lnTo>
                      <a:pt x="1213" y="643"/>
                    </a:lnTo>
                    <a:lnTo>
                      <a:pt x="1208" y="651"/>
                    </a:lnTo>
                    <a:lnTo>
                      <a:pt x="1201" y="663"/>
                    </a:lnTo>
                    <a:lnTo>
                      <a:pt x="1195" y="676"/>
                    </a:lnTo>
                    <a:lnTo>
                      <a:pt x="1190" y="689"/>
                    </a:lnTo>
                    <a:lnTo>
                      <a:pt x="1185" y="702"/>
                    </a:lnTo>
                    <a:lnTo>
                      <a:pt x="1182" y="715"/>
                    </a:lnTo>
                    <a:lnTo>
                      <a:pt x="1177" y="728"/>
                    </a:lnTo>
                    <a:lnTo>
                      <a:pt x="1171" y="741"/>
                    </a:lnTo>
                    <a:lnTo>
                      <a:pt x="1166" y="752"/>
                    </a:lnTo>
                    <a:lnTo>
                      <a:pt x="1160" y="759"/>
                    </a:lnTo>
                    <a:lnTo>
                      <a:pt x="1151" y="771"/>
                    </a:lnTo>
                    <a:lnTo>
                      <a:pt x="1140" y="784"/>
                    </a:lnTo>
                    <a:lnTo>
                      <a:pt x="1127" y="798"/>
                    </a:lnTo>
                    <a:lnTo>
                      <a:pt x="1121" y="804"/>
                    </a:lnTo>
                    <a:lnTo>
                      <a:pt x="1114" y="810"/>
                    </a:lnTo>
                    <a:lnTo>
                      <a:pt x="1108" y="815"/>
                    </a:lnTo>
                    <a:lnTo>
                      <a:pt x="1101" y="818"/>
                    </a:lnTo>
                    <a:lnTo>
                      <a:pt x="1095" y="820"/>
                    </a:lnTo>
                    <a:lnTo>
                      <a:pt x="1090" y="820"/>
                    </a:lnTo>
                    <a:lnTo>
                      <a:pt x="1084" y="818"/>
                    </a:lnTo>
                    <a:lnTo>
                      <a:pt x="1081" y="814"/>
                    </a:lnTo>
                    <a:lnTo>
                      <a:pt x="1079" y="815"/>
                    </a:lnTo>
                    <a:lnTo>
                      <a:pt x="1076" y="816"/>
                    </a:lnTo>
                    <a:lnTo>
                      <a:pt x="1073" y="820"/>
                    </a:lnTo>
                    <a:lnTo>
                      <a:pt x="1070" y="823"/>
                    </a:lnTo>
                    <a:lnTo>
                      <a:pt x="1064" y="833"/>
                    </a:lnTo>
                    <a:lnTo>
                      <a:pt x="1057" y="844"/>
                    </a:lnTo>
                    <a:lnTo>
                      <a:pt x="1047" y="868"/>
                    </a:lnTo>
                    <a:lnTo>
                      <a:pt x="1041" y="884"/>
                    </a:lnTo>
                    <a:lnTo>
                      <a:pt x="1036" y="894"/>
                    </a:lnTo>
                    <a:lnTo>
                      <a:pt x="1034" y="903"/>
                    </a:lnTo>
                    <a:lnTo>
                      <a:pt x="1030" y="914"/>
                    </a:lnTo>
                    <a:lnTo>
                      <a:pt x="1026" y="923"/>
                    </a:lnTo>
                    <a:lnTo>
                      <a:pt x="1020" y="937"/>
                    </a:lnTo>
                    <a:lnTo>
                      <a:pt x="1015" y="952"/>
                    </a:lnTo>
                    <a:lnTo>
                      <a:pt x="1006" y="966"/>
                    </a:lnTo>
                    <a:lnTo>
                      <a:pt x="993" y="979"/>
                    </a:lnTo>
                    <a:lnTo>
                      <a:pt x="982" y="981"/>
                    </a:lnTo>
                    <a:lnTo>
                      <a:pt x="973" y="983"/>
                    </a:lnTo>
                    <a:lnTo>
                      <a:pt x="967" y="988"/>
                    </a:lnTo>
                    <a:lnTo>
                      <a:pt x="961" y="994"/>
                    </a:lnTo>
                    <a:lnTo>
                      <a:pt x="956" y="999"/>
                    </a:lnTo>
                    <a:lnTo>
                      <a:pt x="952" y="1006"/>
                    </a:lnTo>
                    <a:lnTo>
                      <a:pt x="945" y="1018"/>
                    </a:lnTo>
                    <a:lnTo>
                      <a:pt x="938" y="1032"/>
                    </a:lnTo>
                    <a:lnTo>
                      <a:pt x="933" y="1044"/>
                    </a:lnTo>
                    <a:lnTo>
                      <a:pt x="929" y="1055"/>
                    </a:lnTo>
                    <a:lnTo>
                      <a:pt x="926" y="1067"/>
                    </a:lnTo>
                    <a:lnTo>
                      <a:pt x="920" y="1079"/>
                    </a:lnTo>
                    <a:lnTo>
                      <a:pt x="914" y="1088"/>
                    </a:lnTo>
                    <a:lnTo>
                      <a:pt x="909" y="1097"/>
                    </a:lnTo>
                    <a:lnTo>
                      <a:pt x="906" y="1102"/>
                    </a:lnTo>
                    <a:lnTo>
                      <a:pt x="903" y="1110"/>
                    </a:lnTo>
                    <a:lnTo>
                      <a:pt x="903" y="1115"/>
                    </a:lnTo>
                    <a:lnTo>
                      <a:pt x="902" y="1122"/>
                    </a:lnTo>
                    <a:lnTo>
                      <a:pt x="903" y="1131"/>
                    </a:lnTo>
                    <a:lnTo>
                      <a:pt x="903" y="1141"/>
                    </a:lnTo>
                    <a:lnTo>
                      <a:pt x="909" y="1164"/>
                    </a:lnTo>
                    <a:lnTo>
                      <a:pt x="916" y="1186"/>
                    </a:lnTo>
                    <a:lnTo>
                      <a:pt x="919" y="1198"/>
                    </a:lnTo>
                    <a:lnTo>
                      <a:pt x="920" y="1209"/>
                    </a:lnTo>
                    <a:lnTo>
                      <a:pt x="919" y="1214"/>
                    </a:lnTo>
                    <a:lnTo>
                      <a:pt x="918" y="1220"/>
                    </a:lnTo>
                    <a:lnTo>
                      <a:pt x="916" y="1226"/>
                    </a:lnTo>
                    <a:lnTo>
                      <a:pt x="913" y="1232"/>
                    </a:lnTo>
                    <a:lnTo>
                      <a:pt x="908" y="1244"/>
                    </a:lnTo>
                    <a:lnTo>
                      <a:pt x="902" y="1259"/>
                    </a:lnTo>
                    <a:lnTo>
                      <a:pt x="898" y="1273"/>
                    </a:lnTo>
                    <a:lnTo>
                      <a:pt x="892" y="1284"/>
                    </a:lnTo>
                    <a:lnTo>
                      <a:pt x="887" y="1276"/>
                    </a:lnTo>
                    <a:lnTo>
                      <a:pt x="879" y="1267"/>
                    </a:lnTo>
                    <a:lnTo>
                      <a:pt x="874" y="1263"/>
                    </a:lnTo>
                    <a:lnTo>
                      <a:pt x="869" y="1260"/>
                    </a:lnTo>
                    <a:lnTo>
                      <a:pt x="863" y="1258"/>
                    </a:lnTo>
                    <a:lnTo>
                      <a:pt x="859" y="1257"/>
                    </a:lnTo>
                    <a:lnTo>
                      <a:pt x="846" y="1258"/>
                    </a:lnTo>
                    <a:lnTo>
                      <a:pt x="832" y="1259"/>
                    </a:lnTo>
                    <a:lnTo>
                      <a:pt x="825" y="1258"/>
                    </a:lnTo>
                    <a:lnTo>
                      <a:pt x="820" y="1257"/>
                    </a:lnTo>
                    <a:lnTo>
                      <a:pt x="818" y="1254"/>
                    </a:lnTo>
                    <a:lnTo>
                      <a:pt x="815" y="1253"/>
                    </a:lnTo>
                    <a:lnTo>
                      <a:pt x="814" y="1251"/>
                    </a:lnTo>
                    <a:lnTo>
                      <a:pt x="814" y="1249"/>
                    </a:lnTo>
                    <a:lnTo>
                      <a:pt x="815" y="1236"/>
                    </a:lnTo>
                    <a:lnTo>
                      <a:pt x="815" y="1224"/>
                    </a:lnTo>
                    <a:lnTo>
                      <a:pt x="816" y="1211"/>
                    </a:lnTo>
                    <a:lnTo>
                      <a:pt x="818" y="1198"/>
                    </a:lnTo>
                    <a:lnTo>
                      <a:pt x="818" y="1193"/>
                    </a:lnTo>
                    <a:lnTo>
                      <a:pt x="819" y="1188"/>
                    </a:lnTo>
                    <a:lnTo>
                      <a:pt x="820" y="1186"/>
                    </a:lnTo>
                    <a:lnTo>
                      <a:pt x="821" y="1184"/>
                    </a:lnTo>
                    <a:lnTo>
                      <a:pt x="825" y="1181"/>
                    </a:lnTo>
                    <a:lnTo>
                      <a:pt x="831" y="1180"/>
                    </a:lnTo>
                    <a:lnTo>
                      <a:pt x="843" y="1183"/>
                    </a:lnTo>
                    <a:lnTo>
                      <a:pt x="860" y="1185"/>
                    </a:lnTo>
                    <a:lnTo>
                      <a:pt x="866" y="1185"/>
                    </a:lnTo>
                    <a:lnTo>
                      <a:pt x="871" y="1184"/>
                    </a:lnTo>
                    <a:lnTo>
                      <a:pt x="875" y="1181"/>
                    </a:lnTo>
                    <a:lnTo>
                      <a:pt x="879" y="1179"/>
                    </a:lnTo>
                    <a:lnTo>
                      <a:pt x="881" y="1177"/>
                    </a:lnTo>
                    <a:lnTo>
                      <a:pt x="883" y="1173"/>
                    </a:lnTo>
                    <a:lnTo>
                      <a:pt x="885" y="1170"/>
                    </a:lnTo>
                    <a:lnTo>
                      <a:pt x="886" y="1165"/>
                    </a:lnTo>
                    <a:lnTo>
                      <a:pt x="887" y="1146"/>
                    </a:lnTo>
                    <a:lnTo>
                      <a:pt x="887" y="1126"/>
                    </a:lnTo>
                    <a:lnTo>
                      <a:pt x="886" y="1125"/>
                    </a:lnTo>
                    <a:lnTo>
                      <a:pt x="883" y="1125"/>
                    </a:lnTo>
                    <a:lnTo>
                      <a:pt x="879" y="1125"/>
                    </a:lnTo>
                    <a:lnTo>
                      <a:pt x="874" y="1126"/>
                    </a:lnTo>
                    <a:lnTo>
                      <a:pt x="863" y="1128"/>
                    </a:lnTo>
                    <a:lnTo>
                      <a:pt x="856" y="1130"/>
                    </a:lnTo>
                    <a:lnTo>
                      <a:pt x="826" y="1132"/>
                    </a:lnTo>
                    <a:lnTo>
                      <a:pt x="798" y="1133"/>
                    </a:lnTo>
                    <a:lnTo>
                      <a:pt x="784" y="1132"/>
                    </a:lnTo>
                    <a:lnTo>
                      <a:pt x="768" y="1131"/>
                    </a:lnTo>
                    <a:lnTo>
                      <a:pt x="754" y="1127"/>
                    </a:lnTo>
                    <a:lnTo>
                      <a:pt x="739" y="1122"/>
                    </a:lnTo>
                    <a:lnTo>
                      <a:pt x="721" y="1114"/>
                    </a:lnTo>
                    <a:lnTo>
                      <a:pt x="705" y="1104"/>
                    </a:lnTo>
                    <a:lnTo>
                      <a:pt x="695" y="1100"/>
                    </a:lnTo>
                    <a:lnTo>
                      <a:pt x="687" y="1098"/>
                    </a:lnTo>
                    <a:lnTo>
                      <a:pt x="682" y="1098"/>
                    </a:lnTo>
                    <a:lnTo>
                      <a:pt x="678" y="1098"/>
                    </a:lnTo>
                    <a:lnTo>
                      <a:pt x="673" y="1099"/>
                    </a:lnTo>
                    <a:lnTo>
                      <a:pt x="668" y="1101"/>
                    </a:lnTo>
                    <a:lnTo>
                      <a:pt x="655" y="1106"/>
                    </a:lnTo>
                    <a:lnTo>
                      <a:pt x="644" y="1110"/>
                    </a:lnTo>
                    <a:lnTo>
                      <a:pt x="633" y="1113"/>
                    </a:lnTo>
                    <a:lnTo>
                      <a:pt x="621" y="1114"/>
                    </a:lnTo>
                    <a:lnTo>
                      <a:pt x="611" y="1117"/>
                    </a:lnTo>
                    <a:lnTo>
                      <a:pt x="600" y="1118"/>
                    </a:lnTo>
                    <a:lnTo>
                      <a:pt x="588" y="1120"/>
                    </a:lnTo>
                    <a:lnTo>
                      <a:pt x="578" y="1125"/>
                    </a:lnTo>
                    <a:lnTo>
                      <a:pt x="571" y="1128"/>
                    </a:lnTo>
                    <a:lnTo>
                      <a:pt x="565" y="1132"/>
                    </a:lnTo>
                    <a:lnTo>
                      <a:pt x="561" y="1134"/>
                    </a:lnTo>
                    <a:lnTo>
                      <a:pt x="558" y="1135"/>
                    </a:lnTo>
                    <a:lnTo>
                      <a:pt x="554" y="1135"/>
                    </a:lnTo>
                    <a:lnTo>
                      <a:pt x="551" y="1135"/>
                    </a:lnTo>
                    <a:lnTo>
                      <a:pt x="552" y="1147"/>
                    </a:lnTo>
                    <a:lnTo>
                      <a:pt x="553" y="1159"/>
                    </a:lnTo>
                    <a:lnTo>
                      <a:pt x="557" y="1171"/>
                    </a:lnTo>
                    <a:lnTo>
                      <a:pt x="561" y="1184"/>
                    </a:lnTo>
                    <a:lnTo>
                      <a:pt x="566" y="1196"/>
                    </a:lnTo>
                    <a:lnTo>
                      <a:pt x="573" y="1206"/>
                    </a:lnTo>
                    <a:lnTo>
                      <a:pt x="579" y="1217"/>
                    </a:lnTo>
                    <a:lnTo>
                      <a:pt x="586" y="1225"/>
                    </a:lnTo>
                    <a:lnTo>
                      <a:pt x="605" y="1244"/>
                    </a:lnTo>
                    <a:lnTo>
                      <a:pt x="625" y="1262"/>
                    </a:lnTo>
                    <a:lnTo>
                      <a:pt x="635" y="1271"/>
                    </a:lnTo>
                    <a:lnTo>
                      <a:pt x="645" y="1280"/>
                    </a:lnTo>
                    <a:lnTo>
                      <a:pt x="653" y="1290"/>
                    </a:lnTo>
                    <a:lnTo>
                      <a:pt x="661" y="1299"/>
                    </a:lnTo>
                    <a:lnTo>
                      <a:pt x="670" y="1311"/>
                    </a:lnTo>
                    <a:lnTo>
                      <a:pt x="678" y="1322"/>
                    </a:lnTo>
                    <a:lnTo>
                      <a:pt x="687" y="1332"/>
                    </a:lnTo>
                    <a:lnTo>
                      <a:pt x="697" y="1342"/>
                    </a:lnTo>
                    <a:lnTo>
                      <a:pt x="704" y="1346"/>
                    </a:lnTo>
                    <a:lnTo>
                      <a:pt x="711" y="1353"/>
                    </a:lnTo>
                    <a:lnTo>
                      <a:pt x="718" y="1361"/>
                    </a:lnTo>
                    <a:lnTo>
                      <a:pt x="724" y="1368"/>
                    </a:lnTo>
                    <a:lnTo>
                      <a:pt x="729" y="1376"/>
                    </a:lnTo>
                    <a:lnTo>
                      <a:pt x="735" y="1383"/>
                    </a:lnTo>
                    <a:lnTo>
                      <a:pt x="742" y="1390"/>
                    </a:lnTo>
                    <a:lnTo>
                      <a:pt x="749" y="1395"/>
                    </a:lnTo>
                    <a:lnTo>
                      <a:pt x="760" y="1402"/>
                    </a:lnTo>
                    <a:lnTo>
                      <a:pt x="773" y="1407"/>
                    </a:lnTo>
                    <a:lnTo>
                      <a:pt x="787" y="1411"/>
                    </a:lnTo>
                    <a:lnTo>
                      <a:pt x="799" y="1415"/>
                    </a:lnTo>
                    <a:lnTo>
                      <a:pt x="809" y="1420"/>
                    </a:lnTo>
                    <a:lnTo>
                      <a:pt x="819" y="1427"/>
                    </a:lnTo>
                    <a:lnTo>
                      <a:pt x="827" y="1434"/>
                    </a:lnTo>
                    <a:lnTo>
                      <a:pt x="836" y="1442"/>
                    </a:lnTo>
                    <a:lnTo>
                      <a:pt x="845" y="1448"/>
                    </a:lnTo>
                    <a:lnTo>
                      <a:pt x="854" y="1453"/>
                    </a:lnTo>
                    <a:lnTo>
                      <a:pt x="860" y="1455"/>
                    </a:lnTo>
                    <a:lnTo>
                      <a:pt x="865" y="1455"/>
                    </a:lnTo>
                    <a:lnTo>
                      <a:pt x="871" y="1455"/>
                    </a:lnTo>
                    <a:lnTo>
                      <a:pt x="878" y="1454"/>
                    </a:lnTo>
                    <a:lnTo>
                      <a:pt x="881" y="1453"/>
                    </a:lnTo>
                    <a:lnTo>
                      <a:pt x="885" y="1449"/>
                    </a:lnTo>
                    <a:lnTo>
                      <a:pt x="888" y="1445"/>
                    </a:lnTo>
                    <a:lnTo>
                      <a:pt x="890" y="1442"/>
                    </a:lnTo>
                    <a:lnTo>
                      <a:pt x="894" y="1431"/>
                    </a:lnTo>
                    <a:lnTo>
                      <a:pt x="896" y="1418"/>
                    </a:lnTo>
                    <a:lnTo>
                      <a:pt x="896" y="1407"/>
                    </a:lnTo>
                    <a:lnTo>
                      <a:pt x="896" y="1394"/>
                    </a:lnTo>
                    <a:lnTo>
                      <a:pt x="895" y="1384"/>
                    </a:lnTo>
                    <a:lnTo>
                      <a:pt x="894" y="1376"/>
                    </a:lnTo>
                    <a:lnTo>
                      <a:pt x="846" y="1374"/>
                    </a:lnTo>
                    <a:lnTo>
                      <a:pt x="841" y="1375"/>
                    </a:lnTo>
                    <a:lnTo>
                      <a:pt x="836" y="1375"/>
                    </a:lnTo>
                    <a:lnTo>
                      <a:pt x="834" y="1377"/>
                    </a:lnTo>
                    <a:lnTo>
                      <a:pt x="832" y="1379"/>
                    </a:lnTo>
                    <a:lnTo>
                      <a:pt x="828" y="1385"/>
                    </a:lnTo>
                    <a:lnTo>
                      <a:pt x="826" y="1391"/>
                    </a:lnTo>
                    <a:lnTo>
                      <a:pt x="824" y="1397"/>
                    </a:lnTo>
                    <a:lnTo>
                      <a:pt x="819" y="1401"/>
                    </a:lnTo>
                    <a:lnTo>
                      <a:pt x="816" y="1402"/>
                    </a:lnTo>
                    <a:lnTo>
                      <a:pt x="813" y="1403"/>
                    </a:lnTo>
                    <a:lnTo>
                      <a:pt x="808" y="1402"/>
                    </a:lnTo>
                    <a:lnTo>
                      <a:pt x="802" y="1401"/>
                    </a:lnTo>
                    <a:lnTo>
                      <a:pt x="794" y="1397"/>
                    </a:lnTo>
                    <a:lnTo>
                      <a:pt x="785" y="1390"/>
                    </a:lnTo>
                    <a:lnTo>
                      <a:pt x="774" y="1382"/>
                    </a:lnTo>
                    <a:lnTo>
                      <a:pt x="765" y="1371"/>
                    </a:lnTo>
                    <a:lnTo>
                      <a:pt x="757" y="1361"/>
                    </a:lnTo>
                    <a:lnTo>
                      <a:pt x="749" y="1350"/>
                    </a:lnTo>
                    <a:lnTo>
                      <a:pt x="745" y="1339"/>
                    </a:lnTo>
                    <a:lnTo>
                      <a:pt x="744" y="1330"/>
                    </a:lnTo>
                    <a:lnTo>
                      <a:pt x="753" y="1330"/>
                    </a:lnTo>
                    <a:lnTo>
                      <a:pt x="762" y="1328"/>
                    </a:lnTo>
                    <a:lnTo>
                      <a:pt x="771" y="1324"/>
                    </a:lnTo>
                    <a:lnTo>
                      <a:pt x="779" y="1319"/>
                    </a:lnTo>
                    <a:lnTo>
                      <a:pt x="786" y="1313"/>
                    </a:lnTo>
                    <a:lnTo>
                      <a:pt x="792" y="1306"/>
                    </a:lnTo>
                    <a:lnTo>
                      <a:pt x="799" y="1299"/>
                    </a:lnTo>
                    <a:lnTo>
                      <a:pt x="804" y="1291"/>
                    </a:lnTo>
                    <a:lnTo>
                      <a:pt x="807" y="1286"/>
                    </a:lnTo>
                    <a:lnTo>
                      <a:pt x="811" y="1283"/>
                    </a:lnTo>
                    <a:lnTo>
                      <a:pt x="813" y="1282"/>
                    </a:lnTo>
                    <a:lnTo>
                      <a:pt x="814" y="1280"/>
                    </a:lnTo>
                    <a:lnTo>
                      <a:pt x="816" y="1282"/>
                    </a:lnTo>
                    <a:lnTo>
                      <a:pt x="818" y="1283"/>
                    </a:lnTo>
                    <a:lnTo>
                      <a:pt x="819" y="1284"/>
                    </a:lnTo>
                    <a:lnTo>
                      <a:pt x="820" y="1286"/>
                    </a:lnTo>
                    <a:lnTo>
                      <a:pt x="824" y="1300"/>
                    </a:lnTo>
                    <a:lnTo>
                      <a:pt x="831" y="1313"/>
                    </a:lnTo>
                    <a:lnTo>
                      <a:pt x="840" y="1324"/>
                    </a:lnTo>
                    <a:lnTo>
                      <a:pt x="849" y="1331"/>
                    </a:lnTo>
                    <a:lnTo>
                      <a:pt x="858" y="1336"/>
                    </a:lnTo>
                    <a:lnTo>
                      <a:pt x="866" y="1338"/>
                    </a:lnTo>
                    <a:lnTo>
                      <a:pt x="883" y="1342"/>
                    </a:lnTo>
                    <a:lnTo>
                      <a:pt x="908" y="1348"/>
                    </a:lnTo>
                    <a:lnTo>
                      <a:pt x="912" y="1348"/>
                    </a:lnTo>
                    <a:lnTo>
                      <a:pt x="916" y="1344"/>
                    </a:lnTo>
                    <a:lnTo>
                      <a:pt x="922" y="1338"/>
                    </a:lnTo>
                    <a:lnTo>
                      <a:pt x="929" y="1331"/>
                    </a:lnTo>
                    <a:lnTo>
                      <a:pt x="943" y="1318"/>
                    </a:lnTo>
                    <a:lnTo>
                      <a:pt x="954" y="1309"/>
                    </a:lnTo>
                    <a:lnTo>
                      <a:pt x="961" y="1306"/>
                    </a:lnTo>
                    <a:lnTo>
                      <a:pt x="967" y="1302"/>
                    </a:lnTo>
                    <a:lnTo>
                      <a:pt x="973" y="1298"/>
                    </a:lnTo>
                    <a:lnTo>
                      <a:pt x="977" y="1293"/>
                    </a:lnTo>
                    <a:lnTo>
                      <a:pt x="986" y="1284"/>
                    </a:lnTo>
                    <a:lnTo>
                      <a:pt x="994" y="1273"/>
                    </a:lnTo>
                    <a:lnTo>
                      <a:pt x="1002" y="1263"/>
                    </a:lnTo>
                    <a:lnTo>
                      <a:pt x="1010" y="1253"/>
                    </a:lnTo>
                    <a:lnTo>
                      <a:pt x="1015" y="1249"/>
                    </a:lnTo>
                    <a:lnTo>
                      <a:pt x="1021" y="1245"/>
                    </a:lnTo>
                    <a:lnTo>
                      <a:pt x="1026" y="1242"/>
                    </a:lnTo>
                    <a:lnTo>
                      <a:pt x="1032" y="1238"/>
                    </a:lnTo>
                    <a:lnTo>
                      <a:pt x="1048" y="1231"/>
                    </a:lnTo>
                    <a:lnTo>
                      <a:pt x="1067" y="1224"/>
                    </a:lnTo>
                    <a:lnTo>
                      <a:pt x="1086" y="1217"/>
                    </a:lnTo>
                    <a:lnTo>
                      <a:pt x="1106" y="1210"/>
                    </a:lnTo>
                    <a:lnTo>
                      <a:pt x="1127" y="1204"/>
                    </a:lnTo>
                    <a:lnTo>
                      <a:pt x="1147" y="1199"/>
                    </a:lnTo>
                    <a:lnTo>
                      <a:pt x="1166" y="1196"/>
                    </a:lnTo>
                    <a:lnTo>
                      <a:pt x="1182" y="1194"/>
                    </a:lnTo>
                    <a:lnTo>
                      <a:pt x="1193" y="1188"/>
                    </a:lnTo>
                    <a:lnTo>
                      <a:pt x="1207" y="1184"/>
                    </a:lnTo>
                    <a:lnTo>
                      <a:pt x="1221" y="1180"/>
                    </a:lnTo>
                    <a:lnTo>
                      <a:pt x="1232" y="1179"/>
                    </a:lnTo>
                    <a:lnTo>
                      <a:pt x="1237" y="1179"/>
                    </a:lnTo>
                    <a:lnTo>
                      <a:pt x="1238" y="1179"/>
                    </a:lnTo>
                    <a:lnTo>
                      <a:pt x="1237" y="1178"/>
                    </a:lnTo>
                    <a:lnTo>
                      <a:pt x="1234" y="1177"/>
                    </a:lnTo>
                    <a:lnTo>
                      <a:pt x="1224" y="1174"/>
                    </a:lnTo>
                    <a:lnTo>
                      <a:pt x="1215" y="1172"/>
                    </a:lnTo>
                    <a:lnTo>
                      <a:pt x="1210" y="1170"/>
                    </a:lnTo>
                    <a:lnTo>
                      <a:pt x="1209" y="1167"/>
                    </a:lnTo>
                    <a:lnTo>
                      <a:pt x="1210" y="1165"/>
                    </a:lnTo>
                    <a:lnTo>
                      <a:pt x="1213" y="1163"/>
                    </a:lnTo>
                    <a:lnTo>
                      <a:pt x="1221" y="1158"/>
                    </a:lnTo>
                    <a:lnTo>
                      <a:pt x="1228" y="1153"/>
                    </a:lnTo>
                    <a:lnTo>
                      <a:pt x="1241" y="1140"/>
                    </a:lnTo>
                    <a:lnTo>
                      <a:pt x="1256" y="1126"/>
                    </a:lnTo>
                    <a:lnTo>
                      <a:pt x="1261" y="1124"/>
                    </a:lnTo>
                    <a:lnTo>
                      <a:pt x="1263" y="1122"/>
                    </a:lnTo>
                    <a:lnTo>
                      <a:pt x="1267" y="1122"/>
                    </a:lnTo>
                    <a:lnTo>
                      <a:pt x="1269" y="1124"/>
                    </a:lnTo>
                    <a:lnTo>
                      <a:pt x="1271" y="1126"/>
                    </a:lnTo>
                    <a:lnTo>
                      <a:pt x="1272" y="1131"/>
                    </a:lnTo>
                    <a:lnTo>
                      <a:pt x="1274" y="1137"/>
                    </a:lnTo>
                    <a:lnTo>
                      <a:pt x="1274" y="1144"/>
                    </a:lnTo>
                    <a:lnTo>
                      <a:pt x="1267" y="1154"/>
                    </a:lnTo>
                    <a:lnTo>
                      <a:pt x="1256" y="1166"/>
                    </a:lnTo>
                    <a:lnTo>
                      <a:pt x="1252" y="1172"/>
                    </a:lnTo>
                    <a:lnTo>
                      <a:pt x="1252" y="1176"/>
                    </a:lnTo>
                    <a:lnTo>
                      <a:pt x="1254" y="1176"/>
                    </a:lnTo>
                    <a:lnTo>
                      <a:pt x="1256" y="1176"/>
                    </a:lnTo>
                    <a:lnTo>
                      <a:pt x="1261" y="1176"/>
                    </a:lnTo>
                    <a:lnTo>
                      <a:pt x="1267" y="1173"/>
                    </a:lnTo>
                    <a:lnTo>
                      <a:pt x="1282" y="1168"/>
                    </a:lnTo>
                    <a:lnTo>
                      <a:pt x="1297" y="1166"/>
                    </a:lnTo>
                    <a:lnTo>
                      <a:pt x="1314" y="1165"/>
                    </a:lnTo>
                    <a:lnTo>
                      <a:pt x="1330" y="1164"/>
                    </a:lnTo>
                    <a:lnTo>
                      <a:pt x="1363" y="1163"/>
                    </a:lnTo>
                    <a:lnTo>
                      <a:pt x="1396" y="1160"/>
                    </a:lnTo>
                    <a:lnTo>
                      <a:pt x="1418" y="1157"/>
                    </a:lnTo>
                    <a:lnTo>
                      <a:pt x="1444" y="1154"/>
                    </a:lnTo>
                    <a:lnTo>
                      <a:pt x="1468" y="1153"/>
                    </a:lnTo>
                    <a:lnTo>
                      <a:pt x="1491" y="1153"/>
                    </a:lnTo>
                    <a:lnTo>
                      <a:pt x="1472" y="1147"/>
                    </a:lnTo>
                    <a:lnTo>
                      <a:pt x="1452" y="1140"/>
                    </a:lnTo>
                    <a:lnTo>
                      <a:pt x="1444" y="1135"/>
                    </a:lnTo>
                    <a:lnTo>
                      <a:pt x="1436" y="1130"/>
                    </a:lnTo>
                    <a:lnTo>
                      <a:pt x="1432" y="1126"/>
                    </a:lnTo>
                    <a:lnTo>
                      <a:pt x="1430" y="1121"/>
                    </a:lnTo>
                    <a:lnTo>
                      <a:pt x="1428" y="1118"/>
                    </a:lnTo>
                    <a:lnTo>
                      <a:pt x="1425" y="1112"/>
                    </a:lnTo>
                    <a:lnTo>
                      <a:pt x="1422" y="1102"/>
                    </a:lnTo>
                    <a:lnTo>
                      <a:pt x="1417" y="1094"/>
                    </a:lnTo>
                    <a:lnTo>
                      <a:pt x="1413" y="1084"/>
                    </a:lnTo>
                    <a:lnTo>
                      <a:pt x="1410" y="1074"/>
                    </a:lnTo>
                    <a:lnTo>
                      <a:pt x="1406" y="1062"/>
                    </a:lnTo>
                    <a:lnTo>
                      <a:pt x="1405" y="1049"/>
                    </a:lnTo>
                    <a:lnTo>
                      <a:pt x="1405" y="1047"/>
                    </a:lnTo>
                    <a:lnTo>
                      <a:pt x="1406" y="1046"/>
                    </a:lnTo>
                    <a:lnTo>
                      <a:pt x="1408" y="1047"/>
                    </a:lnTo>
                    <a:lnTo>
                      <a:pt x="1409" y="1048"/>
                    </a:lnTo>
                    <a:lnTo>
                      <a:pt x="1412" y="1052"/>
                    </a:lnTo>
                    <a:lnTo>
                      <a:pt x="1415" y="1055"/>
                    </a:lnTo>
                    <a:lnTo>
                      <a:pt x="1425" y="1062"/>
                    </a:lnTo>
                    <a:lnTo>
                      <a:pt x="1435" y="1069"/>
                    </a:lnTo>
                    <a:lnTo>
                      <a:pt x="1444" y="1078"/>
                    </a:lnTo>
                    <a:lnTo>
                      <a:pt x="1456" y="1084"/>
                    </a:lnTo>
                    <a:lnTo>
                      <a:pt x="1463" y="1085"/>
                    </a:lnTo>
                    <a:lnTo>
                      <a:pt x="1469" y="1086"/>
                    </a:lnTo>
                    <a:lnTo>
                      <a:pt x="1476" y="1087"/>
                    </a:lnTo>
                    <a:lnTo>
                      <a:pt x="1482" y="1087"/>
                    </a:lnTo>
                    <a:lnTo>
                      <a:pt x="1495" y="1086"/>
                    </a:lnTo>
                    <a:lnTo>
                      <a:pt x="1509" y="1086"/>
                    </a:lnTo>
                    <a:lnTo>
                      <a:pt x="1512" y="1100"/>
                    </a:lnTo>
                    <a:lnTo>
                      <a:pt x="1517" y="1115"/>
                    </a:lnTo>
                    <a:lnTo>
                      <a:pt x="1519" y="1125"/>
                    </a:lnTo>
                    <a:lnTo>
                      <a:pt x="1518" y="1131"/>
                    </a:lnTo>
                    <a:lnTo>
                      <a:pt x="1517" y="1137"/>
                    </a:lnTo>
                    <a:lnTo>
                      <a:pt x="1517" y="1144"/>
                    </a:lnTo>
                    <a:lnTo>
                      <a:pt x="1511" y="1146"/>
                    </a:lnTo>
                    <a:lnTo>
                      <a:pt x="1506" y="1151"/>
                    </a:lnTo>
                    <a:lnTo>
                      <a:pt x="1529" y="1151"/>
                    </a:lnTo>
                    <a:lnTo>
                      <a:pt x="1551" y="1150"/>
                    </a:lnTo>
                    <a:lnTo>
                      <a:pt x="1573" y="1150"/>
                    </a:lnTo>
                    <a:lnTo>
                      <a:pt x="1597" y="1148"/>
                    </a:lnTo>
                    <a:lnTo>
                      <a:pt x="1619" y="1147"/>
                    </a:lnTo>
                    <a:lnTo>
                      <a:pt x="1641" y="1146"/>
                    </a:lnTo>
                    <a:lnTo>
                      <a:pt x="1665" y="1145"/>
                    </a:lnTo>
                    <a:lnTo>
                      <a:pt x="1687" y="1145"/>
                    </a:lnTo>
                    <a:lnTo>
                      <a:pt x="1866" y="1140"/>
                    </a:lnTo>
                    <a:close/>
                    <a:moveTo>
                      <a:pt x="168" y="646"/>
                    </a:moveTo>
                    <a:lnTo>
                      <a:pt x="165" y="649"/>
                    </a:lnTo>
                    <a:lnTo>
                      <a:pt x="162" y="647"/>
                    </a:lnTo>
                    <a:lnTo>
                      <a:pt x="158" y="646"/>
                    </a:lnTo>
                    <a:lnTo>
                      <a:pt x="154" y="643"/>
                    </a:lnTo>
                    <a:lnTo>
                      <a:pt x="151" y="639"/>
                    </a:lnTo>
                    <a:lnTo>
                      <a:pt x="145" y="631"/>
                    </a:lnTo>
                    <a:lnTo>
                      <a:pt x="141" y="624"/>
                    </a:lnTo>
                    <a:lnTo>
                      <a:pt x="134" y="614"/>
                    </a:lnTo>
                    <a:lnTo>
                      <a:pt x="128" y="607"/>
                    </a:lnTo>
                    <a:lnTo>
                      <a:pt x="121" y="603"/>
                    </a:lnTo>
                    <a:lnTo>
                      <a:pt x="111" y="598"/>
                    </a:lnTo>
                    <a:lnTo>
                      <a:pt x="101" y="612"/>
                    </a:lnTo>
                    <a:lnTo>
                      <a:pt x="89" y="629"/>
                    </a:lnTo>
                    <a:lnTo>
                      <a:pt x="82" y="635"/>
                    </a:lnTo>
                    <a:lnTo>
                      <a:pt x="75" y="639"/>
                    </a:lnTo>
                    <a:lnTo>
                      <a:pt x="67" y="643"/>
                    </a:lnTo>
                    <a:lnTo>
                      <a:pt x="58" y="646"/>
                    </a:lnTo>
                    <a:lnTo>
                      <a:pt x="54" y="649"/>
                    </a:lnTo>
                    <a:lnTo>
                      <a:pt x="51" y="651"/>
                    </a:lnTo>
                    <a:lnTo>
                      <a:pt x="49" y="655"/>
                    </a:lnTo>
                    <a:lnTo>
                      <a:pt x="47" y="658"/>
                    </a:lnTo>
                    <a:lnTo>
                      <a:pt x="43" y="664"/>
                    </a:lnTo>
                    <a:lnTo>
                      <a:pt x="41" y="672"/>
                    </a:lnTo>
                    <a:lnTo>
                      <a:pt x="38" y="679"/>
                    </a:lnTo>
                    <a:lnTo>
                      <a:pt x="35" y="686"/>
                    </a:lnTo>
                    <a:lnTo>
                      <a:pt x="30" y="693"/>
                    </a:lnTo>
                    <a:lnTo>
                      <a:pt x="23" y="698"/>
                    </a:lnTo>
                    <a:lnTo>
                      <a:pt x="14" y="702"/>
                    </a:lnTo>
                    <a:lnTo>
                      <a:pt x="6" y="706"/>
                    </a:lnTo>
                    <a:lnTo>
                      <a:pt x="2" y="715"/>
                    </a:lnTo>
                    <a:lnTo>
                      <a:pt x="0" y="726"/>
                    </a:lnTo>
                    <a:lnTo>
                      <a:pt x="0" y="732"/>
                    </a:lnTo>
                    <a:lnTo>
                      <a:pt x="0" y="737"/>
                    </a:lnTo>
                    <a:lnTo>
                      <a:pt x="1" y="742"/>
                    </a:lnTo>
                    <a:lnTo>
                      <a:pt x="3" y="744"/>
                    </a:lnTo>
                    <a:lnTo>
                      <a:pt x="7" y="745"/>
                    </a:lnTo>
                    <a:lnTo>
                      <a:pt x="10" y="745"/>
                    </a:lnTo>
                    <a:lnTo>
                      <a:pt x="15" y="745"/>
                    </a:lnTo>
                    <a:lnTo>
                      <a:pt x="20" y="744"/>
                    </a:lnTo>
                    <a:lnTo>
                      <a:pt x="30" y="739"/>
                    </a:lnTo>
                    <a:lnTo>
                      <a:pt x="42" y="734"/>
                    </a:lnTo>
                    <a:lnTo>
                      <a:pt x="62" y="721"/>
                    </a:lnTo>
                    <a:lnTo>
                      <a:pt x="76" y="710"/>
                    </a:lnTo>
                    <a:lnTo>
                      <a:pt x="90" y="693"/>
                    </a:lnTo>
                    <a:lnTo>
                      <a:pt x="103" y="678"/>
                    </a:lnTo>
                    <a:lnTo>
                      <a:pt x="114" y="670"/>
                    </a:lnTo>
                    <a:lnTo>
                      <a:pt x="122" y="662"/>
                    </a:lnTo>
                    <a:lnTo>
                      <a:pt x="130" y="658"/>
                    </a:lnTo>
                    <a:lnTo>
                      <a:pt x="138" y="657"/>
                    </a:lnTo>
                    <a:lnTo>
                      <a:pt x="144" y="657"/>
                    </a:lnTo>
                    <a:lnTo>
                      <a:pt x="149" y="658"/>
                    </a:lnTo>
                    <a:lnTo>
                      <a:pt x="154" y="658"/>
                    </a:lnTo>
                    <a:lnTo>
                      <a:pt x="159" y="656"/>
                    </a:lnTo>
                    <a:lnTo>
                      <a:pt x="168" y="646"/>
                    </a:lnTo>
                    <a:close/>
                    <a:moveTo>
                      <a:pt x="457" y="479"/>
                    </a:moveTo>
                    <a:lnTo>
                      <a:pt x="447" y="493"/>
                    </a:lnTo>
                    <a:lnTo>
                      <a:pt x="437" y="507"/>
                    </a:lnTo>
                    <a:lnTo>
                      <a:pt x="431" y="514"/>
                    </a:lnTo>
                    <a:lnTo>
                      <a:pt x="424" y="520"/>
                    </a:lnTo>
                    <a:lnTo>
                      <a:pt x="417" y="525"/>
                    </a:lnTo>
                    <a:lnTo>
                      <a:pt x="410" y="530"/>
                    </a:lnTo>
                    <a:lnTo>
                      <a:pt x="399" y="534"/>
                    </a:lnTo>
                    <a:lnTo>
                      <a:pt x="390" y="541"/>
                    </a:lnTo>
                    <a:lnTo>
                      <a:pt x="382" y="550"/>
                    </a:lnTo>
                    <a:lnTo>
                      <a:pt x="372" y="558"/>
                    </a:lnTo>
                    <a:lnTo>
                      <a:pt x="364" y="566"/>
                    </a:lnTo>
                    <a:lnTo>
                      <a:pt x="356" y="573"/>
                    </a:lnTo>
                    <a:lnTo>
                      <a:pt x="352" y="577"/>
                    </a:lnTo>
                    <a:lnTo>
                      <a:pt x="348" y="579"/>
                    </a:lnTo>
                    <a:lnTo>
                      <a:pt x="343" y="581"/>
                    </a:lnTo>
                    <a:lnTo>
                      <a:pt x="338" y="583"/>
                    </a:lnTo>
                    <a:lnTo>
                      <a:pt x="326" y="585"/>
                    </a:lnTo>
                    <a:lnTo>
                      <a:pt x="312" y="585"/>
                    </a:lnTo>
                    <a:lnTo>
                      <a:pt x="298" y="585"/>
                    </a:lnTo>
                    <a:lnTo>
                      <a:pt x="286" y="584"/>
                    </a:lnTo>
                    <a:lnTo>
                      <a:pt x="277" y="580"/>
                    </a:lnTo>
                    <a:lnTo>
                      <a:pt x="268" y="578"/>
                    </a:lnTo>
                    <a:lnTo>
                      <a:pt x="263" y="577"/>
                    </a:lnTo>
                    <a:lnTo>
                      <a:pt x="258" y="576"/>
                    </a:lnTo>
                    <a:lnTo>
                      <a:pt x="254" y="576"/>
                    </a:lnTo>
                    <a:lnTo>
                      <a:pt x="248" y="577"/>
                    </a:lnTo>
                    <a:lnTo>
                      <a:pt x="248" y="578"/>
                    </a:lnTo>
                    <a:lnTo>
                      <a:pt x="242" y="596"/>
                    </a:lnTo>
                    <a:lnTo>
                      <a:pt x="234" y="613"/>
                    </a:lnTo>
                    <a:lnTo>
                      <a:pt x="231" y="623"/>
                    </a:lnTo>
                    <a:lnTo>
                      <a:pt x="228" y="631"/>
                    </a:lnTo>
                    <a:lnTo>
                      <a:pt x="226" y="642"/>
                    </a:lnTo>
                    <a:lnTo>
                      <a:pt x="225" y="651"/>
                    </a:lnTo>
                    <a:lnTo>
                      <a:pt x="226" y="655"/>
                    </a:lnTo>
                    <a:lnTo>
                      <a:pt x="228" y="658"/>
                    </a:lnTo>
                    <a:lnTo>
                      <a:pt x="230" y="660"/>
                    </a:lnTo>
                    <a:lnTo>
                      <a:pt x="234" y="662"/>
                    </a:lnTo>
                    <a:lnTo>
                      <a:pt x="242" y="665"/>
                    </a:lnTo>
                    <a:lnTo>
                      <a:pt x="252" y="666"/>
                    </a:lnTo>
                    <a:lnTo>
                      <a:pt x="273" y="665"/>
                    </a:lnTo>
                    <a:lnTo>
                      <a:pt x="290" y="664"/>
                    </a:lnTo>
                    <a:lnTo>
                      <a:pt x="325" y="662"/>
                    </a:lnTo>
                    <a:lnTo>
                      <a:pt x="362" y="660"/>
                    </a:lnTo>
                    <a:lnTo>
                      <a:pt x="379" y="658"/>
                    </a:lnTo>
                    <a:lnTo>
                      <a:pt x="397" y="655"/>
                    </a:lnTo>
                    <a:lnTo>
                      <a:pt x="405" y="652"/>
                    </a:lnTo>
                    <a:lnTo>
                      <a:pt x="413" y="649"/>
                    </a:lnTo>
                    <a:lnTo>
                      <a:pt x="422" y="645"/>
                    </a:lnTo>
                    <a:lnTo>
                      <a:pt x="430" y="640"/>
                    </a:lnTo>
                    <a:lnTo>
                      <a:pt x="442" y="633"/>
                    </a:lnTo>
                    <a:lnTo>
                      <a:pt x="454" y="626"/>
                    </a:lnTo>
                    <a:lnTo>
                      <a:pt x="466" y="619"/>
                    </a:lnTo>
                    <a:lnTo>
                      <a:pt x="478" y="611"/>
                    </a:lnTo>
                    <a:lnTo>
                      <a:pt x="482" y="607"/>
                    </a:lnTo>
                    <a:lnTo>
                      <a:pt x="485" y="602"/>
                    </a:lnTo>
                    <a:lnTo>
                      <a:pt x="490" y="594"/>
                    </a:lnTo>
                    <a:lnTo>
                      <a:pt x="493" y="587"/>
                    </a:lnTo>
                    <a:lnTo>
                      <a:pt x="496" y="580"/>
                    </a:lnTo>
                    <a:lnTo>
                      <a:pt x="496" y="573"/>
                    </a:lnTo>
                    <a:lnTo>
                      <a:pt x="496" y="571"/>
                    </a:lnTo>
                    <a:lnTo>
                      <a:pt x="494" y="569"/>
                    </a:lnTo>
                    <a:lnTo>
                      <a:pt x="492" y="566"/>
                    </a:lnTo>
                    <a:lnTo>
                      <a:pt x="490" y="566"/>
                    </a:lnTo>
                    <a:lnTo>
                      <a:pt x="473" y="551"/>
                    </a:lnTo>
                    <a:lnTo>
                      <a:pt x="457" y="534"/>
                    </a:lnTo>
                    <a:lnTo>
                      <a:pt x="456" y="524"/>
                    </a:lnTo>
                    <a:lnTo>
                      <a:pt x="457" y="513"/>
                    </a:lnTo>
                    <a:lnTo>
                      <a:pt x="459" y="503"/>
                    </a:lnTo>
                    <a:lnTo>
                      <a:pt x="460" y="492"/>
                    </a:lnTo>
                    <a:lnTo>
                      <a:pt x="457" y="479"/>
                    </a:lnTo>
                    <a:close/>
                    <a:moveTo>
                      <a:pt x="682" y="460"/>
                    </a:moveTo>
                    <a:lnTo>
                      <a:pt x="680" y="459"/>
                    </a:lnTo>
                    <a:lnTo>
                      <a:pt x="678" y="458"/>
                    </a:lnTo>
                    <a:lnTo>
                      <a:pt x="674" y="454"/>
                    </a:lnTo>
                    <a:lnTo>
                      <a:pt x="671" y="451"/>
                    </a:lnTo>
                    <a:lnTo>
                      <a:pt x="668" y="449"/>
                    </a:lnTo>
                    <a:lnTo>
                      <a:pt x="666" y="447"/>
                    </a:lnTo>
                    <a:lnTo>
                      <a:pt x="664" y="446"/>
                    </a:lnTo>
                    <a:lnTo>
                      <a:pt x="661" y="444"/>
                    </a:lnTo>
                    <a:lnTo>
                      <a:pt x="657" y="441"/>
                    </a:lnTo>
                    <a:lnTo>
                      <a:pt x="653" y="438"/>
                    </a:lnTo>
                    <a:lnTo>
                      <a:pt x="650" y="434"/>
                    </a:lnTo>
                    <a:lnTo>
                      <a:pt x="648" y="429"/>
                    </a:lnTo>
                    <a:lnTo>
                      <a:pt x="646" y="427"/>
                    </a:lnTo>
                    <a:lnTo>
                      <a:pt x="643" y="427"/>
                    </a:lnTo>
                    <a:lnTo>
                      <a:pt x="640" y="426"/>
                    </a:lnTo>
                    <a:lnTo>
                      <a:pt x="638" y="426"/>
                    </a:lnTo>
                    <a:lnTo>
                      <a:pt x="638" y="428"/>
                    </a:lnTo>
                    <a:lnTo>
                      <a:pt x="633" y="429"/>
                    </a:lnTo>
                    <a:lnTo>
                      <a:pt x="628" y="432"/>
                    </a:lnTo>
                    <a:lnTo>
                      <a:pt x="625" y="432"/>
                    </a:lnTo>
                    <a:lnTo>
                      <a:pt x="623" y="432"/>
                    </a:lnTo>
                    <a:lnTo>
                      <a:pt x="620" y="432"/>
                    </a:lnTo>
                    <a:lnTo>
                      <a:pt x="619" y="433"/>
                    </a:lnTo>
                    <a:lnTo>
                      <a:pt x="610" y="433"/>
                    </a:lnTo>
                    <a:lnTo>
                      <a:pt x="600" y="432"/>
                    </a:lnTo>
                    <a:lnTo>
                      <a:pt x="598" y="432"/>
                    </a:lnTo>
                    <a:lnTo>
                      <a:pt x="594" y="432"/>
                    </a:lnTo>
                    <a:lnTo>
                      <a:pt x="591" y="431"/>
                    </a:lnTo>
                    <a:lnTo>
                      <a:pt x="587" y="431"/>
                    </a:lnTo>
                    <a:lnTo>
                      <a:pt x="579" y="431"/>
                    </a:lnTo>
                    <a:lnTo>
                      <a:pt x="571" y="431"/>
                    </a:lnTo>
                    <a:lnTo>
                      <a:pt x="567" y="431"/>
                    </a:lnTo>
                    <a:lnTo>
                      <a:pt x="564" y="432"/>
                    </a:lnTo>
                    <a:lnTo>
                      <a:pt x="560" y="433"/>
                    </a:lnTo>
                    <a:lnTo>
                      <a:pt x="556" y="437"/>
                    </a:lnTo>
                    <a:lnTo>
                      <a:pt x="550" y="441"/>
                    </a:lnTo>
                    <a:lnTo>
                      <a:pt x="545" y="448"/>
                    </a:lnTo>
                    <a:lnTo>
                      <a:pt x="541" y="454"/>
                    </a:lnTo>
                    <a:lnTo>
                      <a:pt x="538" y="462"/>
                    </a:lnTo>
                    <a:lnTo>
                      <a:pt x="537" y="471"/>
                    </a:lnTo>
                    <a:lnTo>
                      <a:pt x="537" y="478"/>
                    </a:lnTo>
                    <a:lnTo>
                      <a:pt x="537" y="486"/>
                    </a:lnTo>
                    <a:lnTo>
                      <a:pt x="538" y="494"/>
                    </a:lnTo>
                    <a:lnTo>
                      <a:pt x="539" y="506"/>
                    </a:lnTo>
                    <a:lnTo>
                      <a:pt x="543" y="519"/>
                    </a:lnTo>
                    <a:lnTo>
                      <a:pt x="545" y="526"/>
                    </a:lnTo>
                    <a:lnTo>
                      <a:pt x="548" y="531"/>
                    </a:lnTo>
                    <a:lnTo>
                      <a:pt x="552" y="536"/>
                    </a:lnTo>
                    <a:lnTo>
                      <a:pt x="557" y="538"/>
                    </a:lnTo>
                    <a:lnTo>
                      <a:pt x="561" y="539"/>
                    </a:lnTo>
                    <a:lnTo>
                      <a:pt x="566" y="539"/>
                    </a:lnTo>
                    <a:lnTo>
                      <a:pt x="571" y="539"/>
                    </a:lnTo>
                    <a:lnTo>
                      <a:pt x="576" y="538"/>
                    </a:lnTo>
                    <a:lnTo>
                      <a:pt x="586" y="534"/>
                    </a:lnTo>
                    <a:lnTo>
                      <a:pt x="596" y="530"/>
                    </a:lnTo>
                    <a:lnTo>
                      <a:pt x="613" y="517"/>
                    </a:lnTo>
                    <a:lnTo>
                      <a:pt x="631" y="507"/>
                    </a:lnTo>
                    <a:lnTo>
                      <a:pt x="640" y="505"/>
                    </a:lnTo>
                    <a:lnTo>
                      <a:pt x="647" y="504"/>
                    </a:lnTo>
                    <a:lnTo>
                      <a:pt x="655" y="506"/>
                    </a:lnTo>
                    <a:lnTo>
                      <a:pt x="664" y="508"/>
                    </a:lnTo>
                    <a:lnTo>
                      <a:pt x="670" y="512"/>
                    </a:lnTo>
                    <a:lnTo>
                      <a:pt x="674" y="517"/>
                    </a:lnTo>
                    <a:lnTo>
                      <a:pt x="678" y="519"/>
                    </a:lnTo>
                    <a:lnTo>
                      <a:pt x="680" y="521"/>
                    </a:lnTo>
                    <a:lnTo>
                      <a:pt x="684" y="523"/>
                    </a:lnTo>
                    <a:lnTo>
                      <a:pt x="687" y="523"/>
                    </a:lnTo>
                    <a:lnTo>
                      <a:pt x="691" y="518"/>
                    </a:lnTo>
                    <a:lnTo>
                      <a:pt x="694" y="514"/>
                    </a:lnTo>
                    <a:lnTo>
                      <a:pt x="698" y="508"/>
                    </a:lnTo>
                    <a:lnTo>
                      <a:pt x="699" y="503"/>
                    </a:lnTo>
                    <a:lnTo>
                      <a:pt x="700" y="495"/>
                    </a:lnTo>
                    <a:lnTo>
                      <a:pt x="699" y="487"/>
                    </a:lnTo>
                    <a:lnTo>
                      <a:pt x="697" y="480"/>
                    </a:lnTo>
                    <a:lnTo>
                      <a:pt x="693" y="474"/>
                    </a:lnTo>
                    <a:lnTo>
                      <a:pt x="682" y="460"/>
                    </a:lnTo>
                    <a:close/>
                    <a:moveTo>
                      <a:pt x="714" y="471"/>
                    </a:moveTo>
                    <a:lnTo>
                      <a:pt x="711" y="461"/>
                    </a:lnTo>
                    <a:lnTo>
                      <a:pt x="705" y="447"/>
                    </a:lnTo>
                    <a:lnTo>
                      <a:pt x="702" y="441"/>
                    </a:lnTo>
                    <a:lnTo>
                      <a:pt x="700" y="434"/>
                    </a:lnTo>
                    <a:lnTo>
                      <a:pt x="700" y="429"/>
                    </a:lnTo>
                    <a:lnTo>
                      <a:pt x="701" y="425"/>
                    </a:lnTo>
                    <a:lnTo>
                      <a:pt x="705" y="426"/>
                    </a:lnTo>
                    <a:lnTo>
                      <a:pt x="708" y="426"/>
                    </a:lnTo>
                    <a:lnTo>
                      <a:pt x="713" y="419"/>
                    </a:lnTo>
                    <a:lnTo>
                      <a:pt x="715" y="412"/>
                    </a:lnTo>
                    <a:lnTo>
                      <a:pt x="718" y="405"/>
                    </a:lnTo>
                    <a:lnTo>
                      <a:pt x="718" y="398"/>
                    </a:lnTo>
                    <a:lnTo>
                      <a:pt x="719" y="381"/>
                    </a:lnTo>
                    <a:lnTo>
                      <a:pt x="721" y="365"/>
                    </a:lnTo>
                    <a:lnTo>
                      <a:pt x="739" y="360"/>
                    </a:lnTo>
                    <a:lnTo>
                      <a:pt x="754" y="356"/>
                    </a:lnTo>
                    <a:lnTo>
                      <a:pt x="766" y="353"/>
                    </a:lnTo>
                    <a:lnTo>
                      <a:pt x="775" y="347"/>
                    </a:lnTo>
                    <a:lnTo>
                      <a:pt x="780" y="345"/>
                    </a:lnTo>
                    <a:lnTo>
                      <a:pt x="784" y="340"/>
                    </a:lnTo>
                    <a:lnTo>
                      <a:pt x="787" y="335"/>
                    </a:lnTo>
                    <a:lnTo>
                      <a:pt x="791" y="329"/>
                    </a:lnTo>
                    <a:lnTo>
                      <a:pt x="798" y="315"/>
                    </a:lnTo>
                    <a:lnTo>
                      <a:pt x="805" y="295"/>
                    </a:lnTo>
                    <a:lnTo>
                      <a:pt x="825" y="295"/>
                    </a:lnTo>
                    <a:lnTo>
                      <a:pt x="841" y="295"/>
                    </a:lnTo>
                    <a:lnTo>
                      <a:pt x="849" y="295"/>
                    </a:lnTo>
                    <a:lnTo>
                      <a:pt x="855" y="294"/>
                    </a:lnTo>
                    <a:lnTo>
                      <a:pt x="862" y="292"/>
                    </a:lnTo>
                    <a:lnTo>
                      <a:pt x="867" y="289"/>
                    </a:lnTo>
                    <a:lnTo>
                      <a:pt x="873" y="287"/>
                    </a:lnTo>
                    <a:lnTo>
                      <a:pt x="876" y="282"/>
                    </a:lnTo>
                    <a:lnTo>
                      <a:pt x="880" y="277"/>
                    </a:lnTo>
                    <a:lnTo>
                      <a:pt x="883" y="270"/>
                    </a:lnTo>
                    <a:lnTo>
                      <a:pt x="886" y="263"/>
                    </a:lnTo>
                    <a:lnTo>
                      <a:pt x="887" y="254"/>
                    </a:lnTo>
                    <a:lnTo>
                      <a:pt x="888" y="243"/>
                    </a:lnTo>
                    <a:lnTo>
                      <a:pt x="888" y="231"/>
                    </a:lnTo>
                    <a:lnTo>
                      <a:pt x="908" y="227"/>
                    </a:lnTo>
                    <a:lnTo>
                      <a:pt x="926" y="221"/>
                    </a:lnTo>
                    <a:lnTo>
                      <a:pt x="935" y="217"/>
                    </a:lnTo>
                    <a:lnTo>
                      <a:pt x="945" y="213"/>
                    </a:lnTo>
                    <a:lnTo>
                      <a:pt x="953" y="208"/>
                    </a:lnTo>
                    <a:lnTo>
                      <a:pt x="962" y="201"/>
                    </a:lnTo>
                    <a:lnTo>
                      <a:pt x="972" y="193"/>
                    </a:lnTo>
                    <a:lnTo>
                      <a:pt x="980" y="180"/>
                    </a:lnTo>
                    <a:lnTo>
                      <a:pt x="989" y="165"/>
                    </a:lnTo>
                    <a:lnTo>
                      <a:pt x="999" y="151"/>
                    </a:lnTo>
                    <a:lnTo>
                      <a:pt x="1004" y="144"/>
                    </a:lnTo>
                    <a:lnTo>
                      <a:pt x="1009" y="138"/>
                    </a:lnTo>
                    <a:lnTo>
                      <a:pt x="1015" y="132"/>
                    </a:lnTo>
                    <a:lnTo>
                      <a:pt x="1021" y="128"/>
                    </a:lnTo>
                    <a:lnTo>
                      <a:pt x="1028" y="124"/>
                    </a:lnTo>
                    <a:lnTo>
                      <a:pt x="1034" y="122"/>
                    </a:lnTo>
                    <a:lnTo>
                      <a:pt x="1042" y="122"/>
                    </a:lnTo>
                    <a:lnTo>
                      <a:pt x="1049" y="122"/>
                    </a:lnTo>
                    <a:lnTo>
                      <a:pt x="1060" y="124"/>
                    </a:lnTo>
                    <a:lnTo>
                      <a:pt x="1068" y="123"/>
                    </a:lnTo>
                    <a:lnTo>
                      <a:pt x="1076" y="122"/>
                    </a:lnTo>
                    <a:lnTo>
                      <a:pt x="1082" y="118"/>
                    </a:lnTo>
                    <a:lnTo>
                      <a:pt x="1094" y="109"/>
                    </a:lnTo>
                    <a:lnTo>
                      <a:pt x="1108" y="96"/>
                    </a:lnTo>
                    <a:lnTo>
                      <a:pt x="1117" y="84"/>
                    </a:lnTo>
                    <a:lnTo>
                      <a:pt x="1131" y="64"/>
                    </a:lnTo>
                    <a:lnTo>
                      <a:pt x="1138" y="55"/>
                    </a:lnTo>
                    <a:lnTo>
                      <a:pt x="1146" y="49"/>
                    </a:lnTo>
                    <a:lnTo>
                      <a:pt x="1148" y="46"/>
                    </a:lnTo>
                    <a:lnTo>
                      <a:pt x="1150" y="45"/>
                    </a:lnTo>
                    <a:lnTo>
                      <a:pt x="1151" y="45"/>
                    </a:lnTo>
                    <a:lnTo>
                      <a:pt x="1153" y="46"/>
                    </a:lnTo>
                    <a:lnTo>
                      <a:pt x="1156" y="49"/>
                    </a:lnTo>
                    <a:lnTo>
                      <a:pt x="1160" y="52"/>
                    </a:lnTo>
                    <a:lnTo>
                      <a:pt x="1189" y="75"/>
                    </a:lnTo>
                    <a:lnTo>
                      <a:pt x="1188" y="58"/>
                    </a:lnTo>
                    <a:lnTo>
                      <a:pt x="1185" y="46"/>
                    </a:lnTo>
                    <a:lnTo>
                      <a:pt x="1183" y="39"/>
                    </a:lnTo>
                    <a:lnTo>
                      <a:pt x="1182" y="33"/>
                    </a:lnTo>
                    <a:lnTo>
                      <a:pt x="1182" y="31"/>
                    </a:lnTo>
                    <a:lnTo>
                      <a:pt x="1183" y="30"/>
                    </a:lnTo>
                    <a:lnTo>
                      <a:pt x="1185" y="28"/>
                    </a:lnTo>
                    <a:lnTo>
                      <a:pt x="1189" y="25"/>
                    </a:lnTo>
                    <a:lnTo>
                      <a:pt x="1200" y="18"/>
                    </a:lnTo>
                    <a:lnTo>
                      <a:pt x="1217" y="9"/>
                    </a:lnTo>
                    <a:lnTo>
                      <a:pt x="1225" y="4"/>
                    </a:lnTo>
                    <a:lnTo>
                      <a:pt x="1231" y="2"/>
                    </a:lnTo>
                    <a:lnTo>
                      <a:pt x="1236" y="0"/>
                    </a:lnTo>
                    <a:lnTo>
                      <a:pt x="1240" y="0"/>
                    </a:lnTo>
                    <a:lnTo>
                      <a:pt x="1241" y="2"/>
                    </a:lnTo>
                    <a:lnTo>
                      <a:pt x="1241" y="4"/>
                    </a:lnTo>
                    <a:lnTo>
                      <a:pt x="1241" y="7"/>
                    </a:lnTo>
                    <a:lnTo>
                      <a:pt x="1240" y="12"/>
                    </a:lnTo>
                    <a:lnTo>
                      <a:pt x="1229" y="33"/>
                    </a:lnTo>
                    <a:lnTo>
                      <a:pt x="1218" y="55"/>
                    </a:lnTo>
                    <a:lnTo>
                      <a:pt x="1214" y="71"/>
                    </a:lnTo>
                    <a:lnTo>
                      <a:pt x="1213" y="79"/>
                    </a:lnTo>
                    <a:lnTo>
                      <a:pt x="1213" y="81"/>
                    </a:lnTo>
                    <a:lnTo>
                      <a:pt x="1214" y="81"/>
                    </a:lnTo>
                    <a:lnTo>
                      <a:pt x="1216" y="81"/>
                    </a:lnTo>
                    <a:lnTo>
                      <a:pt x="1218" y="78"/>
                    </a:lnTo>
                    <a:lnTo>
                      <a:pt x="1227" y="73"/>
                    </a:lnTo>
                    <a:lnTo>
                      <a:pt x="1236" y="68"/>
                    </a:lnTo>
                    <a:lnTo>
                      <a:pt x="1242" y="65"/>
                    </a:lnTo>
                    <a:lnTo>
                      <a:pt x="1248" y="63"/>
                    </a:lnTo>
                    <a:lnTo>
                      <a:pt x="1254" y="62"/>
                    </a:lnTo>
                    <a:lnTo>
                      <a:pt x="1261" y="62"/>
                    </a:lnTo>
                    <a:lnTo>
                      <a:pt x="1272" y="62"/>
                    </a:lnTo>
                    <a:lnTo>
                      <a:pt x="1282" y="61"/>
                    </a:lnTo>
                    <a:lnTo>
                      <a:pt x="1289" y="59"/>
                    </a:lnTo>
                    <a:lnTo>
                      <a:pt x="1296" y="58"/>
                    </a:lnTo>
                    <a:lnTo>
                      <a:pt x="1310" y="53"/>
                    </a:lnTo>
                    <a:lnTo>
                      <a:pt x="1330" y="45"/>
                    </a:lnTo>
                    <a:lnTo>
                      <a:pt x="1338" y="43"/>
                    </a:lnTo>
                    <a:lnTo>
                      <a:pt x="1344" y="42"/>
                    </a:lnTo>
                    <a:lnTo>
                      <a:pt x="1349" y="44"/>
                    </a:lnTo>
                    <a:lnTo>
                      <a:pt x="1352" y="46"/>
                    </a:lnTo>
                    <a:lnTo>
                      <a:pt x="1354" y="51"/>
                    </a:lnTo>
                    <a:lnTo>
                      <a:pt x="1354" y="57"/>
                    </a:lnTo>
                    <a:lnTo>
                      <a:pt x="1352" y="64"/>
                    </a:lnTo>
                    <a:lnTo>
                      <a:pt x="1350" y="71"/>
                    </a:lnTo>
                    <a:lnTo>
                      <a:pt x="1346" y="78"/>
                    </a:lnTo>
                    <a:lnTo>
                      <a:pt x="1342" y="85"/>
                    </a:lnTo>
                    <a:lnTo>
                      <a:pt x="1336" y="92"/>
                    </a:lnTo>
                    <a:lnTo>
                      <a:pt x="1329" y="99"/>
                    </a:lnTo>
                    <a:lnTo>
                      <a:pt x="1322" y="105"/>
                    </a:lnTo>
                    <a:lnTo>
                      <a:pt x="1314" y="110"/>
                    </a:lnTo>
                    <a:lnTo>
                      <a:pt x="1304" y="112"/>
                    </a:lnTo>
                    <a:lnTo>
                      <a:pt x="1295" y="115"/>
                    </a:lnTo>
                    <a:lnTo>
                      <a:pt x="1288" y="114"/>
                    </a:lnTo>
                    <a:lnTo>
                      <a:pt x="1281" y="112"/>
                    </a:lnTo>
                    <a:lnTo>
                      <a:pt x="1272" y="110"/>
                    </a:lnTo>
                    <a:lnTo>
                      <a:pt x="1265" y="106"/>
                    </a:lnTo>
                    <a:lnTo>
                      <a:pt x="1258" y="103"/>
                    </a:lnTo>
                    <a:lnTo>
                      <a:pt x="1250" y="101"/>
                    </a:lnTo>
                    <a:lnTo>
                      <a:pt x="1242" y="98"/>
                    </a:lnTo>
                    <a:lnTo>
                      <a:pt x="1232" y="98"/>
                    </a:lnTo>
                    <a:lnTo>
                      <a:pt x="1228" y="98"/>
                    </a:lnTo>
                    <a:lnTo>
                      <a:pt x="1223" y="98"/>
                    </a:lnTo>
                    <a:lnTo>
                      <a:pt x="1221" y="99"/>
                    </a:lnTo>
                    <a:lnTo>
                      <a:pt x="1218" y="101"/>
                    </a:lnTo>
                    <a:lnTo>
                      <a:pt x="1216" y="104"/>
                    </a:lnTo>
                    <a:lnTo>
                      <a:pt x="1217" y="109"/>
                    </a:lnTo>
                    <a:lnTo>
                      <a:pt x="1217" y="114"/>
                    </a:lnTo>
                    <a:lnTo>
                      <a:pt x="1217" y="118"/>
                    </a:lnTo>
                    <a:lnTo>
                      <a:pt x="1216" y="121"/>
                    </a:lnTo>
                    <a:lnTo>
                      <a:pt x="1215" y="123"/>
                    </a:lnTo>
                    <a:lnTo>
                      <a:pt x="1213" y="124"/>
                    </a:lnTo>
                    <a:lnTo>
                      <a:pt x="1210" y="127"/>
                    </a:lnTo>
                    <a:lnTo>
                      <a:pt x="1196" y="131"/>
                    </a:lnTo>
                    <a:lnTo>
                      <a:pt x="1193" y="132"/>
                    </a:lnTo>
                    <a:lnTo>
                      <a:pt x="1196" y="137"/>
                    </a:lnTo>
                    <a:lnTo>
                      <a:pt x="1201" y="151"/>
                    </a:lnTo>
                    <a:lnTo>
                      <a:pt x="1202" y="157"/>
                    </a:lnTo>
                    <a:lnTo>
                      <a:pt x="1202" y="162"/>
                    </a:lnTo>
                    <a:lnTo>
                      <a:pt x="1201" y="168"/>
                    </a:lnTo>
                    <a:lnTo>
                      <a:pt x="1200" y="172"/>
                    </a:lnTo>
                    <a:lnTo>
                      <a:pt x="1195" y="182"/>
                    </a:lnTo>
                    <a:lnTo>
                      <a:pt x="1187" y="191"/>
                    </a:lnTo>
                    <a:lnTo>
                      <a:pt x="1178" y="200"/>
                    </a:lnTo>
                    <a:lnTo>
                      <a:pt x="1168" y="207"/>
                    </a:lnTo>
                    <a:lnTo>
                      <a:pt x="1157" y="214"/>
                    </a:lnTo>
                    <a:lnTo>
                      <a:pt x="1147" y="220"/>
                    </a:lnTo>
                    <a:lnTo>
                      <a:pt x="1136" y="224"/>
                    </a:lnTo>
                    <a:lnTo>
                      <a:pt x="1126" y="227"/>
                    </a:lnTo>
                    <a:lnTo>
                      <a:pt x="1114" y="228"/>
                    </a:lnTo>
                    <a:lnTo>
                      <a:pt x="1103" y="228"/>
                    </a:lnTo>
                    <a:lnTo>
                      <a:pt x="1094" y="228"/>
                    </a:lnTo>
                    <a:lnTo>
                      <a:pt x="1083" y="228"/>
                    </a:lnTo>
                    <a:lnTo>
                      <a:pt x="1073" y="230"/>
                    </a:lnTo>
                    <a:lnTo>
                      <a:pt x="1063" y="233"/>
                    </a:lnTo>
                    <a:lnTo>
                      <a:pt x="1057" y="236"/>
                    </a:lnTo>
                    <a:lnTo>
                      <a:pt x="1052" y="242"/>
                    </a:lnTo>
                    <a:lnTo>
                      <a:pt x="1046" y="249"/>
                    </a:lnTo>
                    <a:lnTo>
                      <a:pt x="1039" y="257"/>
                    </a:lnTo>
                    <a:lnTo>
                      <a:pt x="1026" y="274"/>
                    </a:lnTo>
                    <a:lnTo>
                      <a:pt x="1014" y="288"/>
                    </a:lnTo>
                    <a:lnTo>
                      <a:pt x="1008" y="292"/>
                    </a:lnTo>
                    <a:lnTo>
                      <a:pt x="1001" y="294"/>
                    </a:lnTo>
                    <a:lnTo>
                      <a:pt x="994" y="295"/>
                    </a:lnTo>
                    <a:lnTo>
                      <a:pt x="987" y="295"/>
                    </a:lnTo>
                    <a:lnTo>
                      <a:pt x="972" y="295"/>
                    </a:lnTo>
                    <a:lnTo>
                      <a:pt x="956" y="294"/>
                    </a:lnTo>
                    <a:lnTo>
                      <a:pt x="950" y="294"/>
                    </a:lnTo>
                    <a:lnTo>
                      <a:pt x="945" y="294"/>
                    </a:lnTo>
                    <a:lnTo>
                      <a:pt x="940" y="296"/>
                    </a:lnTo>
                    <a:lnTo>
                      <a:pt x="936" y="300"/>
                    </a:lnTo>
                    <a:lnTo>
                      <a:pt x="934" y="306"/>
                    </a:lnTo>
                    <a:lnTo>
                      <a:pt x="934" y="313"/>
                    </a:lnTo>
                    <a:lnTo>
                      <a:pt x="935" y="322"/>
                    </a:lnTo>
                    <a:lnTo>
                      <a:pt x="938" y="334"/>
                    </a:lnTo>
                    <a:lnTo>
                      <a:pt x="941" y="346"/>
                    </a:lnTo>
                    <a:lnTo>
                      <a:pt x="943" y="356"/>
                    </a:lnTo>
                    <a:lnTo>
                      <a:pt x="945" y="366"/>
                    </a:lnTo>
                    <a:lnTo>
                      <a:pt x="945" y="375"/>
                    </a:lnTo>
                    <a:lnTo>
                      <a:pt x="943" y="383"/>
                    </a:lnTo>
                    <a:lnTo>
                      <a:pt x="942" y="391"/>
                    </a:lnTo>
                    <a:lnTo>
                      <a:pt x="940" y="398"/>
                    </a:lnTo>
                    <a:lnTo>
                      <a:pt x="936" y="404"/>
                    </a:lnTo>
                    <a:lnTo>
                      <a:pt x="932" y="408"/>
                    </a:lnTo>
                    <a:lnTo>
                      <a:pt x="926" y="413"/>
                    </a:lnTo>
                    <a:lnTo>
                      <a:pt x="919" y="416"/>
                    </a:lnTo>
                    <a:lnTo>
                      <a:pt x="910" y="419"/>
                    </a:lnTo>
                    <a:lnTo>
                      <a:pt x="902" y="421"/>
                    </a:lnTo>
                    <a:lnTo>
                      <a:pt x="893" y="422"/>
                    </a:lnTo>
                    <a:lnTo>
                      <a:pt x="882" y="424"/>
                    </a:lnTo>
                    <a:lnTo>
                      <a:pt x="871" y="424"/>
                    </a:lnTo>
                    <a:lnTo>
                      <a:pt x="867" y="425"/>
                    </a:lnTo>
                    <a:lnTo>
                      <a:pt x="863" y="427"/>
                    </a:lnTo>
                    <a:lnTo>
                      <a:pt x="860" y="429"/>
                    </a:lnTo>
                    <a:lnTo>
                      <a:pt x="856" y="433"/>
                    </a:lnTo>
                    <a:lnTo>
                      <a:pt x="848" y="442"/>
                    </a:lnTo>
                    <a:lnTo>
                      <a:pt x="840" y="453"/>
                    </a:lnTo>
                    <a:lnTo>
                      <a:pt x="824" y="477"/>
                    </a:lnTo>
                    <a:lnTo>
                      <a:pt x="811" y="492"/>
                    </a:lnTo>
                    <a:lnTo>
                      <a:pt x="808" y="494"/>
                    </a:lnTo>
                    <a:lnTo>
                      <a:pt x="804" y="497"/>
                    </a:lnTo>
                    <a:lnTo>
                      <a:pt x="799" y="499"/>
                    </a:lnTo>
                    <a:lnTo>
                      <a:pt x="793" y="500"/>
                    </a:lnTo>
                    <a:lnTo>
                      <a:pt x="780" y="503"/>
                    </a:lnTo>
                    <a:lnTo>
                      <a:pt x="767" y="503"/>
                    </a:lnTo>
                    <a:lnTo>
                      <a:pt x="754" y="501"/>
                    </a:lnTo>
                    <a:lnTo>
                      <a:pt x="742" y="498"/>
                    </a:lnTo>
                    <a:lnTo>
                      <a:pt x="737" y="495"/>
                    </a:lnTo>
                    <a:lnTo>
                      <a:pt x="733" y="493"/>
                    </a:lnTo>
                    <a:lnTo>
                      <a:pt x="729" y="490"/>
                    </a:lnTo>
                    <a:lnTo>
                      <a:pt x="726" y="486"/>
                    </a:lnTo>
                    <a:lnTo>
                      <a:pt x="714" y="471"/>
                    </a:lnTo>
                    <a:close/>
                  </a:path>
                </a:pathLst>
              </a:custGeom>
              <a:solidFill>
                <a:srgbClr val="FF7F7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9A9A9A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AB3B4C65-A567-4133-810F-55C52918D84E}"/>
                </a:ext>
              </a:extLst>
            </p:cNvPr>
            <p:cNvSpPr/>
            <p:nvPr/>
          </p:nvSpPr>
          <p:spPr>
            <a:xfrm>
              <a:off x="7383037" y="2717006"/>
              <a:ext cx="639394" cy="1083469"/>
            </a:xfrm>
            <a:custGeom>
              <a:avLst/>
              <a:gdLst>
                <a:gd name="connsiteX0" fmla="*/ 552450 w 642937"/>
                <a:gd name="connsiteY0" fmla="*/ 2382 h 1083469"/>
                <a:gd name="connsiteX1" fmla="*/ 283369 w 642937"/>
                <a:gd name="connsiteY1" fmla="*/ 0 h 1083469"/>
                <a:gd name="connsiteX2" fmla="*/ 0 w 642937"/>
                <a:gd name="connsiteY2" fmla="*/ 1019175 h 1083469"/>
                <a:gd name="connsiteX3" fmla="*/ 16669 w 642937"/>
                <a:gd name="connsiteY3" fmla="*/ 1078707 h 1083469"/>
                <a:gd name="connsiteX4" fmla="*/ 509587 w 642937"/>
                <a:gd name="connsiteY4" fmla="*/ 1083469 h 1083469"/>
                <a:gd name="connsiteX5" fmla="*/ 509587 w 642937"/>
                <a:gd name="connsiteY5" fmla="*/ 1064419 h 1083469"/>
                <a:gd name="connsiteX6" fmla="*/ 497681 w 642937"/>
                <a:gd name="connsiteY6" fmla="*/ 1057275 h 1083469"/>
                <a:gd name="connsiteX7" fmla="*/ 500062 w 642937"/>
                <a:gd name="connsiteY7" fmla="*/ 1045369 h 1083469"/>
                <a:gd name="connsiteX8" fmla="*/ 507206 w 642937"/>
                <a:gd name="connsiteY8" fmla="*/ 1033463 h 1083469"/>
                <a:gd name="connsiteX9" fmla="*/ 481012 w 642937"/>
                <a:gd name="connsiteY9" fmla="*/ 973932 h 1083469"/>
                <a:gd name="connsiteX10" fmla="*/ 502444 w 642937"/>
                <a:gd name="connsiteY10" fmla="*/ 959644 h 1083469"/>
                <a:gd name="connsiteX11" fmla="*/ 485775 w 642937"/>
                <a:gd name="connsiteY11" fmla="*/ 912019 h 1083469"/>
                <a:gd name="connsiteX12" fmla="*/ 528637 w 642937"/>
                <a:gd name="connsiteY12" fmla="*/ 921544 h 1083469"/>
                <a:gd name="connsiteX13" fmla="*/ 569119 w 642937"/>
                <a:gd name="connsiteY13" fmla="*/ 750094 h 1083469"/>
                <a:gd name="connsiteX14" fmla="*/ 573881 w 642937"/>
                <a:gd name="connsiteY14" fmla="*/ 657225 h 1083469"/>
                <a:gd name="connsiteX15" fmla="*/ 564356 w 642937"/>
                <a:gd name="connsiteY15" fmla="*/ 661988 h 1083469"/>
                <a:gd name="connsiteX16" fmla="*/ 550069 w 642937"/>
                <a:gd name="connsiteY16" fmla="*/ 661988 h 1083469"/>
                <a:gd name="connsiteX17" fmla="*/ 535781 w 642937"/>
                <a:gd name="connsiteY17" fmla="*/ 659607 h 1083469"/>
                <a:gd name="connsiteX18" fmla="*/ 502444 w 642937"/>
                <a:gd name="connsiteY18" fmla="*/ 640557 h 1083469"/>
                <a:gd name="connsiteX19" fmla="*/ 497681 w 642937"/>
                <a:gd name="connsiteY19" fmla="*/ 545307 h 1083469"/>
                <a:gd name="connsiteX20" fmla="*/ 566737 w 642937"/>
                <a:gd name="connsiteY20" fmla="*/ 559594 h 1083469"/>
                <a:gd name="connsiteX21" fmla="*/ 611981 w 642937"/>
                <a:gd name="connsiteY21" fmla="*/ 314325 h 1083469"/>
                <a:gd name="connsiteX22" fmla="*/ 595312 w 642937"/>
                <a:gd name="connsiteY22" fmla="*/ 311944 h 1083469"/>
                <a:gd name="connsiteX23" fmla="*/ 631031 w 642937"/>
                <a:gd name="connsiteY23" fmla="*/ 145257 h 1083469"/>
                <a:gd name="connsiteX24" fmla="*/ 631031 w 642937"/>
                <a:gd name="connsiteY24" fmla="*/ 123825 h 1083469"/>
                <a:gd name="connsiteX25" fmla="*/ 626269 w 642937"/>
                <a:gd name="connsiteY25" fmla="*/ 116682 h 1083469"/>
                <a:gd name="connsiteX26" fmla="*/ 607219 w 642937"/>
                <a:gd name="connsiteY26" fmla="*/ 133350 h 1083469"/>
                <a:gd name="connsiteX27" fmla="*/ 590550 w 642937"/>
                <a:gd name="connsiteY27" fmla="*/ 116682 h 1083469"/>
                <a:gd name="connsiteX28" fmla="*/ 588169 w 642937"/>
                <a:gd name="connsiteY28" fmla="*/ 109538 h 1083469"/>
                <a:gd name="connsiteX29" fmla="*/ 609600 w 642937"/>
                <a:gd name="connsiteY29" fmla="*/ 109538 h 1083469"/>
                <a:gd name="connsiteX30" fmla="*/ 611981 w 642937"/>
                <a:gd name="connsiteY30" fmla="*/ 90488 h 1083469"/>
                <a:gd name="connsiteX31" fmla="*/ 626269 w 642937"/>
                <a:gd name="connsiteY31" fmla="*/ 83344 h 1083469"/>
                <a:gd name="connsiteX32" fmla="*/ 642937 w 642937"/>
                <a:gd name="connsiteY32" fmla="*/ 57150 h 1083469"/>
                <a:gd name="connsiteX33" fmla="*/ 554831 w 642937"/>
                <a:gd name="connsiteY33" fmla="*/ 61913 h 1083469"/>
                <a:gd name="connsiteX34" fmla="*/ 552450 w 642937"/>
                <a:gd name="connsiteY34" fmla="*/ 2382 h 1083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42937" h="1083469">
                  <a:moveTo>
                    <a:pt x="552450" y="2382"/>
                  </a:moveTo>
                  <a:lnTo>
                    <a:pt x="283369" y="0"/>
                  </a:lnTo>
                  <a:lnTo>
                    <a:pt x="0" y="1019175"/>
                  </a:lnTo>
                  <a:lnTo>
                    <a:pt x="16669" y="1078707"/>
                  </a:lnTo>
                  <a:lnTo>
                    <a:pt x="509587" y="1083469"/>
                  </a:lnTo>
                  <a:lnTo>
                    <a:pt x="509587" y="1064419"/>
                  </a:lnTo>
                  <a:lnTo>
                    <a:pt x="497681" y="1057275"/>
                  </a:lnTo>
                  <a:lnTo>
                    <a:pt x="500062" y="1045369"/>
                  </a:lnTo>
                  <a:lnTo>
                    <a:pt x="507206" y="1033463"/>
                  </a:lnTo>
                  <a:lnTo>
                    <a:pt x="481012" y="973932"/>
                  </a:lnTo>
                  <a:lnTo>
                    <a:pt x="502444" y="959644"/>
                  </a:lnTo>
                  <a:lnTo>
                    <a:pt x="485775" y="912019"/>
                  </a:lnTo>
                  <a:lnTo>
                    <a:pt x="528637" y="921544"/>
                  </a:lnTo>
                  <a:lnTo>
                    <a:pt x="569119" y="750094"/>
                  </a:lnTo>
                  <a:lnTo>
                    <a:pt x="573881" y="657225"/>
                  </a:lnTo>
                  <a:lnTo>
                    <a:pt x="564356" y="661988"/>
                  </a:lnTo>
                  <a:lnTo>
                    <a:pt x="550069" y="661988"/>
                  </a:lnTo>
                  <a:lnTo>
                    <a:pt x="535781" y="659607"/>
                  </a:lnTo>
                  <a:lnTo>
                    <a:pt x="502444" y="640557"/>
                  </a:lnTo>
                  <a:lnTo>
                    <a:pt x="497681" y="545307"/>
                  </a:lnTo>
                  <a:lnTo>
                    <a:pt x="566737" y="559594"/>
                  </a:lnTo>
                  <a:lnTo>
                    <a:pt x="611981" y="314325"/>
                  </a:lnTo>
                  <a:lnTo>
                    <a:pt x="595312" y="311944"/>
                  </a:lnTo>
                  <a:lnTo>
                    <a:pt x="631031" y="145257"/>
                  </a:lnTo>
                  <a:lnTo>
                    <a:pt x="631031" y="123825"/>
                  </a:lnTo>
                  <a:lnTo>
                    <a:pt x="626269" y="116682"/>
                  </a:lnTo>
                  <a:lnTo>
                    <a:pt x="607219" y="133350"/>
                  </a:lnTo>
                  <a:lnTo>
                    <a:pt x="590550" y="116682"/>
                  </a:lnTo>
                  <a:lnTo>
                    <a:pt x="588169" y="109538"/>
                  </a:lnTo>
                  <a:lnTo>
                    <a:pt x="609600" y="109538"/>
                  </a:lnTo>
                  <a:lnTo>
                    <a:pt x="611981" y="90488"/>
                  </a:lnTo>
                  <a:lnTo>
                    <a:pt x="626269" y="83344"/>
                  </a:lnTo>
                  <a:lnTo>
                    <a:pt x="642937" y="57150"/>
                  </a:lnTo>
                  <a:lnTo>
                    <a:pt x="554831" y="61913"/>
                  </a:lnTo>
                  <a:cubicBezTo>
                    <a:pt x="554037" y="42069"/>
                    <a:pt x="553244" y="22226"/>
                    <a:pt x="552450" y="2382"/>
                  </a:cubicBezTo>
                  <a:close/>
                </a:path>
              </a:pathLst>
            </a:custGeom>
            <a:solidFill>
              <a:srgbClr val="FFFF00"/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999256C5-6036-43AA-B1A5-CBFF0E50B401}"/>
                </a:ext>
              </a:extLst>
            </p:cNvPr>
            <p:cNvSpPr/>
            <p:nvPr/>
          </p:nvSpPr>
          <p:spPr>
            <a:xfrm>
              <a:off x="7860506" y="2721769"/>
              <a:ext cx="1128713" cy="1143000"/>
            </a:xfrm>
            <a:custGeom>
              <a:avLst/>
              <a:gdLst>
                <a:gd name="connsiteX0" fmla="*/ 80963 w 1128713"/>
                <a:gd name="connsiteY0" fmla="*/ 0 h 1143000"/>
                <a:gd name="connsiteX1" fmla="*/ 1107282 w 1128713"/>
                <a:gd name="connsiteY1" fmla="*/ 40481 h 1143000"/>
                <a:gd name="connsiteX2" fmla="*/ 1085850 w 1128713"/>
                <a:gd name="connsiteY2" fmla="*/ 183356 h 1143000"/>
                <a:gd name="connsiteX3" fmla="*/ 1059657 w 1128713"/>
                <a:gd name="connsiteY3" fmla="*/ 190500 h 1143000"/>
                <a:gd name="connsiteX4" fmla="*/ 1081088 w 1128713"/>
                <a:gd name="connsiteY4" fmla="*/ 209550 h 1143000"/>
                <a:gd name="connsiteX5" fmla="*/ 1076325 w 1128713"/>
                <a:gd name="connsiteY5" fmla="*/ 269081 h 1143000"/>
                <a:gd name="connsiteX6" fmla="*/ 1119188 w 1128713"/>
                <a:gd name="connsiteY6" fmla="*/ 338137 h 1143000"/>
                <a:gd name="connsiteX7" fmla="*/ 1116807 w 1128713"/>
                <a:gd name="connsiteY7" fmla="*/ 350044 h 1143000"/>
                <a:gd name="connsiteX8" fmla="*/ 1123950 w 1128713"/>
                <a:gd name="connsiteY8" fmla="*/ 366712 h 1143000"/>
                <a:gd name="connsiteX9" fmla="*/ 1128713 w 1128713"/>
                <a:gd name="connsiteY9" fmla="*/ 378619 h 1143000"/>
                <a:gd name="connsiteX10" fmla="*/ 983457 w 1128713"/>
                <a:gd name="connsiteY10" fmla="*/ 502444 h 1143000"/>
                <a:gd name="connsiteX11" fmla="*/ 971550 w 1128713"/>
                <a:gd name="connsiteY11" fmla="*/ 538162 h 1143000"/>
                <a:gd name="connsiteX12" fmla="*/ 957263 w 1128713"/>
                <a:gd name="connsiteY12" fmla="*/ 533400 h 1143000"/>
                <a:gd name="connsiteX13" fmla="*/ 942975 w 1128713"/>
                <a:gd name="connsiteY13" fmla="*/ 542925 h 1143000"/>
                <a:gd name="connsiteX14" fmla="*/ 945357 w 1128713"/>
                <a:gd name="connsiteY14" fmla="*/ 542925 h 1143000"/>
                <a:gd name="connsiteX15" fmla="*/ 928688 w 1128713"/>
                <a:gd name="connsiteY15" fmla="*/ 542925 h 1143000"/>
                <a:gd name="connsiteX16" fmla="*/ 919163 w 1128713"/>
                <a:gd name="connsiteY16" fmla="*/ 550069 h 1143000"/>
                <a:gd name="connsiteX17" fmla="*/ 900113 w 1128713"/>
                <a:gd name="connsiteY17" fmla="*/ 559594 h 1143000"/>
                <a:gd name="connsiteX18" fmla="*/ 892969 w 1128713"/>
                <a:gd name="connsiteY18" fmla="*/ 588169 h 1143000"/>
                <a:gd name="connsiteX19" fmla="*/ 892969 w 1128713"/>
                <a:gd name="connsiteY19" fmla="*/ 609600 h 1143000"/>
                <a:gd name="connsiteX20" fmla="*/ 900113 w 1128713"/>
                <a:gd name="connsiteY20" fmla="*/ 628650 h 1143000"/>
                <a:gd name="connsiteX21" fmla="*/ 907257 w 1128713"/>
                <a:gd name="connsiteY21" fmla="*/ 635794 h 1143000"/>
                <a:gd name="connsiteX22" fmla="*/ 907257 w 1128713"/>
                <a:gd name="connsiteY22" fmla="*/ 669131 h 1143000"/>
                <a:gd name="connsiteX23" fmla="*/ 907257 w 1128713"/>
                <a:gd name="connsiteY23" fmla="*/ 676275 h 1143000"/>
                <a:gd name="connsiteX24" fmla="*/ 981075 w 1128713"/>
                <a:gd name="connsiteY24" fmla="*/ 664369 h 1143000"/>
                <a:gd name="connsiteX25" fmla="*/ 976313 w 1128713"/>
                <a:gd name="connsiteY25" fmla="*/ 690562 h 1143000"/>
                <a:gd name="connsiteX26" fmla="*/ 983457 w 1128713"/>
                <a:gd name="connsiteY26" fmla="*/ 697706 h 1143000"/>
                <a:gd name="connsiteX27" fmla="*/ 971550 w 1128713"/>
                <a:gd name="connsiteY27" fmla="*/ 745331 h 1143000"/>
                <a:gd name="connsiteX28" fmla="*/ 971550 w 1128713"/>
                <a:gd name="connsiteY28" fmla="*/ 759619 h 1143000"/>
                <a:gd name="connsiteX29" fmla="*/ 978694 w 1128713"/>
                <a:gd name="connsiteY29" fmla="*/ 766762 h 1143000"/>
                <a:gd name="connsiteX30" fmla="*/ 919163 w 1128713"/>
                <a:gd name="connsiteY30" fmla="*/ 842962 h 1143000"/>
                <a:gd name="connsiteX31" fmla="*/ 919163 w 1128713"/>
                <a:gd name="connsiteY31" fmla="*/ 854869 h 1143000"/>
                <a:gd name="connsiteX32" fmla="*/ 992982 w 1128713"/>
                <a:gd name="connsiteY32" fmla="*/ 897731 h 1143000"/>
                <a:gd name="connsiteX33" fmla="*/ 995363 w 1128713"/>
                <a:gd name="connsiteY33" fmla="*/ 912019 h 1143000"/>
                <a:gd name="connsiteX34" fmla="*/ 1064419 w 1128713"/>
                <a:gd name="connsiteY34" fmla="*/ 895350 h 1143000"/>
                <a:gd name="connsiteX35" fmla="*/ 1064419 w 1128713"/>
                <a:gd name="connsiteY35" fmla="*/ 1095375 h 1143000"/>
                <a:gd name="connsiteX36" fmla="*/ 611982 w 1128713"/>
                <a:gd name="connsiteY36" fmla="*/ 1090612 h 1143000"/>
                <a:gd name="connsiteX37" fmla="*/ 592932 w 1128713"/>
                <a:gd name="connsiteY37" fmla="*/ 1090612 h 1143000"/>
                <a:gd name="connsiteX38" fmla="*/ 566738 w 1128713"/>
                <a:gd name="connsiteY38" fmla="*/ 1104900 h 1143000"/>
                <a:gd name="connsiteX39" fmla="*/ 557213 w 1128713"/>
                <a:gd name="connsiteY39" fmla="*/ 1107281 h 1143000"/>
                <a:gd name="connsiteX40" fmla="*/ 545307 w 1128713"/>
                <a:gd name="connsiteY40" fmla="*/ 1100137 h 1143000"/>
                <a:gd name="connsiteX41" fmla="*/ 540544 w 1128713"/>
                <a:gd name="connsiteY41" fmla="*/ 1090612 h 1143000"/>
                <a:gd name="connsiteX42" fmla="*/ 381000 w 1128713"/>
                <a:gd name="connsiteY42" fmla="*/ 1081087 h 1143000"/>
                <a:gd name="connsiteX43" fmla="*/ 373857 w 1128713"/>
                <a:gd name="connsiteY43" fmla="*/ 1081087 h 1143000"/>
                <a:gd name="connsiteX44" fmla="*/ 373857 w 1128713"/>
                <a:gd name="connsiteY44" fmla="*/ 1102519 h 1143000"/>
                <a:gd name="connsiteX45" fmla="*/ 366713 w 1128713"/>
                <a:gd name="connsiteY45" fmla="*/ 1102519 h 1143000"/>
                <a:gd name="connsiteX46" fmla="*/ 364332 w 1128713"/>
                <a:gd name="connsiteY46" fmla="*/ 1109662 h 1143000"/>
                <a:gd name="connsiteX47" fmla="*/ 366713 w 1128713"/>
                <a:gd name="connsiteY47" fmla="*/ 1128712 h 1143000"/>
                <a:gd name="connsiteX48" fmla="*/ 361950 w 1128713"/>
                <a:gd name="connsiteY48" fmla="*/ 1135856 h 1143000"/>
                <a:gd name="connsiteX49" fmla="*/ 361950 w 1128713"/>
                <a:gd name="connsiteY49" fmla="*/ 1135856 h 1143000"/>
                <a:gd name="connsiteX50" fmla="*/ 326232 w 1128713"/>
                <a:gd name="connsiteY50" fmla="*/ 1135856 h 1143000"/>
                <a:gd name="connsiteX51" fmla="*/ 326232 w 1128713"/>
                <a:gd name="connsiteY51" fmla="*/ 1135856 h 1143000"/>
                <a:gd name="connsiteX52" fmla="*/ 304800 w 1128713"/>
                <a:gd name="connsiteY52" fmla="*/ 1143000 h 1143000"/>
                <a:gd name="connsiteX53" fmla="*/ 297657 w 1128713"/>
                <a:gd name="connsiteY53" fmla="*/ 1085850 h 1143000"/>
                <a:gd name="connsiteX54" fmla="*/ 33338 w 1128713"/>
                <a:gd name="connsiteY54" fmla="*/ 1076325 h 1143000"/>
                <a:gd name="connsiteX55" fmla="*/ 30957 w 1128713"/>
                <a:gd name="connsiteY55" fmla="*/ 1064419 h 1143000"/>
                <a:gd name="connsiteX56" fmla="*/ 23813 w 1128713"/>
                <a:gd name="connsiteY56" fmla="*/ 1054894 h 1143000"/>
                <a:gd name="connsiteX57" fmla="*/ 19050 w 1128713"/>
                <a:gd name="connsiteY57" fmla="*/ 1052512 h 1143000"/>
                <a:gd name="connsiteX58" fmla="*/ 23813 w 1128713"/>
                <a:gd name="connsiteY58" fmla="*/ 1028700 h 1143000"/>
                <a:gd name="connsiteX59" fmla="*/ 0 w 1128713"/>
                <a:gd name="connsiteY59" fmla="*/ 973931 h 1143000"/>
                <a:gd name="connsiteX60" fmla="*/ 23813 w 1128713"/>
                <a:gd name="connsiteY60" fmla="*/ 950119 h 1143000"/>
                <a:gd name="connsiteX61" fmla="*/ 11907 w 1128713"/>
                <a:gd name="connsiteY61" fmla="*/ 909637 h 1143000"/>
                <a:gd name="connsiteX62" fmla="*/ 42863 w 1128713"/>
                <a:gd name="connsiteY62" fmla="*/ 916781 h 1143000"/>
                <a:gd name="connsiteX63" fmla="*/ 90488 w 1128713"/>
                <a:gd name="connsiteY63" fmla="*/ 752475 h 1143000"/>
                <a:gd name="connsiteX64" fmla="*/ 97632 w 1128713"/>
                <a:gd name="connsiteY64" fmla="*/ 657225 h 1143000"/>
                <a:gd name="connsiteX65" fmla="*/ 50007 w 1128713"/>
                <a:gd name="connsiteY65" fmla="*/ 645319 h 1143000"/>
                <a:gd name="connsiteX66" fmla="*/ 14288 w 1128713"/>
                <a:gd name="connsiteY66" fmla="*/ 623887 h 1143000"/>
                <a:gd name="connsiteX67" fmla="*/ 23813 w 1128713"/>
                <a:gd name="connsiteY67" fmla="*/ 542925 h 1143000"/>
                <a:gd name="connsiteX68" fmla="*/ 88107 w 1128713"/>
                <a:gd name="connsiteY68" fmla="*/ 557212 h 1143000"/>
                <a:gd name="connsiteX69" fmla="*/ 133350 w 1128713"/>
                <a:gd name="connsiteY69" fmla="*/ 311944 h 1143000"/>
                <a:gd name="connsiteX70" fmla="*/ 133350 w 1128713"/>
                <a:gd name="connsiteY70" fmla="*/ 311944 h 1143000"/>
                <a:gd name="connsiteX71" fmla="*/ 157163 w 1128713"/>
                <a:gd name="connsiteY71" fmla="*/ 123825 h 1143000"/>
                <a:gd name="connsiteX72" fmla="*/ 150019 w 1128713"/>
                <a:gd name="connsiteY72" fmla="*/ 111919 h 1143000"/>
                <a:gd name="connsiteX73" fmla="*/ 126207 w 1128713"/>
                <a:gd name="connsiteY73" fmla="*/ 128587 h 1143000"/>
                <a:gd name="connsiteX74" fmla="*/ 107157 w 1128713"/>
                <a:gd name="connsiteY74" fmla="*/ 107156 h 1143000"/>
                <a:gd name="connsiteX75" fmla="*/ 128588 w 1128713"/>
                <a:gd name="connsiteY75" fmla="*/ 102394 h 1143000"/>
                <a:gd name="connsiteX76" fmla="*/ 133350 w 1128713"/>
                <a:gd name="connsiteY76" fmla="*/ 85725 h 1143000"/>
                <a:gd name="connsiteX77" fmla="*/ 161925 w 1128713"/>
                <a:gd name="connsiteY77" fmla="*/ 50006 h 1143000"/>
                <a:gd name="connsiteX78" fmla="*/ 71438 w 1128713"/>
                <a:gd name="connsiteY78" fmla="*/ 57150 h 1143000"/>
                <a:gd name="connsiteX79" fmla="*/ 80963 w 1128713"/>
                <a:gd name="connsiteY79" fmla="*/ 0 h 1143000"/>
                <a:gd name="connsiteX0" fmla="*/ 80963 w 1128713"/>
                <a:gd name="connsiteY0" fmla="*/ 0 h 1143000"/>
                <a:gd name="connsiteX1" fmla="*/ 1107282 w 1128713"/>
                <a:gd name="connsiteY1" fmla="*/ 40481 h 1143000"/>
                <a:gd name="connsiteX2" fmla="*/ 1085850 w 1128713"/>
                <a:gd name="connsiteY2" fmla="*/ 183356 h 1143000"/>
                <a:gd name="connsiteX3" fmla="*/ 1059657 w 1128713"/>
                <a:gd name="connsiteY3" fmla="*/ 190500 h 1143000"/>
                <a:gd name="connsiteX4" fmla="*/ 1081088 w 1128713"/>
                <a:gd name="connsiteY4" fmla="*/ 209550 h 1143000"/>
                <a:gd name="connsiteX5" fmla="*/ 1076325 w 1128713"/>
                <a:gd name="connsiteY5" fmla="*/ 269081 h 1143000"/>
                <a:gd name="connsiteX6" fmla="*/ 1119188 w 1128713"/>
                <a:gd name="connsiteY6" fmla="*/ 338137 h 1143000"/>
                <a:gd name="connsiteX7" fmla="*/ 1116807 w 1128713"/>
                <a:gd name="connsiteY7" fmla="*/ 350044 h 1143000"/>
                <a:gd name="connsiteX8" fmla="*/ 1123950 w 1128713"/>
                <a:gd name="connsiteY8" fmla="*/ 366712 h 1143000"/>
                <a:gd name="connsiteX9" fmla="*/ 1128713 w 1128713"/>
                <a:gd name="connsiteY9" fmla="*/ 378619 h 1143000"/>
                <a:gd name="connsiteX10" fmla="*/ 983457 w 1128713"/>
                <a:gd name="connsiteY10" fmla="*/ 502444 h 1143000"/>
                <a:gd name="connsiteX11" fmla="*/ 971550 w 1128713"/>
                <a:gd name="connsiteY11" fmla="*/ 538162 h 1143000"/>
                <a:gd name="connsiteX12" fmla="*/ 957263 w 1128713"/>
                <a:gd name="connsiteY12" fmla="*/ 533400 h 1143000"/>
                <a:gd name="connsiteX13" fmla="*/ 942975 w 1128713"/>
                <a:gd name="connsiteY13" fmla="*/ 542925 h 1143000"/>
                <a:gd name="connsiteX14" fmla="*/ 945357 w 1128713"/>
                <a:gd name="connsiteY14" fmla="*/ 542925 h 1143000"/>
                <a:gd name="connsiteX15" fmla="*/ 928688 w 1128713"/>
                <a:gd name="connsiteY15" fmla="*/ 542925 h 1143000"/>
                <a:gd name="connsiteX16" fmla="*/ 919163 w 1128713"/>
                <a:gd name="connsiteY16" fmla="*/ 550069 h 1143000"/>
                <a:gd name="connsiteX17" fmla="*/ 900113 w 1128713"/>
                <a:gd name="connsiteY17" fmla="*/ 559594 h 1143000"/>
                <a:gd name="connsiteX18" fmla="*/ 892969 w 1128713"/>
                <a:gd name="connsiteY18" fmla="*/ 588169 h 1143000"/>
                <a:gd name="connsiteX19" fmla="*/ 892969 w 1128713"/>
                <a:gd name="connsiteY19" fmla="*/ 609600 h 1143000"/>
                <a:gd name="connsiteX20" fmla="*/ 900113 w 1128713"/>
                <a:gd name="connsiteY20" fmla="*/ 628650 h 1143000"/>
                <a:gd name="connsiteX21" fmla="*/ 907257 w 1128713"/>
                <a:gd name="connsiteY21" fmla="*/ 635794 h 1143000"/>
                <a:gd name="connsiteX22" fmla="*/ 907257 w 1128713"/>
                <a:gd name="connsiteY22" fmla="*/ 669131 h 1143000"/>
                <a:gd name="connsiteX23" fmla="*/ 907257 w 1128713"/>
                <a:gd name="connsiteY23" fmla="*/ 676275 h 1143000"/>
                <a:gd name="connsiteX24" fmla="*/ 981075 w 1128713"/>
                <a:gd name="connsiteY24" fmla="*/ 664369 h 1143000"/>
                <a:gd name="connsiteX25" fmla="*/ 976313 w 1128713"/>
                <a:gd name="connsiteY25" fmla="*/ 690562 h 1143000"/>
                <a:gd name="connsiteX26" fmla="*/ 983457 w 1128713"/>
                <a:gd name="connsiteY26" fmla="*/ 697706 h 1143000"/>
                <a:gd name="connsiteX27" fmla="*/ 971550 w 1128713"/>
                <a:gd name="connsiteY27" fmla="*/ 745331 h 1143000"/>
                <a:gd name="connsiteX28" fmla="*/ 971550 w 1128713"/>
                <a:gd name="connsiteY28" fmla="*/ 759619 h 1143000"/>
                <a:gd name="connsiteX29" fmla="*/ 978694 w 1128713"/>
                <a:gd name="connsiteY29" fmla="*/ 766762 h 1143000"/>
                <a:gd name="connsiteX30" fmla="*/ 919163 w 1128713"/>
                <a:gd name="connsiteY30" fmla="*/ 842962 h 1143000"/>
                <a:gd name="connsiteX31" fmla="*/ 919163 w 1128713"/>
                <a:gd name="connsiteY31" fmla="*/ 854869 h 1143000"/>
                <a:gd name="connsiteX32" fmla="*/ 992982 w 1128713"/>
                <a:gd name="connsiteY32" fmla="*/ 897731 h 1143000"/>
                <a:gd name="connsiteX33" fmla="*/ 995363 w 1128713"/>
                <a:gd name="connsiteY33" fmla="*/ 912019 h 1143000"/>
                <a:gd name="connsiteX34" fmla="*/ 1064419 w 1128713"/>
                <a:gd name="connsiteY34" fmla="*/ 895350 h 1143000"/>
                <a:gd name="connsiteX35" fmla="*/ 1064419 w 1128713"/>
                <a:gd name="connsiteY35" fmla="*/ 1095375 h 1143000"/>
                <a:gd name="connsiteX36" fmla="*/ 611982 w 1128713"/>
                <a:gd name="connsiteY36" fmla="*/ 1090612 h 1143000"/>
                <a:gd name="connsiteX37" fmla="*/ 592932 w 1128713"/>
                <a:gd name="connsiteY37" fmla="*/ 1090612 h 1143000"/>
                <a:gd name="connsiteX38" fmla="*/ 566738 w 1128713"/>
                <a:gd name="connsiteY38" fmla="*/ 1104900 h 1143000"/>
                <a:gd name="connsiteX39" fmla="*/ 557213 w 1128713"/>
                <a:gd name="connsiteY39" fmla="*/ 1107281 h 1143000"/>
                <a:gd name="connsiteX40" fmla="*/ 545307 w 1128713"/>
                <a:gd name="connsiteY40" fmla="*/ 1100137 h 1143000"/>
                <a:gd name="connsiteX41" fmla="*/ 540544 w 1128713"/>
                <a:gd name="connsiteY41" fmla="*/ 1090612 h 1143000"/>
                <a:gd name="connsiteX42" fmla="*/ 381000 w 1128713"/>
                <a:gd name="connsiteY42" fmla="*/ 1081087 h 1143000"/>
                <a:gd name="connsiteX43" fmla="*/ 373857 w 1128713"/>
                <a:gd name="connsiteY43" fmla="*/ 1081087 h 1143000"/>
                <a:gd name="connsiteX44" fmla="*/ 373857 w 1128713"/>
                <a:gd name="connsiteY44" fmla="*/ 1102519 h 1143000"/>
                <a:gd name="connsiteX45" fmla="*/ 366713 w 1128713"/>
                <a:gd name="connsiteY45" fmla="*/ 1102519 h 1143000"/>
                <a:gd name="connsiteX46" fmla="*/ 364332 w 1128713"/>
                <a:gd name="connsiteY46" fmla="*/ 1109662 h 1143000"/>
                <a:gd name="connsiteX47" fmla="*/ 366713 w 1128713"/>
                <a:gd name="connsiteY47" fmla="*/ 1128712 h 1143000"/>
                <a:gd name="connsiteX48" fmla="*/ 361950 w 1128713"/>
                <a:gd name="connsiteY48" fmla="*/ 1135856 h 1143000"/>
                <a:gd name="connsiteX49" fmla="*/ 361950 w 1128713"/>
                <a:gd name="connsiteY49" fmla="*/ 1135856 h 1143000"/>
                <a:gd name="connsiteX50" fmla="*/ 326232 w 1128713"/>
                <a:gd name="connsiteY50" fmla="*/ 1135856 h 1143000"/>
                <a:gd name="connsiteX51" fmla="*/ 326232 w 1128713"/>
                <a:gd name="connsiteY51" fmla="*/ 1135856 h 1143000"/>
                <a:gd name="connsiteX52" fmla="*/ 304800 w 1128713"/>
                <a:gd name="connsiteY52" fmla="*/ 1143000 h 1143000"/>
                <a:gd name="connsiteX53" fmla="*/ 297657 w 1128713"/>
                <a:gd name="connsiteY53" fmla="*/ 1085850 h 1143000"/>
                <a:gd name="connsiteX54" fmla="*/ 33338 w 1128713"/>
                <a:gd name="connsiteY54" fmla="*/ 1076325 h 1143000"/>
                <a:gd name="connsiteX55" fmla="*/ 30957 w 1128713"/>
                <a:gd name="connsiteY55" fmla="*/ 1064419 h 1143000"/>
                <a:gd name="connsiteX56" fmla="*/ 23813 w 1128713"/>
                <a:gd name="connsiteY56" fmla="*/ 1054894 h 1143000"/>
                <a:gd name="connsiteX57" fmla="*/ 19050 w 1128713"/>
                <a:gd name="connsiteY57" fmla="*/ 1052512 h 1143000"/>
                <a:gd name="connsiteX58" fmla="*/ 23813 w 1128713"/>
                <a:gd name="connsiteY58" fmla="*/ 1028700 h 1143000"/>
                <a:gd name="connsiteX59" fmla="*/ 0 w 1128713"/>
                <a:gd name="connsiteY59" fmla="*/ 973931 h 1143000"/>
                <a:gd name="connsiteX60" fmla="*/ 23813 w 1128713"/>
                <a:gd name="connsiteY60" fmla="*/ 950119 h 1143000"/>
                <a:gd name="connsiteX61" fmla="*/ 11907 w 1128713"/>
                <a:gd name="connsiteY61" fmla="*/ 909637 h 1143000"/>
                <a:gd name="connsiteX62" fmla="*/ 42863 w 1128713"/>
                <a:gd name="connsiteY62" fmla="*/ 916781 h 1143000"/>
                <a:gd name="connsiteX63" fmla="*/ 90488 w 1128713"/>
                <a:gd name="connsiteY63" fmla="*/ 752475 h 1143000"/>
                <a:gd name="connsiteX64" fmla="*/ 97632 w 1128713"/>
                <a:gd name="connsiteY64" fmla="*/ 657225 h 1143000"/>
                <a:gd name="connsiteX65" fmla="*/ 50007 w 1128713"/>
                <a:gd name="connsiteY65" fmla="*/ 645319 h 1143000"/>
                <a:gd name="connsiteX66" fmla="*/ 14288 w 1128713"/>
                <a:gd name="connsiteY66" fmla="*/ 623887 h 1143000"/>
                <a:gd name="connsiteX67" fmla="*/ 23813 w 1128713"/>
                <a:gd name="connsiteY67" fmla="*/ 542925 h 1143000"/>
                <a:gd name="connsiteX68" fmla="*/ 88107 w 1128713"/>
                <a:gd name="connsiteY68" fmla="*/ 557212 h 1143000"/>
                <a:gd name="connsiteX69" fmla="*/ 133350 w 1128713"/>
                <a:gd name="connsiteY69" fmla="*/ 311944 h 1143000"/>
                <a:gd name="connsiteX70" fmla="*/ 111919 w 1128713"/>
                <a:gd name="connsiteY70" fmla="*/ 304800 h 1143000"/>
                <a:gd name="connsiteX71" fmla="*/ 157163 w 1128713"/>
                <a:gd name="connsiteY71" fmla="*/ 123825 h 1143000"/>
                <a:gd name="connsiteX72" fmla="*/ 150019 w 1128713"/>
                <a:gd name="connsiteY72" fmla="*/ 111919 h 1143000"/>
                <a:gd name="connsiteX73" fmla="*/ 126207 w 1128713"/>
                <a:gd name="connsiteY73" fmla="*/ 128587 h 1143000"/>
                <a:gd name="connsiteX74" fmla="*/ 107157 w 1128713"/>
                <a:gd name="connsiteY74" fmla="*/ 107156 h 1143000"/>
                <a:gd name="connsiteX75" fmla="*/ 128588 w 1128713"/>
                <a:gd name="connsiteY75" fmla="*/ 102394 h 1143000"/>
                <a:gd name="connsiteX76" fmla="*/ 133350 w 1128713"/>
                <a:gd name="connsiteY76" fmla="*/ 85725 h 1143000"/>
                <a:gd name="connsiteX77" fmla="*/ 161925 w 1128713"/>
                <a:gd name="connsiteY77" fmla="*/ 50006 h 1143000"/>
                <a:gd name="connsiteX78" fmla="*/ 71438 w 1128713"/>
                <a:gd name="connsiteY78" fmla="*/ 57150 h 1143000"/>
                <a:gd name="connsiteX79" fmla="*/ 80963 w 1128713"/>
                <a:gd name="connsiteY79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1128713" h="1143000">
                  <a:moveTo>
                    <a:pt x="80963" y="0"/>
                  </a:moveTo>
                  <a:lnTo>
                    <a:pt x="1107282" y="40481"/>
                  </a:lnTo>
                  <a:lnTo>
                    <a:pt x="1085850" y="183356"/>
                  </a:lnTo>
                  <a:lnTo>
                    <a:pt x="1059657" y="190500"/>
                  </a:lnTo>
                  <a:lnTo>
                    <a:pt x="1081088" y="209550"/>
                  </a:lnTo>
                  <a:lnTo>
                    <a:pt x="1076325" y="269081"/>
                  </a:lnTo>
                  <a:lnTo>
                    <a:pt x="1119188" y="338137"/>
                  </a:lnTo>
                  <a:lnTo>
                    <a:pt x="1116807" y="350044"/>
                  </a:lnTo>
                  <a:lnTo>
                    <a:pt x="1123950" y="366712"/>
                  </a:lnTo>
                  <a:lnTo>
                    <a:pt x="1128713" y="378619"/>
                  </a:lnTo>
                  <a:lnTo>
                    <a:pt x="983457" y="502444"/>
                  </a:lnTo>
                  <a:lnTo>
                    <a:pt x="971550" y="538162"/>
                  </a:lnTo>
                  <a:lnTo>
                    <a:pt x="957263" y="533400"/>
                  </a:lnTo>
                  <a:lnTo>
                    <a:pt x="942975" y="542925"/>
                  </a:lnTo>
                  <a:lnTo>
                    <a:pt x="945357" y="542925"/>
                  </a:lnTo>
                  <a:lnTo>
                    <a:pt x="928688" y="542925"/>
                  </a:lnTo>
                  <a:lnTo>
                    <a:pt x="919163" y="550069"/>
                  </a:lnTo>
                  <a:lnTo>
                    <a:pt x="900113" y="559594"/>
                  </a:lnTo>
                  <a:lnTo>
                    <a:pt x="892969" y="588169"/>
                  </a:lnTo>
                  <a:lnTo>
                    <a:pt x="892969" y="609600"/>
                  </a:lnTo>
                  <a:lnTo>
                    <a:pt x="900113" y="628650"/>
                  </a:lnTo>
                  <a:lnTo>
                    <a:pt x="907257" y="635794"/>
                  </a:lnTo>
                  <a:lnTo>
                    <a:pt x="907257" y="669131"/>
                  </a:lnTo>
                  <a:lnTo>
                    <a:pt x="907257" y="676275"/>
                  </a:lnTo>
                  <a:lnTo>
                    <a:pt x="981075" y="664369"/>
                  </a:lnTo>
                  <a:lnTo>
                    <a:pt x="976313" y="690562"/>
                  </a:lnTo>
                  <a:lnTo>
                    <a:pt x="983457" y="697706"/>
                  </a:lnTo>
                  <a:lnTo>
                    <a:pt x="971550" y="745331"/>
                  </a:lnTo>
                  <a:lnTo>
                    <a:pt x="971550" y="759619"/>
                  </a:lnTo>
                  <a:lnTo>
                    <a:pt x="978694" y="766762"/>
                  </a:lnTo>
                  <a:lnTo>
                    <a:pt x="919163" y="842962"/>
                  </a:lnTo>
                  <a:lnTo>
                    <a:pt x="919163" y="854869"/>
                  </a:lnTo>
                  <a:lnTo>
                    <a:pt x="992982" y="897731"/>
                  </a:lnTo>
                  <a:lnTo>
                    <a:pt x="995363" y="912019"/>
                  </a:lnTo>
                  <a:lnTo>
                    <a:pt x="1064419" y="895350"/>
                  </a:lnTo>
                  <a:lnTo>
                    <a:pt x="1064419" y="1095375"/>
                  </a:lnTo>
                  <a:lnTo>
                    <a:pt x="611982" y="1090612"/>
                  </a:lnTo>
                  <a:lnTo>
                    <a:pt x="592932" y="1090612"/>
                  </a:lnTo>
                  <a:lnTo>
                    <a:pt x="566738" y="1104900"/>
                  </a:lnTo>
                  <a:lnTo>
                    <a:pt x="557213" y="1107281"/>
                  </a:lnTo>
                  <a:lnTo>
                    <a:pt x="545307" y="1100137"/>
                  </a:lnTo>
                  <a:lnTo>
                    <a:pt x="540544" y="1090612"/>
                  </a:lnTo>
                  <a:lnTo>
                    <a:pt x="381000" y="1081087"/>
                  </a:lnTo>
                  <a:lnTo>
                    <a:pt x="373857" y="1081087"/>
                  </a:lnTo>
                  <a:lnTo>
                    <a:pt x="373857" y="1102519"/>
                  </a:lnTo>
                  <a:lnTo>
                    <a:pt x="366713" y="1102519"/>
                  </a:lnTo>
                  <a:lnTo>
                    <a:pt x="364332" y="1109662"/>
                  </a:lnTo>
                  <a:lnTo>
                    <a:pt x="366713" y="1128712"/>
                  </a:lnTo>
                  <a:lnTo>
                    <a:pt x="361950" y="1135856"/>
                  </a:lnTo>
                  <a:lnTo>
                    <a:pt x="361950" y="1135856"/>
                  </a:lnTo>
                  <a:lnTo>
                    <a:pt x="326232" y="1135856"/>
                  </a:lnTo>
                  <a:lnTo>
                    <a:pt x="326232" y="1135856"/>
                  </a:lnTo>
                  <a:lnTo>
                    <a:pt x="304800" y="1143000"/>
                  </a:lnTo>
                  <a:lnTo>
                    <a:pt x="297657" y="1085850"/>
                  </a:lnTo>
                  <a:lnTo>
                    <a:pt x="33338" y="1076325"/>
                  </a:lnTo>
                  <a:lnTo>
                    <a:pt x="30957" y="1064419"/>
                  </a:lnTo>
                  <a:lnTo>
                    <a:pt x="23813" y="1054894"/>
                  </a:lnTo>
                  <a:lnTo>
                    <a:pt x="19050" y="1052512"/>
                  </a:lnTo>
                  <a:lnTo>
                    <a:pt x="23813" y="1028700"/>
                  </a:lnTo>
                  <a:lnTo>
                    <a:pt x="0" y="973931"/>
                  </a:lnTo>
                  <a:lnTo>
                    <a:pt x="23813" y="950119"/>
                  </a:lnTo>
                  <a:lnTo>
                    <a:pt x="11907" y="909637"/>
                  </a:lnTo>
                  <a:lnTo>
                    <a:pt x="42863" y="916781"/>
                  </a:lnTo>
                  <a:lnTo>
                    <a:pt x="90488" y="752475"/>
                  </a:lnTo>
                  <a:lnTo>
                    <a:pt x="97632" y="657225"/>
                  </a:lnTo>
                  <a:lnTo>
                    <a:pt x="50007" y="645319"/>
                  </a:lnTo>
                  <a:lnTo>
                    <a:pt x="14288" y="623887"/>
                  </a:lnTo>
                  <a:lnTo>
                    <a:pt x="23813" y="542925"/>
                  </a:lnTo>
                  <a:lnTo>
                    <a:pt x="88107" y="557212"/>
                  </a:lnTo>
                  <a:cubicBezTo>
                    <a:pt x="103188" y="475456"/>
                    <a:pt x="129381" y="354013"/>
                    <a:pt x="133350" y="311944"/>
                  </a:cubicBezTo>
                  <a:cubicBezTo>
                    <a:pt x="137319" y="269875"/>
                    <a:pt x="119063" y="307181"/>
                    <a:pt x="111919" y="304800"/>
                  </a:cubicBezTo>
                  <a:lnTo>
                    <a:pt x="157163" y="123825"/>
                  </a:lnTo>
                  <a:lnTo>
                    <a:pt x="150019" y="111919"/>
                  </a:lnTo>
                  <a:lnTo>
                    <a:pt x="126207" y="128587"/>
                  </a:lnTo>
                  <a:lnTo>
                    <a:pt x="107157" y="107156"/>
                  </a:lnTo>
                  <a:lnTo>
                    <a:pt x="128588" y="102394"/>
                  </a:lnTo>
                  <a:lnTo>
                    <a:pt x="133350" y="85725"/>
                  </a:lnTo>
                  <a:lnTo>
                    <a:pt x="161925" y="50006"/>
                  </a:lnTo>
                  <a:lnTo>
                    <a:pt x="71438" y="57150"/>
                  </a:lnTo>
                  <a:lnTo>
                    <a:pt x="80963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871AB635-029A-49C0-BD8E-595C9F915715}"/>
                </a:ext>
              </a:extLst>
            </p:cNvPr>
            <p:cNvSpPr/>
            <p:nvPr/>
          </p:nvSpPr>
          <p:spPr>
            <a:xfrm>
              <a:off x="8753475" y="2764631"/>
              <a:ext cx="919163" cy="1081088"/>
            </a:xfrm>
            <a:custGeom>
              <a:avLst/>
              <a:gdLst>
                <a:gd name="connsiteX0" fmla="*/ 207169 w 919163"/>
                <a:gd name="connsiteY0" fmla="*/ 0 h 1081088"/>
                <a:gd name="connsiteX1" fmla="*/ 842963 w 919163"/>
                <a:gd name="connsiteY1" fmla="*/ 26194 h 1081088"/>
                <a:gd name="connsiteX2" fmla="*/ 823913 w 919163"/>
                <a:gd name="connsiteY2" fmla="*/ 59532 h 1081088"/>
                <a:gd name="connsiteX3" fmla="*/ 823913 w 919163"/>
                <a:gd name="connsiteY3" fmla="*/ 71438 h 1081088"/>
                <a:gd name="connsiteX4" fmla="*/ 840581 w 919163"/>
                <a:gd name="connsiteY4" fmla="*/ 80963 h 1081088"/>
                <a:gd name="connsiteX5" fmla="*/ 847725 w 919163"/>
                <a:gd name="connsiteY5" fmla="*/ 104775 h 1081088"/>
                <a:gd name="connsiteX6" fmla="*/ 854869 w 919163"/>
                <a:gd name="connsiteY6" fmla="*/ 119063 h 1081088"/>
                <a:gd name="connsiteX7" fmla="*/ 890588 w 919163"/>
                <a:gd name="connsiteY7" fmla="*/ 119063 h 1081088"/>
                <a:gd name="connsiteX8" fmla="*/ 895350 w 919163"/>
                <a:gd name="connsiteY8" fmla="*/ 107157 h 1081088"/>
                <a:gd name="connsiteX9" fmla="*/ 900113 w 919163"/>
                <a:gd name="connsiteY9" fmla="*/ 176213 h 1081088"/>
                <a:gd name="connsiteX10" fmla="*/ 890588 w 919163"/>
                <a:gd name="connsiteY10" fmla="*/ 171450 h 1081088"/>
                <a:gd name="connsiteX11" fmla="*/ 900113 w 919163"/>
                <a:gd name="connsiteY11" fmla="*/ 192882 h 1081088"/>
                <a:gd name="connsiteX12" fmla="*/ 892969 w 919163"/>
                <a:gd name="connsiteY12" fmla="*/ 214313 h 1081088"/>
                <a:gd name="connsiteX13" fmla="*/ 859631 w 919163"/>
                <a:gd name="connsiteY13" fmla="*/ 240507 h 1081088"/>
                <a:gd name="connsiteX14" fmla="*/ 838200 w 919163"/>
                <a:gd name="connsiteY14" fmla="*/ 264319 h 1081088"/>
                <a:gd name="connsiteX15" fmla="*/ 852488 w 919163"/>
                <a:gd name="connsiteY15" fmla="*/ 309563 h 1081088"/>
                <a:gd name="connsiteX16" fmla="*/ 821531 w 919163"/>
                <a:gd name="connsiteY16" fmla="*/ 383382 h 1081088"/>
                <a:gd name="connsiteX17" fmla="*/ 842963 w 919163"/>
                <a:gd name="connsiteY17" fmla="*/ 404813 h 1081088"/>
                <a:gd name="connsiteX18" fmla="*/ 821531 w 919163"/>
                <a:gd name="connsiteY18" fmla="*/ 471488 h 1081088"/>
                <a:gd name="connsiteX19" fmla="*/ 771525 w 919163"/>
                <a:gd name="connsiteY19" fmla="*/ 490538 h 1081088"/>
                <a:gd name="connsiteX20" fmla="*/ 797719 w 919163"/>
                <a:gd name="connsiteY20" fmla="*/ 519113 h 1081088"/>
                <a:gd name="connsiteX21" fmla="*/ 776288 w 919163"/>
                <a:gd name="connsiteY21" fmla="*/ 535782 h 1081088"/>
                <a:gd name="connsiteX22" fmla="*/ 752475 w 919163"/>
                <a:gd name="connsiteY22" fmla="*/ 576263 h 1081088"/>
                <a:gd name="connsiteX23" fmla="*/ 845344 w 919163"/>
                <a:gd name="connsiteY23" fmla="*/ 702469 h 1081088"/>
                <a:gd name="connsiteX24" fmla="*/ 790575 w 919163"/>
                <a:gd name="connsiteY24" fmla="*/ 707232 h 1081088"/>
                <a:gd name="connsiteX25" fmla="*/ 766763 w 919163"/>
                <a:gd name="connsiteY25" fmla="*/ 781050 h 1081088"/>
                <a:gd name="connsiteX26" fmla="*/ 783431 w 919163"/>
                <a:gd name="connsiteY26" fmla="*/ 819150 h 1081088"/>
                <a:gd name="connsiteX27" fmla="*/ 823913 w 919163"/>
                <a:gd name="connsiteY27" fmla="*/ 809625 h 1081088"/>
                <a:gd name="connsiteX28" fmla="*/ 823913 w 919163"/>
                <a:gd name="connsiteY28" fmla="*/ 826294 h 1081088"/>
                <a:gd name="connsiteX29" fmla="*/ 840581 w 919163"/>
                <a:gd name="connsiteY29" fmla="*/ 814388 h 1081088"/>
                <a:gd name="connsiteX30" fmla="*/ 885825 w 919163"/>
                <a:gd name="connsiteY30" fmla="*/ 812007 h 1081088"/>
                <a:gd name="connsiteX31" fmla="*/ 885825 w 919163"/>
                <a:gd name="connsiteY31" fmla="*/ 857250 h 1081088"/>
                <a:gd name="connsiteX32" fmla="*/ 919163 w 919163"/>
                <a:gd name="connsiteY32" fmla="*/ 854869 h 1081088"/>
                <a:gd name="connsiteX33" fmla="*/ 904875 w 919163"/>
                <a:gd name="connsiteY33" fmla="*/ 916782 h 1081088"/>
                <a:gd name="connsiteX34" fmla="*/ 888206 w 919163"/>
                <a:gd name="connsiteY34" fmla="*/ 933450 h 1081088"/>
                <a:gd name="connsiteX35" fmla="*/ 885825 w 919163"/>
                <a:gd name="connsiteY35" fmla="*/ 959644 h 1081088"/>
                <a:gd name="connsiteX36" fmla="*/ 890588 w 919163"/>
                <a:gd name="connsiteY36" fmla="*/ 1076325 h 1081088"/>
                <a:gd name="connsiteX37" fmla="*/ 561975 w 919163"/>
                <a:gd name="connsiteY37" fmla="*/ 1081088 h 1081088"/>
                <a:gd name="connsiteX38" fmla="*/ 554831 w 919163"/>
                <a:gd name="connsiteY38" fmla="*/ 1059657 h 1081088"/>
                <a:gd name="connsiteX39" fmla="*/ 178594 w 919163"/>
                <a:gd name="connsiteY39" fmla="*/ 1050132 h 1081088"/>
                <a:gd name="connsiteX40" fmla="*/ 173831 w 919163"/>
                <a:gd name="connsiteY40" fmla="*/ 852488 h 1081088"/>
                <a:gd name="connsiteX41" fmla="*/ 102394 w 919163"/>
                <a:gd name="connsiteY41" fmla="*/ 864394 h 1081088"/>
                <a:gd name="connsiteX42" fmla="*/ 95250 w 919163"/>
                <a:gd name="connsiteY42" fmla="*/ 852488 h 1081088"/>
                <a:gd name="connsiteX43" fmla="*/ 19050 w 919163"/>
                <a:gd name="connsiteY43" fmla="*/ 814388 h 1081088"/>
                <a:gd name="connsiteX44" fmla="*/ 28575 w 919163"/>
                <a:gd name="connsiteY44" fmla="*/ 800100 h 1081088"/>
                <a:gd name="connsiteX45" fmla="*/ 83344 w 919163"/>
                <a:gd name="connsiteY45" fmla="*/ 728663 h 1081088"/>
                <a:gd name="connsiteX46" fmla="*/ 85725 w 919163"/>
                <a:gd name="connsiteY46" fmla="*/ 707232 h 1081088"/>
                <a:gd name="connsiteX47" fmla="*/ 83344 w 919163"/>
                <a:gd name="connsiteY47" fmla="*/ 676275 h 1081088"/>
                <a:gd name="connsiteX48" fmla="*/ 88106 w 919163"/>
                <a:gd name="connsiteY48" fmla="*/ 657225 h 1081088"/>
                <a:gd name="connsiteX49" fmla="*/ 90488 w 919163"/>
                <a:gd name="connsiteY49" fmla="*/ 635794 h 1081088"/>
                <a:gd name="connsiteX50" fmla="*/ 88106 w 919163"/>
                <a:gd name="connsiteY50" fmla="*/ 619125 h 1081088"/>
                <a:gd name="connsiteX51" fmla="*/ 16669 w 919163"/>
                <a:gd name="connsiteY51" fmla="*/ 628650 h 1081088"/>
                <a:gd name="connsiteX52" fmla="*/ 16669 w 919163"/>
                <a:gd name="connsiteY52" fmla="*/ 597694 h 1081088"/>
                <a:gd name="connsiteX53" fmla="*/ 9525 w 919163"/>
                <a:gd name="connsiteY53" fmla="*/ 583407 h 1081088"/>
                <a:gd name="connsiteX54" fmla="*/ 2381 w 919163"/>
                <a:gd name="connsiteY54" fmla="*/ 554832 h 1081088"/>
                <a:gd name="connsiteX55" fmla="*/ 0 w 919163"/>
                <a:gd name="connsiteY55" fmla="*/ 540544 h 1081088"/>
                <a:gd name="connsiteX56" fmla="*/ 0 w 919163"/>
                <a:gd name="connsiteY56" fmla="*/ 523875 h 1081088"/>
                <a:gd name="connsiteX57" fmla="*/ 2381 w 919163"/>
                <a:gd name="connsiteY57" fmla="*/ 514350 h 1081088"/>
                <a:gd name="connsiteX58" fmla="*/ 9525 w 919163"/>
                <a:gd name="connsiteY58" fmla="*/ 509588 h 1081088"/>
                <a:gd name="connsiteX59" fmla="*/ 33338 w 919163"/>
                <a:gd name="connsiteY59" fmla="*/ 507207 h 1081088"/>
                <a:gd name="connsiteX60" fmla="*/ 50006 w 919163"/>
                <a:gd name="connsiteY60" fmla="*/ 490538 h 1081088"/>
                <a:gd name="connsiteX61" fmla="*/ 61913 w 919163"/>
                <a:gd name="connsiteY61" fmla="*/ 490538 h 1081088"/>
                <a:gd name="connsiteX62" fmla="*/ 83344 w 919163"/>
                <a:gd name="connsiteY62" fmla="*/ 497682 h 1081088"/>
                <a:gd name="connsiteX63" fmla="*/ 83344 w 919163"/>
                <a:gd name="connsiteY63" fmla="*/ 457200 h 1081088"/>
                <a:gd name="connsiteX64" fmla="*/ 235744 w 919163"/>
                <a:gd name="connsiteY64" fmla="*/ 338138 h 1081088"/>
                <a:gd name="connsiteX65" fmla="*/ 226219 w 919163"/>
                <a:gd name="connsiteY65" fmla="*/ 304800 h 1081088"/>
                <a:gd name="connsiteX66" fmla="*/ 226219 w 919163"/>
                <a:gd name="connsiteY66" fmla="*/ 288132 h 1081088"/>
                <a:gd name="connsiteX67" fmla="*/ 183356 w 919163"/>
                <a:gd name="connsiteY67" fmla="*/ 219075 h 1081088"/>
                <a:gd name="connsiteX68" fmla="*/ 192881 w 919163"/>
                <a:gd name="connsiteY68" fmla="*/ 161925 h 1081088"/>
                <a:gd name="connsiteX69" fmla="*/ 159544 w 919163"/>
                <a:gd name="connsiteY69" fmla="*/ 147638 h 1081088"/>
                <a:gd name="connsiteX70" fmla="*/ 197644 w 919163"/>
                <a:gd name="connsiteY70" fmla="*/ 133350 h 1081088"/>
                <a:gd name="connsiteX71" fmla="*/ 207169 w 919163"/>
                <a:gd name="connsiteY71" fmla="*/ 0 h 1081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919163" h="1081088">
                  <a:moveTo>
                    <a:pt x="207169" y="0"/>
                  </a:moveTo>
                  <a:lnTo>
                    <a:pt x="842963" y="26194"/>
                  </a:lnTo>
                  <a:lnTo>
                    <a:pt x="823913" y="59532"/>
                  </a:lnTo>
                  <a:lnTo>
                    <a:pt x="823913" y="71438"/>
                  </a:lnTo>
                  <a:lnTo>
                    <a:pt x="840581" y="80963"/>
                  </a:lnTo>
                  <a:lnTo>
                    <a:pt x="847725" y="104775"/>
                  </a:lnTo>
                  <a:lnTo>
                    <a:pt x="854869" y="119063"/>
                  </a:lnTo>
                  <a:lnTo>
                    <a:pt x="890588" y="119063"/>
                  </a:lnTo>
                  <a:lnTo>
                    <a:pt x="895350" y="107157"/>
                  </a:lnTo>
                  <a:lnTo>
                    <a:pt x="900113" y="176213"/>
                  </a:lnTo>
                  <a:lnTo>
                    <a:pt x="890588" y="171450"/>
                  </a:lnTo>
                  <a:lnTo>
                    <a:pt x="900113" y="192882"/>
                  </a:lnTo>
                  <a:lnTo>
                    <a:pt x="892969" y="214313"/>
                  </a:lnTo>
                  <a:lnTo>
                    <a:pt x="859631" y="240507"/>
                  </a:lnTo>
                  <a:lnTo>
                    <a:pt x="838200" y="264319"/>
                  </a:lnTo>
                  <a:lnTo>
                    <a:pt x="852488" y="309563"/>
                  </a:lnTo>
                  <a:lnTo>
                    <a:pt x="821531" y="383382"/>
                  </a:lnTo>
                  <a:lnTo>
                    <a:pt x="842963" y="404813"/>
                  </a:lnTo>
                  <a:lnTo>
                    <a:pt x="821531" y="471488"/>
                  </a:lnTo>
                  <a:lnTo>
                    <a:pt x="771525" y="490538"/>
                  </a:lnTo>
                  <a:lnTo>
                    <a:pt x="797719" y="519113"/>
                  </a:lnTo>
                  <a:lnTo>
                    <a:pt x="776288" y="535782"/>
                  </a:lnTo>
                  <a:lnTo>
                    <a:pt x="752475" y="576263"/>
                  </a:lnTo>
                  <a:lnTo>
                    <a:pt x="845344" y="702469"/>
                  </a:lnTo>
                  <a:lnTo>
                    <a:pt x="790575" y="707232"/>
                  </a:lnTo>
                  <a:lnTo>
                    <a:pt x="766763" y="781050"/>
                  </a:lnTo>
                  <a:lnTo>
                    <a:pt x="783431" y="819150"/>
                  </a:lnTo>
                  <a:lnTo>
                    <a:pt x="823913" y="809625"/>
                  </a:lnTo>
                  <a:lnTo>
                    <a:pt x="823913" y="826294"/>
                  </a:lnTo>
                  <a:lnTo>
                    <a:pt x="840581" y="814388"/>
                  </a:lnTo>
                  <a:lnTo>
                    <a:pt x="885825" y="812007"/>
                  </a:lnTo>
                  <a:lnTo>
                    <a:pt x="885825" y="857250"/>
                  </a:lnTo>
                  <a:lnTo>
                    <a:pt x="919163" y="854869"/>
                  </a:lnTo>
                  <a:lnTo>
                    <a:pt x="904875" y="916782"/>
                  </a:lnTo>
                  <a:lnTo>
                    <a:pt x="888206" y="933450"/>
                  </a:lnTo>
                  <a:lnTo>
                    <a:pt x="885825" y="959644"/>
                  </a:lnTo>
                  <a:lnTo>
                    <a:pt x="890588" y="1076325"/>
                  </a:lnTo>
                  <a:lnTo>
                    <a:pt x="561975" y="1081088"/>
                  </a:lnTo>
                  <a:lnTo>
                    <a:pt x="554831" y="1059657"/>
                  </a:lnTo>
                  <a:lnTo>
                    <a:pt x="178594" y="1050132"/>
                  </a:lnTo>
                  <a:lnTo>
                    <a:pt x="173831" y="852488"/>
                  </a:lnTo>
                  <a:lnTo>
                    <a:pt x="102394" y="864394"/>
                  </a:lnTo>
                  <a:lnTo>
                    <a:pt x="95250" y="852488"/>
                  </a:lnTo>
                  <a:lnTo>
                    <a:pt x="19050" y="814388"/>
                  </a:lnTo>
                  <a:lnTo>
                    <a:pt x="28575" y="800100"/>
                  </a:lnTo>
                  <a:lnTo>
                    <a:pt x="83344" y="728663"/>
                  </a:lnTo>
                  <a:lnTo>
                    <a:pt x="85725" y="707232"/>
                  </a:lnTo>
                  <a:lnTo>
                    <a:pt x="83344" y="676275"/>
                  </a:lnTo>
                  <a:lnTo>
                    <a:pt x="88106" y="657225"/>
                  </a:lnTo>
                  <a:lnTo>
                    <a:pt x="90488" y="635794"/>
                  </a:lnTo>
                  <a:lnTo>
                    <a:pt x="88106" y="619125"/>
                  </a:lnTo>
                  <a:lnTo>
                    <a:pt x="16669" y="628650"/>
                  </a:lnTo>
                  <a:lnTo>
                    <a:pt x="16669" y="597694"/>
                  </a:lnTo>
                  <a:lnTo>
                    <a:pt x="9525" y="583407"/>
                  </a:lnTo>
                  <a:lnTo>
                    <a:pt x="2381" y="554832"/>
                  </a:lnTo>
                  <a:lnTo>
                    <a:pt x="0" y="540544"/>
                  </a:lnTo>
                  <a:lnTo>
                    <a:pt x="0" y="523875"/>
                  </a:lnTo>
                  <a:lnTo>
                    <a:pt x="2381" y="514350"/>
                  </a:lnTo>
                  <a:lnTo>
                    <a:pt x="9525" y="509588"/>
                  </a:lnTo>
                  <a:lnTo>
                    <a:pt x="33338" y="507207"/>
                  </a:lnTo>
                  <a:lnTo>
                    <a:pt x="50006" y="490538"/>
                  </a:lnTo>
                  <a:lnTo>
                    <a:pt x="61913" y="490538"/>
                  </a:lnTo>
                  <a:lnTo>
                    <a:pt x="83344" y="497682"/>
                  </a:lnTo>
                  <a:lnTo>
                    <a:pt x="83344" y="457200"/>
                  </a:lnTo>
                  <a:lnTo>
                    <a:pt x="235744" y="338138"/>
                  </a:lnTo>
                  <a:lnTo>
                    <a:pt x="226219" y="304800"/>
                  </a:lnTo>
                  <a:lnTo>
                    <a:pt x="226219" y="288132"/>
                  </a:lnTo>
                  <a:lnTo>
                    <a:pt x="183356" y="219075"/>
                  </a:lnTo>
                  <a:lnTo>
                    <a:pt x="192881" y="161925"/>
                  </a:lnTo>
                  <a:lnTo>
                    <a:pt x="159544" y="147638"/>
                  </a:lnTo>
                  <a:lnTo>
                    <a:pt x="197644" y="133350"/>
                  </a:lnTo>
                  <a:lnTo>
                    <a:pt x="207169" y="0"/>
                  </a:lnTo>
                  <a:close/>
                </a:path>
              </a:pathLst>
            </a:custGeom>
            <a:solidFill>
              <a:srgbClr val="FFC000"/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341F7195-ADE9-47ED-8A1A-E13140A9A60D}"/>
                </a:ext>
              </a:extLst>
            </p:cNvPr>
            <p:cNvSpPr/>
            <p:nvPr/>
          </p:nvSpPr>
          <p:spPr>
            <a:xfrm>
              <a:off x="9577388" y="2496602"/>
              <a:ext cx="1101655" cy="715705"/>
            </a:xfrm>
            <a:custGeom>
              <a:avLst/>
              <a:gdLst>
                <a:gd name="connsiteX0" fmla="*/ 0 w 1062037"/>
                <a:gd name="connsiteY0" fmla="*/ 283369 h 707231"/>
                <a:gd name="connsiteX1" fmla="*/ 276225 w 1062037"/>
                <a:gd name="connsiteY1" fmla="*/ 297656 h 707231"/>
                <a:gd name="connsiteX2" fmla="*/ 304800 w 1062037"/>
                <a:gd name="connsiteY2" fmla="*/ 264319 h 707231"/>
                <a:gd name="connsiteX3" fmla="*/ 321468 w 1062037"/>
                <a:gd name="connsiteY3" fmla="*/ 230981 h 707231"/>
                <a:gd name="connsiteX4" fmla="*/ 340518 w 1062037"/>
                <a:gd name="connsiteY4" fmla="*/ 214313 h 707231"/>
                <a:gd name="connsiteX5" fmla="*/ 400050 w 1062037"/>
                <a:gd name="connsiteY5" fmla="*/ 238125 h 707231"/>
                <a:gd name="connsiteX6" fmla="*/ 395287 w 1062037"/>
                <a:gd name="connsiteY6" fmla="*/ 145256 h 707231"/>
                <a:gd name="connsiteX7" fmla="*/ 442912 w 1062037"/>
                <a:gd name="connsiteY7" fmla="*/ 104775 h 707231"/>
                <a:gd name="connsiteX8" fmla="*/ 538162 w 1062037"/>
                <a:gd name="connsiteY8" fmla="*/ 130969 h 707231"/>
                <a:gd name="connsiteX9" fmla="*/ 581025 w 1062037"/>
                <a:gd name="connsiteY9" fmla="*/ 40481 h 707231"/>
                <a:gd name="connsiteX10" fmla="*/ 611981 w 1062037"/>
                <a:gd name="connsiteY10" fmla="*/ 33338 h 707231"/>
                <a:gd name="connsiteX11" fmla="*/ 697706 w 1062037"/>
                <a:gd name="connsiteY11" fmla="*/ 0 h 707231"/>
                <a:gd name="connsiteX12" fmla="*/ 776287 w 1062037"/>
                <a:gd name="connsiteY12" fmla="*/ 38100 h 707231"/>
                <a:gd name="connsiteX13" fmla="*/ 809625 w 1062037"/>
                <a:gd name="connsiteY13" fmla="*/ 30956 h 707231"/>
                <a:gd name="connsiteX14" fmla="*/ 812006 w 1062037"/>
                <a:gd name="connsiteY14" fmla="*/ 88106 h 707231"/>
                <a:gd name="connsiteX15" fmla="*/ 754856 w 1062037"/>
                <a:gd name="connsiteY15" fmla="*/ 111919 h 707231"/>
                <a:gd name="connsiteX16" fmla="*/ 771525 w 1062037"/>
                <a:gd name="connsiteY16" fmla="*/ 133350 h 707231"/>
                <a:gd name="connsiteX17" fmla="*/ 802481 w 1062037"/>
                <a:gd name="connsiteY17" fmla="*/ 121444 h 707231"/>
                <a:gd name="connsiteX18" fmla="*/ 802481 w 1062037"/>
                <a:gd name="connsiteY18" fmla="*/ 121444 h 707231"/>
                <a:gd name="connsiteX19" fmla="*/ 859631 w 1062037"/>
                <a:gd name="connsiteY19" fmla="*/ 292894 h 707231"/>
                <a:gd name="connsiteX20" fmla="*/ 804862 w 1062037"/>
                <a:gd name="connsiteY20" fmla="*/ 211931 h 707231"/>
                <a:gd name="connsiteX21" fmla="*/ 802481 w 1062037"/>
                <a:gd name="connsiteY21" fmla="*/ 230981 h 707231"/>
                <a:gd name="connsiteX22" fmla="*/ 819150 w 1062037"/>
                <a:gd name="connsiteY22" fmla="*/ 283369 h 707231"/>
                <a:gd name="connsiteX23" fmla="*/ 850106 w 1062037"/>
                <a:gd name="connsiteY23" fmla="*/ 307181 h 707231"/>
                <a:gd name="connsiteX24" fmla="*/ 914400 w 1062037"/>
                <a:gd name="connsiteY24" fmla="*/ 340519 h 707231"/>
                <a:gd name="connsiteX25" fmla="*/ 962025 w 1062037"/>
                <a:gd name="connsiteY25" fmla="*/ 361950 h 707231"/>
                <a:gd name="connsiteX26" fmla="*/ 976312 w 1062037"/>
                <a:gd name="connsiteY26" fmla="*/ 335756 h 707231"/>
                <a:gd name="connsiteX27" fmla="*/ 1026318 w 1062037"/>
                <a:gd name="connsiteY27" fmla="*/ 304800 h 707231"/>
                <a:gd name="connsiteX28" fmla="*/ 1028700 w 1062037"/>
                <a:gd name="connsiteY28" fmla="*/ 345281 h 707231"/>
                <a:gd name="connsiteX29" fmla="*/ 1054893 w 1062037"/>
                <a:gd name="connsiteY29" fmla="*/ 345281 h 707231"/>
                <a:gd name="connsiteX30" fmla="*/ 1062037 w 1062037"/>
                <a:gd name="connsiteY30" fmla="*/ 366713 h 707231"/>
                <a:gd name="connsiteX31" fmla="*/ 1062037 w 1062037"/>
                <a:gd name="connsiteY31" fmla="*/ 366713 h 707231"/>
                <a:gd name="connsiteX32" fmla="*/ 1031081 w 1062037"/>
                <a:gd name="connsiteY32" fmla="*/ 400050 h 707231"/>
                <a:gd name="connsiteX33" fmla="*/ 1016793 w 1062037"/>
                <a:gd name="connsiteY33" fmla="*/ 421481 h 707231"/>
                <a:gd name="connsiteX34" fmla="*/ 1004887 w 1062037"/>
                <a:gd name="connsiteY34" fmla="*/ 457200 h 707231"/>
                <a:gd name="connsiteX35" fmla="*/ 981075 w 1062037"/>
                <a:gd name="connsiteY35" fmla="*/ 457200 h 707231"/>
                <a:gd name="connsiteX36" fmla="*/ 983456 w 1062037"/>
                <a:gd name="connsiteY36" fmla="*/ 431006 h 707231"/>
                <a:gd name="connsiteX37" fmla="*/ 962025 w 1062037"/>
                <a:gd name="connsiteY37" fmla="*/ 431006 h 707231"/>
                <a:gd name="connsiteX38" fmla="*/ 947737 w 1062037"/>
                <a:gd name="connsiteY38" fmla="*/ 457200 h 707231"/>
                <a:gd name="connsiteX39" fmla="*/ 938212 w 1062037"/>
                <a:gd name="connsiteY39" fmla="*/ 481013 h 707231"/>
                <a:gd name="connsiteX40" fmla="*/ 919162 w 1062037"/>
                <a:gd name="connsiteY40" fmla="*/ 483394 h 707231"/>
                <a:gd name="connsiteX41" fmla="*/ 876300 w 1062037"/>
                <a:gd name="connsiteY41" fmla="*/ 488156 h 707231"/>
                <a:gd name="connsiteX42" fmla="*/ 866775 w 1062037"/>
                <a:gd name="connsiteY42" fmla="*/ 490538 h 707231"/>
                <a:gd name="connsiteX43" fmla="*/ 838200 w 1062037"/>
                <a:gd name="connsiteY43" fmla="*/ 504825 h 707231"/>
                <a:gd name="connsiteX44" fmla="*/ 814387 w 1062037"/>
                <a:gd name="connsiteY44" fmla="*/ 500063 h 707231"/>
                <a:gd name="connsiteX45" fmla="*/ 778668 w 1062037"/>
                <a:gd name="connsiteY45" fmla="*/ 519113 h 707231"/>
                <a:gd name="connsiteX46" fmla="*/ 740568 w 1062037"/>
                <a:gd name="connsiteY46" fmla="*/ 528638 h 707231"/>
                <a:gd name="connsiteX47" fmla="*/ 702468 w 1062037"/>
                <a:gd name="connsiteY47" fmla="*/ 528638 h 707231"/>
                <a:gd name="connsiteX48" fmla="*/ 711993 w 1062037"/>
                <a:gd name="connsiteY48" fmla="*/ 542925 h 707231"/>
                <a:gd name="connsiteX49" fmla="*/ 747712 w 1062037"/>
                <a:gd name="connsiteY49" fmla="*/ 552450 h 707231"/>
                <a:gd name="connsiteX50" fmla="*/ 742950 w 1062037"/>
                <a:gd name="connsiteY50" fmla="*/ 573881 h 707231"/>
                <a:gd name="connsiteX51" fmla="*/ 735806 w 1062037"/>
                <a:gd name="connsiteY51" fmla="*/ 607219 h 707231"/>
                <a:gd name="connsiteX52" fmla="*/ 773906 w 1062037"/>
                <a:gd name="connsiteY52" fmla="*/ 566738 h 707231"/>
                <a:gd name="connsiteX53" fmla="*/ 783431 w 1062037"/>
                <a:gd name="connsiteY53" fmla="*/ 569119 h 707231"/>
                <a:gd name="connsiteX54" fmla="*/ 757237 w 1062037"/>
                <a:gd name="connsiteY54" fmla="*/ 611981 h 707231"/>
                <a:gd name="connsiteX55" fmla="*/ 738187 w 1062037"/>
                <a:gd name="connsiteY55" fmla="*/ 640556 h 707231"/>
                <a:gd name="connsiteX56" fmla="*/ 714375 w 1062037"/>
                <a:gd name="connsiteY56" fmla="*/ 659606 h 707231"/>
                <a:gd name="connsiteX57" fmla="*/ 685800 w 1062037"/>
                <a:gd name="connsiteY57" fmla="*/ 647700 h 707231"/>
                <a:gd name="connsiteX58" fmla="*/ 638175 w 1062037"/>
                <a:gd name="connsiteY58" fmla="*/ 685800 h 707231"/>
                <a:gd name="connsiteX59" fmla="*/ 621506 w 1062037"/>
                <a:gd name="connsiteY59" fmla="*/ 707231 h 707231"/>
                <a:gd name="connsiteX60" fmla="*/ 592931 w 1062037"/>
                <a:gd name="connsiteY60" fmla="*/ 685800 h 707231"/>
                <a:gd name="connsiteX61" fmla="*/ 569118 w 1062037"/>
                <a:gd name="connsiteY61" fmla="*/ 657225 h 707231"/>
                <a:gd name="connsiteX62" fmla="*/ 545306 w 1062037"/>
                <a:gd name="connsiteY62" fmla="*/ 616744 h 707231"/>
                <a:gd name="connsiteX63" fmla="*/ 581025 w 1062037"/>
                <a:gd name="connsiteY63" fmla="*/ 578644 h 707231"/>
                <a:gd name="connsiteX64" fmla="*/ 559593 w 1062037"/>
                <a:gd name="connsiteY64" fmla="*/ 564356 h 707231"/>
                <a:gd name="connsiteX65" fmla="*/ 528637 w 1062037"/>
                <a:gd name="connsiteY65" fmla="*/ 547688 h 707231"/>
                <a:gd name="connsiteX66" fmla="*/ 535781 w 1062037"/>
                <a:gd name="connsiteY66" fmla="*/ 488156 h 707231"/>
                <a:gd name="connsiteX67" fmla="*/ 576262 w 1062037"/>
                <a:gd name="connsiteY67" fmla="*/ 481013 h 707231"/>
                <a:gd name="connsiteX68" fmla="*/ 550068 w 1062037"/>
                <a:gd name="connsiteY68" fmla="*/ 435769 h 707231"/>
                <a:gd name="connsiteX69" fmla="*/ 454818 w 1062037"/>
                <a:gd name="connsiteY69" fmla="*/ 440531 h 707231"/>
                <a:gd name="connsiteX70" fmla="*/ 428625 w 1062037"/>
                <a:gd name="connsiteY70" fmla="*/ 421481 h 707231"/>
                <a:gd name="connsiteX71" fmla="*/ 400050 w 1062037"/>
                <a:gd name="connsiteY71" fmla="*/ 497681 h 707231"/>
                <a:gd name="connsiteX72" fmla="*/ 283368 w 1062037"/>
                <a:gd name="connsiteY72" fmla="*/ 428625 h 707231"/>
                <a:gd name="connsiteX73" fmla="*/ 235743 w 1062037"/>
                <a:gd name="connsiteY73" fmla="*/ 500063 h 707231"/>
                <a:gd name="connsiteX74" fmla="*/ 211931 w 1062037"/>
                <a:gd name="connsiteY74" fmla="*/ 500063 h 707231"/>
                <a:gd name="connsiteX75" fmla="*/ 164306 w 1062037"/>
                <a:gd name="connsiteY75" fmla="*/ 516731 h 707231"/>
                <a:gd name="connsiteX76" fmla="*/ 169068 w 1062037"/>
                <a:gd name="connsiteY76" fmla="*/ 540544 h 707231"/>
                <a:gd name="connsiteX77" fmla="*/ 119062 w 1062037"/>
                <a:gd name="connsiteY77" fmla="*/ 559594 h 707231"/>
                <a:gd name="connsiteX78" fmla="*/ 47625 w 1062037"/>
                <a:gd name="connsiteY78" fmla="*/ 478631 h 707231"/>
                <a:gd name="connsiteX79" fmla="*/ 47625 w 1062037"/>
                <a:gd name="connsiteY79" fmla="*/ 442913 h 707231"/>
                <a:gd name="connsiteX80" fmla="*/ 59531 w 1062037"/>
                <a:gd name="connsiteY80" fmla="*/ 402431 h 707231"/>
                <a:gd name="connsiteX81" fmla="*/ 59531 w 1062037"/>
                <a:gd name="connsiteY81" fmla="*/ 364331 h 707231"/>
                <a:gd name="connsiteX82" fmla="*/ 11906 w 1062037"/>
                <a:gd name="connsiteY82" fmla="*/ 371475 h 707231"/>
                <a:gd name="connsiteX83" fmla="*/ 4762 w 1062037"/>
                <a:gd name="connsiteY83" fmla="*/ 350044 h 707231"/>
                <a:gd name="connsiteX84" fmla="*/ 0 w 1062037"/>
                <a:gd name="connsiteY84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600075 w 1081087"/>
                <a:gd name="connsiteY9" fmla="*/ 40481 h 707231"/>
                <a:gd name="connsiteX10" fmla="*/ 631031 w 1081087"/>
                <a:gd name="connsiteY10" fmla="*/ 33338 h 707231"/>
                <a:gd name="connsiteX11" fmla="*/ 716756 w 1081087"/>
                <a:gd name="connsiteY11" fmla="*/ 0 h 707231"/>
                <a:gd name="connsiteX12" fmla="*/ 795337 w 1081087"/>
                <a:gd name="connsiteY12" fmla="*/ 38100 h 707231"/>
                <a:gd name="connsiteX13" fmla="*/ 828675 w 1081087"/>
                <a:gd name="connsiteY13" fmla="*/ 30956 h 707231"/>
                <a:gd name="connsiteX14" fmla="*/ 831056 w 1081087"/>
                <a:gd name="connsiteY14" fmla="*/ 88106 h 707231"/>
                <a:gd name="connsiteX15" fmla="*/ 773906 w 1081087"/>
                <a:gd name="connsiteY15" fmla="*/ 111919 h 707231"/>
                <a:gd name="connsiteX16" fmla="*/ 790575 w 1081087"/>
                <a:gd name="connsiteY16" fmla="*/ 133350 h 707231"/>
                <a:gd name="connsiteX17" fmla="*/ 821531 w 1081087"/>
                <a:gd name="connsiteY17" fmla="*/ 121444 h 707231"/>
                <a:gd name="connsiteX18" fmla="*/ 821531 w 1081087"/>
                <a:gd name="connsiteY18" fmla="*/ 121444 h 707231"/>
                <a:gd name="connsiteX19" fmla="*/ 878681 w 1081087"/>
                <a:gd name="connsiteY19" fmla="*/ 292894 h 707231"/>
                <a:gd name="connsiteX20" fmla="*/ 823912 w 1081087"/>
                <a:gd name="connsiteY20" fmla="*/ 211931 h 707231"/>
                <a:gd name="connsiteX21" fmla="*/ 821531 w 1081087"/>
                <a:gd name="connsiteY21" fmla="*/ 230981 h 707231"/>
                <a:gd name="connsiteX22" fmla="*/ 838200 w 1081087"/>
                <a:gd name="connsiteY22" fmla="*/ 283369 h 707231"/>
                <a:gd name="connsiteX23" fmla="*/ 869156 w 1081087"/>
                <a:gd name="connsiteY23" fmla="*/ 307181 h 707231"/>
                <a:gd name="connsiteX24" fmla="*/ 933450 w 1081087"/>
                <a:gd name="connsiteY24" fmla="*/ 340519 h 707231"/>
                <a:gd name="connsiteX25" fmla="*/ 981075 w 1081087"/>
                <a:gd name="connsiteY25" fmla="*/ 361950 h 707231"/>
                <a:gd name="connsiteX26" fmla="*/ 995362 w 1081087"/>
                <a:gd name="connsiteY26" fmla="*/ 335756 h 707231"/>
                <a:gd name="connsiteX27" fmla="*/ 1045368 w 1081087"/>
                <a:gd name="connsiteY27" fmla="*/ 304800 h 707231"/>
                <a:gd name="connsiteX28" fmla="*/ 1047750 w 1081087"/>
                <a:gd name="connsiteY28" fmla="*/ 345281 h 707231"/>
                <a:gd name="connsiteX29" fmla="*/ 1073943 w 1081087"/>
                <a:gd name="connsiteY29" fmla="*/ 345281 h 707231"/>
                <a:gd name="connsiteX30" fmla="*/ 1081087 w 1081087"/>
                <a:gd name="connsiteY30" fmla="*/ 366713 h 707231"/>
                <a:gd name="connsiteX31" fmla="*/ 1081087 w 1081087"/>
                <a:gd name="connsiteY31" fmla="*/ 366713 h 707231"/>
                <a:gd name="connsiteX32" fmla="*/ 1050131 w 1081087"/>
                <a:gd name="connsiteY32" fmla="*/ 400050 h 707231"/>
                <a:gd name="connsiteX33" fmla="*/ 1035843 w 1081087"/>
                <a:gd name="connsiteY33" fmla="*/ 421481 h 707231"/>
                <a:gd name="connsiteX34" fmla="*/ 1023937 w 1081087"/>
                <a:gd name="connsiteY34" fmla="*/ 457200 h 707231"/>
                <a:gd name="connsiteX35" fmla="*/ 1000125 w 1081087"/>
                <a:gd name="connsiteY35" fmla="*/ 457200 h 707231"/>
                <a:gd name="connsiteX36" fmla="*/ 1002506 w 1081087"/>
                <a:gd name="connsiteY36" fmla="*/ 431006 h 707231"/>
                <a:gd name="connsiteX37" fmla="*/ 981075 w 1081087"/>
                <a:gd name="connsiteY37" fmla="*/ 431006 h 707231"/>
                <a:gd name="connsiteX38" fmla="*/ 966787 w 1081087"/>
                <a:gd name="connsiteY38" fmla="*/ 457200 h 707231"/>
                <a:gd name="connsiteX39" fmla="*/ 957262 w 1081087"/>
                <a:gd name="connsiteY39" fmla="*/ 481013 h 707231"/>
                <a:gd name="connsiteX40" fmla="*/ 938212 w 1081087"/>
                <a:gd name="connsiteY40" fmla="*/ 483394 h 707231"/>
                <a:gd name="connsiteX41" fmla="*/ 895350 w 1081087"/>
                <a:gd name="connsiteY41" fmla="*/ 488156 h 707231"/>
                <a:gd name="connsiteX42" fmla="*/ 885825 w 1081087"/>
                <a:gd name="connsiteY42" fmla="*/ 490538 h 707231"/>
                <a:gd name="connsiteX43" fmla="*/ 857250 w 1081087"/>
                <a:gd name="connsiteY43" fmla="*/ 504825 h 707231"/>
                <a:gd name="connsiteX44" fmla="*/ 833437 w 1081087"/>
                <a:gd name="connsiteY44" fmla="*/ 500063 h 707231"/>
                <a:gd name="connsiteX45" fmla="*/ 797718 w 1081087"/>
                <a:gd name="connsiteY45" fmla="*/ 519113 h 707231"/>
                <a:gd name="connsiteX46" fmla="*/ 759618 w 1081087"/>
                <a:gd name="connsiteY46" fmla="*/ 528638 h 707231"/>
                <a:gd name="connsiteX47" fmla="*/ 721518 w 1081087"/>
                <a:gd name="connsiteY47" fmla="*/ 528638 h 707231"/>
                <a:gd name="connsiteX48" fmla="*/ 731043 w 1081087"/>
                <a:gd name="connsiteY48" fmla="*/ 542925 h 707231"/>
                <a:gd name="connsiteX49" fmla="*/ 766762 w 1081087"/>
                <a:gd name="connsiteY49" fmla="*/ 552450 h 707231"/>
                <a:gd name="connsiteX50" fmla="*/ 762000 w 1081087"/>
                <a:gd name="connsiteY50" fmla="*/ 573881 h 707231"/>
                <a:gd name="connsiteX51" fmla="*/ 754856 w 1081087"/>
                <a:gd name="connsiteY51" fmla="*/ 607219 h 707231"/>
                <a:gd name="connsiteX52" fmla="*/ 792956 w 1081087"/>
                <a:gd name="connsiteY52" fmla="*/ 566738 h 707231"/>
                <a:gd name="connsiteX53" fmla="*/ 802481 w 1081087"/>
                <a:gd name="connsiteY53" fmla="*/ 569119 h 707231"/>
                <a:gd name="connsiteX54" fmla="*/ 776287 w 1081087"/>
                <a:gd name="connsiteY54" fmla="*/ 611981 h 707231"/>
                <a:gd name="connsiteX55" fmla="*/ 757237 w 1081087"/>
                <a:gd name="connsiteY55" fmla="*/ 640556 h 707231"/>
                <a:gd name="connsiteX56" fmla="*/ 733425 w 1081087"/>
                <a:gd name="connsiteY56" fmla="*/ 659606 h 707231"/>
                <a:gd name="connsiteX57" fmla="*/ 704850 w 1081087"/>
                <a:gd name="connsiteY57" fmla="*/ 647700 h 707231"/>
                <a:gd name="connsiteX58" fmla="*/ 657225 w 1081087"/>
                <a:gd name="connsiteY58" fmla="*/ 685800 h 707231"/>
                <a:gd name="connsiteX59" fmla="*/ 640556 w 1081087"/>
                <a:gd name="connsiteY59" fmla="*/ 707231 h 707231"/>
                <a:gd name="connsiteX60" fmla="*/ 611981 w 1081087"/>
                <a:gd name="connsiteY60" fmla="*/ 685800 h 707231"/>
                <a:gd name="connsiteX61" fmla="*/ 588168 w 1081087"/>
                <a:gd name="connsiteY61" fmla="*/ 657225 h 707231"/>
                <a:gd name="connsiteX62" fmla="*/ 564356 w 1081087"/>
                <a:gd name="connsiteY62" fmla="*/ 616744 h 707231"/>
                <a:gd name="connsiteX63" fmla="*/ 600075 w 1081087"/>
                <a:gd name="connsiteY63" fmla="*/ 578644 h 707231"/>
                <a:gd name="connsiteX64" fmla="*/ 578643 w 1081087"/>
                <a:gd name="connsiteY64" fmla="*/ 564356 h 707231"/>
                <a:gd name="connsiteX65" fmla="*/ 547687 w 1081087"/>
                <a:gd name="connsiteY65" fmla="*/ 547688 h 707231"/>
                <a:gd name="connsiteX66" fmla="*/ 554831 w 1081087"/>
                <a:gd name="connsiteY66" fmla="*/ 488156 h 707231"/>
                <a:gd name="connsiteX67" fmla="*/ 595312 w 1081087"/>
                <a:gd name="connsiteY67" fmla="*/ 481013 h 707231"/>
                <a:gd name="connsiteX68" fmla="*/ 569118 w 1081087"/>
                <a:gd name="connsiteY68" fmla="*/ 435769 h 707231"/>
                <a:gd name="connsiteX69" fmla="*/ 473868 w 1081087"/>
                <a:gd name="connsiteY69" fmla="*/ 440531 h 707231"/>
                <a:gd name="connsiteX70" fmla="*/ 447675 w 1081087"/>
                <a:gd name="connsiteY70" fmla="*/ 421481 h 707231"/>
                <a:gd name="connsiteX71" fmla="*/ 419100 w 1081087"/>
                <a:gd name="connsiteY71" fmla="*/ 497681 h 707231"/>
                <a:gd name="connsiteX72" fmla="*/ 302418 w 1081087"/>
                <a:gd name="connsiteY72" fmla="*/ 428625 h 707231"/>
                <a:gd name="connsiteX73" fmla="*/ 254793 w 1081087"/>
                <a:gd name="connsiteY73" fmla="*/ 500063 h 707231"/>
                <a:gd name="connsiteX74" fmla="*/ 230981 w 1081087"/>
                <a:gd name="connsiteY74" fmla="*/ 500063 h 707231"/>
                <a:gd name="connsiteX75" fmla="*/ 183356 w 1081087"/>
                <a:gd name="connsiteY75" fmla="*/ 516731 h 707231"/>
                <a:gd name="connsiteX76" fmla="*/ 188118 w 1081087"/>
                <a:gd name="connsiteY76" fmla="*/ 540544 h 707231"/>
                <a:gd name="connsiteX77" fmla="*/ 138112 w 1081087"/>
                <a:gd name="connsiteY77" fmla="*/ 559594 h 707231"/>
                <a:gd name="connsiteX78" fmla="*/ 66675 w 1081087"/>
                <a:gd name="connsiteY78" fmla="*/ 478631 h 707231"/>
                <a:gd name="connsiteX79" fmla="*/ 66675 w 1081087"/>
                <a:gd name="connsiteY79" fmla="*/ 442913 h 707231"/>
                <a:gd name="connsiteX80" fmla="*/ 78581 w 1081087"/>
                <a:gd name="connsiteY80" fmla="*/ 402431 h 707231"/>
                <a:gd name="connsiteX81" fmla="*/ 78581 w 1081087"/>
                <a:gd name="connsiteY81" fmla="*/ 364331 h 707231"/>
                <a:gd name="connsiteX82" fmla="*/ 30956 w 1081087"/>
                <a:gd name="connsiteY82" fmla="*/ 371475 h 707231"/>
                <a:gd name="connsiteX83" fmla="*/ 23812 w 1081087"/>
                <a:gd name="connsiteY83" fmla="*/ 350044 h 707231"/>
                <a:gd name="connsiteX84" fmla="*/ 0 w 1081087"/>
                <a:gd name="connsiteY84" fmla="*/ 314325 h 707231"/>
                <a:gd name="connsiteX85" fmla="*/ 19050 w 1081087"/>
                <a:gd name="connsiteY85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21531 w 1081087"/>
                <a:gd name="connsiteY19" fmla="*/ 121444 h 707231"/>
                <a:gd name="connsiteX20" fmla="*/ 878681 w 1081087"/>
                <a:gd name="connsiteY20" fmla="*/ 292894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933450 w 1081087"/>
                <a:gd name="connsiteY25" fmla="*/ 340519 h 707231"/>
                <a:gd name="connsiteX26" fmla="*/ 981075 w 1081087"/>
                <a:gd name="connsiteY26" fmla="*/ 361950 h 707231"/>
                <a:gd name="connsiteX27" fmla="*/ 995362 w 1081087"/>
                <a:gd name="connsiteY27" fmla="*/ 335756 h 707231"/>
                <a:gd name="connsiteX28" fmla="*/ 1045368 w 1081087"/>
                <a:gd name="connsiteY28" fmla="*/ 304800 h 707231"/>
                <a:gd name="connsiteX29" fmla="*/ 1047750 w 1081087"/>
                <a:gd name="connsiteY29" fmla="*/ 345281 h 707231"/>
                <a:gd name="connsiteX30" fmla="*/ 1073943 w 1081087"/>
                <a:gd name="connsiteY30" fmla="*/ 345281 h 707231"/>
                <a:gd name="connsiteX31" fmla="*/ 1081087 w 1081087"/>
                <a:gd name="connsiteY31" fmla="*/ 366713 h 707231"/>
                <a:gd name="connsiteX32" fmla="*/ 1081087 w 1081087"/>
                <a:gd name="connsiteY32" fmla="*/ 366713 h 707231"/>
                <a:gd name="connsiteX33" fmla="*/ 1050131 w 1081087"/>
                <a:gd name="connsiteY33" fmla="*/ 400050 h 707231"/>
                <a:gd name="connsiteX34" fmla="*/ 1035843 w 1081087"/>
                <a:gd name="connsiteY34" fmla="*/ 421481 h 707231"/>
                <a:gd name="connsiteX35" fmla="*/ 1023937 w 1081087"/>
                <a:gd name="connsiteY35" fmla="*/ 457200 h 707231"/>
                <a:gd name="connsiteX36" fmla="*/ 1000125 w 1081087"/>
                <a:gd name="connsiteY36" fmla="*/ 457200 h 707231"/>
                <a:gd name="connsiteX37" fmla="*/ 1002506 w 1081087"/>
                <a:gd name="connsiteY37" fmla="*/ 431006 h 707231"/>
                <a:gd name="connsiteX38" fmla="*/ 981075 w 1081087"/>
                <a:gd name="connsiteY38" fmla="*/ 431006 h 707231"/>
                <a:gd name="connsiteX39" fmla="*/ 966787 w 1081087"/>
                <a:gd name="connsiteY39" fmla="*/ 457200 h 707231"/>
                <a:gd name="connsiteX40" fmla="*/ 957262 w 1081087"/>
                <a:gd name="connsiteY40" fmla="*/ 481013 h 707231"/>
                <a:gd name="connsiteX41" fmla="*/ 938212 w 1081087"/>
                <a:gd name="connsiteY41" fmla="*/ 483394 h 707231"/>
                <a:gd name="connsiteX42" fmla="*/ 895350 w 1081087"/>
                <a:gd name="connsiteY42" fmla="*/ 488156 h 707231"/>
                <a:gd name="connsiteX43" fmla="*/ 885825 w 1081087"/>
                <a:gd name="connsiteY43" fmla="*/ 490538 h 707231"/>
                <a:gd name="connsiteX44" fmla="*/ 857250 w 1081087"/>
                <a:gd name="connsiteY44" fmla="*/ 504825 h 707231"/>
                <a:gd name="connsiteX45" fmla="*/ 833437 w 1081087"/>
                <a:gd name="connsiteY45" fmla="*/ 500063 h 707231"/>
                <a:gd name="connsiteX46" fmla="*/ 797718 w 1081087"/>
                <a:gd name="connsiteY46" fmla="*/ 519113 h 707231"/>
                <a:gd name="connsiteX47" fmla="*/ 759618 w 1081087"/>
                <a:gd name="connsiteY47" fmla="*/ 528638 h 707231"/>
                <a:gd name="connsiteX48" fmla="*/ 721518 w 1081087"/>
                <a:gd name="connsiteY48" fmla="*/ 528638 h 707231"/>
                <a:gd name="connsiteX49" fmla="*/ 731043 w 1081087"/>
                <a:gd name="connsiteY49" fmla="*/ 542925 h 707231"/>
                <a:gd name="connsiteX50" fmla="*/ 766762 w 1081087"/>
                <a:gd name="connsiteY50" fmla="*/ 552450 h 707231"/>
                <a:gd name="connsiteX51" fmla="*/ 762000 w 1081087"/>
                <a:gd name="connsiteY51" fmla="*/ 573881 h 707231"/>
                <a:gd name="connsiteX52" fmla="*/ 754856 w 1081087"/>
                <a:gd name="connsiteY52" fmla="*/ 607219 h 707231"/>
                <a:gd name="connsiteX53" fmla="*/ 792956 w 1081087"/>
                <a:gd name="connsiteY53" fmla="*/ 566738 h 707231"/>
                <a:gd name="connsiteX54" fmla="*/ 802481 w 1081087"/>
                <a:gd name="connsiteY54" fmla="*/ 569119 h 707231"/>
                <a:gd name="connsiteX55" fmla="*/ 776287 w 1081087"/>
                <a:gd name="connsiteY55" fmla="*/ 611981 h 707231"/>
                <a:gd name="connsiteX56" fmla="*/ 757237 w 1081087"/>
                <a:gd name="connsiteY56" fmla="*/ 640556 h 707231"/>
                <a:gd name="connsiteX57" fmla="*/ 733425 w 1081087"/>
                <a:gd name="connsiteY57" fmla="*/ 659606 h 707231"/>
                <a:gd name="connsiteX58" fmla="*/ 704850 w 1081087"/>
                <a:gd name="connsiteY58" fmla="*/ 647700 h 707231"/>
                <a:gd name="connsiteX59" fmla="*/ 657225 w 1081087"/>
                <a:gd name="connsiteY59" fmla="*/ 685800 h 707231"/>
                <a:gd name="connsiteX60" fmla="*/ 640556 w 1081087"/>
                <a:gd name="connsiteY60" fmla="*/ 707231 h 707231"/>
                <a:gd name="connsiteX61" fmla="*/ 611981 w 1081087"/>
                <a:gd name="connsiteY61" fmla="*/ 685800 h 707231"/>
                <a:gd name="connsiteX62" fmla="*/ 588168 w 1081087"/>
                <a:gd name="connsiteY62" fmla="*/ 657225 h 707231"/>
                <a:gd name="connsiteX63" fmla="*/ 564356 w 1081087"/>
                <a:gd name="connsiteY63" fmla="*/ 616744 h 707231"/>
                <a:gd name="connsiteX64" fmla="*/ 600075 w 1081087"/>
                <a:gd name="connsiteY64" fmla="*/ 578644 h 707231"/>
                <a:gd name="connsiteX65" fmla="*/ 578643 w 1081087"/>
                <a:gd name="connsiteY65" fmla="*/ 564356 h 707231"/>
                <a:gd name="connsiteX66" fmla="*/ 547687 w 1081087"/>
                <a:gd name="connsiteY66" fmla="*/ 547688 h 707231"/>
                <a:gd name="connsiteX67" fmla="*/ 554831 w 1081087"/>
                <a:gd name="connsiteY67" fmla="*/ 488156 h 707231"/>
                <a:gd name="connsiteX68" fmla="*/ 595312 w 1081087"/>
                <a:gd name="connsiteY68" fmla="*/ 481013 h 707231"/>
                <a:gd name="connsiteX69" fmla="*/ 569118 w 1081087"/>
                <a:gd name="connsiteY69" fmla="*/ 435769 h 707231"/>
                <a:gd name="connsiteX70" fmla="*/ 473868 w 1081087"/>
                <a:gd name="connsiteY70" fmla="*/ 440531 h 707231"/>
                <a:gd name="connsiteX71" fmla="*/ 447675 w 1081087"/>
                <a:gd name="connsiteY71" fmla="*/ 421481 h 707231"/>
                <a:gd name="connsiteX72" fmla="*/ 419100 w 1081087"/>
                <a:gd name="connsiteY72" fmla="*/ 497681 h 707231"/>
                <a:gd name="connsiteX73" fmla="*/ 302418 w 1081087"/>
                <a:gd name="connsiteY73" fmla="*/ 428625 h 707231"/>
                <a:gd name="connsiteX74" fmla="*/ 254793 w 1081087"/>
                <a:gd name="connsiteY74" fmla="*/ 500063 h 707231"/>
                <a:gd name="connsiteX75" fmla="*/ 230981 w 1081087"/>
                <a:gd name="connsiteY75" fmla="*/ 500063 h 707231"/>
                <a:gd name="connsiteX76" fmla="*/ 183356 w 1081087"/>
                <a:gd name="connsiteY76" fmla="*/ 516731 h 707231"/>
                <a:gd name="connsiteX77" fmla="*/ 188118 w 1081087"/>
                <a:gd name="connsiteY77" fmla="*/ 540544 h 707231"/>
                <a:gd name="connsiteX78" fmla="*/ 138112 w 1081087"/>
                <a:gd name="connsiteY78" fmla="*/ 559594 h 707231"/>
                <a:gd name="connsiteX79" fmla="*/ 66675 w 1081087"/>
                <a:gd name="connsiteY79" fmla="*/ 478631 h 707231"/>
                <a:gd name="connsiteX80" fmla="*/ 66675 w 1081087"/>
                <a:gd name="connsiteY80" fmla="*/ 442913 h 707231"/>
                <a:gd name="connsiteX81" fmla="*/ 78581 w 1081087"/>
                <a:gd name="connsiteY81" fmla="*/ 402431 h 707231"/>
                <a:gd name="connsiteX82" fmla="*/ 78581 w 1081087"/>
                <a:gd name="connsiteY82" fmla="*/ 364331 h 707231"/>
                <a:gd name="connsiteX83" fmla="*/ 30956 w 1081087"/>
                <a:gd name="connsiteY83" fmla="*/ 371475 h 707231"/>
                <a:gd name="connsiteX84" fmla="*/ 23812 w 1081087"/>
                <a:gd name="connsiteY84" fmla="*/ 350044 h 707231"/>
                <a:gd name="connsiteX85" fmla="*/ 0 w 1081087"/>
                <a:gd name="connsiteY85" fmla="*/ 314325 h 707231"/>
                <a:gd name="connsiteX86" fmla="*/ 19050 w 1081087"/>
                <a:gd name="connsiteY86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35551 w 1081087"/>
                <a:gd name="connsiteY19" fmla="*/ 114384 h 707231"/>
                <a:gd name="connsiteX20" fmla="*/ 878681 w 1081087"/>
                <a:gd name="connsiteY20" fmla="*/ 292894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933450 w 1081087"/>
                <a:gd name="connsiteY25" fmla="*/ 340519 h 707231"/>
                <a:gd name="connsiteX26" fmla="*/ 981075 w 1081087"/>
                <a:gd name="connsiteY26" fmla="*/ 361950 h 707231"/>
                <a:gd name="connsiteX27" fmla="*/ 995362 w 1081087"/>
                <a:gd name="connsiteY27" fmla="*/ 335756 h 707231"/>
                <a:gd name="connsiteX28" fmla="*/ 1045368 w 1081087"/>
                <a:gd name="connsiteY28" fmla="*/ 304800 h 707231"/>
                <a:gd name="connsiteX29" fmla="*/ 1047750 w 1081087"/>
                <a:gd name="connsiteY29" fmla="*/ 345281 h 707231"/>
                <a:gd name="connsiteX30" fmla="*/ 1073943 w 1081087"/>
                <a:gd name="connsiteY30" fmla="*/ 345281 h 707231"/>
                <a:gd name="connsiteX31" fmla="*/ 1081087 w 1081087"/>
                <a:gd name="connsiteY31" fmla="*/ 366713 h 707231"/>
                <a:gd name="connsiteX32" fmla="*/ 1081087 w 1081087"/>
                <a:gd name="connsiteY32" fmla="*/ 366713 h 707231"/>
                <a:gd name="connsiteX33" fmla="*/ 1050131 w 1081087"/>
                <a:gd name="connsiteY33" fmla="*/ 400050 h 707231"/>
                <a:gd name="connsiteX34" fmla="*/ 1035843 w 1081087"/>
                <a:gd name="connsiteY34" fmla="*/ 421481 h 707231"/>
                <a:gd name="connsiteX35" fmla="*/ 1023937 w 1081087"/>
                <a:gd name="connsiteY35" fmla="*/ 457200 h 707231"/>
                <a:gd name="connsiteX36" fmla="*/ 1000125 w 1081087"/>
                <a:gd name="connsiteY36" fmla="*/ 457200 h 707231"/>
                <a:gd name="connsiteX37" fmla="*/ 1002506 w 1081087"/>
                <a:gd name="connsiteY37" fmla="*/ 431006 h 707231"/>
                <a:gd name="connsiteX38" fmla="*/ 981075 w 1081087"/>
                <a:gd name="connsiteY38" fmla="*/ 431006 h 707231"/>
                <a:gd name="connsiteX39" fmla="*/ 966787 w 1081087"/>
                <a:gd name="connsiteY39" fmla="*/ 457200 h 707231"/>
                <a:gd name="connsiteX40" fmla="*/ 957262 w 1081087"/>
                <a:gd name="connsiteY40" fmla="*/ 481013 h 707231"/>
                <a:gd name="connsiteX41" fmla="*/ 938212 w 1081087"/>
                <a:gd name="connsiteY41" fmla="*/ 483394 h 707231"/>
                <a:gd name="connsiteX42" fmla="*/ 895350 w 1081087"/>
                <a:gd name="connsiteY42" fmla="*/ 488156 h 707231"/>
                <a:gd name="connsiteX43" fmla="*/ 885825 w 1081087"/>
                <a:gd name="connsiteY43" fmla="*/ 490538 h 707231"/>
                <a:gd name="connsiteX44" fmla="*/ 857250 w 1081087"/>
                <a:gd name="connsiteY44" fmla="*/ 504825 h 707231"/>
                <a:gd name="connsiteX45" fmla="*/ 833437 w 1081087"/>
                <a:gd name="connsiteY45" fmla="*/ 500063 h 707231"/>
                <a:gd name="connsiteX46" fmla="*/ 797718 w 1081087"/>
                <a:gd name="connsiteY46" fmla="*/ 519113 h 707231"/>
                <a:gd name="connsiteX47" fmla="*/ 759618 w 1081087"/>
                <a:gd name="connsiteY47" fmla="*/ 528638 h 707231"/>
                <a:gd name="connsiteX48" fmla="*/ 721518 w 1081087"/>
                <a:gd name="connsiteY48" fmla="*/ 528638 h 707231"/>
                <a:gd name="connsiteX49" fmla="*/ 731043 w 1081087"/>
                <a:gd name="connsiteY49" fmla="*/ 542925 h 707231"/>
                <a:gd name="connsiteX50" fmla="*/ 766762 w 1081087"/>
                <a:gd name="connsiteY50" fmla="*/ 552450 h 707231"/>
                <a:gd name="connsiteX51" fmla="*/ 762000 w 1081087"/>
                <a:gd name="connsiteY51" fmla="*/ 573881 h 707231"/>
                <a:gd name="connsiteX52" fmla="*/ 754856 w 1081087"/>
                <a:gd name="connsiteY52" fmla="*/ 607219 h 707231"/>
                <a:gd name="connsiteX53" fmla="*/ 792956 w 1081087"/>
                <a:gd name="connsiteY53" fmla="*/ 566738 h 707231"/>
                <a:gd name="connsiteX54" fmla="*/ 802481 w 1081087"/>
                <a:gd name="connsiteY54" fmla="*/ 569119 h 707231"/>
                <a:gd name="connsiteX55" fmla="*/ 776287 w 1081087"/>
                <a:gd name="connsiteY55" fmla="*/ 611981 h 707231"/>
                <a:gd name="connsiteX56" fmla="*/ 757237 w 1081087"/>
                <a:gd name="connsiteY56" fmla="*/ 640556 h 707231"/>
                <a:gd name="connsiteX57" fmla="*/ 733425 w 1081087"/>
                <a:gd name="connsiteY57" fmla="*/ 659606 h 707231"/>
                <a:gd name="connsiteX58" fmla="*/ 704850 w 1081087"/>
                <a:gd name="connsiteY58" fmla="*/ 647700 h 707231"/>
                <a:gd name="connsiteX59" fmla="*/ 657225 w 1081087"/>
                <a:gd name="connsiteY59" fmla="*/ 685800 h 707231"/>
                <a:gd name="connsiteX60" fmla="*/ 640556 w 1081087"/>
                <a:gd name="connsiteY60" fmla="*/ 707231 h 707231"/>
                <a:gd name="connsiteX61" fmla="*/ 611981 w 1081087"/>
                <a:gd name="connsiteY61" fmla="*/ 685800 h 707231"/>
                <a:gd name="connsiteX62" fmla="*/ 588168 w 1081087"/>
                <a:gd name="connsiteY62" fmla="*/ 657225 h 707231"/>
                <a:gd name="connsiteX63" fmla="*/ 564356 w 1081087"/>
                <a:gd name="connsiteY63" fmla="*/ 616744 h 707231"/>
                <a:gd name="connsiteX64" fmla="*/ 600075 w 1081087"/>
                <a:gd name="connsiteY64" fmla="*/ 578644 h 707231"/>
                <a:gd name="connsiteX65" fmla="*/ 578643 w 1081087"/>
                <a:gd name="connsiteY65" fmla="*/ 564356 h 707231"/>
                <a:gd name="connsiteX66" fmla="*/ 547687 w 1081087"/>
                <a:gd name="connsiteY66" fmla="*/ 547688 h 707231"/>
                <a:gd name="connsiteX67" fmla="*/ 554831 w 1081087"/>
                <a:gd name="connsiteY67" fmla="*/ 488156 h 707231"/>
                <a:gd name="connsiteX68" fmla="*/ 595312 w 1081087"/>
                <a:gd name="connsiteY68" fmla="*/ 481013 h 707231"/>
                <a:gd name="connsiteX69" fmla="*/ 569118 w 1081087"/>
                <a:gd name="connsiteY69" fmla="*/ 435769 h 707231"/>
                <a:gd name="connsiteX70" fmla="*/ 473868 w 1081087"/>
                <a:gd name="connsiteY70" fmla="*/ 440531 h 707231"/>
                <a:gd name="connsiteX71" fmla="*/ 447675 w 1081087"/>
                <a:gd name="connsiteY71" fmla="*/ 421481 h 707231"/>
                <a:gd name="connsiteX72" fmla="*/ 419100 w 1081087"/>
                <a:gd name="connsiteY72" fmla="*/ 497681 h 707231"/>
                <a:gd name="connsiteX73" fmla="*/ 302418 w 1081087"/>
                <a:gd name="connsiteY73" fmla="*/ 428625 h 707231"/>
                <a:gd name="connsiteX74" fmla="*/ 254793 w 1081087"/>
                <a:gd name="connsiteY74" fmla="*/ 500063 h 707231"/>
                <a:gd name="connsiteX75" fmla="*/ 230981 w 1081087"/>
                <a:gd name="connsiteY75" fmla="*/ 500063 h 707231"/>
                <a:gd name="connsiteX76" fmla="*/ 183356 w 1081087"/>
                <a:gd name="connsiteY76" fmla="*/ 516731 h 707231"/>
                <a:gd name="connsiteX77" fmla="*/ 188118 w 1081087"/>
                <a:gd name="connsiteY77" fmla="*/ 540544 h 707231"/>
                <a:gd name="connsiteX78" fmla="*/ 138112 w 1081087"/>
                <a:gd name="connsiteY78" fmla="*/ 559594 h 707231"/>
                <a:gd name="connsiteX79" fmla="*/ 66675 w 1081087"/>
                <a:gd name="connsiteY79" fmla="*/ 478631 h 707231"/>
                <a:gd name="connsiteX80" fmla="*/ 66675 w 1081087"/>
                <a:gd name="connsiteY80" fmla="*/ 442913 h 707231"/>
                <a:gd name="connsiteX81" fmla="*/ 78581 w 1081087"/>
                <a:gd name="connsiteY81" fmla="*/ 402431 h 707231"/>
                <a:gd name="connsiteX82" fmla="*/ 78581 w 1081087"/>
                <a:gd name="connsiteY82" fmla="*/ 364331 h 707231"/>
                <a:gd name="connsiteX83" fmla="*/ 30956 w 1081087"/>
                <a:gd name="connsiteY83" fmla="*/ 371475 h 707231"/>
                <a:gd name="connsiteX84" fmla="*/ 23812 w 1081087"/>
                <a:gd name="connsiteY84" fmla="*/ 350044 h 707231"/>
                <a:gd name="connsiteX85" fmla="*/ 0 w 1081087"/>
                <a:gd name="connsiteY85" fmla="*/ 314325 h 707231"/>
                <a:gd name="connsiteX86" fmla="*/ 19050 w 1081087"/>
                <a:gd name="connsiteY86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35551 w 1081087"/>
                <a:gd name="connsiteY19" fmla="*/ 114384 h 707231"/>
                <a:gd name="connsiteX20" fmla="*/ 864661 w 1081087"/>
                <a:gd name="connsiteY20" fmla="*/ 264657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933450 w 1081087"/>
                <a:gd name="connsiteY25" fmla="*/ 340519 h 707231"/>
                <a:gd name="connsiteX26" fmla="*/ 981075 w 1081087"/>
                <a:gd name="connsiteY26" fmla="*/ 361950 h 707231"/>
                <a:gd name="connsiteX27" fmla="*/ 995362 w 1081087"/>
                <a:gd name="connsiteY27" fmla="*/ 335756 h 707231"/>
                <a:gd name="connsiteX28" fmla="*/ 1045368 w 1081087"/>
                <a:gd name="connsiteY28" fmla="*/ 304800 h 707231"/>
                <a:gd name="connsiteX29" fmla="*/ 1047750 w 1081087"/>
                <a:gd name="connsiteY29" fmla="*/ 345281 h 707231"/>
                <a:gd name="connsiteX30" fmla="*/ 1073943 w 1081087"/>
                <a:gd name="connsiteY30" fmla="*/ 345281 h 707231"/>
                <a:gd name="connsiteX31" fmla="*/ 1081087 w 1081087"/>
                <a:gd name="connsiteY31" fmla="*/ 366713 h 707231"/>
                <a:gd name="connsiteX32" fmla="*/ 1081087 w 1081087"/>
                <a:gd name="connsiteY32" fmla="*/ 366713 h 707231"/>
                <a:gd name="connsiteX33" fmla="*/ 1050131 w 1081087"/>
                <a:gd name="connsiteY33" fmla="*/ 400050 h 707231"/>
                <a:gd name="connsiteX34" fmla="*/ 1035843 w 1081087"/>
                <a:gd name="connsiteY34" fmla="*/ 421481 h 707231"/>
                <a:gd name="connsiteX35" fmla="*/ 1023937 w 1081087"/>
                <a:gd name="connsiteY35" fmla="*/ 457200 h 707231"/>
                <a:gd name="connsiteX36" fmla="*/ 1000125 w 1081087"/>
                <a:gd name="connsiteY36" fmla="*/ 457200 h 707231"/>
                <a:gd name="connsiteX37" fmla="*/ 1002506 w 1081087"/>
                <a:gd name="connsiteY37" fmla="*/ 431006 h 707231"/>
                <a:gd name="connsiteX38" fmla="*/ 981075 w 1081087"/>
                <a:gd name="connsiteY38" fmla="*/ 431006 h 707231"/>
                <a:gd name="connsiteX39" fmla="*/ 966787 w 1081087"/>
                <a:gd name="connsiteY39" fmla="*/ 457200 h 707231"/>
                <a:gd name="connsiteX40" fmla="*/ 957262 w 1081087"/>
                <a:gd name="connsiteY40" fmla="*/ 481013 h 707231"/>
                <a:gd name="connsiteX41" fmla="*/ 938212 w 1081087"/>
                <a:gd name="connsiteY41" fmla="*/ 483394 h 707231"/>
                <a:gd name="connsiteX42" fmla="*/ 895350 w 1081087"/>
                <a:gd name="connsiteY42" fmla="*/ 488156 h 707231"/>
                <a:gd name="connsiteX43" fmla="*/ 885825 w 1081087"/>
                <a:gd name="connsiteY43" fmla="*/ 490538 h 707231"/>
                <a:gd name="connsiteX44" fmla="*/ 857250 w 1081087"/>
                <a:gd name="connsiteY44" fmla="*/ 504825 h 707231"/>
                <a:gd name="connsiteX45" fmla="*/ 833437 w 1081087"/>
                <a:gd name="connsiteY45" fmla="*/ 500063 h 707231"/>
                <a:gd name="connsiteX46" fmla="*/ 797718 w 1081087"/>
                <a:gd name="connsiteY46" fmla="*/ 519113 h 707231"/>
                <a:gd name="connsiteX47" fmla="*/ 759618 w 1081087"/>
                <a:gd name="connsiteY47" fmla="*/ 528638 h 707231"/>
                <a:gd name="connsiteX48" fmla="*/ 721518 w 1081087"/>
                <a:gd name="connsiteY48" fmla="*/ 528638 h 707231"/>
                <a:gd name="connsiteX49" fmla="*/ 731043 w 1081087"/>
                <a:gd name="connsiteY49" fmla="*/ 542925 h 707231"/>
                <a:gd name="connsiteX50" fmla="*/ 766762 w 1081087"/>
                <a:gd name="connsiteY50" fmla="*/ 552450 h 707231"/>
                <a:gd name="connsiteX51" fmla="*/ 762000 w 1081087"/>
                <a:gd name="connsiteY51" fmla="*/ 573881 h 707231"/>
                <a:gd name="connsiteX52" fmla="*/ 754856 w 1081087"/>
                <a:gd name="connsiteY52" fmla="*/ 607219 h 707231"/>
                <a:gd name="connsiteX53" fmla="*/ 792956 w 1081087"/>
                <a:gd name="connsiteY53" fmla="*/ 566738 h 707231"/>
                <a:gd name="connsiteX54" fmla="*/ 802481 w 1081087"/>
                <a:gd name="connsiteY54" fmla="*/ 569119 h 707231"/>
                <a:gd name="connsiteX55" fmla="*/ 776287 w 1081087"/>
                <a:gd name="connsiteY55" fmla="*/ 611981 h 707231"/>
                <a:gd name="connsiteX56" fmla="*/ 757237 w 1081087"/>
                <a:gd name="connsiteY56" fmla="*/ 640556 h 707231"/>
                <a:gd name="connsiteX57" fmla="*/ 733425 w 1081087"/>
                <a:gd name="connsiteY57" fmla="*/ 659606 h 707231"/>
                <a:gd name="connsiteX58" fmla="*/ 704850 w 1081087"/>
                <a:gd name="connsiteY58" fmla="*/ 647700 h 707231"/>
                <a:gd name="connsiteX59" fmla="*/ 657225 w 1081087"/>
                <a:gd name="connsiteY59" fmla="*/ 685800 h 707231"/>
                <a:gd name="connsiteX60" fmla="*/ 640556 w 1081087"/>
                <a:gd name="connsiteY60" fmla="*/ 707231 h 707231"/>
                <a:gd name="connsiteX61" fmla="*/ 611981 w 1081087"/>
                <a:gd name="connsiteY61" fmla="*/ 685800 h 707231"/>
                <a:gd name="connsiteX62" fmla="*/ 588168 w 1081087"/>
                <a:gd name="connsiteY62" fmla="*/ 657225 h 707231"/>
                <a:gd name="connsiteX63" fmla="*/ 564356 w 1081087"/>
                <a:gd name="connsiteY63" fmla="*/ 616744 h 707231"/>
                <a:gd name="connsiteX64" fmla="*/ 600075 w 1081087"/>
                <a:gd name="connsiteY64" fmla="*/ 578644 h 707231"/>
                <a:gd name="connsiteX65" fmla="*/ 578643 w 1081087"/>
                <a:gd name="connsiteY65" fmla="*/ 564356 h 707231"/>
                <a:gd name="connsiteX66" fmla="*/ 547687 w 1081087"/>
                <a:gd name="connsiteY66" fmla="*/ 547688 h 707231"/>
                <a:gd name="connsiteX67" fmla="*/ 554831 w 1081087"/>
                <a:gd name="connsiteY67" fmla="*/ 488156 h 707231"/>
                <a:gd name="connsiteX68" fmla="*/ 595312 w 1081087"/>
                <a:gd name="connsiteY68" fmla="*/ 481013 h 707231"/>
                <a:gd name="connsiteX69" fmla="*/ 569118 w 1081087"/>
                <a:gd name="connsiteY69" fmla="*/ 435769 h 707231"/>
                <a:gd name="connsiteX70" fmla="*/ 473868 w 1081087"/>
                <a:gd name="connsiteY70" fmla="*/ 440531 h 707231"/>
                <a:gd name="connsiteX71" fmla="*/ 447675 w 1081087"/>
                <a:gd name="connsiteY71" fmla="*/ 421481 h 707231"/>
                <a:gd name="connsiteX72" fmla="*/ 419100 w 1081087"/>
                <a:gd name="connsiteY72" fmla="*/ 497681 h 707231"/>
                <a:gd name="connsiteX73" fmla="*/ 302418 w 1081087"/>
                <a:gd name="connsiteY73" fmla="*/ 428625 h 707231"/>
                <a:gd name="connsiteX74" fmla="*/ 254793 w 1081087"/>
                <a:gd name="connsiteY74" fmla="*/ 500063 h 707231"/>
                <a:gd name="connsiteX75" fmla="*/ 230981 w 1081087"/>
                <a:gd name="connsiteY75" fmla="*/ 500063 h 707231"/>
                <a:gd name="connsiteX76" fmla="*/ 183356 w 1081087"/>
                <a:gd name="connsiteY76" fmla="*/ 516731 h 707231"/>
                <a:gd name="connsiteX77" fmla="*/ 188118 w 1081087"/>
                <a:gd name="connsiteY77" fmla="*/ 540544 h 707231"/>
                <a:gd name="connsiteX78" fmla="*/ 138112 w 1081087"/>
                <a:gd name="connsiteY78" fmla="*/ 559594 h 707231"/>
                <a:gd name="connsiteX79" fmla="*/ 66675 w 1081087"/>
                <a:gd name="connsiteY79" fmla="*/ 478631 h 707231"/>
                <a:gd name="connsiteX80" fmla="*/ 66675 w 1081087"/>
                <a:gd name="connsiteY80" fmla="*/ 442913 h 707231"/>
                <a:gd name="connsiteX81" fmla="*/ 78581 w 1081087"/>
                <a:gd name="connsiteY81" fmla="*/ 402431 h 707231"/>
                <a:gd name="connsiteX82" fmla="*/ 78581 w 1081087"/>
                <a:gd name="connsiteY82" fmla="*/ 364331 h 707231"/>
                <a:gd name="connsiteX83" fmla="*/ 30956 w 1081087"/>
                <a:gd name="connsiteY83" fmla="*/ 371475 h 707231"/>
                <a:gd name="connsiteX84" fmla="*/ 23812 w 1081087"/>
                <a:gd name="connsiteY84" fmla="*/ 350044 h 707231"/>
                <a:gd name="connsiteX85" fmla="*/ 0 w 1081087"/>
                <a:gd name="connsiteY85" fmla="*/ 314325 h 707231"/>
                <a:gd name="connsiteX86" fmla="*/ 19050 w 1081087"/>
                <a:gd name="connsiteY86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35551 w 1081087"/>
                <a:gd name="connsiteY19" fmla="*/ 114384 h 707231"/>
                <a:gd name="connsiteX20" fmla="*/ 864661 w 1081087"/>
                <a:gd name="connsiteY20" fmla="*/ 264657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933450 w 1081087"/>
                <a:gd name="connsiteY25" fmla="*/ 340519 h 707231"/>
                <a:gd name="connsiteX26" fmla="*/ 981075 w 1081087"/>
                <a:gd name="connsiteY26" fmla="*/ 361950 h 707231"/>
                <a:gd name="connsiteX27" fmla="*/ 993025 w 1081087"/>
                <a:gd name="connsiteY27" fmla="*/ 326344 h 707231"/>
                <a:gd name="connsiteX28" fmla="*/ 1045368 w 1081087"/>
                <a:gd name="connsiteY28" fmla="*/ 304800 h 707231"/>
                <a:gd name="connsiteX29" fmla="*/ 1047750 w 1081087"/>
                <a:gd name="connsiteY29" fmla="*/ 345281 h 707231"/>
                <a:gd name="connsiteX30" fmla="*/ 1073943 w 1081087"/>
                <a:gd name="connsiteY30" fmla="*/ 345281 h 707231"/>
                <a:gd name="connsiteX31" fmla="*/ 1081087 w 1081087"/>
                <a:gd name="connsiteY31" fmla="*/ 366713 h 707231"/>
                <a:gd name="connsiteX32" fmla="*/ 1081087 w 1081087"/>
                <a:gd name="connsiteY32" fmla="*/ 366713 h 707231"/>
                <a:gd name="connsiteX33" fmla="*/ 1050131 w 1081087"/>
                <a:gd name="connsiteY33" fmla="*/ 400050 h 707231"/>
                <a:gd name="connsiteX34" fmla="*/ 1035843 w 1081087"/>
                <a:gd name="connsiteY34" fmla="*/ 421481 h 707231"/>
                <a:gd name="connsiteX35" fmla="*/ 1023937 w 1081087"/>
                <a:gd name="connsiteY35" fmla="*/ 457200 h 707231"/>
                <a:gd name="connsiteX36" fmla="*/ 1000125 w 1081087"/>
                <a:gd name="connsiteY36" fmla="*/ 457200 h 707231"/>
                <a:gd name="connsiteX37" fmla="*/ 1002506 w 1081087"/>
                <a:gd name="connsiteY37" fmla="*/ 431006 h 707231"/>
                <a:gd name="connsiteX38" fmla="*/ 981075 w 1081087"/>
                <a:gd name="connsiteY38" fmla="*/ 431006 h 707231"/>
                <a:gd name="connsiteX39" fmla="*/ 966787 w 1081087"/>
                <a:gd name="connsiteY39" fmla="*/ 457200 h 707231"/>
                <a:gd name="connsiteX40" fmla="*/ 957262 w 1081087"/>
                <a:gd name="connsiteY40" fmla="*/ 481013 h 707231"/>
                <a:gd name="connsiteX41" fmla="*/ 938212 w 1081087"/>
                <a:gd name="connsiteY41" fmla="*/ 483394 h 707231"/>
                <a:gd name="connsiteX42" fmla="*/ 895350 w 1081087"/>
                <a:gd name="connsiteY42" fmla="*/ 488156 h 707231"/>
                <a:gd name="connsiteX43" fmla="*/ 885825 w 1081087"/>
                <a:gd name="connsiteY43" fmla="*/ 490538 h 707231"/>
                <a:gd name="connsiteX44" fmla="*/ 857250 w 1081087"/>
                <a:gd name="connsiteY44" fmla="*/ 504825 h 707231"/>
                <a:gd name="connsiteX45" fmla="*/ 833437 w 1081087"/>
                <a:gd name="connsiteY45" fmla="*/ 500063 h 707231"/>
                <a:gd name="connsiteX46" fmla="*/ 797718 w 1081087"/>
                <a:gd name="connsiteY46" fmla="*/ 519113 h 707231"/>
                <a:gd name="connsiteX47" fmla="*/ 759618 w 1081087"/>
                <a:gd name="connsiteY47" fmla="*/ 528638 h 707231"/>
                <a:gd name="connsiteX48" fmla="*/ 721518 w 1081087"/>
                <a:gd name="connsiteY48" fmla="*/ 528638 h 707231"/>
                <a:gd name="connsiteX49" fmla="*/ 731043 w 1081087"/>
                <a:gd name="connsiteY49" fmla="*/ 542925 h 707231"/>
                <a:gd name="connsiteX50" fmla="*/ 766762 w 1081087"/>
                <a:gd name="connsiteY50" fmla="*/ 552450 h 707231"/>
                <a:gd name="connsiteX51" fmla="*/ 762000 w 1081087"/>
                <a:gd name="connsiteY51" fmla="*/ 573881 h 707231"/>
                <a:gd name="connsiteX52" fmla="*/ 754856 w 1081087"/>
                <a:gd name="connsiteY52" fmla="*/ 607219 h 707231"/>
                <a:gd name="connsiteX53" fmla="*/ 792956 w 1081087"/>
                <a:gd name="connsiteY53" fmla="*/ 566738 h 707231"/>
                <a:gd name="connsiteX54" fmla="*/ 802481 w 1081087"/>
                <a:gd name="connsiteY54" fmla="*/ 569119 h 707231"/>
                <a:gd name="connsiteX55" fmla="*/ 776287 w 1081087"/>
                <a:gd name="connsiteY55" fmla="*/ 611981 h 707231"/>
                <a:gd name="connsiteX56" fmla="*/ 757237 w 1081087"/>
                <a:gd name="connsiteY56" fmla="*/ 640556 h 707231"/>
                <a:gd name="connsiteX57" fmla="*/ 733425 w 1081087"/>
                <a:gd name="connsiteY57" fmla="*/ 659606 h 707231"/>
                <a:gd name="connsiteX58" fmla="*/ 704850 w 1081087"/>
                <a:gd name="connsiteY58" fmla="*/ 647700 h 707231"/>
                <a:gd name="connsiteX59" fmla="*/ 657225 w 1081087"/>
                <a:gd name="connsiteY59" fmla="*/ 685800 h 707231"/>
                <a:gd name="connsiteX60" fmla="*/ 640556 w 1081087"/>
                <a:gd name="connsiteY60" fmla="*/ 707231 h 707231"/>
                <a:gd name="connsiteX61" fmla="*/ 611981 w 1081087"/>
                <a:gd name="connsiteY61" fmla="*/ 685800 h 707231"/>
                <a:gd name="connsiteX62" fmla="*/ 588168 w 1081087"/>
                <a:gd name="connsiteY62" fmla="*/ 657225 h 707231"/>
                <a:gd name="connsiteX63" fmla="*/ 564356 w 1081087"/>
                <a:gd name="connsiteY63" fmla="*/ 616744 h 707231"/>
                <a:gd name="connsiteX64" fmla="*/ 600075 w 1081087"/>
                <a:gd name="connsiteY64" fmla="*/ 578644 h 707231"/>
                <a:gd name="connsiteX65" fmla="*/ 578643 w 1081087"/>
                <a:gd name="connsiteY65" fmla="*/ 564356 h 707231"/>
                <a:gd name="connsiteX66" fmla="*/ 547687 w 1081087"/>
                <a:gd name="connsiteY66" fmla="*/ 547688 h 707231"/>
                <a:gd name="connsiteX67" fmla="*/ 554831 w 1081087"/>
                <a:gd name="connsiteY67" fmla="*/ 488156 h 707231"/>
                <a:gd name="connsiteX68" fmla="*/ 595312 w 1081087"/>
                <a:gd name="connsiteY68" fmla="*/ 481013 h 707231"/>
                <a:gd name="connsiteX69" fmla="*/ 569118 w 1081087"/>
                <a:gd name="connsiteY69" fmla="*/ 435769 h 707231"/>
                <a:gd name="connsiteX70" fmla="*/ 473868 w 1081087"/>
                <a:gd name="connsiteY70" fmla="*/ 440531 h 707231"/>
                <a:gd name="connsiteX71" fmla="*/ 447675 w 1081087"/>
                <a:gd name="connsiteY71" fmla="*/ 421481 h 707231"/>
                <a:gd name="connsiteX72" fmla="*/ 419100 w 1081087"/>
                <a:gd name="connsiteY72" fmla="*/ 497681 h 707231"/>
                <a:gd name="connsiteX73" fmla="*/ 302418 w 1081087"/>
                <a:gd name="connsiteY73" fmla="*/ 428625 h 707231"/>
                <a:gd name="connsiteX74" fmla="*/ 254793 w 1081087"/>
                <a:gd name="connsiteY74" fmla="*/ 500063 h 707231"/>
                <a:gd name="connsiteX75" fmla="*/ 230981 w 1081087"/>
                <a:gd name="connsiteY75" fmla="*/ 500063 h 707231"/>
                <a:gd name="connsiteX76" fmla="*/ 183356 w 1081087"/>
                <a:gd name="connsiteY76" fmla="*/ 516731 h 707231"/>
                <a:gd name="connsiteX77" fmla="*/ 188118 w 1081087"/>
                <a:gd name="connsiteY77" fmla="*/ 540544 h 707231"/>
                <a:gd name="connsiteX78" fmla="*/ 138112 w 1081087"/>
                <a:gd name="connsiteY78" fmla="*/ 559594 h 707231"/>
                <a:gd name="connsiteX79" fmla="*/ 66675 w 1081087"/>
                <a:gd name="connsiteY79" fmla="*/ 478631 h 707231"/>
                <a:gd name="connsiteX80" fmla="*/ 66675 w 1081087"/>
                <a:gd name="connsiteY80" fmla="*/ 442913 h 707231"/>
                <a:gd name="connsiteX81" fmla="*/ 78581 w 1081087"/>
                <a:gd name="connsiteY81" fmla="*/ 402431 h 707231"/>
                <a:gd name="connsiteX82" fmla="*/ 78581 w 1081087"/>
                <a:gd name="connsiteY82" fmla="*/ 364331 h 707231"/>
                <a:gd name="connsiteX83" fmla="*/ 30956 w 1081087"/>
                <a:gd name="connsiteY83" fmla="*/ 371475 h 707231"/>
                <a:gd name="connsiteX84" fmla="*/ 23812 w 1081087"/>
                <a:gd name="connsiteY84" fmla="*/ 350044 h 707231"/>
                <a:gd name="connsiteX85" fmla="*/ 0 w 1081087"/>
                <a:gd name="connsiteY85" fmla="*/ 314325 h 707231"/>
                <a:gd name="connsiteX86" fmla="*/ 19050 w 1081087"/>
                <a:gd name="connsiteY86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35551 w 1081087"/>
                <a:gd name="connsiteY19" fmla="*/ 114384 h 707231"/>
                <a:gd name="connsiteX20" fmla="*/ 864661 w 1081087"/>
                <a:gd name="connsiteY20" fmla="*/ 264657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933450 w 1081087"/>
                <a:gd name="connsiteY25" fmla="*/ 340519 h 707231"/>
                <a:gd name="connsiteX26" fmla="*/ 981075 w 1081087"/>
                <a:gd name="connsiteY26" fmla="*/ 361950 h 707231"/>
                <a:gd name="connsiteX27" fmla="*/ 993025 w 1081087"/>
                <a:gd name="connsiteY27" fmla="*/ 326344 h 707231"/>
                <a:gd name="connsiteX28" fmla="*/ 1036020 w 1081087"/>
                <a:gd name="connsiteY28" fmla="*/ 304800 h 707231"/>
                <a:gd name="connsiteX29" fmla="*/ 1047750 w 1081087"/>
                <a:gd name="connsiteY29" fmla="*/ 345281 h 707231"/>
                <a:gd name="connsiteX30" fmla="*/ 1073943 w 1081087"/>
                <a:gd name="connsiteY30" fmla="*/ 345281 h 707231"/>
                <a:gd name="connsiteX31" fmla="*/ 1081087 w 1081087"/>
                <a:gd name="connsiteY31" fmla="*/ 366713 h 707231"/>
                <a:gd name="connsiteX32" fmla="*/ 1081087 w 1081087"/>
                <a:gd name="connsiteY32" fmla="*/ 366713 h 707231"/>
                <a:gd name="connsiteX33" fmla="*/ 1050131 w 1081087"/>
                <a:gd name="connsiteY33" fmla="*/ 400050 h 707231"/>
                <a:gd name="connsiteX34" fmla="*/ 1035843 w 1081087"/>
                <a:gd name="connsiteY34" fmla="*/ 421481 h 707231"/>
                <a:gd name="connsiteX35" fmla="*/ 1023937 w 1081087"/>
                <a:gd name="connsiteY35" fmla="*/ 457200 h 707231"/>
                <a:gd name="connsiteX36" fmla="*/ 1000125 w 1081087"/>
                <a:gd name="connsiteY36" fmla="*/ 457200 h 707231"/>
                <a:gd name="connsiteX37" fmla="*/ 1002506 w 1081087"/>
                <a:gd name="connsiteY37" fmla="*/ 431006 h 707231"/>
                <a:gd name="connsiteX38" fmla="*/ 981075 w 1081087"/>
                <a:gd name="connsiteY38" fmla="*/ 431006 h 707231"/>
                <a:gd name="connsiteX39" fmla="*/ 966787 w 1081087"/>
                <a:gd name="connsiteY39" fmla="*/ 457200 h 707231"/>
                <a:gd name="connsiteX40" fmla="*/ 957262 w 1081087"/>
                <a:gd name="connsiteY40" fmla="*/ 481013 h 707231"/>
                <a:gd name="connsiteX41" fmla="*/ 938212 w 1081087"/>
                <a:gd name="connsiteY41" fmla="*/ 483394 h 707231"/>
                <a:gd name="connsiteX42" fmla="*/ 895350 w 1081087"/>
                <a:gd name="connsiteY42" fmla="*/ 488156 h 707231"/>
                <a:gd name="connsiteX43" fmla="*/ 885825 w 1081087"/>
                <a:gd name="connsiteY43" fmla="*/ 490538 h 707231"/>
                <a:gd name="connsiteX44" fmla="*/ 857250 w 1081087"/>
                <a:gd name="connsiteY44" fmla="*/ 504825 h 707231"/>
                <a:gd name="connsiteX45" fmla="*/ 833437 w 1081087"/>
                <a:gd name="connsiteY45" fmla="*/ 500063 h 707231"/>
                <a:gd name="connsiteX46" fmla="*/ 797718 w 1081087"/>
                <a:gd name="connsiteY46" fmla="*/ 519113 h 707231"/>
                <a:gd name="connsiteX47" fmla="*/ 759618 w 1081087"/>
                <a:gd name="connsiteY47" fmla="*/ 528638 h 707231"/>
                <a:gd name="connsiteX48" fmla="*/ 721518 w 1081087"/>
                <a:gd name="connsiteY48" fmla="*/ 528638 h 707231"/>
                <a:gd name="connsiteX49" fmla="*/ 731043 w 1081087"/>
                <a:gd name="connsiteY49" fmla="*/ 542925 h 707231"/>
                <a:gd name="connsiteX50" fmla="*/ 766762 w 1081087"/>
                <a:gd name="connsiteY50" fmla="*/ 552450 h 707231"/>
                <a:gd name="connsiteX51" fmla="*/ 762000 w 1081087"/>
                <a:gd name="connsiteY51" fmla="*/ 573881 h 707231"/>
                <a:gd name="connsiteX52" fmla="*/ 754856 w 1081087"/>
                <a:gd name="connsiteY52" fmla="*/ 607219 h 707231"/>
                <a:gd name="connsiteX53" fmla="*/ 792956 w 1081087"/>
                <a:gd name="connsiteY53" fmla="*/ 566738 h 707231"/>
                <a:gd name="connsiteX54" fmla="*/ 802481 w 1081087"/>
                <a:gd name="connsiteY54" fmla="*/ 569119 h 707231"/>
                <a:gd name="connsiteX55" fmla="*/ 776287 w 1081087"/>
                <a:gd name="connsiteY55" fmla="*/ 611981 h 707231"/>
                <a:gd name="connsiteX56" fmla="*/ 757237 w 1081087"/>
                <a:gd name="connsiteY56" fmla="*/ 640556 h 707231"/>
                <a:gd name="connsiteX57" fmla="*/ 733425 w 1081087"/>
                <a:gd name="connsiteY57" fmla="*/ 659606 h 707231"/>
                <a:gd name="connsiteX58" fmla="*/ 704850 w 1081087"/>
                <a:gd name="connsiteY58" fmla="*/ 647700 h 707231"/>
                <a:gd name="connsiteX59" fmla="*/ 657225 w 1081087"/>
                <a:gd name="connsiteY59" fmla="*/ 685800 h 707231"/>
                <a:gd name="connsiteX60" fmla="*/ 640556 w 1081087"/>
                <a:gd name="connsiteY60" fmla="*/ 707231 h 707231"/>
                <a:gd name="connsiteX61" fmla="*/ 611981 w 1081087"/>
                <a:gd name="connsiteY61" fmla="*/ 685800 h 707231"/>
                <a:gd name="connsiteX62" fmla="*/ 588168 w 1081087"/>
                <a:gd name="connsiteY62" fmla="*/ 657225 h 707231"/>
                <a:gd name="connsiteX63" fmla="*/ 564356 w 1081087"/>
                <a:gd name="connsiteY63" fmla="*/ 616744 h 707231"/>
                <a:gd name="connsiteX64" fmla="*/ 600075 w 1081087"/>
                <a:gd name="connsiteY64" fmla="*/ 578644 h 707231"/>
                <a:gd name="connsiteX65" fmla="*/ 578643 w 1081087"/>
                <a:gd name="connsiteY65" fmla="*/ 564356 h 707231"/>
                <a:gd name="connsiteX66" fmla="*/ 547687 w 1081087"/>
                <a:gd name="connsiteY66" fmla="*/ 547688 h 707231"/>
                <a:gd name="connsiteX67" fmla="*/ 554831 w 1081087"/>
                <a:gd name="connsiteY67" fmla="*/ 488156 h 707231"/>
                <a:gd name="connsiteX68" fmla="*/ 595312 w 1081087"/>
                <a:gd name="connsiteY68" fmla="*/ 481013 h 707231"/>
                <a:gd name="connsiteX69" fmla="*/ 569118 w 1081087"/>
                <a:gd name="connsiteY69" fmla="*/ 435769 h 707231"/>
                <a:gd name="connsiteX70" fmla="*/ 473868 w 1081087"/>
                <a:gd name="connsiteY70" fmla="*/ 440531 h 707231"/>
                <a:gd name="connsiteX71" fmla="*/ 447675 w 1081087"/>
                <a:gd name="connsiteY71" fmla="*/ 421481 h 707231"/>
                <a:gd name="connsiteX72" fmla="*/ 419100 w 1081087"/>
                <a:gd name="connsiteY72" fmla="*/ 497681 h 707231"/>
                <a:gd name="connsiteX73" fmla="*/ 302418 w 1081087"/>
                <a:gd name="connsiteY73" fmla="*/ 428625 h 707231"/>
                <a:gd name="connsiteX74" fmla="*/ 254793 w 1081087"/>
                <a:gd name="connsiteY74" fmla="*/ 500063 h 707231"/>
                <a:gd name="connsiteX75" fmla="*/ 230981 w 1081087"/>
                <a:gd name="connsiteY75" fmla="*/ 500063 h 707231"/>
                <a:gd name="connsiteX76" fmla="*/ 183356 w 1081087"/>
                <a:gd name="connsiteY76" fmla="*/ 516731 h 707231"/>
                <a:gd name="connsiteX77" fmla="*/ 188118 w 1081087"/>
                <a:gd name="connsiteY77" fmla="*/ 540544 h 707231"/>
                <a:gd name="connsiteX78" fmla="*/ 138112 w 1081087"/>
                <a:gd name="connsiteY78" fmla="*/ 559594 h 707231"/>
                <a:gd name="connsiteX79" fmla="*/ 66675 w 1081087"/>
                <a:gd name="connsiteY79" fmla="*/ 478631 h 707231"/>
                <a:gd name="connsiteX80" fmla="*/ 66675 w 1081087"/>
                <a:gd name="connsiteY80" fmla="*/ 442913 h 707231"/>
                <a:gd name="connsiteX81" fmla="*/ 78581 w 1081087"/>
                <a:gd name="connsiteY81" fmla="*/ 402431 h 707231"/>
                <a:gd name="connsiteX82" fmla="*/ 78581 w 1081087"/>
                <a:gd name="connsiteY82" fmla="*/ 364331 h 707231"/>
                <a:gd name="connsiteX83" fmla="*/ 30956 w 1081087"/>
                <a:gd name="connsiteY83" fmla="*/ 371475 h 707231"/>
                <a:gd name="connsiteX84" fmla="*/ 23812 w 1081087"/>
                <a:gd name="connsiteY84" fmla="*/ 350044 h 707231"/>
                <a:gd name="connsiteX85" fmla="*/ 0 w 1081087"/>
                <a:gd name="connsiteY85" fmla="*/ 314325 h 707231"/>
                <a:gd name="connsiteX86" fmla="*/ 19050 w 1081087"/>
                <a:gd name="connsiteY86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35551 w 1081087"/>
                <a:gd name="connsiteY19" fmla="*/ 114384 h 707231"/>
                <a:gd name="connsiteX20" fmla="*/ 864661 w 1081087"/>
                <a:gd name="connsiteY20" fmla="*/ 264657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933450 w 1081087"/>
                <a:gd name="connsiteY25" fmla="*/ 340519 h 707231"/>
                <a:gd name="connsiteX26" fmla="*/ 981075 w 1081087"/>
                <a:gd name="connsiteY26" fmla="*/ 352538 h 707231"/>
                <a:gd name="connsiteX27" fmla="*/ 993025 w 1081087"/>
                <a:gd name="connsiteY27" fmla="*/ 326344 h 707231"/>
                <a:gd name="connsiteX28" fmla="*/ 1036020 w 1081087"/>
                <a:gd name="connsiteY28" fmla="*/ 304800 h 707231"/>
                <a:gd name="connsiteX29" fmla="*/ 1047750 w 1081087"/>
                <a:gd name="connsiteY29" fmla="*/ 345281 h 707231"/>
                <a:gd name="connsiteX30" fmla="*/ 1073943 w 1081087"/>
                <a:gd name="connsiteY30" fmla="*/ 345281 h 707231"/>
                <a:gd name="connsiteX31" fmla="*/ 1081087 w 1081087"/>
                <a:gd name="connsiteY31" fmla="*/ 366713 h 707231"/>
                <a:gd name="connsiteX32" fmla="*/ 1081087 w 1081087"/>
                <a:gd name="connsiteY32" fmla="*/ 366713 h 707231"/>
                <a:gd name="connsiteX33" fmla="*/ 1050131 w 1081087"/>
                <a:gd name="connsiteY33" fmla="*/ 400050 h 707231"/>
                <a:gd name="connsiteX34" fmla="*/ 1035843 w 1081087"/>
                <a:gd name="connsiteY34" fmla="*/ 421481 h 707231"/>
                <a:gd name="connsiteX35" fmla="*/ 1023937 w 1081087"/>
                <a:gd name="connsiteY35" fmla="*/ 457200 h 707231"/>
                <a:gd name="connsiteX36" fmla="*/ 1000125 w 1081087"/>
                <a:gd name="connsiteY36" fmla="*/ 457200 h 707231"/>
                <a:gd name="connsiteX37" fmla="*/ 1002506 w 1081087"/>
                <a:gd name="connsiteY37" fmla="*/ 431006 h 707231"/>
                <a:gd name="connsiteX38" fmla="*/ 981075 w 1081087"/>
                <a:gd name="connsiteY38" fmla="*/ 431006 h 707231"/>
                <a:gd name="connsiteX39" fmla="*/ 966787 w 1081087"/>
                <a:gd name="connsiteY39" fmla="*/ 457200 h 707231"/>
                <a:gd name="connsiteX40" fmla="*/ 957262 w 1081087"/>
                <a:gd name="connsiteY40" fmla="*/ 481013 h 707231"/>
                <a:gd name="connsiteX41" fmla="*/ 938212 w 1081087"/>
                <a:gd name="connsiteY41" fmla="*/ 483394 h 707231"/>
                <a:gd name="connsiteX42" fmla="*/ 895350 w 1081087"/>
                <a:gd name="connsiteY42" fmla="*/ 488156 h 707231"/>
                <a:gd name="connsiteX43" fmla="*/ 885825 w 1081087"/>
                <a:gd name="connsiteY43" fmla="*/ 490538 h 707231"/>
                <a:gd name="connsiteX44" fmla="*/ 857250 w 1081087"/>
                <a:gd name="connsiteY44" fmla="*/ 504825 h 707231"/>
                <a:gd name="connsiteX45" fmla="*/ 833437 w 1081087"/>
                <a:gd name="connsiteY45" fmla="*/ 500063 h 707231"/>
                <a:gd name="connsiteX46" fmla="*/ 797718 w 1081087"/>
                <a:gd name="connsiteY46" fmla="*/ 519113 h 707231"/>
                <a:gd name="connsiteX47" fmla="*/ 759618 w 1081087"/>
                <a:gd name="connsiteY47" fmla="*/ 528638 h 707231"/>
                <a:gd name="connsiteX48" fmla="*/ 721518 w 1081087"/>
                <a:gd name="connsiteY48" fmla="*/ 528638 h 707231"/>
                <a:gd name="connsiteX49" fmla="*/ 731043 w 1081087"/>
                <a:gd name="connsiteY49" fmla="*/ 542925 h 707231"/>
                <a:gd name="connsiteX50" fmla="*/ 766762 w 1081087"/>
                <a:gd name="connsiteY50" fmla="*/ 552450 h 707231"/>
                <a:gd name="connsiteX51" fmla="*/ 762000 w 1081087"/>
                <a:gd name="connsiteY51" fmla="*/ 573881 h 707231"/>
                <a:gd name="connsiteX52" fmla="*/ 754856 w 1081087"/>
                <a:gd name="connsiteY52" fmla="*/ 607219 h 707231"/>
                <a:gd name="connsiteX53" fmla="*/ 792956 w 1081087"/>
                <a:gd name="connsiteY53" fmla="*/ 566738 h 707231"/>
                <a:gd name="connsiteX54" fmla="*/ 802481 w 1081087"/>
                <a:gd name="connsiteY54" fmla="*/ 569119 h 707231"/>
                <a:gd name="connsiteX55" fmla="*/ 776287 w 1081087"/>
                <a:gd name="connsiteY55" fmla="*/ 611981 h 707231"/>
                <a:gd name="connsiteX56" fmla="*/ 757237 w 1081087"/>
                <a:gd name="connsiteY56" fmla="*/ 640556 h 707231"/>
                <a:gd name="connsiteX57" fmla="*/ 733425 w 1081087"/>
                <a:gd name="connsiteY57" fmla="*/ 659606 h 707231"/>
                <a:gd name="connsiteX58" fmla="*/ 704850 w 1081087"/>
                <a:gd name="connsiteY58" fmla="*/ 647700 h 707231"/>
                <a:gd name="connsiteX59" fmla="*/ 657225 w 1081087"/>
                <a:gd name="connsiteY59" fmla="*/ 685800 h 707231"/>
                <a:gd name="connsiteX60" fmla="*/ 640556 w 1081087"/>
                <a:gd name="connsiteY60" fmla="*/ 707231 h 707231"/>
                <a:gd name="connsiteX61" fmla="*/ 611981 w 1081087"/>
                <a:gd name="connsiteY61" fmla="*/ 685800 h 707231"/>
                <a:gd name="connsiteX62" fmla="*/ 588168 w 1081087"/>
                <a:gd name="connsiteY62" fmla="*/ 657225 h 707231"/>
                <a:gd name="connsiteX63" fmla="*/ 564356 w 1081087"/>
                <a:gd name="connsiteY63" fmla="*/ 616744 h 707231"/>
                <a:gd name="connsiteX64" fmla="*/ 600075 w 1081087"/>
                <a:gd name="connsiteY64" fmla="*/ 578644 h 707231"/>
                <a:gd name="connsiteX65" fmla="*/ 578643 w 1081087"/>
                <a:gd name="connsiteY65" fmla="*/ 564356 h 707231"/>
                <a:gd name="connsiteX66" fmla="*/ 547687 w 1081087"/>
                <a:gd name="connsiteY66" fmla="*/ 547688 h 707231"/>
                <a:gd name="connsiteX67" fmla="*/ 554831 w 1081087"/>
                <a:gd name="connsiteY67" fmla="*/ 488156 h 707231"/>
                <a:gd name="connsiteX68" fmla="*/ 595312 w 1081087"/>
                <a:gd name="connsiteY68" fmla="*/ 481013 h 707231"/>
                <a:gd name="connsiteX69" fmla="*/ 569118 w 1081087"/>
                <a:gd name="connsiteY69" fmla="*/ 435769 h 707231"/>
                <a:gd name="connsiteX70" fmla="*/ 473868 w 1081087"/>
                <a:gd name="connsiteY70" fmla="*/ 440531 h 707231"/>
                <a:gd name="connsiteX71" fmla="*/ 447675 w 1081087"/>
                <a:gd name="connsiteY71" fmla="*/ 421481 h 707231"/>
                <a:gd name="connsiteX72" fmla="*/ 419100 w 1081087"/>
                <a:gd name="connsiteY72" fmla="*/ 497681 h 707231"/>
                <a:gd name="connsiteX73" fmla="*/ 302418 w 1081087"/>
                <a:gd name="connsiteY73" fmla="*/ 428625 h 707231"/>
                <a:gd name="connsiteX74" fmla="*/ 254793 w 1081087"/>
                <a:gd name="connsiteY74" fmla="*/ 500063 h 707231"/>
                <a:gd name="connsiteX75" fmla="*/ 230981 w 1081087"/>
                <a:gd name="connsiteY75" fmla="*/ 500063 h 707231"/>
                <a:gd name="connsiteX76" fmla="*/ 183356 w 1081087"/>
                <a:gd name="connsiteY76" fmla="*/ 516731 h 707231"/>
                <a:gd name="connsiteX77" fmla="*/ 188118 w 1081087"/>
                <a:gd name="connsiteY77" fmla="*/ 540544 h 707231"/>
                <a:gd name="connsiteX78" fmla="*/ 138112 w 1081087"/>
                <a:gd name="connsiteY78" fmla="*/ 559594 h 707231"/>
                <a:gd name="connsiteX79" fmla="*/ 66675 w 1081087"/>
                <a:gd name="connsiteY79" fmla="*/ 478631 h 707231"/>
                <a:gd name="connsiteX80" fmla="*/ 66675 w 1081087"/>
                <a:gd name="connsiteY80" fmla="*/ 442913 h 707231"/>
                <a:gd name="connsiteX81" fmla="*/ 78581 w 1081087"/>
                <a:gd name="connsiteY81" fmla="*/ 402431 h 707231"/>
                <a:gd name="connsiteX82" fmla="*/ 78581 w 1081087"/>
                <a:gd name="connsiteY82" fmla="*/ 364331 h 707231"/>
                <a:gd name="connsiteX83" fmla="*/ 30956 w 1081087"/>
                <a:gd name="connsiteY83" fmla="*/ 371475 h 707231"/>
                <a:gd name="connsiteX84" fmla="*/ 23812 w 1081087"/>
                <a:gd name="connsiteY84" fmla="*/ 350044 h 707231"/>
                <a:gd name="connsiteX85" fmla="*/ 0 w 1081087"/>
                <a:gd name="connsiteY85" fmla="*/ 314325 h 707231"/>
                <a:gd name="connsiteX86" fmla="*/ 19050 w 1081087"/>
                <a:gd name="connsiteY86" fmla="*/ 283369 h 707231"/>
                <a:gd name="connsiteX0" fmla="*/ 19050 w 1081087"/>
                <a:gd name="connsiteY0" fmla="*/ 283369 h 707231"/>
                <a:gd name="connsiteX1" fmla="*/ 295275 w 1081087"/>
                <a:gd name="connsiteY1" fmla="*/ 297656 h 707231"/>
                <a:gd name="connsiteX2" fmla="*/ 323850 w 1081087"/>
                <a:gd name="connsiteY2" fmla="*/ 264319 h 707231"/>
                <a:gd name="connsiteX3" fmla="*/ 340518 w 1081087"/>
                <a:gd name="connsiteY3" fmla="*/ 230981 h 707231"/>
                <a:gd name="connsiteX4" fmla="*/ 359568 w 1081087"/>
                <a:gd name="connsiteY4" fmla="*/ 214313 h 707231"/>
                <a:gd name="connsiteX5" fmla="*/ 419100 w 1081087"/>
                <a:gd name="connsiteY5" fmla="*/ 238125 h 707231"/>
                <a:gd name="connsiteX6" fmla="*/ 414337 w 1081087"/>
                <a:gd name="connsiteY6" fmla="*/ 145256 h 707231"/>
                <a:gd name="connsiteX7" fmla="*/ 461962 w 1081087"/>
                <a:gd name="connsiteY7" fmla="*/ 104775 h 707231"/>
                <a:gd name="connsiteX8" fmla="*/ 557212 w 1081087"/>
                <a:gd name="connsiteY8" fmla="*/ 130969 h 707231"/>
                <a:gd name="connsiteX9" fmla="*/ 563167 w 1081087"/>
                <a:gd name="connsiteY9" fmla="*/ 74258 h 707231"/>
                <a:gd name="connsiteX10" fmla="*/ 600075 w 1081087"/>
                <a:gd name="connsiteY10" fmla="*/ 40481 h 707231"/>
                <a:gd name="connsiteX11" fmla="*/ 631031 w 1081087"/>
                <a:gd name="connsiteY11" fmla="*/ 33338 h 707231"/>
                <a:gd name="connsiteX12" fmla="*/ 716756 w 1081087"/>
                <a:gd name="connsiteY12" fmla="*/ 0 h 707231"/>
                <a:gd name="connsiteX13" fmla="*/ 795337 w 1081087"/>
                <a:gd name="connsiteY13" fmla="*/ 38100 h 707231"/>
                <a:gd name="connsiteX14" fmla="*/ 828675 w 1081087"/>
                <a:gd name="connsiteY14" fmla="*/ 30956 h 707231"/>
                <a:gd name="connsiteX15" fmla="*/ 831056 w 1081087"/>
                <a:gd name="connsiteY15" fmla="*/ 88106 h 707231"/>
                <a:gd name="connsiteX16" fmla="*/ 773906 w 1081087"/>
                <a:gd name="connsiteY16" fmla="*/ 111919 h 707231"/>
                <a:gd name="connsiteX17" fmla="*/ 790575 w 1081087"/>
                <a:gd name="connsiteY17" fmla="*/ 133350 h 707231"/>
                <a:gd name="connsiteX18" fmla="*/ 821531 w 1081087"/>
                <a:gd name="connsiteY18" fmla="*/ 121444 h 707231"/>
                <a:gd name="connsiteX19" fmla="*/ 835551 w 1081087"/>
                <a:gd name="connsiteY19" fmla="*/ 114384 h 707231"/>
                <a:gd name="connsiteX20" fmla="*/ 864661 w 1081087"/>
                <a:gd name="connsiteY20" fmla="*/ 264657 h 707231"/>
                <a:gd name="connsiteX21" fmla="*/ 823912 w 1081087"/>
                <a:gd name="connsiteY21" fmla="*/ 211931 h 707231"/>
                <a:gd name="connsiteX22" fmla="*/ 821531 w 1081087"/>
                <a:gd name="connsiteY22" fmla="*/ 230981 h 707231"/>
                <a:gd name="connsiteX23" fmla="*/ 838200 w 1081087"/>
                <a:gd name="connsiteY23" fmla="*/ 283369 h 707231"/>
                <a:gd name="connsiteX24" fmla="*/ 869156 w 1081087"/>
                <a:gd name="connsiteY24" fmla="*/ 307181 h 707231"/>
                <a:gd name="connsiteX25" fmla="*/ 897328 w 1081087"/>
                <a:gd name="connsiteY25" fmla="*/ 316623 h 707231"/>
                <a:gd name="connsiteX26" fmla="*/ 933450 w 1081087"/>
                <a:gd name="connsiteY26" fmla="*/ 340519 h 707231"/>
                <a:gd name="connsiteX27" fmla="*/ 981075 w 1081087"/>
                <a:gd name="connsiteY27" fmla="*/ 352538 h 707231"/>
                <a:gd name="connsiteX28" fmla="*/ 993025 w 1081087"/>
                <a:gd name="connsiteY28" fmla="*/ 326344 h 707231"/>
                <a:gd name="connsiteX29" fmla="*/ 1036020 w 1081087"/>
                <a:gd name="connsiteY29" fmla="*/ 304800 h 707231"/>
                <a:gd name="connsiteX30" fmla="*/ 1047750 w 1081087"/>
                <a:gd name="connsiteY30" fmla="*/ 345281 h 707231"/>
                <a:gd name="connsiteX31" fmla="*/ 1073943 w 1081087"/>
                <a:gd name="connsiteY31" fmla="*/ 345281 h 707231"/>
                <a:gd name="connsiteX32" fmla="*/ 1081087 w 1081087"/>
                <a:gd name="connsiteY32" fmla="*/ 366713 h 707231"/>
                <a:gd name="connsiteX33" fmla="*/ 1081087 w 1081087"/>
                <a:gd name="connsiteY33" fmla="*/ 366713 h 707231"/>
                <a:gd name="connsiteX34" fmla="*/ 1050131 w 1081087"/>
                <a:gd name="connsiteY34" fmla="*/ 400050 h 707231"/>
                <a:gd name="connsiteX35" fmla="*/ 1035843 w 1081087"/>
                <a:gd name="connsiteY35" fmla="*/ 421481 h 707231"/>
                <a:gd name="connsiteX36" fmla="*/ 1023937 w 1081087"/>
                <a:gd name="connsiteY36" fmla="*/ 457200 h 707231"/>
                <a:gd name="connsiteX37" fmla="*/ 1000125 w 1081087"/>
                <a:gd name="connsiteY37" fmla="*/ 457200 h 707231"/>
                <a:gd name="connsiteX38" fmla="*/ 1002506 w 1081087"/>
                <a:gd name="connsiteY38" fmla="*/ 431006 h 707231"/>
                <a:gd name="connsiteX39" fmla="*/ 981075 w 1081087"/>
                <a:gd name="connsiteY39" fmla="*/ 431006 h 707231"/>
                <a:gd name="connsiteX40" fmla="*/ 966787 w 1081087"/>
                <a:gd name="connsiteY40" fmla="*/ 457200 h 707231"/>
                <a:gd name="connsiteX41" fmla="*/ 957262 w 1081087"/>
                <a:gd name="connsiteY41" fmla="*/ 481013 h 707231"/>
                <a:gd name="connsiteX42" fmla="*/ 938212 w 1081087"/>
                <a:gd name="connsiteY42" fmla="*/ 483394 h 707231"/>
                <a:gd name="connsiteX43" fmla="*/ 895350 w 1081087"/>
                <a:gd name="connsiteY43" fmla="*/ 488156 h 707231"/>
                <a:gd name="connsiteX44" fmla="*/ 885825 w 1081087"/>
                <a:gd name="connsiteY44" fmla="*/ 490538 h 707231"/>
                <a:gd name="connsiteX45" fmla="*/ 857250 w 1081087"/>
                <a:gd name="connsiteY45" fmla="*/ 504825 h 707231"/>
                <a:gd name="connsiteX46" fmla="*/ 833437 w 1081087"/>
                <a:gd name="connsiteY46" fmla="*/ 500063 h 707231"/>
                <a:gd name="connsiteX47" fmla="*/ 797718 w 1081087"/>
                <a:gd name="connsiteY47" fmla="*/ 519113 h 707231"/>
                <a:gd name="connsiteX48" fmla="*/ 759618 w 1081087"/>
                <a:gd name="connsiteY48" fmla="*/ 528638 h 707231"/>
                <a:gd name="connsiteX49" fmla="*/ 721518 w 1081087"/>
                <a:gd name="connsiteY49" fmla="*/ 528638 h 707231"/>
                <a:gd name="connsiteX50" fmla="*/ 731043 w 1081087"/>
                <a:gd name="connsiteY50" fmla="*/ 542925 h 707231"/>
                <a:gd name="connsiteX51" fmla="*/ 766762 w 1081087"/>
                <a:gd name="connsiteY51" fmla="*/ 552450 h 707231"/>
                <a:gd name="connsiteX52" fmla="*/ 762000 w 1081087"/>
                <a:gd name="connsiteY52" fmla="*/ 573881 h 707231"/>
                <a:gd name="connsiteX53" fmla="*/ 754856 w 1081087"/>
                <a:gd name="connsiteY53" fmla="*/ 607219 h 707231"/>
                <a:gd name="connsiteX54" fmla="*/ 792956 w 1081087"/>
                <a:gd name="connsiteY54" fmla="*/ 566738 h 707231"/>
                <a:gd name="connsiteX55" fmla="*/ 802481 w 1081087"/>
                <a:gd name="connsiteY55" fmla="*/ 569119 h 707231"/>
                <a:gd name="connsiteX56" fmla="*/ 776287 w 1081087"/>
                <a:gd name="connsiteY56" fmla="*/ 611981 h 707231"/>
                <a:gd name="connsiteX57" fmla="*/ 757237 w 1081087"/>
                <a:gd name="connsiteY57" fmla="*/ 640556 h 707231"/>
                <a:gd name="connsiteX58" fmla="*/ 733425 w 1081087"/>
                <a:gd name="connsiteY58" fmla="*/ 659606 h 707231"/>
                <a:gd name="connsiteX59" fmla="*/ 704850 w 1081087"/>
                <a:gd name="connsiteY59" fmla="*/ 647700 h 707231"/>
                <a:gd name="connsiteX60" fmla="*/ 657225 w 1081087"/>
                <a:gd name="connsiteY60" fmla="*/ 685800 h 707231"/>
                <a:gd name="connsiteX61" fmla="*/ 640556 w 1081087"/>
                <a:gd name="connsiteY61" fmla="*/ 707231 h 707231"/>
                <a:gd name="connsiteX62" fmla="*/ 611981 w 1081087"/>
                <a:gd name="connsiteY62" fmla="*/ 685800 h 707231"/>
                <a:gd name="connsiteX63" fmla="*/ 588168 w 1081087"/>
                <a:gd name="connsiteY63" fmla="*/ 657225 h 707231"/>
                <a:gd name="connsiteX64" fmla="*/ 564356 w 1081087"/>
                <a:gd name="connsiteY64" fmla="*/ 616744 h 707231"/>
                <a:gd name="connsiteX65" fmla="*/ 600075 w 1081087"/>
                <a:gd name="connsiteY65" fmla="*/ 578644 h 707231"/>
                <a:gd name="connsiteX66" fmla="*/ 578643 w 1081087"/>
                <a:gd name="connsiteY66" fmla="*/ 564356 h 707231"/>
                <a:gd name="connsiteX67" fmla="*/ 547687 w 1081087"/>
                <a:gd name="connsiteY67" fmla="*/ 547688 h 707231"/>
                <a:gd name="connsiteX68" fmla="*/ 554831 w 1081087"/>
                <a:gd name="connsiteY68" fmla="*/ 488156 h 707231"/>
                <a:gd name="connsiteX69" fmla="*/ 595312 w 1081087"/>
                <a:gd name="connsiteY69" fmla="*/ 481013 h 707231"/>
                <a:gd name="connsiteX70" fmla="*/ 569118 w 1081087"/>
                <a:gd name="connsiteY70" fmla="*/ 435769 h 707231"/>
                <a:gd name="connsiteX71" fmla="*/ 473868 w 1081087"/>
                <a:gd name="connsiteY71" fmla="*/ 440531 h 707231"/>
                <a:gd name="connsiteX72" fmla="*/ 447675 w 1081087"/>
                <a:gd name="connsiteY72" fmla="*/ 421481 h 707231"/>
                <a:gd name="connsiteX73" fmla="*/ 419100 w 1081087"/>
                <a:gd name="connsiteY73" fmla="*/ 497681 h 707231"/>
                <a:gd name="connsiteX74" fmla="*/ 302418 w 1081087"/>
                <a:gd name="connsiteY74" fmla="*/ 428625 h 707231"/>
                <a:gd name="connsiteX75" fmla="*/ 254793 w 1081087"/>
                <a:gd name="connsiteY75" fmla="*/ 500063 h 707231"/>
                <a:gd name="connsiteX76" fmla="*/ 230981 w 1081087"/>
                <a:gd name="connsiteY76" fmla="*/ 500063 h 707231"/>
                <a:gd name="connsiteX77" fmla="*/ 183356 w 1081087"/>
                <a:gd name="connsiteY77" fmla="*/ 516731 h 707231"/>
                <a:gd name="connsiteX78" fmla="*/ 188118 w 1081087"/>
                <a:gd name="connsiteY78" fmla="*/ 540544 h 707231"/>
                <a:gd name="connsiteX79" fmla="*/ 138112 w 1081087"/>
                <a:gd name="connsiteY79" fmla="*/ 559594 h 707231"/>
                <a:gd name="connsiteX80" fmla="*/ 66675 w 1081087"/>
                <a:gd name="connsiteY80" fmla="*/ 478631 h 707231"/>
                <a:gd name="connsiteX81" fmla="*/ 66675 w 1081087"/>
                <a:gd name="connsiteY81" fmla="*/ 442913 h 707231"/>
                <a:gd name="connsiteX82" fmla="*/ 78581 w 1081087"/>
                <a:gd name="connsiteY82" fmla="*/ 402431 h 707231"/>
                <a:gd name="connsiteX83" fmla="*/ 78581 w 1081087"/>
                <a:gd name="connsiteY83" fmla="*/ 364331 h 707231"/>
                <a:gd name="connsiteX84" fmla="*/ 30956 w 1081087"/>
                <a:gd name="connsiteY84" fmla="*/ 371475 h 707231"/>
                <a:gd name="connsiteX85" fmla="*/ 23812 w 1081087"/>
                <a:gd name="connsiteY85" fmla="*/ 350044 h 707231"/>
                <a:gd name="connsiteX86" fmla="*/ 0 w 1081087"/>
                <a:gd name="connsiteY86" fmla="*/ 314325 h 707231"/>
                <a:gd name="connsiteX87" fmla="*/ 19050 w 1081087"/>
                <a:gd name="connsiteY87" fmla="*/ 283369 h 707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081087" h="707231">
                  <a:moveTo>
                    <a:pt x="19050" y="283369"/>
                  </a:moveTo>
                  <a:lnTo>
                    <a:pt x="295275" y="297656"/>
                  </a:lnTo>
                  <a:lnTo>
                    <a:pt x="323850" y="264319"/>
                  </a:lnTo>
                  <a:lnTo>
                    <a:pt x="340518" y="230981"/>
                  </a:lnTo>
                  <a:lnTo>
                    <a:pt x="359568" y="214313"/>
                  </a:lnTo>
                  <a:lnTo>
                    <a:pt x="419100" y="238125"/>
                  </a:lnTo>
                  <a:lnTo>
                    <a:pt x="414337" y="145256"/>
                  </a:lnTo>
                  <a:lnTo>
                    <a:pt x="461962" y="104775"/>
                  </a:lnTo>
                  <a:lnTo>
                    <a:pt x="557212" y="130969"/>
                  </a:lnTo>
                  <a:cubicBezTo>
                    <a:pt x="562313" y="115203"/>
                    <a:pt x="558066" y="90024"/>
                    <a:pt x="563167" y="74258"/>
                  </a:cubicBezTo>
                  <a:lnTo>
                    <a:pt x="600075" y="40481"/>
                  </a:lnTo>
                  <a:lnTo>
                    <a:pt x="631031" y="33338"/>
                  </a:lnTo>
                  <a:lnTo>
                    <a:pt x="716756" y="0"/>
                  </a:lnTo>
                  <a:lnTo>
                    <a:pt x="795337" y="38100"/>
                  </a:lnTo>
                  <a:lnTo>
                    <a:pt x="828675" y="30956"/>
                  </a:lnTo>
                  <a:cubicBezTo>
                    <a:pt x="829469" y="50006"/>
                    <a:pt x="830262" y="69056"/>
                    <a:pt x="831056" y="88106"/>
                  </a:cubicBezTo>
                  <a:lnTo>
                    <a:pt x="773906" y="111919"/>
                  </a:lnTo>
                  <a:lnTo>
                    <a:pt x="790575" y="133350"/>
                  </a:lnTo>
                  <a:cubicBezTo>
                    <a:pt x="800894" y="129381"/>
                    <a:pt x="814035" y="124605"/>
                    <a:pt x="821531" y="121444"/>
                  </a:cubicBezTo>
                  <a:cubicBezTo>
                    <a:pt x="829027" y="118283"/>
                    <a:pt x="828363" y="90515"/>
                    <a:pt x="835551" y="114384"/>
                  </a:cubicBezTo>
                  <a:cubicBezTo>
                    <a:pt x="842739" y="138253"/>
                    <a:pt x="854958" y="214566"/>
                    <a:pt x="864661" y="264657"/>
                  </a:cubicBezTo>
                  <a:lnTo>
                    <a:pt x="823912" y="211931"/>
                  </a:lnTo>
                  <a:lnTo>
                    <a:pt x="821531" y="230981"/>
                  </a:lnTo>
                  <a:lnTo>
                    <a:pt x="838200" y="283369"/>
                  </a:lnTo>
                  <a:lnTo>
                    <a:pt x="869156" y="307181"/>
                  </a:lnTo>
                  <a:cubicBezTo>
                    <a:pt x="878547" y="312682"/>
                    <a:pt x="887937" y="311122"/>
                    <a:pt x="897328" y="316623"/>
                  </a:cubicBezTo>
                  <a:lnTo>
                    <a:pt x="933450" y="340519"/>
                  </a:lnTo>
                  <a:lnTo>
                    <a:pt x="981075" y="352538"/>
                  </a:lnTo>
                  <a:lnTo>
                    <a:pt x="993025" y="326344"/>
                  </a:lnTo>
                  <a:lnTo>
                    <a:pt x="1036020" y="304800"/>
                  </a:lnTo>
                  <a:lnTo>
                    <a:pt x="1047750" y="345281"/>
                  </a:lnTo>
                  <a:lnTo>
                    <a:pt x="1073943" y="345281"/>
                  </a:lnTo>
                  <a:lnTo>
                    <a:pt x="1081087" y="366713"/>
                  </a:lnTo>
                  <a:lnTo>
                    <a:pt x="1081087" y="366713"/>
                  </a:lnTo>
                  <a:lnTo>
                    <a:pt x="1050131" y="400050"/>
                  </a:lnTo>
                  <a:lnTo>
                    <a:pt x="1035843" y="421481"/>
                  </a:lnTo>
                  <a:lnTo>
                    <a:pt x="1023937" y="457200"/>
                  </a:lnTo>
                  <a:lnTo>
                    <a:pt x="1000125" y="457200"/>
                  </a:lnTo>
                  <a:lnTo>
                    <a:pt x="1002506" y="431006"/>
                  </a:lnTo>
                  <a:lnTo>
                    <a:pt x="981075" y="431006"/>
                  </a:lnTo>
                  <a:lnTo>
                    <a:pt x="966787" y="457200"/>
                  </a:lnTo>
                  <a:lnTo>
                    <a:pt x="957262" y="481013"/>
                  </a:lnTo>
                  <a:lnTo>
                    <a:pt x="938212" y="483394"/>
                  </a:lnTo>
                  <a:lnTo>
                    <a:pt x="895350" y="488156"/>
                  </a:lnTo>
                  <a:lnTo>
                    <a:pt x="885825" y="490538"/>
                  </a:lnTo>
                  <a:lnTo>
                    <a:pt x="857250" y="504825"/>
                  </a:lnTo>
                  <a:lnTo>
                    <a:pt x="833437" y="500063"/>
                  </a:lnTo>
                  <a:lnTo>
                    <a:pt x="797718" y="519113"/>
                  </a:lnTo>
                  <a:lnTo>
                    <a:pt x="759618" y="528638"/>
                  </a:lnTo>
                  <a:lnTo>
                    <a:pt x="721518" y="528638"/>
                  </a:lnTo>
                  <a:lnTo>
                    <a:pt x="731043" y="542925"/>
                  </a:lnTo>
                  <a:lnTo>
                    <a:pt x="766762" y="552450"/>
                  </a:lnTo>
                  <a:lnTo>
                    <a:pt x="762000" y="573881"/>
                  </a:lnTo>
                  <a:lnTo>
                    <a:pt x="754856" y="607219"/>
                  </a:lnTo>
                  <a:lnTo>
                    <a:pt x="792956" y="566738"/>
                  </a:lnTo>
                  <a:lnTo>
                    <a:pt x="802481" y="569119"/>
                  </a:lnTo>
                  <a:lnTo>
                    <a:pt x="776287" y="611981"/>
                  </a:lnTo>
                  <a:lnTo>
                    <a:pt x="757237" y="640556"/>
                  </a:lnTo>
                  <a:lnTo>
                    <a:pt x="733425" y="659606"/>
                  </a:lnTo>
                  <a:lnTo>
                    <a:pt x="704850" y="647700"/>
                  </a:lnTo>
                  <a:lnTo>
                    <a:pt x="657225" y="685800"/>
                  </a:lnTo>
                  <a:lnTo>
                    <a:pt x="640556" y="707231"/>
                  </a:lnTo>
                  <a:lnTo>
                    <a:pt x="611981" y="685800"/>
                  </a:lnTo>
                  <a:lnTo>
                    <a:pt x="588168" y="657225"/>
                  </a:lnTo>
                  <a:lnTo>
                    <a:pt x="564356" y="616744"/>
                  </a:lnTo>
                  <a:lnTo>
                    <a:pt x="600075" y="578644"/>
                  </a:lnTo>
                  <a:lnTo>
                    <a:pt x="578643" y="564356"/>
                  </a:lnTo>
                  <a:lnTo>
                    <a:pt x="547687" y="547688"/>
                  </a:lnTo>
                  <a:lnTo>
                    <a:pt x="554831" y="488156"/>
                  </a:lnTo>
                  <a:lnTo>
                    <a:pt x="595312" y="481013"/>
                  </a:lnTo>
                  <a:lnTo>
                    <a:pt x="569118" y="435769"/>
                  </a:lnTo>
                  <a:lnTo>
                    <a:pt x="473868" y="440531"/>
                  </a:lnTo>
                  <a:lnTo>
                    <a:pt x="447675" y="421481"/>
                  </a:lnTo>
                  <a:lnTo>
                    <a:pt x="419100" y="497681"/>
                  </a:lnTo>
                  <a:lnTo>
                    <a:pt x="302418" y="428625"/>
                  </a:lnTo>
                  <a:lnTo>
                    <a:pt x="254793" y="500063"/>
                  </a:lnTo>
                  <a:lnTo>
                    <a:pt x="230981" y="500063"/>
                  </a:lnTo>
                  <a:lnTo>
                    <a:pt x="183356" y="516731"/>
                  </a:lnTo>
                  <a:lnTo>
                    <a:pt x="188118" y="540544"/>
                  </a:lnTo>
                  <a:lnTo>
                    <a:pt x="138112" y="559594"/>
                  </a:lnTo>
                  <a:lnTo>
                    <a:pt x="66675" y="478631"/>
                  </a:lnTo>
                  <a:lnTo>
                    <a:pt x="66675" y="442913"/>
                  </a:lnTo>
                  <a:lnTo>
                    <a:pt x="78581" y="402431"/>
                  </a:lnTo>
                  <a:lnTo>
                    <a:pt x="78581" y="364331"/>
                  </a:lnTo>
                  <a:lnTo>
                    <a:pt x="30956" y="371475"/>
                  </a:lnTo>
                  <a:lnTo>
                    <a:pt x="23812" y="350044"/>
                  </a:lnTo>
                  <a:cubicBezTo>
                    <a:pt x="22225" y="338931"/>
                    <a:pt x="1587" y="325438"/>
                    <a:pt x="0" y="314325"/>
                  </a:cubicBezTo>
                  <a:lnTo>
                    <a:pt x="19050" y="283369"/>
                  </a:lnTo>
                  <a:close/>
                </a:path>
              </a:pathLst>
            </a:custGeom>
            <a:solidFill>
              <a:schemeClr val="accent4">
                <a:lumMod val="90000"/>
              </a:schemeClr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70D3B4E6-22D7-406F-B717-A0C506F23F48}"/>
                </a:ext>
              </a:extLst>
            </p:cNvPr>
            <p:cNvSpPr/>
            <p:nvPr/>
          </p:nvSpPr>
          <p:spPr>
            <a:xfrm>
              <a:off x="9503569" y="2928938"/>
              <a:ext cx="735806" cy="973931"/>
            </a:xfrm>
            <a:custGeom>
              <a:avLst/>
              <a:gdLst>
                <a:gd name="connsiteX0" fmla="*/ 211931 w 735806"/>
                <a:gd name="connsiteY0" fmla="*/ 133350 h 973931"/>
                <a:gd name="connsiteX1" fmla="*/ 266700 w 735806"/>
                <a:gd name="connsiteY1" fmla="*/ 114300 h 973931"/>
                <a:gd name="connsiteX2" fmla="*/ 254794 w 735806"/>
                <a:gd name="connsiteY2" fmla="*/ 90487 h 973931"/>
                <a:gd name="connsiteX3" fmla="*/ 314325 w 735806"/>
                <a:gd name="connsiteY3" fmla="*/ 83343 h 973931"/>
                <a:gd name="connsiteX4" fmla="*/ 326231 w 735806"/>
                <a:gd name="connsiteY4" fmla="*/ 78581 h 973931"/>
                <a:gd name="connsiteX5" fmla="*/ 378619 w 735806"/>
                <a:gd name="connsiteY5" fmla="*/ 0 h 973931"/>
                <a:gd name="connsiteX6" fmla="*/ 492919 w 735806"/>
                <a:gd name="connsiteY6" fmla="*/ 71437 h 973931"/>
                <a:gd name="connsiteX7" fmla="*/ 521494 w 735806"/>
                <a:gd name="connsiteY7" fmla="*/ 4762 h 973931"/>
                <a:gd name="connsiteX8" fmla="*/ 550069 w 735806"/>
                <a:gd name="connsiteY8" fmla="*/ 11906 h 973931"/>
                <a:gd name="connsiteX9" fmla="*/ 654844 w 735806"/>
                <a:gd name="connsiteY9" fmla="*/ 11906 h 973931"/>
                <a:gd name="connsiteX10" fmla="*/ 676275 w 735806"/>
                <a:gd name="connsiteY10" fmla="*/ 66675 h 973931"/>
                <a:gd name="connsiteX11" fmla="*/ 628650 w 735806"/>
                <a:gd name="connsiteY11" fmla="*/ 64293 h 973931"/>
                <a:gd name="connsiteX12" fmla="*/ 621506 w 735806"/>
                <a:gd name="connsiteY12" fmla="*/ 116681 h 973931"/>
                <a:gd name="connsiteX13" fmla="*/ 681037 w 735806"/>
                <a:gd name="connsiteY13" fmla="*/ 157162 h 973931"/>
                <a:gd name="connsiteX14" fmla="*/ 645319 w 735806"/>
                <a:gd name="connsiteY14" fmla="*/ 190500 h 973931"/>
                <a:gd name="connsiteX15" fmla="*/ 676275 w 735806"/>
                <a:gd name="connsiteY15" fmla="*/ 264318 h 973931"/>
                <a:gd name="connsiteX16" fmla="*/ 719137 w 735806"/>
                <a:gd name="connsiteY16" fmla="*/ 288131 h 973931"/>
                <a:gd name="connsiteX17" fmla="*/ 702469 w 735806"/>
                <a:gd name="connsiteY17" fmla="*/ 323850 h 973931"/>
                <a:gd name="connsiteX18" fmla="*/ 716756 w 735806"/>
                <a:gd name="connsiteY18" fmla="*/ 347662 h 973931"/>
                <a:gd name="connsiteX19" fmla="*/ 735806 w 735806"/>
                <a:gd name="connsiteY19" fmla="*/ 354806 h 973931"/>
                <a:gd name="connsiteX20" fmla="*/ 714375 w 735806"/>
                <a:gd name="connsiteY20" fmla="*/ 378618 h 973931"/>
                <a:gd name="connsiteX21" fmla="*/ 683419 w 735806"/>
                <a:gd name="connsiteY21" fmla="*/ 357187 h 973931"/>
                <a:gd name="connsiteX22" fmla="*/ 711994 w 735806"/>
                <a:gd name="connsiteY22" fmla="*/ 397668 h 973931"/>
                <a:gd name="connsiteX23" fmla="*/ 683419 w 735806"/>
                <a:gd name="connsiteY23" fmla="*/ 419100 h 973931"/>
                <a:gd name="connsiteX24" fmla="*/ 657225 w 735806"/>
                <a:gd name="connsiteY24" fmla="*/ 385762 h 973931"/>
                <a:gd name="connsiteX25" fmla="*/ 669131 w 735806"/>
                <a:gd name="connsiteY25" fmla="*/ 421481 h 973931"/>
                <a:gd name="connsiteX26" fmla="*/ 650081 w 735806"/>
                <a:gd name="connsiteY26" fmla="*/ 440531 h 973931"/>
                <a:gd name="connsiteX27" fmla="*/ 650081 w 735806"/>
                <a:gd name="connsiteY27" fmla="*/ 481012 h 973931"/>
                <a:gd name="connsiteX28" fmla="*/ 659606 w 735806"/>
                <a:gd name="connsiteY28" fmla="*/ 504825 h 973931"/>
                <a:gd name="connsiteX29" fmla="*/ 652462 w 735806"/>
                <a:gd name="connsiteY29" fmla="*/ 521493 h 973931"/>
                <a:gd name="connsiteX30" fmla="*/ 623887 w 735806"/>
                <a:gd name="connsiteY30" fmla="*/ 538162 h 973931"/>
                <a:gd name="connsiteX31" fmla="*/ 576262 w 735806"/>
                <a:gd name="connsiteY31" fmla="*/ 542925 h 973931"/>
                <a:gd name="connsiteX32" fmla="*/ 559594 w 735806"/>
                <a:gd name="connsiteY32" fmla="*/ 571500 h 973931"/>
                <a:gd name="connsiteX33" fmla="*/ 550069 w 735806"/>
                <a:gd name="connsiteY33" fmla="*/ 595312 h 973931"/>
                <a:gd name="connsiteX34" fmla="*/ 621506 w 735806"/>
                <a:gd name="connsiteY34" fmla="*/ 697706 h 973931"/>
                <a:gd name="connsiteX35" fmla="*/ 561975 w 735806"/>
                <a:gd name="connsiteY35" fmla="*/ 738187 h 973931"/>
                <a:gd name="connsiteX36" fmla="*/ 535781 w 735806"/>
                <a:gd name="connsiteY36" fmla="*/ 731043 h 973931"/>
                <a:gd name="connsiteX37" fmla="*/ 526256 w 735806"/>
                <a:gd name="connsiteY37" fmla="*/ 731043 h 973931"/>
                <a:gd name="connsiteX38" fmla="*/ 531019 w 735806"/>
                <a:gd name="connsiteY38" fmla="*/ 769143 h 973931"/>
                <a:gd name="connsiteX39" fmla="*/ 554831 w 735806"/>
                <a:gd name="connsiteY39" fmla="*/ 783431 h 973931"/>
                <a:gd name="connsiteX40" fmla="*/ 538162 w 735806"/>
                <a:gd name="connsiteY40" fmla="*/ 819150 h 973931"/>
                <a:gd name="connsiteX41" fmla="*/ 540544 w 735806"/>
                <a:gd name="connsiteY41" fmla="*/ 833437 h 973931"/>
                <a:gd name="connsiteX42" fmla="*/ 288131 w 735806"/>
                <a:gd name="connsiteY42" fmla="*/ 971550 h 973931"/>
                <a:gd name="connsiteX43" fmla="*/ 273844 w 735806"/>
                <a:gd name="connsiteY43" fmla="*/ 973931 h 973931"/>
                <a:gd name="connsiteX44" fmla="*/ 264319 w 735806"/>
                <a:gd name="connsiteY44" fmla="*/ 914400 h 973931"/>
                <a:gd name="connsiteX45" fmla="*/ 142875 w 735806"/>
                <a:gd name="connsiteY45" fmla="*/ 914400 h 973931"/>
                <a:gd name="connsiteX46" fmla="*/ 142875 w 735806"/>
                <a:gd name="connsiteY46" fmla="*/ 771525 h 973931"/>
                <a:gd name="connsiteX47" fmla="*/ 157162 w 735806"/>
                <a:gd name="connsiteY47" fmla="*/ 745331 h 973931"/>
                <a:gd name="connsiteX48" fmla="*/ 171450 w 735806"/>
                <a:gd name="connsiteY48" fmla="*/ 695325 h 973931"/>
                <a:gd name="connsiteX49" fmla="*/ 133350 w 735806"/>
                <a:gd name="connsiteY49" fmla="*/ 697706 h 973931"/>
                <a:gd name="connsiteX50" fmla="*/ 138112 w 735806"/>
                <a:gd name="connsiteY50" fmla="*/ 645318 h 973931"/>
                <a:gd name="connsiteX51" fmla="*/ 92869 w 735806"/>
                <a:gd name="connsiteY51" fmla="*/ 645318 h 973931"/>
                <a:gd name="connsiteX52" fmla="*/ 71437 w 735806"/>
                <a:gd name="connsiteY52" fmla="*/ 659606 h 973931"/>
                <a:gd name="connsiteX53" fmla="*/ 76200 w 735806"/>
                <a:gd name="connsiteY53" fmla="*/ 642937 h 973931"/>
                <a:gd name="connsiteX54" fmla="*/ 30956 w 735806"/>
                <a:gd name="connsiteY54" fmla="*/ 659606 h 973931"/>
                <a:gd name="connsiteX55" fmla="*/ 16669 w 735806"/>
                <a:gd name="connsiteY55" fmla="*/ 614362 h 973931"/>
                <a:gd name="connsiteX56" fmla="*/ 35719 w 735806"/>
                <a:gd name="connsiteY56" fmla="*/ 542925 h 973931"/>
                <a:gd name="connsiteX57" fmla="*/ 97631 w 735806"/>
                <a:gd name="connsiteY57" fmla="*/ 540543 h 973931"/>
                <a:gd name="connsiteX58" fmla="*/ 0 w 735806"/>
                <a:gd name="connsiteY58" fmla="*/ 414337 h 973931"/>
                <a:gd name="connsiteX59" fmla="*/ 38100 w 735806"/>
                <a:gd name="connsiteY59" fmla="*/ 354806 h 973931"/>
                <a:gd name="connsiteX60" fmla="*/ 16669 w 735806"/>
                <a:gd name="connsiteY60" fmla="*/ 333375 h 973931"/>
                <a:gd name="connsiteX61" fmla="*/ 64294 w 735806"/>
                <a:gd name="connsiteY61" fmla="*/ 316706 h 973931"/>
                <a:gd name="connsiteX62" fmla="*/ 88106 w 735806"/>
                <a:gd name="connsiteY62" fmla="*/ 233362 h 973931"/>
                <a:gd name="connsiteX63" fmla="*/ 69056 w 735806"/>
                <a:gd name="connsiteY63" fmla="*/ 216693 h 973931"/>
                <a:gd name="connsiteX64" fmla="*/ 102394 w 735806"/>
                <a:gd name="connsiteY64" fmla="*/ 140493 h 973931"/>
                <a:gd name="connsiteX65" fmla="*/ 92869 w 735806"/>
                <a:gd name="connsiteY65" fmla="*/ 104775 h 973931"/>
                <a:gd name="connsiteX66" fmla="*/ 135731 w 735806"/>
                <a:gd name="connsiteY66" fmla="*/ 64293 h 973931"/>
                <a:gd name="connsiteX67" fmla="*/ 211931 w 735806"/>
                <a:gd name="connsiteY67" fmla="*/ 133350 h 973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735806" h="973931">
                  <a:moveTo>
                    <a:pt x="211931" y="133350"/>
                  </a:moveTo>
                  <a:lnTo>
                    <a:pt x="266700" y="114300"/>
                  </a:lnTo>
                  <a:lnTo>
                    <a:pt x="254794" y="90487"/>
                  </a:lnTo>
                  <a:lnTo>
                    <a:pt x="314325" y="83343"/>
                  </a:lnTo>
                  <a:lnTo>
                    <a:pt x="326231" y="78581"/>
                  </a:lnTo>
                  <a:lnTo>
                    <a:pt x="378619" y="0"/>
                  </a:lnTo>
                  <a:lnTo>
                    <a:pt x="492919" y="71437"/>
                  </a:lnTo>
                  <a:lnTo>
                    <a:pt x="521494" y="4762"/>
                  </a:lnTo>
                  <a:lnTo>
                    <a:pt x="550069" y="11906"/>
                  </a:lnTo>
                  <a:lnTo>
                    <a:pt x="654844" y="11906"/>
                  </a:lnTo>
                  <a:lnTo>
                    <a:pt x="676275" y="66675"/>
                  </a:lnTo>
                  <a:lnTo>
                    <a:pt x="628650" y="64293"/>
                  </a:lnTo>
                  <a:lnTo>
                    <a:pt x="621506" y="116681"/>
                  </a:lnTo>
                  <a:lnTo>
                    <a:pt x="681037" y="157162"/>
                  </a:lnTo>
                  <a:lnTo>
                    <a:pt x="645319" y="190500"/>
                  </a:lnTo>
                  <a:lnTo>
                    <a:pt x="676275" y="264318"/>
                  </a:lnTo>
                  <a:lnTo>
                    <a:pt x="719137" y="288131"/>
                  </a:lnTo>
                  <a:lnTo>
                    <a:pt x="702469" y="323850"/>
                  </a:lnTo>
                  <a:lnTo>
                    <a:pt x="716756" y="347662"/>
                  </a:lnTo>
                  <a:lnTo>
                    <a:pt x="735806" y="354806"/>
                  </a:lnTo>
                  <a:lnTo>
                    <a:pt x="714375" y="378618"/>
                  </a:lnTo>
                  <a:lnTo>
                    <a:pt x="683419" y="357187"/>
                  </a:lnTo>
                  <a:lnTo>
                    <a:pt x="711994" y="397668"/>
                  </a:lnTo>
                  <a:lnTo>
                    <a:pt x="683419" y="419100"/>
                  </a:lnTo>
                  <a:lnTo>
                    <a:pt x="657225" y="385762"/>
                  </a:lnTo>
                  <a:lnTo>
                    <a:pt x="669131" y="421481"/>
                  </a:lnTo>
                  <a:lnTo>
                    <a:pt x="650081" y="440531"/>
                  </a:lnTo>
                  <a:lnTo>
                    <a:pt x="650081" y="481012"/>
                  </a:lnTo>
                  <a:lnTo>
                    <a:pt x="659606" y="504825"/>
                  </a:lnTo>
                  <a:lnTo>
                    <a:pt x="652462" y="521493"/>
                  </a:lnTo>
                  <a:lnTo>
                    <a:pt x="623887" y="538162"/>
                  </a:lnTo>
                  <a:lnTo>
                    <a:pt x="576262" y="542925"/>
                  </a:lnTo>
                  <a:lnTo>
                    <a:pt x="559594" y="571500"/>
                  </a:lnTo>
                  <a:lnTo>
                    <a:pt x="550069" y="595312"/>
                  </a:lnTo>
                  <a:lnTo>
                    <a:pt x="621506" y="697706"/>
                  </a:lnTo>
                  <a:lnTo>
                    <a:pt x="561975" y="738187"/>
                  </a:lnTo>
                  <a:lnTo>
                    <a:pt x="535781" y="731043"/>
                  </a:lnTo>
                  <a:lnTo>
                    <a:pt x="526256" y="731043"/>
                  </a:lnTo>
                  <a:lnTo>
                    <a:pt x="531019" y="769143"/>
                  </a:lnTo>
                  <a:lnTo>
                    <a:pt x="554831" y="783431"/>
                  </a:lnTo>
                  <a:lnTo>
                    <a:pt x="538162" y="819150"/>
                  </a:lnTo>
                  <a:lnTo>
                    <a:pt x="540544" y="833437"/>
                  </a:lnTo>
                  <a:lnTo>
                    <a:pt x="288131" y="971550"/>
                  </a:lnTo>
                  <a:lnTo>
                    <a:pt x="273844" y="973931"/>
                  </a:lnTo>
                  <a:lnTo>
                    <a:pt x="264319" y="914400"/>
                  </a:lnTo>
                  <a:lnTo>
                    <a:pt x="142875" y="914400"/>
                  </a:lnTo>
                  <a:lnTo>
                    <a:pt x="142875" y="771525"/>
                  </a:lnTo>
                  <a:lnTo>
                    <a:pt x="157162" y="745331"/>
                  </a:lnTo>
                  <a:lnTo>
                    <a:pt x="171450" y="695325"/>
                  </a:lnTo>
                  <a:lnTo>
                    <a:pt x="133350" y="697706"/>
                  </a:lnTo>
                  <a:lnTo>
                    <a:pt x="138112" y="645318"/>
                  </a:lnTo>
                  <a:lnTo>
                    <a:pt x="92869" y="645318"/>
                  </a:lnTo>
                  <a:lnTo>
                    <a:pt x="71437" y="659606"/>
                  </a:lnTo>
                  <a:lnTo>
                    <a:pt x="76200" y="642937"/>
                  </a:lnTo>
                  <a:lnTo>
                    <a:pt x="30956" y="659606"/>
                  </a:lnTo>
                  <a:lnTo>
                    <a:pt x="16669" y="614362"/>
                  </a:lnTo>
                  <a:lnTo>
                    <a:pt x="35719" y="542925"/>
                  </a:lnTo>
                  <a:lnTo>
                    <a:pt x="97631" y="540543"/>
                  </a:lnTo>
                  <a:lnTo>
                    <a:pt x="0" y="414337"/>
                  </a:lnTo>
                  <a:lnTo>
                    <a:pt x="38100" y="354806"/>
                  </a:lnTo>
                  <a:lnTo>
                    <a:pt x="16669" y="333375"/>
                  </a:lnTo>
                  <a:lnTo>
                    <a:pt x="64294" y="316706"/>
                  </a:lnTo>
                  <a:lnTo>
                    <a:pt x="88106" y="233362"/>
                  </a:lnTo>
                  <a:lnTo>
                    <a:pt x="69056" y="216693"/>
                  </a:lnTo>
                  <a:lnTo>
                    <a:pt x="102394" y="140493"/>
                  </a:lnTo>
                  <a:lnTo>
                    <a:pt x="92869" y="104775"/>
                  </a:lnTo>
                  <a:lnTo>
                    <a:pt x="135731" y="64293"/>
                  </a:lnTo>
                  <a:lnTo>
                    <a:pt x="211931" y="13335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 w="9525" cap="rnd" cmpd="sng" algn="ctr">
              <a:solidFill>
                <a:srgbClr val="00269E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</p:grpSp>
      <p:sp>
        <p:nvSpPr>
          <p:cNvPr id="155" name="Oval 20">
            <a:extLst>
              <a:ext uri="{FF2B5EF4-FFF2-40B4-BE49-F238E27FC236}">
                <a16:creationId xmlns:a16="http://schemas.microsoft.com/office/drawing/2014/main" id="{E1C204DF-B1DE-48A6-8669-DF64B910F0F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86322" y="2375188"/>
            <a:ext cx="245528" cy="245528"/>
          </a:xfrm>
          <a:prstGeom prst="ellipse">
            <a:avLst/>
          </a:prstGeom>
          <a:solidFill>
            <a:srgbClr val="FFFF00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1</a:t>
            </a:r>
          </a:p>
        </p:txBody>
      </p:sp>
      <p:sp>
        <p:nvSpPr>
          <p:cNvPr id="156" name="Oval 20">
            <a:extLst>
              <a:ext uri="{FF2B5EF4-FFF2-40B4-BE49-F238E27FC236}">
                <a16:creationId xmlns:a16="http://schemas.microsoft.com/office/drawing/2014/main" id="{AC73CB6A-85E2-4C15-B5A5-0C277213F1D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20067" y="2375188"/>
            <a:ext cx="245528" cy="245528"/>
          </a:xfrm>
          <a:prstGeom prst="ellipse">
            <a:avLst/>
          </a:prstGeom>
          <a:solidFill>
            <a:srgbClr val="B9CAFF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2</a:t>
            </a:r>
          </a:p>
        </p:txBody>
      </p:sp>
      <p:sp>
        <p:nvSpPr>
          <p:cNvPr id="185" name="Oval 20">
            <a:extLst>
              <a:ext uri="{FF2B5EF4-FFF2-40B4-BE49-F238E27FC236}">
                <a16:creationId xmlns:a16="http://schemas.microsoft.com/office/drawing/2014/main" id="{9B383BA5-9D32-4114-B2DB-0B0AD4CED07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091990" y="2375188"/>
            <a:ext cx="245528" cy="245528"/>
          </a:xfrm>
          <a:prstGeom prst="ellipse">
            <a:avLst/>
          </a:prstGeom>
          <a:solidFill>
            <a:srgbClr val="FFC000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3</a:t>
            </a:r>
          </a:p>
        </p:txBody>
      </p:sp>
      <p:sp>
        <p:nvSpPr>
          <p:cNvPr id="186" name="Oval 20">
            <a:extLst>
              <a:ext uri="{FF2B5EF4-FFF2-40B4-BE49-F238E27FC236}">
                <a16:creationId xmlns:a16="http://schemas.microsoft.com/office/drawing/2014/main" id="{CA4842A0-25F2-4661-8F02-F94ACE93C4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754514" y="2375188"/>
            <a:ext cx="245528" cy="245528"/>
          </a:xfrm>
          <a:prstGeom prst="ellipse">
            <a:avLst/>
          </a:prstGeom>
          <a:solidFill>
            <a:srgbClr val="70B8FF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4</a:t>
            </a:r>
          </a:p>
        </p:txBody>
      </p:sp>
      <p:sp>
        <p:nvSpPr>
          <p:cNvPr id="187" name="Oval 20">
            <a:extLst>
              <a:ext uri="{FF2B5EF4-FFF2-40B4-BE49-F238E27FC236}">
                <a16:creationId xmlns:a16="http://schemas.microsoft.com/office/drawing/2014/main" id="{4D7FBE61-EA7B-4CD6-B429-C3431356A34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341867" y="3245025"/>
            <a:ext cx="245528" cy="245528"/>
          </a:xfrm>
          <a:prstGeom prst="ellipse">
            <a:avLst/>
          </a:prstGeom>
          <a:solidFill>
            <a:srgbClr val="DDF5D1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5</a:t>
            </a:r>
          </a:p>
        </p:txBody>
      </p:sp>
      <p:sp>
        <p:nvSpPr>
          <p:cNvPr id="188" name="Oval 20">
            <a:extLst>
              <a:ext uri="{FF2B5EF4-FFF2-40B4-BE49-F238E27FC236}">
                <a16:creationId xmlns:a16="http://schemas.microsoft.com/office/drawing/2014/main" id="{35DC54F2-0E5F-4FC6-8E96-187EE7B55F7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646967" y="3562869"/>
            <a:ext cx="245528" cy="245528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6</a:t>
            </a:r>
          </a:p>
        </p:txBody>
      </p:sp>
      <p:sp>
        <p:nvSpPr>
          <p:cNvPr id="189" name="Oval 20">
            <a:extLst>
              <a:ext uri="{FF2B5EF4-FFF2-40B4-BE49-F238E27FC236}">
                <a16:creationId xmlns:a16="http://schemas.microsoft.com/office/drawing/2014/main" id="{1FABA126-B0CC-49F2-B7A5-C206744C27F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1073511" y="4539858"/>
            <a:ext cx="245528" cy="245528"/>
          </a:xfrm>
          <a:prstGeom prst="ellipse">
            <a:avLst/>
          </a:prstGeom>
          <a:solidFill>
            <a:srgbClr val="FF7F7F"/>
          </a:solidFill>
          <a:ln w="7620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7620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00"/>
              <a:t>7</a:t>
            </a:r>
          </a:p>
        </p:txBody>
      </p:sp>
      <p:sp>
        <p:nvSpPr>
          <p:cNvPr id="193" name="Freeform: Shape 192">
            <a:extLst>
              <a:ext uri="{FF2B5EF4-FFF2-40B4-BE49-F238E27FC236}">
                <a16:creationId xmlns:a16="http://schemas.microsoft.com/office/drawing/2014/main" id="{18C2ACCA-A3F9-4F64-8D0D-C9591B50194F}"/>
              </a:ext>
            </a:extLst>
          </p:cNvPr>
          <p:cNvSpPr/>
          <p:nvPr/>
        </p:nvSpPr>
        <p:spPr>
          <a:xfrm>
            <a:off x="9792962" y="3531440"/>
            <a:ext cx="973931" cy="1250156"/>
          </a:xfrm>
          <a:custGeom>
            <a:avLst/>
            <a:gdLst>
              <a:gd name="connsiteX0" fmla="*/ 964406 w 973931"/>
              <a:gd name="connsiteY0" fmla="*/ 740569 h 1250156"/>
              <a:gd name="connsiteX1" fmla="*/ 919162 w 973931"/>
              <a:gd name="connsiteY1" fmla="*/ 790575 h 1250156"/>
              <a:gd name="connsiteX2" fmla="*/ 881062 w 973931"/>
              <a:gd name="connsiteY2" fmla="*/ 804863 h 1250156"/>
              <a:gd name="connsiteX3" fmla="*/ 859631 w 973931"/>
              <a:gd name="connsiteY3" fmla="*/ 814388 h 1250156"/>
              <a:gd name="connsiteX4" fmla="*/ 862012 w 973931"/>
              <a:gd name="connsiteY4" fmla="*/ 842963 h 1250156"/>
              <a:gd name="connsiteX5" fmla="*/ 852487 w 973931"/>
              <a:gd name="connsiteY5" fmla="*/ 847725 h 1250156"/>
              <a:gd name="connsiteX6" fmla="*/ 845343 w 973931"/>
              <a:gd name="connsiteY6" fmla="*/ 838200 h 1250156"/>
              <a:gd name="connsiteX7" fmla="*/ 831056 w 973931"/>
              <a:gd name="connsiteY7" fmla="*/ 835819 h 1250156"/>
              <a:gd name="connsiteX8" fmla="*/ 821531 w 973931"/>
              <a:gd name="connsiteY8" fmla="*/ 835819 h 1250156"/>
              <a:gd name="connsiteX9" fmla="*/ 828675 w 973931"/>
              <a:gd name="connsiteY9" fmla="*/ 862013 h 1250156"/>
              <a:gd name="connsiteX10" fmla="*/ 838200 w 973931"/>
              <a:gd name="connsiteY10" fmla="*/ 890588 h 1250156"/>
              <a:gd name="connsiteX11" fmla="*/ 826293 w 973931"/>
              <a:gd name="connsiteY11" fmla="*/ 907256 h 1250156"/>
              <a:gd name="connsiteX12" fmla="*/ 812006 w 973931"/>
              <a:gd name="connsiteY12" fmla="*/ 919163 h 1250156"/>
              <a:gd name="connsiteX13" fmla="*/ 809625 w 973931"/>
              <a:gd name="connsiteY13" fmla="*/ 895350 h 1250156"/>
              <a:gd name="connsiteX14" fmla="*/ 819150 w 973931"/>
              <a:gd name="connsiteY14" fmla="*/ 883444 h 1250156"/>
              <a:gd name="connsiteX15" fmla="*/ 816768 w 973931"/>
              <a:gd name="connsiteY15" fmla="*/ 876300 h 1250156"/>
              <a:gd name="connsiteX16" fmla="*/ 802481 w 973931"/>
              <a:gd name="connsiteY16" fmla="*/ 876300 h 1250156"/>
              <a:gd name="connsiteX17" fmla="*/ 788193 w 973931"/>
              <a:gd name="connsiteY17" fmla="*/ 871538 h 1250156"/>
              <a:gd name="connsiteX18" fmla="*/ 776287 w 973931"/>
              <a:gd name="connsiteY18" fmla="*/ 869156 h 1250156"/>
              <a:gd name="connsiteX19" fmla="*/ 773906 w 973931"/>
              <a:gd name="connsiteY19" fmla="*/ 862013 h 1250156"/>
              <a:gd name="connsiteX20" fmla="*/ 788193 w 973931"/>
              <a:gd name="connsiteY20" fmla="*/ 828675 h 1250156"/>
              <a:gd name="connsiteX21" fmla="*/ 773906 w 973931"/>
              <a:gd name="connsiteY21" fmla="*/ 823913 h 1250156"/>
              <a:gd name="connsiteX22" fmla="*/ 747712 w 973931"/>
              <a:gd name="connsiteY22" fmla="*/ 852488 h 1250156"/>
              <a:gd name="connsiteX23" fmla="*/ 752475 w 973931"/>
              <a:gd name="connsiteY23" fmla="*/ 873919 h 1250156"/>
              <a:gd name="connsiteX24" fmla="*/ 762000 w 973931"/>
              <a:gd name="connsiteY24" fmla="*/ 890588 h 1250156"/>
              <a:gd name="connsiteX25" fmla="*/ 757237 w 973931"/>
              <a:gd name="connsiteY25" fmla="*/ 914400 h 1250156"/>
              <a:gd name="connsiteX26" fmla="*/ 759618 w 973931"/>
              <a:gd name="connsiteY26" fmla="*/ 933450 h 1250156"/>
              <a:gd name="connsiteX27" fmla="*/ 747712 w 973931"/>
              <a:gd name="connsiteY27" fmla="*/ 942975 h 1250156"/>
              <a:gd name="connsiteX28" fmla="*/ 745331 w 973931"/>
              <a:gd name="connsiteY28" fmla="*/ 921544 h 1250156"/>
              <a:gd name="connsiteX29" fmla="*/ 728662 w 973931"/>
              <a:gd name="connsiteY29" fmla="*/ 907256 h 1250156"/>
              <a:gd name="connsiteX30" fmla="*/ 716756 w 973931"/>
              <a:gd name="connsiteY30" fmla="*/ 895350 h 1250156"/>
              <a:gd name="connsiteX31" fmla="*/ 709612 w 973931"/>
              <a:gd name="connsiteY31" fmla="*/ 895350 h 1250156"/>
              <a:gd name="connsiteX32" fmla="*/ 711993 w 973931"/>
              <a:gd name="connsiteY32" fmla="*/ 914400 h 1250156"/>
              <a:gd name="connsiteX33" fmla="*/ 721518 w 973931"/>
              <a:gd name="connsiteY33" fmla="*/ 938213 h 1250156"/>
              <a:gd name="connsiteX34" fmla="*/ 719137 w 973931"/>
              <a:gd name="connsiteY34" fmla="*/ 950119 h 1250156"/>
              <a:gd name="connsiteX35" fmla="*/ 716756 w 973931"/>
              <a:gd name="connsiteY35" fmla="*/ 973931 h 1250156"/>
              <a:gd name="connsiteX36" fmla="*/ 711993 w 973931"/>
              <a:gd name="connsiteY36" fmla="*/ 995363 h 1250156"/>
              <a:gd name="connsiteX37" fmla="*/ 700087 w 973931"/>
              <a:gd name="connsiteY37" fmla="*/ 995363 h 1250156"/>
              <a:gd name="connsiteX38" fmla="*/ 678656 w 973931"/>
              <a:gd name="connsiteY38" fmla="*/ 988219 h 1250156"/>
              <a:gd name="connsiteX39" fmla="*/ 664368 w 973931"/>
              <a:gd name="connsiteY39" fmla="*/ 985838 h 1250156"/>
              <a:gd name="connsiteX40" fmla="*/ 638175 w 973931"/>
              <a:gd name="connsiteY40" fmla="*/ 981075 h 1250156"/>
              <a:gd name="connsiteX41" fmla="*/ 647700 w 973931"/>
              <a:gd name="connsiteY41" fmla="*/ 1002506 h 1250156"/>
              <a:gd name="connsiteX42" fmla="*/ 661987 w 973931"/>
              <a:gd name="connsiteY42" fmla="*/ 1012031 h 1250156"/>
              <a:gd name="connsiteX43" fmla="*/ 671512 w 973931"/>
              <a:gd name="connsiteY43" fmla="*/ 1019175 h 1250156"/>
              <a:gd name="connsiteX44" fmla="*/ 664368 w 973931"/>
              <a:gd name="connsiteY44" fmla="*/ 1028700 h 1250156"/>
              <a:gd name="connsiteX45" fmla="*/ 657225 w 973931"/>
              <a:gd name="connsiteY45" fmla="*/ 1031081 h 1250156"/>
              <a:gd name="connsiteX46" fmla="*/ 640556 w 973931"/>
              <a:gd name="connsiteY46" fmla="*/ 1033463 h 1250156"/>
              <a:gd name="connsiteX47" fmla="*/ 626268 w 973931"/>
              <a:gd name="connsiteY47" fmla="*/ 1033463 h 1250156"/>
              <a:gd name="connsiteX48" fmla="*/ 614362 w 973931"/>
              <a:gd name="connsiteY48" fmla="*/ 1019175 h 1250156"/>
              <a:gd name="connsiteX49" fmla="*/ 604837 w 973931"/>
              <a:gd name="connsiteY49" fmla="*/ 1007269 h 1250156"/>
              <a:gd name="connsiteX50" fmla="*/ 592931 w 973931"/>
              <a:gd name="connsiteY50" fmla="*/ 997744 h 1250156"/>
              <a:gd name="connsiteX51" fmla="*/ 602456 w 973931"/>
              <a:gd name="connsiteY51" fmla="*/ 1028700 h 1250156"/>
              <a:gd name="connsiteX52" fmla="*/ 616743 w 973931"/>
              <a:gd name="connsiteY52" fmla="*/ 1062038 h 1250156"/>
              <a:gd name="connsiteX53" fmla="*/ 616743 w 973931"/>
              <a:gd name="connsiteY53" fmla="*/ 1092994 h 1250156"/>
              <a:gd name="connsiteX54" fmla="*/ 600075 w 973931"/>
              <a:gd name="connsiteY54" fmla="*/ 1112044 h 1250156"/>
              <a:gd name="connsiteX55" fmla="*/ 595312 w 973931"/>
              <a:gd name="connsiteY55" fmla="*/ 1062038 h 1250156"/>
              <a:gd name="connsiteX56" fmla="*/ 595312 w 973931"/>
              <a:gd name="connsiteY56" fmla="*/ 1062038 h 1250156"/>
              <a:gd name="connsiteX57" fmla="*/ 581025 w 973931"/>
              <a:gd name="connsiteY57" fmla="*/ 1026319 h 1250156"/>
              <a:gd name="connsiteX58" fmla="*/ 571500 w 973931"/>
              <a:gd name="connsiteY58" fmla="*/ 1019175 h 1250156"/>
              <a:gd name="connsiteX59" fmla="*/ 557212 w 973931"/>
              <a:gd name="connsiteY59" fmla="*/ 1016794 h 1250156"/>
              <a:gd name="connsiteX60" fmla="*/ 552450 w 973931"/>
              <a:gd name="connsiteY60" fmla="*/ 1014413 h 1250156"/>
              <a:gd name="connsiteX61" fmla="*/ 545306 w 973931"/>
              <a:gd name="connsiteY61" fmla="*/ 990600 h 1250156"/>
              <a:gd name="connsiteX62" fmla="*/ 545306 w 973931"/>
              <a:gd name="connsiteY62" fmla="*/ 971550 h 1250156"/>
              <a:gd name="connsiteX63" fmla="*/ 545306 w 973931"/>
              <a:gd name="connsiteY63" fmla="*/ 954881 h 1250156"/>
              <a:gd name="connsiteX64" fmla="*/ 540543 w 973931"/>
              <a:gd name="connsiteY64" fmla="*/ 950119 h 1250156"/>
              <a:gd name="connsiteX65" fmla="*/ 535781 w 973931"/>
              <a:gd name="connsiteY65" fmla="*/ 997744 h 1250156"/>
              <a:gd name="connsiteX66" fmla="*/ 540543 w 973931"/>
              <a:gd name="connsiteY66" fmla="*/ 1035844 h 1250156"/>
              <a:gd name="connsiteX67" fmla="*/ 561975 w 973931"/>
              <a:gd name="connsiteY67" fmla="*/ 1073944 h 1250156"/>
              <a:gd name="connsiteX68" fmla="*/ 561975 w 973931"/>
              <a:gd name="connsiteY68" fmla="*/ 1100138 h 1250156"/>
              <a:gd name="connsiteX69" fmla="*/ 538162 w 973931"/>
              <a:gd name="connsiteY69" fmla="*/ 1073944 h 1250156"/>
              <a:gd name="connsiteX70" fmla="*/ 533400 w 973931"/>
              <a:gd name="connsiteY70" fmla="*/ 1050131 h 1250156"/>
              <a:gd name="connsiteX71" fmla="*/ 519112 w 973931"/>
              <a:gd name="connsiteY71" fmla="*/ 1047750 h 1250156"/>
              <a:gd name="connsiteX72" fmla="*/ 519112 w 973931"/>
              <a:gd name="connsiteY72" fmla="*/ 1071563 h 1250156"/>
              <a:gd name="connsiteX73" fmla="*/ 519112 w 973931"/>
              <a:gd name="connsiteY73" fmla="*/ 1104900 h 1250156"/>
              <a:gd name="connsiteX74" fmla="*/ 502443 w 973931"/>
              <a:gd name="connsiteY74" fmla="*/ 1076325 h 1250156"/>
              <a:gd name="connsiteX75" fmla="*/ 488156 w 973931"/>
              <a:gd name="connsiteY75" fmla="*/ 1071563 h 1250156"/>
              <a:gd name="connsiteX76" fmla="*/ 490537 w 973931"/>
              <a:gd name="connsiteY76" fmla="*/ 1095375 h 1250156"/>
              <a:gd name="connsiteX77" fmla="*/ 507206 w 973931"/>
              <a:gd name="connsiteY77" fmla="*/ 1116806 h 1250156"/>
              <a:gd name="connsiteX78" fmla="*/ 519112 w 973931"/>
              <a:gd name="connsiteY78" fmla="*/ 1138238 h 1250156"/>
              <a:gd name="connsiteX79" fmla="*/ 523875 w 973931"/>
              <a:gd name="connsiteY79" fmla="*/ 1162050 h 1250156"/>
              <a:gd name="connsiteX80" fmla="*/ 504825 w 973931"/>
              <a:gd name="connsiteY80" fmla="*/ 1166813 h 1250156"/>
              <a:gd name="connsiteX81" fmla="*/ 497681 w 973931"/>
              <a:gd name="connsiteY81" fmla="*/ 1169194 h 1250156"/>
              <a:gd name="connsiteX82" fmla="*/ 495300 w 973931"/>
              <a:gd name="connsiteY82" fmla="*/ 1178719 h 1250156"/>
              <a:gd name="connsiteX83" fmla="*/ 492918 w 973931"/>
              <a:gd name="connsiteY83" fmla="*/ 1197769 h 1250156"/>
              <a:gd name="connsiteX84" fmla="*/ 476250 w 973931"/>
              <a:gd name="connsiteY84" fmla="*/ 1188244 h 1250156"/>
              <a:gd name="connsiteX85" fmla="*/ 464343 w 973931"/>
              <a:gd name="connsiteY85" fmla="*/ 1157288 h 1250156"/>
              <a:gd name="connsiteX86" fmla="*/ 438150 w 973931"/>
              <a:gd name="connsiteY86" fmla="*/ 1152525 h 1250156"/>
              <a:gd name="connsiteX87" fmla="*/ 459581 w 973931"/>
              <a:gd name="connsiteY87" fmla="*/ 1188244 h 1250156"/>
              <a:gd name="connsiteX88" fmla="*/ 464343 w 973931"/>
              <a:gd name="connsiteY88" fmla="*/ 1204913 h 1250156"/>
              <a:gd name="connsiteX89" fmla="*/ 440531 w 973931"/>
              <a:gd name="connsiteY89" fmla="*/ 1204913 h 1250156"/>
              <a:gd name="connsiteX90" fmla="*/ 433387 w 973931"/>
              <a:gd name="connsiteY90" fmla="*/ 1204913 h 1250156"/>
              <a:gd name="connsiteX91" fmla="*/ 421481 w 973931"/>
              <a:gd name="connsiteY91" fmla="*/ 1204913 h 1250156"/>
              <a:gd name="connsiteX92" fmla="*/ 411956 w 973931"/>
              <a:gd name="connsiteY92" fmla="*/ 1209675 h 1250156"/>
              <a:gd name="connsiteX93" fmla="*/ 404812 w 973931"/>
              <a:gd name="connsiteY93" fmla="*/ 1228725 h 1250156"/>
              <a:gd name="connsiteX94" fmla="*/ 397668 w 973931"/>
              <a:gd name="connsiteY94" fmla="*/ 1250156 h 1250156"/>
              <a:gd name="connsiteX95" fmla="*/ 385762 w 973931"/>
              <a:gd name="connsiteY95" fmla="*/ 1223963 h 1250156"/>
              <a:gd name="connsiteX96" fmla="*/ 364331 w 973931"/>
              <a:gd name="connsiteY96" fmla="*/ 1209675 h 1250156"/>
              <a:gd name="connsiteX97" fmla="*/ 340518 w 973931"/>
              <a:gd name="connsiteY97" fmla="*/ 1207294 h 1250156"/>
              <a:gd name="connsiteX98" fmla="*/ 347662 w 973931"/>
              <a:gd name="connsiteY98" fmla="*/ 1188244 h 1250156"/>
              <a:gd name="connsiteX99" fmla="*/ 373856 w 973931"/>
              <a:gd name="connsiteY99" fmla="*/ 1178719 h 1250156"/>
              <a:gd name="connsiteX100" fmla="*/ 388143 w 973931"/>
              <a:gd name="connsiteY100" fmla="*/ 1169194 h 1250156"/>
              <a:gd name="connsiteX101" fmla="*/ 378618 w 973931"/>
              <a:gd name="connsiteY101" fmla="*/ 1150144 h 1250156"/>
              <a:gd name="connsiteX102" fmla="*/ 373856 w 973931"/>
              <a:gd name="connsiteY102" fmla="*/ 1131094 h 1250156"/>
              <a:gd name="connsiteX103" fmla="*/ 364331 w 973931"/>
              <a:gd name="connsiteY103" fmla="*/ 1107281 h 1250156"/>
              <a:gd name="connsiteX104" fmla="*/ 364331 w 973931"/>
              <a:gd name="connsiteY104" fmla="*/ 1083469 h 1250156"/>
              <a:gd name="connsiteX105" fmla="*/ 359568 w 973931"/>
              <a:gd name="connsiteY105" fmla="*/ 1131094 h 1250156"/>
              <a:gd name="connsiteX106" fmla="*/ 369093 w 973931"/>
              <a:gd name="connsiteY106" fmla="*/ 1181100 h 1250156"/>
              <a:gd name="connsiteX107" fmla="*/ 338137 w 973931"/>
              <a:gd name="connsiteY107" fmla="*/ 1185863 h 1250156"/>
              <a:gd name="connsiteX108" fmla="*/ 328612 w 973931"/>
              <a:gd name="connsiteY108" fmla="*/ 1159669 h 1250156"/>
              <a:gd name="connsiteX109" fmla="*/ 307181 w 973931"/>
              <a:gd name="connsiteY109" fmla="*/ 1152525 h 1250156"/>
              <a:gd name="connsiteX110" fmla="*/ 323850 w 973931"/>
              <a:gd name="connsiteY110" fmla="*/ 1178719 h 1250156"/>
              <a:gd name="connsiteX111" fmla="*/ 330993 w 973931"/>
              <a:gd name="connsiteY111" fmla="*/ 1214438 h 1250156"/>
              <a:gd name="connsiteX112" fmla="*/ 311943 w 973931"/>
              <a:gd name="connsiteY112" fmla="*/ 1233488 h 1250156"/>
              <a:gd name="connsiteX113" fmla="*/ 295275 w 973931"/>
              <a:gd name="connsiteY113" fmla="*/ 1238250 h 1250156"/>
              <a:gd name="connsiteX114" fmla="*/ 292893 w 973931"/>
              <a:gd name="connsiteY114" fmla="*/ 1190625 h 1250156"/>
              <a:gd name="connsiteX115" fmla="*/ 300037 w 973931"/>
              <a:gd name="connsiteY115" fmla="*/ 1138238 h 1250156"/>
              <a:gd name="connsiteX116" fmla="*/ 285750 w 973931"/>
              <a:gd name="connsiteY116" fmla="*/ 1104900 h 1250156"/>
              <a:gd name="connsiteX117" fmla="*/ 285750 w 973931"/>
              <a:gd name="connsiteY117" fmla="*/ 1071563 h 1250156"/>
              <a:gd name="connsiteX118" fmla="*/ 276225 w 973931"/>
              <a:gd name="connsiteY118" fmla="*/ 1057275 h 1250156"/>
              <a:gd name="connsiteX119" fmla="*/ 276225 w 973931"/>
              <a:gd name="connsiteY119" fmla="*/ 1026319 h 1250156"/>
              <a:gd name="connsiteX120" fmla="*/ 283368 w 973931"/>
              <a:gd name="connsiteY120" fmla="*/ 1009650 h 1250156"/>
              <a:gd name="connsiteX121" fmla="*/ 295275 w 973931"/>
              <a:gd name="connsiteY121" fmla="*/ 971550 h 1250156"/>
              <a:gd name="connsiteX122" fmla="*/ 273843 w 973931"/>
              <a:gd name="connsiteY122" fmla="*/ 969169 h 1250156"/>
              <a:gd name="connsiteX123" fmla="*/ 242887 w 973931"/>
              <a:gd name="connsiteY123" fmla="*/ 966788 h 1250156"/>
              <a:gd name="connsiteX124" fmla="*/ 223837 w 973931"/>
              <a:gd name="connsiteY124" fmla="*/ 957263 h 1250156"/>
              <a:gd name="connsiteX125" fmla="*/ 209550 w 973931"/>
              <a:gd name="connsiteY125" fmla="*/ 942975 h 1250156"/>
              <a:gd name="connsiteX126" fmla="*/ 230981 w 973931"/>
              <a:gd name="connsiteY126" fmla="*/ 919163 h 1250156"/>
              <a:gd name="connsiteX127" fmla="*/ 261937 w 973931"/>
              <a:gd name="connsiteY127" fmla="*/ 900113 h 1250156"/>
              <a:gd name="connsiteX128" fmla="*/ 285750 w 973931"/>
              <a:gd name="connsiteY128" fmla="*/ 878681 h 1250156"/>
              <a:gd name="connsiteX129" fmla="*/ 309562 w 973931"/>
              <a:gd name="connsiteY129" fmla="*/ 828675 h 1250156"/>
              <a:gd name="connsiteX130" fmla="*/ 330993 w 973931"/>
              <a:gd name="connsiteY130" fmla="*/ 790575 h 1250156"/>
              <a:gd name="connsiteX131" fmla="*/ 323850 w 973931"/>
              <a:gd name="connsiteY131" fmla="*/ 762000 h 1250156"/>
              <a:gd name="connsiteX132" fmla="*/ 323850 w 973931"/>
              <a:gd name="connsiteY132" fmla="*/ 738188 h 1250156"/>
              <a:gd name="connsiteX133" fmla="*/ 323850 w 973931"/>
              <a:gd name="connsiteY133" fmla="*/ 723900 h 1250156"/>
              <a:gd name="connsiteX134" fmla="*/ 311943 w 973931"/>
              <a:gd name="connsiteY134" fmla="*/ 714375 h 1250156"/>
              <a:gd name="connsiteX135" fmla="*/ 302418 w 973931"/>
              <a:gd name="connsiteY135" fmla="*/ 742950 h 1250156"/>
              <a:gd name="connsiteX136" fmla="*/ 304800 w 973931"/>
              <a:gd name="connsiteY136" fmla="*/ 776288 h 1250156"/>
              <a:gd name="connsiteX137" fmla="*/ 290512 w 973931"/>
              <a:gd name="connsiteY137" fmla="*/ 826294 h 1250156"/>
              <a:gd name="connsiteX138" fmla="*/ 259556 w 973931"/>
              <a:gd name="connsiteY138" fmla="*/ 869156 h 1250156"/>
              <a:gd name="connsiteX139" fmla="*/ 228600 w 973931"/>
              <a:gd name="connsiteY139" fmla="*/ 900113 h 1250156"/>
              <a:gd name="connsiteX140" fmla="*/ 209550 w 973931"/>
              <a:gd name="connsiteY140" fmla="*/ 902494 h 1250156"/>
              <a:gd name="connsiteX141" fmla="*/ 200025 w 973931"/>
              <a:gd name="connsiteY141" fmla="*/ 900113 h 1250156"/>
              <a:gd name="connsiteX142" fmla="*/ 195262 w 973931"/>
              <a:gd name="connsiteY142" fmla="*/ 885825 h 1250156"/>
              <a:gd name="connsiteX143" fmla="*/ 195262 w 973931"/>
              <a:gd name="connsiteY143" fmla="*/ 876300 h 1250156"/>
              <a:gd name="connsiteX144" fmla="*/ 183356 w 973931"/>
              <a:gd name="connsiteY144" fmla="*/ 873919 h 1250156"/>
              <a:gd name="connsiteX145" fmla="*/ 180975 w 973931"/>
              <a:gd name="connsiteY145" fmla="*/ 888206 h 1250156"/>
              <a:gd name="connsiteX146" fmla="*/ 180975 w 973931"/>
              <a:gd name="connsiteY146" fmla="*/ 909638 h 1250156"/>
              <a:gd name="connsiteX147" fmla="*/ 164306 w 973931"/>
              <a:gd name="connsiteY147" fmla="*/ 902494 h 1250156"/>
              <a:gd name="connsiteX148" fmla="*/ 159543 w 973931"/>
              <a:gd name="connsiteY148" fmla="*/ 866775 h 1250156"/>
              <a:gd name="connsiteX149" fmla="*/ 138112 w 973931"/>
              <a:gd name="connsiteY149" fmla="*/ 850106 h 1250156"/>
              <a:gd name="connsiteX150" fmla="*/ 111918 w 973931"/>
              <a:gd name="connsiteY150" fmla="*/ 828675 h 1250156"/>
              <a:gd name="connsiteX151" fmla="*/ 83343 w 973931"/>
              <a:gd name="connsiteY151" fmla="*/ 804863 h 1250156"/>
              <a:gd name="connsiteX152" fmla="*/ 61912 w 973931"/>
              <a:gd name="connsiteY152" fmla="*/ 788194 h 1250156"/>
              <a:gd name="connsiteX153" fmla="*/ 42862 w 973931"/>
              <a:gd name="connsiteY153" fmla="*/ 747713 h 1250156"/>
              <a:gd name="connsiteX154" fmla="*/ 52387 w 973931"/>
              <a:gd name="connsiteY154" fmla="*/ 721519 h 1250156"/>
              <a:gd name="connsiteX155" fmla="*/ 61912 w 973931"/>
              <a:gd name="connsiteY155" fmla="*/ 688181 h 1250156"/>
              <a:gd name="connsiteX156" fmla="*/ 61912 w 973931"/>
              <a:gd name="connsiteY156" fmla="*/ 669131 h 1250156"/>
              <a:gd name="connsiteX157" fmla="*/ 59531 w 973931"/>
              <a:gd name="connsiteY157" fmla="*/ 640556 h 1250156"/>
              <a:gd name="connsiteX158" fmla="*/ 59531 w 973931"/>
              <a:gd name="connsiteY158" fmla="*/ 628650 h 1250156"/>
              <a:gd name="connsiteX159" fmla="*/ 59531 w 973931"/>
              <a:gd name="connsiteY159" fmla="*/ 614363 h 1250156"/>
              <a:gd name="connsiteX160" fmla="*/ 59531 w 973931"/>
              <a:gd name="connsiteY160" fmla="*/ 607219 h 1250156"/>
              <a:gd name="connsiteX161" fmla="*/ 33337 w 973931"/>
              <a:gd name="connsiteY161" fmla="*/ 616744 h 1250156"/>
              <a:gd name="connsiteX162" fmla="*/ 11906 w 973931"/>
              <a:gd name="connsiteY162" fmla="*/ 623888 h 1250156"/>
              <a:gd name="connsiteX163" fmla="*/ 0 w 973931"/>
              <a:gd name="connsiteY163" fmla="*/ 626269 h 1250156"/>
              <a:gd name="connsiteX164" fmla="*/ 0 w 973931"/>
              <a:gd name="connsiteY164" fmla="*/ 564356 h 1250156"/>
              <a:gd name="connsiteX165" fmla="*/ 2381 w 973931"/>
              <a:gd name="connsiteY165" fmla="*/ 507206 h 1250156"/>
              <a:gd name="connsiteX166" fmla="*/ 2381 w 973931"/>
              <a:gd name="connsiteY166" fmla="*/ 483394 h 1250156"/>
              <a:gd name="connsiteX167" fmla="*/ 19050 w 973931"/>
              <a:gd name="connsiteY167" fmla="*/ 473869 h 1250156"/>
              <a:gd name="connsiteX168" fmla="*/ 88106 w 973931"/>
              <a:gd name="connsiteY168" fmla="*/ 447675 h 1250156"/>
              <a:gd name="connsiteX169" fmla="*/ 154781 w 973931"/>
              <a:gd name="connsiteY169" fmla="*/ 419100 h 1250156"/>
              <a:gd name="connsiteX170" fmla="*/ 235743 w 973931"/>
              <a:gd name="connsiteY170" fmla="*/ 369094 h 1250156"/>
              <a:gd name="connsiteX171" fmla="*/ 269081 w 973931"/>
              <a:gd name="connsiteY171" fmla="*/ 350044 h 1250156"/>
              <a:gd name="connsiteX172" fmla="*/ 283368 w 973931"/>
              <a:gd name="connsiteY172" fmla="*/ 326231 h 1250156"/>
              <a:gd name="connsiteX173" fmla="*/ 285750 w 973931"/>
              <a:gd name="connsiteY173" fmla="*/ 295275 h 1250156"/>
              <a:gd name="connsiteX174" fmla="*/ 273843 w 973931"/>
              <a:gd name="connsiteY174" fmla="*/ 269081 h 1250156"/>
              <a:gd name="connsiteX175" fmla="*/ 264318 w 973931"/>
              <a:gd name="connsiteY175" fmla="*/ 247650 h 1250156"/>
              <a:gd name="connsiteX176" fmla="*/ 264318 w 973931"/>
              <a:gd name="connsiteY176" fmla="*/ 235744 h 1250156"/>
              <a:gd name="connsiteX177" fmla="*/ 302418 w 973931"/>
              <a:gd name="connsiteY177" fmla="*/ 230981 h 1250156"/>
              <a:gd name="connsiteX178" fmla="*/ 338137 w 973931"/>
              <a:gd name="connsiteY178" fmla="*/ 223838 h 1250156"/>
              <a:gd name="connsiteX179" fmla="*/ 361950 w 973931"/>
              <a:gd name="connsiteY179" fmla="*/ 209550 h 1250156"/>
              <a:gd name="connsiteX180" fmla="*/ 342900 w 973931"/>
              <a:gd name="connsiteY180" fmla="*/ 178594 h 1250156"/>
              <a:gd name="connsiteX181" fmla="*/ 297656 w 973931"/>
              <a:gd name="connsiteY181" fmla="*/ 119063 h 1250156"/>
              <a:gd name="connsiteX182" fmla="*/ 285750 w 973931"/>
              <a:gd name="connsiteY182" fmla="*/ 109538 h 1250156"/>
              <a:gd name="connsiteX183" fmla="*/ 290512 w 973931"/>
              <a:gd name="connsiteY183" fmla="*/ 88106 h 1250156"/>
              <a:gd name="connsiteX184" fmla="*/ 311943 w 973931"/>
              <a:gd name="connsiteY184" fmla="*/ 71438 h 1250156"/>
              <a:gd name="connsiteX185" fmla="*/ 311943 w 973931"/>
              <a:gd name="connsiteY185" fmla="*/ 54769 h 1250156"/>
              <a:gd name="connsiteX186" fmla="*/ 347662 w 973931"/>
              <a:gd name="connsiteY186" fmla="*/ 38100 h 1250156"/>
              <a:gd name="connsiteX187" fmla="*/ 361950 w 973931"/>
              <a:gd name="connsiteY187" fmla="*/ 42863 h 1250156"/>
              <a:gd name="connsiteX188" fmla="*/ 376237 w 973931"/>
              <a:gd name="connsiteY188" fmla="*/ 38100 h 1250156"/>
              <a:gd name="connsiteX189" fmla="*/ 383381 w 973931"/>
              <a:gd name="connsiteY189" fmla="*/ 26194 h 1250156"/>
              <a:gd name="connsiteX190" fmla="*/ 392906 w 973931"/>
              <a:gd name="connsiteY190" fmla="*/ 11906 h 1250156"/>
              <a:gd name="connsiteX191" fmla="*/ 397668 w 973931"/>
              <a:gd name="connsiteY191" fmla="*/ 0 h 1250156"/>
              <a:gd name="connsiteX192" fmla="*/ 404812 w 973931"/>
              <a:gd name="connsiteY192" fmla="*/ 4763 h 1250156"/>
              <a:gd name="connsiteX193" fmla="*/ 419100 w 973931"/>
              <a:gd name="connsiteY193" fmla="*/ 26194 h 1250156"/>
              <a:gd name="connsiteX194" fmla="*/ 440531 w 973931"/>
              <a:gd name="connsiteY194" fmla="*/ 42863 h 1250156"/>
              <a:gd name="connsiteX195" fmla="*/ 454818 w 973931"/>
              <a:gd name="connsiteY195" fmla="*/ 66675 h 1250156"/>
              <a:gd name="connsiteX196" fmla="*/ 461962 w 973931"/>
              <a:gd name="connsiteY196" fmla="*/ 90488 h 1250156"/>
              <a:gd name="connsiteX197" fmla="*/ 471487 w 973931"/>
              <a:gd name="connsiteY197" fmla="*/ 100013 h 1250156"/>
              <a:gd name="connsiteX198" fmla="*/ 490537 w 973931"/>
              <a:gd name="connsiteY198" fmla="*/ 90488 h 1250156"/>
              <a:gd name="connsiteX199" fmla="*/ 478631 w 973931"/>
              <a:gd name="connsiteY199" fmla="*/ 66675 h 1250156"/>
              <a:gd name="connsiteX200" fmla="*/ 490537 w 973931"/>
              <a:gd name="connsiteY200" fmla="*/ 57150 h 1250156"/>
              <a:gd name="connsiteX201" fmla="*/ 490537 w 973931"/>
              <a:gd name="connsiteY201" fmla="*/ 57150 h 1250156"/>
              <a:gd name="connsiteX202" fmla="*/ 516731 w 973931"/>
              <a:gd name="connsiteY202" fmla="*/ 52388 h 1250156"/>
              <a:gd name="connsiteX203" fmla="*/ 521493 w 973931"/>
              <a:gd name="connsiteY203" fmla="*/ 66675 h 1250156"/>
              <a:gd name="connsiteX204" fmla="*/ 516731 w 973931"/>
              <a:gd name="connsiteY204" fmla="*/ 95250 h 1250156"/>
              <a:gd name="connsiteX205" fmla="*/ 533400 w 973931"/>
              <a:gd name="connsiteY205" fmla="*/ 97631 h 1250156"/>
              <a:gd name="connsiteX206" fmla="*/ 533400 w 973931"/>
              <a:gd name="connsiteY206" fmla="*/ 57150 h 1250156"/>
              <a:gd name="connsiteX207" fmla="*/ 533400 w 973931"/>
              <a:gd name="connsiteY207" fmla="*/ 57150 h 1250156"/>
              <a:gd name="connsiteX208" fmla="*/ 561975 w 973931"/>
              <a:gd name="connsiteY208" fmla="*/ 57150 h 1250156"/>
              <a:gd name="connsiteX209" fmla="*/ 571500 w 973931"/>
              <a:gd name="connsiteY209" fmla="*/ 71438 h 1250156"/>
              <a:gd name="connsiteX210" fmla="*/ 573881 w 973931"/>
              <a:gd name="connsiteY210" fmla="*/ 35719 h 1250156"/>
              <a:gd name="connsiteX211" fmla="*/ 578643 w 973931"/>
              <a:gd name="connsiteY211" fmla="*/ 28575 h 1250156"/>
              <a:gd name="connsiteX212" fmla="*/ 604837 w 973931"/>
              <a:gd name="connsiteY212" fmla="*/ 38100 h 1250156"/>
              <a:gd name="connsiteX213" fmla="*/ 628650 w 973931"/>
              <a:gd name="connsiteY213" fmla="*/ 47625 h 1250156"/>
              <a:gd name="connsiteX214" fmla="*/ 657225 w 973931"/>
              <a:gd name="connsiteY214" fmla="*/ 52388 h 1250156"/>
              <a:gd name="connsiteX215" fmla="*/ 683418 w 973931"/>
              <a:gd name="connsiteY215" fmla="*/ 71438 h 1250156"/>
              <a:gd name="connsiteX216" fmla="*/ 711993 w 973931"/>
              <a:gd name="connsiteY216" fmla="*/ 78581 h 1250156"/>
              <a:gd name="connsiteX217" fmla="*/ 709612 w 973931"/>
              <a:gd name="connsiteY217" fmla="*/ 57150 h 1250156"/>
              <a:gd name="connsiteX218" fmla="*/ 728662 w 973931"/>
              <a:gd name="connsiteY218" fmla="*/ 92869 h 1250156"/>
              <a:gd name="connsiteX219" fmla="*/ 719137 w 973931"/>
              <a:gd name="connsiteY219" fmla="*/ 116681 h 1250156"/>
              <a:gd name="connsiteX220" fmla="*/ 757237 w 973931"/>
              <a:gd name="connsiteY220" fmla="*/ 135731 h 1250156"/>
              <a:gd name="connsiteX221" fmla="*/ 766762 w 973931"/>
              <a:gd name="connsiteY221" fmla="*/ 169069 h 1250156"/>
              <a:gd name="connsiteX222" fmla="*/ 754856 w 973931"/>
              <a:gd name="connsiteY222" fmla="*/ 188119 h 1250156"/>
              <a:gd name="connsiteX223" fmla="*/ 735806 w 973931"/>
              <a:gd name="connsiteY223" fmla="*/ 200025 h 1250156"/>
              <a:gd name="connsiteX224" fmla="*/ 735806 w 973931"/>
              <a:gd name="connsiteY224" fmla="*/ 200025 h 1250156"/>
              <a:gd name="connsiteX225" fmla="*/ 759618 w 973931"/>
              <a:gd name="connsiteY225" fmla="*/ 211931 h 1250156"/>
              <a:gd name="connsiteX226" fmla="*/ 781050 w 973931"/>
              <a:gd name="connsiteY226" fmla="*/ 221456 h 1250156"/>
              <a:gd name="connsiteX227" fmla="*/ 795337 w 973931"/>
              <a:gd name="connsiteY227" fmla="*/ 245269 h 1250156"/>
              <a:gd name="connsiteX228" fmla="*/ 814387 w 973931"/>
              <a:gd name="connsiteY228" fmla="*/ 271463 h 1250156"/>
              <a:gd name="connsiteX229" fmla="*/ 823912 w 973931"/>
              <a:gd name="connsiteY229" fmla="*/ 295275 h 1250156"/>
              <a:gd name="connsiteX230" fmla="*/ 835818 w 973931"/>
              <a:gd name="connsiteY230" fmla="*/ 316706 h 1250156"/>
              <a:gd name="connsiteX231" fmla="*/ 838200 w 973931"/>
              <a:gd name="connsiteY231" fmla="*/ 342900 h 1250156"/>
              <a:gd name="connsiteX232" fmla="*/ 842962 w 973931"/>
              <a:gd name="connsiteY232" fmla="*/ 366713 h 1250156"/>
              <a:gd name="connsiteX233" fmla="*/ 814387 w 973931"/>
              <a:gd name="connsiteY233" fmla="*/ 378619 h 1250156"/>
              <a:gd name="connsiteX234" fmla="*/ 807243 w 973931"/>
              <a:gd name="connsiteY234" fmla="*/ 409575 h 1250156"/>
              <a:gd name="connsiteX235" fmla="*/ 802481 w 973931"/>
              <a:gd name="connsiteY235" fmla="*/ 428625 h 1250156"/>
              <a:gd name="connsiteX236" fmla="*/ 802481 w 973931"/>
              <a:gd name="connsiteY236" fmla="*/ 442913 h 1250156"/>
              <a:gd name="connsiteX237" fmla="*/ 773906 w 973931"/>
              <a:gd name="connsiteY237" fmla="*/ 433388 h 1250156"/>
              <a:gd name="connsiteX238" fmla="*/ 762000 w 973931"/>
              <a:gd name="connsiteY238" fmla="*/ 440531 h 1250156"/>
              <a:gd name="connsiteX239" fmla="*/ 762000 w 973931"/>
              <a:gd name="connsiteY239" fmla="*/ 440531 h 1250156"/>
              <a:gd name="connsiteX240" fmla="*/ 778668 w 973931"/>
              <a:gd name="connsiteY240" fmla="*/ 473869 h 1250156"/>
              <a:gd name="connsiteX241" fmla="*/ 790575 w 973931"/>
              <a:gd name="connsiteY241" fmla="*/ 492919 h 1250156"/>
              <a:gd name="connsiteX242" fmla="*/ 809625 w 973931"/>
              <a:gd name="connsiteY242" fmla="*/ 509588 h 1250156"/>
              <a:gd name="connsiteX243" fmla="*/ 823912 w 973931"/>
              <a:gd name="connsiteY243" fmla="*/ 528638 h 1250156"/>
              <a:gd name="connsiteX244" fmla="*/ 847725 w 973931"/>
              <a:gd name="connsiteY244" fmla="*/ 535781 h 1250156"/>
              <a:gd name="connsiteX245" fmla="*/ 862012 w 973931"/>
              <a:gd name="connsiteY245" fmla="*/ 545306 h 1250156"/>
              <a:gd name="connsiteX246" fmla="*/ 883443 w 973931"/>
              <a:gd name="connsiteY246" fmla="*/ 545306 h 1250156"/>
              <a:gd name="connsiteX247" fmla="*/ 895350 w 973931"/>
              <a:gd name="connsiteY247" fmla="*/ 523875 h 1250156"/>
              <a:gd name="connsiteX248" fmla="*/ 916781 w 973931"/>
              <a:gd name="connsiteY248" fmla="*/ 526256 h 1250156"/>
              <a:gd name="connsiteX249" fmla="*/ 942975 w 973931"/>
              <a:gd name="connsiteY249" fmla="*/ 561975 h 1250156"/>
              <a:gd name="connsiteX250" fmla="*/ 959643 w 973931"/>
              <a:gd name="connsiteY250" fmla="*/ 578644 h 1250156"/>
              <a:gd name="connsiteX251" fmla="*/ 950118 w 973931"/>
              <a:gd name="connsiteY251" fmla="*/ 600075 h 1250156"/>
              <a:gd name="connsiteX252" fmla="*/ 962025 w 973931"/>
              <a:gd name="connsiteY252" fmla="*/ 633413 h 1250156"/>
              <a:gd name="connsiteX253" fmla="*/ 973931 w 973931"/>
              <a:gd name="connsiteY253" fmla="*/ 654844 h 1250156"/>
              <a:gd name="connsiteX254" fmla="*/ 964406 w 973931"/>
              <a:gd name="connsiteY254" fmla="*/ 740569 h 125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</a:cxnLst>
            <a:rect l="l" t="t" r="r" b="b"/>
            <a:pathLst>
              <a:path w="973931" h="1250156">
                <a:moveTo>
                  <a:pt x="964406" y="740569"/>
                </a:moveTo>
                <a:lnTo>
                  <a:pt x="919162" y="790575"/>
                </a:lnTo>
                <a:lnTo>
                  <a:pt x="881062" y="804863"/>
                </a:lnTo>
                <a:lnTo>
                  <a:pt x="859631" y="814388"/>
                </a:lnTo>
                <a:lnTo>
                  <a:pt x="862012" y="842963"/>
                </a:lnTo>
                <a:lnTo>
                  <a:pt x="852487" y="847725"/>
                </a:lnTo>
                <a:lnTo>
                  <a:pt x="845343" y="838200"/>
                </a:lnTo>
                <a:lnTo>
                  <a:pt x="831056" y="835819"/>
                </a:lnTo>
                <a:lnTo>
                  <a:pt x="821531" y="835819"/>
                </a:lnTo>
                <a:lnTo>
                  <a:pt x="828675" y="862013"/>
                </a:lnTo>
                <a:lnTo>
                  <a:pt x="838200" y="890588"/>
                </a:lnTo>
                <a:lnTo>
                  <a:pt x="826293" y="907256"/>
                </a:lnTo>
                <a:lnTo>
                  <a:pt x="812006" y="919163"/>
                </a:lnTo>
                <a:lnTo>
                  <a:pt x="809625" y="895350"/>
                </a:lnTo>
                <a:lnTo>
                  <a:pt x="819150" y="883444"/>
                </a:lnTo>
                <a:lnTo>
                  <a:pt x="816768" y="876300"/>
                </a:lnTo>
                <a:lnTo>
                  <a:pt x="802481" y="876300"/>
                </a:lnTo>
                <a:lnTo>
                  <a:pt x="788193" y="871538"/>
                </a:lnTo>
                <a:lnTo>
                  <a:pt x="776287" y="869156"/>
                </a:lnTo>
                <a:lnTo>
                  <a:pt x="773906" y="862013"/>
                </a:lnTo>
                <a:lnTo>
                  <a:pt x="788193" y="828675"/>
                </a:lnTo>
                <a:lnTo>
                  <a:pt x="773906" y="823913"/>
                </a:lnTo>
                <a:lnTo>
                  <a:pt x="747712" y="852488"/>
                </a:lnTo>
                <a:lnTo>
                  <a:pt x="752475" y="873919"/>
                </a:lnTo>
                <a:lnTo>
                  <a:pt x="762000" y="890588"/>
                </a:lnTo>
                <a:lnTo>
                  <a:pt x="757237" y="914400"/>
                </a:lnTo>
                <a:lnTo>
                  <a:pt x="759618" y="933450"/>
                </a:lnTo>
                <a:lnTo>
                  <a:pt x="747712" y="942975"/>
                </a:lnTo>
                <a:lnTo>
                  <a:pt x="745331" y="921544"/>
                </a:lnTo>
                <a:lnTo>
                  <a:pt x="728662" y="907256"/>
                </a:lnTo>
                <a:lnTo>
                  <a:pt x="716756" y="895350"/>
                </a:lnTo>
                <a:lnTo>
                  <a:pt x="709612" y="895350"/>
                </a:lnTo>
                <a:lnTo>
                  <a:pt x="711993" y="914400"/>
                </a:lnTo>
                <a:lnTo>
                  <a:pt x="721518" y="938213"/>
                </a:lnTo>
                <a:lnTo>
                  <a:pt x="719137" y="950119"/>
                </a:lnTo>
                <a:lnTo>
                  <a:pt x="716756" y="973931"/>
                </a:lnTo>
                <a:lnTo>
                  <a:pt x="711993" y="995363"/>
                </a:lnTo>
                <a:lnTo>
                  <a:pt x="700087" y="995363"/>
                </a:lnTo>
                <a:lnTo>
                  <a:pt x="678656" y="988219"/>
                </a:lnTo>
                <a:lnTo>
                  <a:pt x="664368" y="985838"/>
                </a:lnTo>
                <a:lnTo>
                  <a:pt x="638175" y="981075"/>
                </a:lnTo>
                <a:lnTo>
                  <a:pt x="647700" y="1002506"/>
                </a:lnTo>
                <a:lnTo>
                  <a:pt x="661987" y="1012031"/>
                </a:lnTo>
                <a:lnTo>
                  <a:pt x="671512" y="1019175"/>
                </a:lnTo>
                <a:lnTo>
                  <a:pt x="664368" y="1028700"/>
                </a:lnTo>
                <a:lnTo>
                  <a:pt x="657225" y="1031081"/>
                </a:lnTo>
                <a:lnTo>
                  <a:pt x="640556" y="1033463"/>
                </a:lnTo>
                <a:lnTo>
                  <a:pt x="626268" y="1033463"/>
                </a:lnTo>
                <a:lnTo>
                  <a:pt x="614362" y="1019175"/>
                </a:lnTo>
                <a:lnTo>
                  <a:pt x="604837" y="1007269"/>
                </a:lnTo>
                <a:lnTo>
                  <a:pt x="592931" y="997744"/>
                </a:lnTo>
                <a:lnTo>
                  <a:pt x="602456" y="1028700"/>
                </a:lnTo>
                <a:lnTo>
                  <a:pt x="616743" y="1062038"/>
                </a:lnTo>
                <a:lnTo>
                  <a:pt x="616743" y="1092994"/>
                </a:lnTo>
                <a:lnTo>
                  <a:pt x="600075" y="1112044"/>
                </a:lnTo>
                <a:lnTo>
                  <a:pt x="595312" y="1062038"/>
                </a:lnTo>
                <a:lnTo>
                  <a:pt x="595312" y="1062038"/>
                </a:lnTo>
                <a:lnTo>
                  <a:pt x="581025" y="1026319"/>
                </a:lnTo>
                <a:lnTo>
                  <a:pt x="571500" y="1019175"/>
                </a:lnTo>
                <a:lnTo>
                  <a:pt x="557212" y="1016794"/>
                </a:lnTo>
                <a:lnTo>
                  <a:pt x="552450" y="1014413"/>
                </a:lnTo>
                <a:lnTo>
                  <a:pt x="545306" y="990600"/>
                </a:lnTo>
                <a:lnTo>
                  <a:pt x="545306" y="971550"/>
                </a:lnTo>
                <a:lnTo>
                  <a:pt x="545306" y="954881"/>
                </a:lnTo>
                <a:lnTo>
                  <a:pt x="540543" y="950119"/>
                </a:lnTo>
                <a:lnTo>
                  <a:pt x="535781" y="997744"/>
                </a:lnTo>
                <a:lnTo>
                  <a:pt x="540543" y="1035844"/>
                </a:lnTo>
                <a:lnTo>
                  <a:pt x="561975" y="1073944"/>
                </a:lnTo>
                <a:lnTo>
                  <a:pt x="561975" y="1100138"/>
                </a:lnTo>
                <a:lnTo>
                  <a:pt x="538162" y="1073944"/>
                </a:lnTo>
                <a:lnTo>
                  <a:pt x="533400" y="1050131"/>
                </a:lnTo>
                <a:lnTo>
                  <a:pt x="519112" y="1047750"/>
                </a:lnTo>
                <a:lnTo>
                  <a:pt x="519112" y="1071563"/>
                </a:lnTo>
                <a:lnTo>
                  <a:pt x="519112" y="1104900"/>
                </a:lnTo>
                <a:lnTo>
                  <a:pt x="502443" y="1076325"/>
                </a:lnTo>
                <a:lnTo>
                  <a:pt x="488156" y="1071563"/>
                </a:lnTo>
                <a:lnTo>
                  <a:pt x="490537" y="1095375"/>
                </a:lnTo>
                <a:lnTo>
                  <a:pt x="507206" y="1116806"/>
                </a:lnTo>
                <a:lnTo>
                  <a:pt x="519112" y="1138238"/>
                </a:lnTo>
                <a:lnTo>
                  <a:pt x="523875" y="1162050"/>
                </a:lnTo>
                <a:lnTo>
                  <a:pt x="504825" y="1166813"/>
                </a:lnTo>
                <a:lnTo>
                  <a:pt x="497681" y="1169194"/>
                </a:lnTo>
                <a:lnTo>
                  <a:pt x="495300" y="1178719"/>
                </a:lnTo>
                <a:lnTo>
                  <a:pt x="492918" y="1197769"/>
                </a:lnTo>
                <a:lnTo>
                  <a:pt x="476250" y="1188244"/>
                </a:lnTo>
                <a:lnTo>
                  <a:pt x="464343" y="1157288"/>
                </a:lnTo>
                <a:lnTo>
                  <a:pt x="438150" y="1152525"/>
                </a:lnTo>
                <a:lnTo>
                  <a:pt x="459581" y="1188244"/>
                </a:lnTo>
                <a:lnTo>
                  <a:pt x="464343" y="1204913"/>
                </a:lnTo>
                <a:lnTo>
                  <a:pt x="440531" y="1204913"/>
                </a:lnTo>
                <a:lnTo>
                  <a:pt x="433387" y="1204913"/>
                </a:lnTo>
                <a:lnTo>
                  <a:pt x="421481" y="1204913"/>
                </a:lnTo>
                <a:lnTo>
                  <a:pt x="411956" y="1209675"/>
                </a:lnTo>
                <a:lnTo>
                  <a:pt x="404812" y="1228725"/>
                </a:lnTo>
                <a:lnTo>
                  <a:pt x="397668" y="1250156"/>
                </a:lnTo>
                <a:lnTo>
                  <a:pt x="385762" y="1223963"/>
                </a:lnTo>
                <a:lnTo>
                  <a:pt x="364331" y="1209675"/>
                </a:lnTo>
                <a:lnTo>
                  <a:pt x="340518" y="1207294"/>
                </a:lnTo>
                <a:lnTo>
                  <a:pt x="347662" y="1188244"/>
                </a:lnTo>
                <a:lnTo>
                  <a:pt x="373856" y="1178719"/>
                </a:lnTo>
                <a:lnTo>
                  <a:pt x="388143" y="1169194"/>
                </a:lnTo>
                <a:lnTo>
                  <a:pt x="378618" y="1150144"/>
                </a:lnTo>
                <a:lnTo>
                  <a:pt x="373856" y="1131094"/>
                </a:lnTo>
                <a:lnTo>
                  <a:pt x="364331" y="1107281"/>
                </a:lnTo>
                <a:lnTo>
                  <a:pt x="364331" y="1083469"/>
                </a:lnTo>
                <a:lnTo>
                  <a:pt x="359568" y="1131094"/>
                </a:lnTo>
                <a:lnTo>
                  <a:pt x="369093" y="1181100"/>
                </a:lnTo>
                <a:lnTo>
                  <a:pt x="338137" y="1185863"/>
                </a:lnTo>
                <a:lnTo>
                  <a:pt x="328612" y="1159669"/>
                </a:lnTo>
                <a:lnTo>
                  <a:pt x="307181" y="1152525"/>
                </a:lnTo>
                <a:lnTo>
                  <a:pt x="323850" y="1178719"/>
                </a:lnTo>
                <a:lnTo>
                  <a:pt x="330993" y="1214438"/>
                </a:lnTo>
                <a:lnTo>
                  <a:pt x="311943" y="1233488"/>
                </a:lnTo>
                <a:lnTo>
                  <a:pt x="295275" y="1238250"/>
                </a:lnTo>
                <a:lnTo>
                  <a:pt x="292893" y="1190625"/>
                </a:lnTo>
                <a:lnTo>
                  <a:pt x="300037" y="1138238"/>
                </a:lnTo>
                <a:lnTo>
                  <a:pt x="285750" y="1104900"/>
                </a:lnTo>
                <a:lnTo>
                  <a:pt x="285750" y="1071563"/>
                </a:lnTo>
                <a:lnTo>
                  <a:pt x="276225" y="1057275"/>
                </a:lnTo>
                <a:lnTo>
                  <a:pt x="276225" y="1026319"/>
                </a:lnTo>
                <a:lnTo>
                  <a:pt x="283368" y="1009650"/>
                </a:lnTo>
                <a:lnTo>
                  <a:pt x="295275" y="971550"/>
                </a:lnTo>
                <a:lnTo>
                  <a:pt x="273843" y="969169"/>
                </a:lnTo>
                <a:lnTo>
                  <a:pt x="242887" y="966788"/>
                </a:lnTo>
                <a:lnTo>
                  <a:pt x="223837" y="957263"/>
                </a:lnTo>
                <a:lnTo>
                  <a:pt x="209550" y="942975"/>
                </a:lnTo>
                <a:lnTo>
                  <a:pt x="230981" y="919163"/>
                </a:lnTo>
                <a:lnTo>
                  <a:pt x="261937" y="900113"/>
                </a:lnTo>
                <a:lnTo>
                  <a:pt x="285750" y="878681"/>
                </a:lnTo>
                <a:lnTo>
                  <a:pt x="309562" y="828675"/>
                </a:lnTo>
                <a:lnTo>
                  <a:pt x="330993" y="790575"/>
                </a:lnTo>
                <a:lnTo>
                  <a:pt x="323850" y="762000"/>
                </a:lnTo>
                <a:lnTo>
                  <a:pt x="323850" y="738188"/>
                </a:lnTo>
                <a:lnTo>
                  <a:pt x="323850" y="723900"/>
                </a:lnTo>
                <a:lnTo>
                  <a:pt x="311943" y="714375"/>
                </a:lnTo>
                <a:lnTo>
                  <a:pt x="302418" y="742950"/>
                </a:lnTo>
                <a:lnTo>
                  <a:pt x="304800" y="776288"/>
                </a:lnTo>
                <a:lnTo>
                  <a:pt x="290512" y="826294"/>
                </a:lnTo>
                <a:lnTo>
                  <a:pt x="259556" y="869156"/>
                </a:lnTo>
                <a:lnTo>
                  <a:pt x="228600" y="900113"/>
                </a:lnTo>
                <a:lnTo>
                  <a:pt x="209550" y="902494"/>
                </a:lnTo>
                <a:lnTo>
                  <a:pt x="200025" y="900113"/>
                </a:lnTo>
                <a:lnTo>
                  <a:pt x="195262" y="885825"/>
                </a:lnTo>
                <a:lnTo>
                  <a:pt x="195262" y="876300"/>
                </a:lnTo>
                <a:lnTo>
                  <a:pt x="183356" y="873919"/>
                </a:lnTo>
                <a:lnTo>
                  <a:pt x="180975" y="888206"/>
                </a:lnTo>
                <a:lnTo>
                  <a:pt x="180975" y="909638"/>
                </a:lnTo>
                <a:lnTo>
                  <a:pt x="164306" y="902494"/>
                </a:lnTo>
                <a:lnTo>
                  <a:pt x="159543" y="866775"/>
                </a:lnTo>
                <a:lnTo>
                  <a:pt x="138112" y="850106"/>
                </a:lnTo>
                <a:lnTo>
                  <a:pt x="111918" y="828675"/>
                </a:lnTo>
                <a:lnTo>
                  <a:pt x="83343" y="804863"/>
                </a:lnTo>
                <a:lnTo>
                  <a:pt x="61912" y="788194"/>
                </a:lnTo>
                <a:lnTo>
                  <a:pt x="42862" y="747713"/>
                </a:lnTo>
                <a:lnTo>
                  <a:pt x="52387" y="721519"/>
                </a:lnTo>
                <a:lnTo>
                  <a:pt x="61912" y="688181"/>
                </a:lnTo>
                <a:lnTo>
                  <a:pt x="61912" y="669131"/>
                </a:lnTo>
                <a:lnTo>
                  <a:pt x="59531" y="640556"/>
                </a:lnTo>
                <a:lnTo>
                  <a:pt x="59531" y="628650"/>
                </a:lnTo>
                <a:lnTo>
                  <a:pt x="59531" y="614363"/>
                </a:lnTo>
                <a:lnTo>
                  <a:pt x="59531" y="607219"/>
                </a:lnTo>
                <a:lnTo>
                  <a:pt x="33337" y="616744"/>
                </a:lnTo>
                <a:lnTo>
                  <a:pt x="11906" y="623888"/>
                </a:lnTo>
                <a:lnTo>
                  <a:pt x="0" y="626269"/>
                </a:lnTo>
                <a:lnTo>
                  <a:pt x="0" y="564356"/>
                </a:lnTo>
                <a:cubicBezTo>
                  <a:pt x="794" y="545306"/>
                  <a:pt x="1587" y="526256"/>
                  <a:pt x="2381" y="507206"/>
                </a:cubicBezTo>
                <a:lnTo>
                  <a:pt x="2381" y="483394"/>
                </a:lnTo>
                <a:lnTo>
                  <a:pt x="19050" y="473869"/>
                </a:lnTo>
                <a:lnTo>
                  <a:pt x="88106" y="447675"/>
                </a:lnTo>
                <a:lnTo>
                  <a:pt x="154781" y="419100"/>
                </a:lnTo>
                <a:lnTo>
                  <a:pt x="235743" y="369094"/>
                </a:lnTo>
                <a:lnTo>
                  <a:pt x="269081" y="350044"/>
                </a:lnTo>
                <a:lnTo>
                  <a:pt x="283368" y="326231"/>
                </a:lnTo>
                <a:lnTo>
                  <a:pt x="285750" y="295275"/>
                </a:lnTo>
                <a:lnTo>
                  <a:pt x="273843" y="269081"/>
                </a:lnTo>
                <a:lnTo>
                  <a:pt x="264318" y="247650"/>
                </a:lnTo>
                <a:lnTo>
                  <a:pt x="264318" y="235744"/>
                </a:lnTo>
                <a:lnTo>
                  <a:pt x="302418" y="230981"/>
                </a:lnTo>
                <a:lnTo>
                  <a:pt x="338137" y="223838"/>
                </a:lnTo>
                <a:lnTo>
                  <a:pt x="361950" y="209550"/>
                </a:lnTo>
                <a:lnTo>
                  <a:pt x="342900" y="178594"/>
                </a:lnTo>
                <a:lnTo>
                  <a:pt x="297656" y="119063"/>
                </a:lnTo>
                <a:lnTo>
                  <a:pt x="285750" y="109538"/>
                </a:lnTo>
                <a:lnTo>
                  <a:pt x="290512" y="88106"/>
                </a:lnTo>
                <a:lnTo>
                  <a:pt x="311943" y="71438"/>
                </a:lnTo>
                <a:lnTo>
                  <a:pt x="311943" y="54769"/>
                </a:lnTo>
                <a:lnTo>
                  <a:pt x="347662" y="38100"/>
                </a:lnTo>
                <a:lnTo>
                  <a:pt x="361950" y="42863"/>
                </a:lnTo>
                <a:lnTo>
                  <a:pt x="376237" y="38100"/>
                </a:lnTo>
                <a:lnTo>
                  <a:pt x="383381" y="26194"/>
                </a:lnTo>
                <a:lnTo>
                  <a:pt x="392906" y="11906"/>
                </a:lnTo>
                <a:lnTo>
                  <a:pt x="397668" y="0"/>
                </a:lnTo>
                <a:lnTo>
                  <a:pt x="404812" y="4763"/>
                </a:lnTo>
                <a:lnTo>
                  <a:pt x="419100" y="26194"/>
                </a:lnTo>
                <a:lnTo>
                  <a:pt x="440531" y="42863"/>
                </a:lnTo>
                <a:lnTo>
                  <a:pt x="454818" y="66675"/>
                </a:lnTo>
                <a:lnTo>
                  <a:pt x="461962" y="90488"/>
                </a:lnTo>
                <a:lnTo>
                  <a:pt x="471487" y="100013"/>
                </a:lnTo>
                <a:lnTo>
                  <a:pt x="490537" y="90488"/>
                </a:lnTo>
                <a:lnTo>
                  <a:pt x="478631" y="66675"/>
                </a:lnTo>
                <a:lnTo>
                  <a:pt x="490537" y="57150"/>
                </a:lnTo>
                <a:lnTo>
                  <a:pt x="490537" y="57150"/>
                </a:lnTo>
                <a:lnTo>
                  <a:pt x="516731" y="52388"/>
                </a:lnTo>
                <a:lnTo>
                  <a:pt x="521493" y="66675"/>
                </a:lnTo>
                <a:lnTo>
                  <a:pt x="516731" y="95250"/>
                </a:lnTo>
                <a:lnTo>
                  <a:pt x="533400" y="97631"/>
                </a:lnTo>
                <a:lnTo>
                  <a:pt x="533400" y="57150"/>
                </a:lnTo>
                <a:lnTo>
                  <a:pt x="533400" y="57150"/>
                </a:lnTo>
                <a:lnTo>
                  <a:pt x="561975" y="57150"/>
                </a:lnTo>
                <a:lnTo>
                  <a:pt x="571500" y="71438"/>
                </a:lnTo>
                <a:lnTo>
                  <a:pt x="573881" y="35719"/>
                </a:lnTo>
                <a:lnTo>
                  <a:pt x="578643" y="28575"/>
                </a:lnTo>
                <a:lnTo>
                  <a:pt x="604837" y="38100"/>
                </a:lnTo>
                <a:lnTo>
                  <a:pt x="628650" y="47625"/>
                </a:lnTo>
                <a:lnTo>
                  <a:pt x="657225" y="52388"/>
                </a:lnTo>
                <a:lnTo>
                  <a:pt x="683418" y="71438"/>
                </a:lnTo>
                <a:lnTo>
                  <a:pt x="711993" y="78581"/>
                </a:lnTo>
                <a:lnTo>
                  <a:pt x="709612" y="57150"/>
                </a:lnTo>
                <a:lnTo>
                  <a:pt x="728662" y="92869"/>
                </a:lnTo>
                <a:lnTo>
                  <a:pt x="719137" y="116681"/>
                </a:lnTo>
                <a:lnTo>
                  <a:pt x="757237" y="135731"/>
                </a:lnTo>
                <a:lnTo>
                  <a:pt x="766762" y="169069"/>
                </a:lnTo>
                <a:lnTo>
                  <a:pt x="754856" y="188119"/>
                </a:lnTo>
                <a:lnTo>
                  <a:pt x="735806" y="200025"/>
                </a:lnTo>
                <a:lnTo>
                  <a:pt x="735806" y="200025"/>
                </a:lnTo>
                <a:lnTo>
                  <a:pt x="759618" y="211931"/>
                </a:lnTo>
                <a:lnTo>
                  <a:pt x="781050" y="221456"/>
                </a:lnTo>
                <a:lnTo>
                  <a:pt x="795337" y="245269"/>
                </a:lnTo>
                <a:lnTo>
                  <a:pt x="814387" y="271463"/>
                </a:lnTo>
                <a:lnTo>
                  <a:pt x="823912" y="295275"/>
                </a:lnTo>
                <a:lnTo>
                  <a:pt x="835818" y="316706"/>
                </a:lnTo>
                <a:lnTo>
                  <a:pt x="838200" y="342900"/>
                </a:lnTo>
                <a:lnTo>
                  <a:pt x="842962" y="366713"/>
                </a:lnTo>
                <a:lnTo>
                  <a:pt x="814387" y="378619"/>
                </a:lnTo>
                <a:lnTo>
                  <a:pt x="807243" y="409575"/>
                </a:lnTo>
                <a:lnTo>
                  <a:pt x="802481" y="428625"/>
                </a:lnTo>
                <a:lnTo>
                  <a:pt x="802481" y="442913"/>
                </a:lnTo>
                <a:lnTo>
                  <a:pt x="773906" y="433388"/>
                </a:lnTo>
                <a:lnTo>
                  <a:pt x="762000" y="440531"/>
                </a:lnTo>
                <a:lnTo>
                  <a:pt x="762000" y="440531"/>
                </a:lnTo>
                <a:lnTo>
                  <a:pt x="778668" y="473869"/>
                </a:lnTo>
                <a:lnTo>
                  <a:pt x="790575" y="492919"/>
                </a:lnTo>
                <a:lnTo>
                  <a:pt x="809625" y="509588"/>
                </a:lnTo>
                <a:lnTo>
                  <a:pt x="823912" y="528638"/>
                </a:lnTo>
                <a:lnTo>
                  <a:pt x="847725" y="535781"/>
                </a:lnTo>
                <a:lnTo>
                  <a:pt x="862012" y="545306"/>
                </a:lnTo>
                <a:lnTo>
                  <a:pt x="883443" y="545306"/>
                </a:lnTo>
                <a:lnTo>
                  <a:pt x="895350" y="523875"/>
                </a:lnTo>
                <a:lnTo>
                  <a:pt x="916781" y="526256"/>
                </a:lnTo>
                <a:lnTo>
                  <a:pt x="942975" y="561975"/>
                </a:lnTo>
                <a:lnTo>
                  <a:pt x="959643" y="578644"/>
                </a:lnTo>
                <a:lnTo>
                  <a:pt x="950118" y="600075"/>
                </a:lnTo>
                <a:lnTo>
                  <a:pt x="962025" y="633413"/>
                </a:lnTo>
                <a:lnTo>
                  <a:pt x="973931" y="654844"/>
                </a:lnTo>
                <a:lnTo>
                  <a:pt x="964406" y="740569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17" name="ee4pContent1">
            <a:extLst>
              <a:ext uri="{FF2B5EF4-FFF2-40B4-BE49-F238E27FC236}">
                <a16:creationId xmlns:a16="http://schemas.microsoft.com/office/drawing/2014/main" id="{72DF2D37-41CE-49CD-8E04-D9BAA7565033}"/>
              </a:ext>
            </a:extLst>
          </p:cNvPr>
          <p:cNvSpPr txBox="1"/>
          <p:nvPr/>
        </p:nvSpPr>
        <p:spPr>
          <a:xfrm>
            <a:off x="7293936" y="1511214"/>
            <a:ext cx="4269414" cy="5314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600">
                <a:solidFill>
                  <a:srgbClr val="FFFFFF"/>
                </a:solidFill>
                <a:cs typeface="Arial"/>
              </a:rPr>
              <a:t>Starting with 1 Market Maker per region across Commonwealth</a:t>
            </a:r>
          </a:p>
        </p:txBody>
      </p:sp>
      <p:sp>
        <p:nvSpPr>
          <p:cNvPr id="12" name="ee4pContent1">
            <a:extLst>
              <a:ext uri="{FF2B5EF4-FFF2-40B4-BE49-F238E27FC236}">
                <a16:creationId xmlns:a16="http://schemas.microsoft.com/office/drawing/2014/main" id="{2FB3E0FB-AFB3-44FF-AC04-E2B49729A6E3}"/>
              </a:ext>
            </a:extLst>
          </p:cNvPr>
          <p:cNvSpPr txBox="1"/>
          <p:nvPr/>
        </p:nvSpPr>
        <p:spPr>
          <a:xfrm>
            <a:off x="1287335" y="1511214"/>
            <a:ext cx="5698021" cy="1146926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800">
                <a:solidFill>
                  <a:schemeClr val="tx1"/>
                </a:solidFill>
              </a:rPr>
              <a:t>The mission of Market Makers is to </a:t>
            </a:r>
            <a:r>
              <a:rPr lang="en-US" sz="1800">
                <a:solidFill>
                  <a:srgbClr val="00269E"/>
                </a:solidFill>
              </a:rPr>
              <a:t>reach out to businesses, advocate for the grants available, and connect businesses to training programs</a:t>
            </a:r>
            <a:r>
              <a:rPr lang="en-US" sz="1800">
                <a:solidFill>
                  <a:schemeClr val="tx1"/>
                </a:solidFill>
              </a:rPr>
              <a:t> and job seekers</a:t>
            </a:r>
            <a:endParaRPr lang="en-US" sz="1800">
              <a:solidFill>
                <a:srgbClr val="00269E"/>
              </a:solidFill>
              <a:cs typeface="Arial"/>
            </a:endParaRPr>
          </a:p>
          <a:p>
            <a:endParaRPr lang="en-US" sz="1800">
              <a:solidFill>
                <a:schemeClr val="tx1"/>
              </a:solidFill>
              <a:cs typeface="Arial"/>
            </a:endParaRPr>
          </a:p>
        </p:txBody>
      </p:sp>
      <p:sp>
        <p:nvSpPr>
          <p:cNvPr id="17" name="ee4pContent1">
            <a:extLst>
              <a:ext uri="{FF2B5EF4-FFF2-40B4-BE49-F238E27FC236}">
                <a16:creationId xmlns:a16="http://schemas.microsoft.com/office/drawing/2014/main" id="{85C769FA-BCEF-4683-8F6A-C74341BA0768}"/>
              </a:ext>
            </a:extLst>
          </p:cNvPr>
          <p:cNvSpPr txBox="1"/>
          <p:nvPr/>
        </p:nvSpPr>
        <p:spPr>
          <a:xfrm>
            <a:off x="1287335" y="4382008"/>
            <a:ext cx="5698021" cy="6463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800">
                <a:solidFill>
                  <a:schemeClr val="tx1"/>
                </a:solidFill>
              </a:rPr>
              <a:t>WSC is planning to </a:t>
            </a:r>
            <a:r>
              <a:rPr lang="en-US" sz="1800">
                <a:solidFill>
                  <a:srgbClr val="00269E"/>
                </a:solidFill>
              </a:rPr>
              <a:t>allocate </a:t>
            </a:r>
            <a:r>
              <a:rPr lang="en-US" sz="1800">
                <a:solidFill>
                  <a:schemeClr val="tx2"/>
                </a:solidFill>
              </a:rPr>
              <a:t>$1M+ of workforce budget </a:t>
            </a:r>
            <a:r>
              <a:rPr lang="en-US" sz="1800">
                <a:solidFill>
                  <a:schemeClr val="tx1"/>
                </a:solidFill>
              </a:rPr>
              <a:t>for </a:t>
            </a:r>
            <a:r>
              <a:rPr lang="en-US" sz="1800">
                <a:solidFill>
                  <a:srgbClr val="00269E"/>
                </a:solidFill>
              </a:rPr>
              <a:t>7 Market Makers at regional Workforce Development Boards</a:t>
            </a:r>
            <a:endParaRPr lang="en-US" sz="1800">
              <a:solidFill>
                <a:srgbClr val="00269E"/>
              </a:solidFill>
              <a:cs typeface="Arial"/>
            </a:endParaRPr>
          </a:p>
        </p:txBody>
      </p:sp>
      <p:sp>
        <p:nvSpPr>
          <p:cNvPr id="19" name="ee4pContent1">
            <a:extLst>
              <a:ext uri="{FF2B5EF4-FFF2-40B4-BE49-F238E27FC236}">
                <a16:creationId xmlns:a16="http://schemas.microsoft.com/office/drawing/2014/main" id="{8CB15938-A87B-4DA8-A26A-0753B47F13C8}"/>
              </a:ext>
            </a:extLst>
          </p:cNvPr>
          <p:cNvSpPr txBox="1"/>
          <p:nvPr/>
        </p:nvSpPr>
        <p:spPr>
          <a:xfrm>
            <a:off x="1287335" y="5791507"/>
            <a:ext cx="5698021" cy="6463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800">
                <a:solidFill>
                  <a:schemeClr val="tx1"/>
                </a:solidFill>
              </a:rPr>
              <a:t>Market Makers' </a:t>
            </a:r>
            <a:r>
              <a:rPr lang="en-US" sz="1800">
                <a:solidFill>
                  <a:srgbClr val="00269E"/>
                </a:solidFill>
              </a:rPr>
              <a:t>primary focus will be on CTI, WCTF, "RENEW," </a:t>
            </a:r>
            <a:r>
              <a:rPr lang="en-US" sz="1800">
                <a:solidFill>
                  <a:schemeClr val="tx1"/>
                </a:solidFill>
              </a:rPr>
              <a:t>and other new ARPA training grants that support skilled training pipelines</a:t>
            </a:r>
            <a:endParaRPr lang="en-US" sz="1800">
              <a:solidFill>
                <a:schemeClr val="tx1"/>
              </a:solidFill>
              <a:cs typeface="Arial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970A491-FA07-45F8-A0C4-A4E633F554B8}"/>
              </a:ext>
            </a:extLst>
          </p:cNvPr>
          <p:cNvCxnSpPr/>
          <p:nvPr/>
        </p:nvCxnSpPr>
        <p:spPr>
          <a:xfrm>
            <a:off x="1287335" y="4058296"/>
            <a:ext cx="569802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34841741-B3E8-4900-AA5F-36D5424D8A7C}"/>
              </a:ext>
            </a:extLst>
          </p:cNvPr>
          <p:cNvGrpSpPr/>
          <p:nvPr/>
        </p:nvGrpSpPr>
        <p:grpSpPr>
          <a:xfrm>
            <a:off x="259218" y="1652373"/>
            <a:ext cx="864608" cy="864608"/>
            <a:chOff x="-238493" y="2721863"/>
            <a:chExt cx="864608" cy="864608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252BEB5D-C810-4862-98A0-27C1F6983B51}"/>
                </a:ext>
              </a:extLst>
            </p:cNvPr>
            <p:cNvSpPr/>
            <p:nvPr/>
          </p:nvSpPr>
          <p:spPr>
            <a:xfrm>
              <a:off x="-238493" y="2721863"/>
              <a:ext cx="864608" cy="864608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87D56DE1-02DD-4438-8C7D-E7FFE495360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-156713" y="2803644"/>
              <a:ext cx="701047" cy="701047"/>
              <a:chOff x="5273675" y="2606675"/>
              <a:chExt cx="1644650" cy="1644650"/>
            </a:xfrm>
          </p:grpSpPr>
          <p:sp>
            <p:nvSpPr>
              <p:cNvPr id="87" name="AutoShape 3">
                <a:extLst>
                  <a:ext uri="{FF2B5EF4-FFF2-40B4-BE49-F238E27FC236}">
                    <a16:creationId xmlns:a16="http://schemas.microsoft.com/office/drawing/2014/main" id="{9BCF3FD7-3978-4936-AC40-FC1A84BC145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464604D8-78D4-49BC-ADE1-16F8CE2D27D7}"/>
                  </a:ext>
                </a:extLst>
              </p:cNvPr>
              <p:cNvGrpSpPr/>
              <p:nvPr/>
            </p:nvGrpSpPr>
            <p:grpSpPr>
              <a:xfrm>
                <a:off x="5530850" y="2884487"/>
                <a:ext cx="1129633" cy="1092200"/>
                <a:chOff x="5530850" y="2884487"/>
                <a:chExt cx="1129633" cy="1092200"/>
              </a:xfrm>
            </p:grpSpPr>
            <p:sp>
              <p:nvSpPr>
                <p:cNvPr id="90" name="Freeform 22">
                  <a:extLst>
                    <a:ext uri="{FF2B5EF4-FFF2-40B4-BE49-F238E27FC236}">
                      <a16:creationId xmlns:a16="http://schemas.microsoft.com/office/drawing/2014/main" id="{5009B83E-18CF-4BDE-AE51-1B3D02E548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32488" y="3487738"/>
                  <a:ext cx="412750" cy="423863"/>
                </a:xfrm>
                <a:custGeom>
                  <a:avLst/>
                  <a:gdLst>
                    <a:gd name="connsiteX0" fmla="*/ 327025 w 412750"/>
                    <a:gd name="connsiteY0" fmla="*/ 53975 h 423863"/>
                    <a:gd name="connsiteX1" fmla="*/ 311150 w 412750"/>
                    <a:gd name="connsiteY1" fmla="*/ 69707 h 423863"/>
                    <a:gd name="connsiteX2" fmla="*/ 311150 w 412750"/>
                    <a:gd name="connsiteY2" fmla="*/ 355743 h 423863"/>
                    <a:gd name="connsiteX3" fmla="*/ 327025 w 412750"/>
                    <a:gd name="connsiteY3" fmla="*/ 371475 h 423863"/>
                    <a:gd name="connsiteX4" fmla="*/ 342900 w 412750"/>
                    <a:gd name="connsiteY4" fmla="*/ 355743 h 423863"/>
                    <a:gd name="connsiteX5" fmla="*/ 342900 w 412750"/>
                    <a:gd name="connsiteY5" fmla="*/ 69707 h 423863"/>
                    <a:gd name="connsiteX6" fmla="*/ 327025 w 412750"/>
                    <a:gd name="connsiteY6" fmla="*/ 53975 h 423863"/>
                    <a:gd name="connsiteX7" fmla="*/ 206375 w 412750"/>
                    <a:gd name="connsiteY7" fmla="*/ 53975 h 423863"/>
                    <a:gd name="connsiteX8" fmla="*/ 190500 w 412750"/>
                    <a:gd name="connsiteY8" fmla="*/ 69707 h 423863"/>
                    <a:gd name="connsiteX9" fmla="*/ 190500 w 412750"/>
                    <a:gd name="connsiteY9" fmla="*/ 355743 h 423863"/>
                    <a:gd name="connsiteX10" fmla="*/ 206375 w 412750"/>
                    <a:gd name="connsiteY10" fmla="*/ 371475 h 423863"/>
                    <a:gd name="connsiteX11" fmla="*/ 222250 w 412750"/>
                    <a:gd name="connsiteY11" fmla="*/ 355743 h 423863"/>
                    <a:gd name="connsiteX12" fmla="*/ 222250 w 412750"/>
                    <a:gd name="connsiteY12" fmla="*/ 69707 h 423863"/>
                    <a:gd name="connsiteX13" fmla="*/ 206375 w 412750"/>
                    <a:gd name="connsiteY13" fmla="*/ 53975 h 423863"/>
                    <a:gd name="connsiteX14" fmla="*/ 213516 w 412750"/>
                    <a:gd name="connsiteY14" fmla="*/ 0 h 423863"/>
                    <a:gd name="connsiteX15" fmla="*/ 412750 w 412750"/>
                    <a:gd name="connsiteY15" fmla="*/ 0 h 423863"/>
                    <a:gd name="connsiteX16" fmla="*/ 412750 w 412750"/>
                    <a:gd name="connsiteY16" fmla="*/ 123241 h 423863"/>
                    <a:gd name="connsiteX17" fmla="*/ 412750 w 412750"/>
                    <a:gd name="connsiteY17" fmla="*/ 301335 h 423863"/>
                    <a:gd name="connsiteX18" fmla="*/ 412750 w 412750"/>
                    <a:gd name="connsiteY18" fmla="*/ 423863 h 423863"/>
                    <a:gd name="connsiteX19" fmla="*/ 213516 w 412750"/>
                    <a:gd name="connsiteY19" fmla="*/ 423863 h 423863"/>
                    <a:gd name="connsiteX20" fmla="*/ 0 w 412750"/>
                    <a:gd name="connsiteY20" fmla="*/ 212288 h 423863"/>
                    <a:gd name="connsiteX21" fmla="*/ 213516 w 412750"/>
                    <a:gd name="connsiteY21" fmla="*/ 0 h 423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12750" h="423863">
                      <a:moveTo>
                        <a:pt x="327025" y="53975"/>
                      </a:moveTo>
                      <a:cubicBezTo>
                        <a:pt x="318366" y="53975"/>
                        <a:pt x="311150" y="60411"/>
                        <a:pt x="311150" y="69707"/>
                      </a:cubicBezTo>
                      <a:cubicBezTo>
                        <a:pt x="311150" y="69707"/>
                        <a:pt x="311150" y="69707"/>
                        <a:pt x="311150" y="355743"/>
                      </a:cubicBezTo>
                      <a:cubicBezTo>
                        <a:pt x="311150" y="364324"/>
                        <a:pt x="318366" y="371475"/>
                        <a:pt x="327025" y="371475"/>
                      </a:cubicBezTo>
                      <a:cubicBezTo>
                        <a:pt x="335684" y="371475"/>
                        <a:pt x="342900" y="364324"/>
                        <a:pt x="342900" y="355743"/>
                      </a:cubicBezTo>
                      <a:cubicBezTo>
                        <a:pt x="342900" y="355743"/>
                        <a:pt x="342900" y="355743"/>
                        <a:pt x="342900" y="69707"/>
                      </a:cubicBezTo>
                      <a:cubicBezTo>
                        <a:pt x="342900" y="60411"/>
                        <a:pt x="335684" y="53975"/>
                        <a:pt x="327025" y="53975"/>
                      </a:cubicBezTo>
                      <a:close/>
                      <a:moveTo>
                        <a:pt x="206375" y="53975"/>
                      </a:moveTo>
                      <a:cubicBezTo>
                        <a:pt x="197716" y="53975"/>
                        <a:pt x="190500" y="60411"/>
                        <a:pt x="190500" y="69707"/>
                      </a:cubicBezTo>
                      <a:cubicBezTo>
                        <a:pt x="190500" y="69707"/>
                        <a:pt x="190500" y="69707"/>
                        <a:pt x="190500" y="355743"/>
                      </a:cubicBezTo>
                      <a:cubicBezTo>
                        <a:pt x="190500" y="364324"/>
                        <a:pt x="197716" y="371475"/>
                        <a:pt x="206375" y="371475"/>
                      </a:cubicBezTo>
                      <a:cubicBezTo>
                        <a:pt x="215034" y="371475"/>
                        <a:pt x="222250" y="364324"/>
                        <a:pt x="222250" y="355743"/>
                      </a:cubicBezTo>
                      <a:cubicBezTo>
                        <a:pt x="222250" y="355743"/>
                        <a:pt x="222250" y="355743"/>
                        <a:pt x="222250" y="69707"/>
                      </a:cubicBezTo>
                      <a:cubicBezTo>
                        <a:pt x="222250" y="60411"/>
                        <a:pt x="215034" y="53975"/>
                        <a:pt x="206375" y="53975"/>
                      </a:cubicBezTo>
                      <a:close/>
                      <a:moveTo>
                        <a:pt x="213516" y="0"/>
                      </a:moveTo>
                      <a:cubicBezTo>
                        <a:pt x="213516" y="0"/>
                        <a:pt x="213516" y="0"/>
                        <a:pt x="412750" y="0"/>
                      </a:cubicBezTo>
                      <a:cubicBezTo>
                        <a:pt x="412750" y="0"/>
                        <a:pt x="412750" y="0"/>
                        <a:pt x="412750" y="123241"/>
                      </a:cubicBezTo>
                      <a:cubicBezTo>
                        <a:pt x="412750" y="123241"/>
                        <a:pt x="412750" y="123241"/>
                        <a:pt x="412750" y="301335"/>
                      </a:cubicBezTo>
                      <a:cubicBezTo>
                        <a:pt x="412750" y="301335"/>
                        <a:pt x="412750" y="301335"/>
                        <a:pt x="412750" y="423863"/>
                      </a:cubicBezTo>
                      <a:cubicBezTo>
                        <a:pt x="412750" y="423863"/>
                        <a:pt x="412750" y="423863"/>
                        <a:pt x="213516" y="423863"/>
                      </a:cubicBezTo>
                      <a:cubicBezTo>
                        <a:pt x="95690" y="423863"/>
                        <a:pt x="0" y="329117"/>
                        <a:pt x="0" y="212288"/>
                      </a:cubicBezTo>
                      <a:cubicBezTo>
                        <a:pt x="0" y="95458"/>
                        <a:pt x="95690" y="0"/>
                        <a:pt x="213516" y="0"/>
                      </a:cubicBezTo>
                      <a:close/>
                    </a:path>
                  </a:pathLst>
                </a:custGeom>
                <a:solidFill>
                  <a:srgbClr val="00269E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91" name="Freeform 26">
                  <a:extLst>
                    <a:ext uri="{FF2B5EF4-FFF2-40B4-BE49-F238E27FC236}">
                      <a16:creationId xmlns:a16="http://schemas.microsoft.com/office/drawing/2014/main" id="{50839AF1-EBCF-43E5-9968-A0406499C3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850" y="2884487"/>
                  <a:ext cx="1129633" cy="1092200"/>
                </a:xfrm>
                <a:custGeom>
                  <a:avLst/>
                  <a:gdLst>
                    <a:gd name="connsiteX0" fmla="*/ 906463 w 1129633"/>
                    <a:gd name="connsiteY0" fmla="*/ 944562 h 1092200"/>
                    <a:gd name="connsiteX1" fmla="*/ 1112991 w 1129633"/>
                    <a:gd name="connsiteY1" fmla="*/ 944562 h 1092200"/>
                    <a:gd name="connsiteX2" fmla="*/ 1128713 w 1129633"/>
                    <a:gd name="connsiteY2" fmla="*/ 959293 h 1092200"/>
                    <a:gd name="connsiteX3" fmla="*/ 1112991 w 1129633"/>
                    <a:gd name="connsiteY3" fmla="*/ 974725 h 1092200"/>
                    <a:gd name="connsiteX4" fmla="*/ 906463 w 1129633"/>
                    <a:gd name="connsiteY4" fmla="*/ 974725 h 1092200"/>
                    <a:gd name="connsiteX5" fmla="*/ 906463 w 1129633"/>
                    <a:gd name="connsiteY5" fmla="*/ 944562 h 1092200"/>
                    <a:gd name="connsiteX6" fmla="*/ 906463 w 1129633"/>
                    <a:gd name="connsiteY6" fmla="*/ 658812 h 1092200"/>
                    <a:gd name="connsiteX7" fmla="*/ 1113800 w 1129633"/>
                    <a:gd name="connsiteY7" fmla="*/ 658812 h 1092200"/>
                    <a:gd name="connsiteX8" fmla="*/ 1129584 w 1129633"/>
                    <a:gd name="connsiteY8" fmla="*/ 672419 h 1092200"/>
                    <a:gd name="connsiteX9" fmla="*/ 1113800 w 1129633"/>
                    <a:gd name="connsiteY9" fmla="*/ 687387 h 1092200"/>
                    <a:gd name="connsiteX10" fmla="*/ 906463 w 1129633"/>
                    <a:gd name="connsiteY10" fmla="*/ 687387 h 1092200"/>
                    <a:gd name="connsiteX11" fmla="*/ 906463 w 1129633"/>
                    <a:gd name="connsiteY11" fmla="*/ 658812 h 1092200"/>
                    <a:gd name="connsiteX12" fmla="*/ 613918 w 1129633"/>
                    <a:gd name="connsiteY12" fmla="*/ 571500 h 1092200"/>
                    <a:gd name="connsiteX13" fmla="*/ 369888 w 1129633"/>
                    <a:gd name="connsiteY13" fmla="*/ 816332 h 1092200"/>
                    <a:gd name="connsiteX14" fmla="*/ 613918 w 1129633"/>
                    <a:gd name="connsiteY14" fmla="*/ 1060450 h 1092200"/>
                    <a:gd name="connsiteX15" fmla="*/ 842963 w 1129633"/>
                    <a:gd name="connsiteY15" fmla="*/ 1060450 h 1092200"/>
                    <a:gd name="connsiteX16" fmla="*/ 842963 w 1129633"/>
                    <a:gd name="connsiteY16" fmla="*/ 571500 h 1092200"/>
                    <a:gd name="connsiteX17" fmla="*/ 613918 w 1129633"/>
                    <a:gd name="connsiteY17" fmla="*/ 571500 h 1092200"/>
                    <a:gd name="connsiteX18" fmla="*/ 338898 w 1129633"/>
                    <a:gd name="connsiteY18" fmla="*/ 0 h 1092200"/>
                    <a:gd name="connsiteX19" fmla="*/ 729879 w 1129633"/>
                    <a:gd name="connsiteY19" fmla="*/ 0 h 1092200"/>
                    <a:gd name="connsiteX20" fmla="*/ 874713 w 1129633"/>
                    <a:gd name="connsiteY20" fmla="*/ 145627 h 1092200"/>
                    <a:gd name="connsiteX21" fmla="*/ 729879 w 1129633"/>
                    <a:gd name="connsiteY21" fmla="*/ 290540 h 1092200"/>
                    <a:gd name="connsiteX22" fmla="*/ 286101 w 1129633"/>
                    <a:gd name="connsiteY22" fmla="*/ 290540 h 1092200"/>
                    <a:gd name="connsiteX23" fmla="*/ 30679 w 1129633"/>
                    <a:gd name="connsiteY23" fmla="*/ 546100 h 1092200"/>
                    <a:gd name="connsiteX24" fmla="*/ 286101 w 1129633"/>
                    <a:gd name="connsiteY24" fmla="*/ 800947 h 1092200"/>
                    <a:gd name="connsiteX25" fmla="*/ 339611 w 1129633"/>
                    <a:gd name="connsiteY25" fmla="*/ 800947 h 1092200"/>
                    <a:gd name="connsiteX26" fmla="*/ 357448 w 1129633"/>
                    <a:gd name="connsiteY26" fmla="*/ 717426 h 1092200"/>
                    <a:gd name="connsiteX27" fmla="*/ 357448 w 1129633"/>
                    <a:gd name="connsiteY27" fmla="*/ 716712 h 1092200"/>
                    <a:gd name="connsiteX28" fmla="*/ 360302 w 1129633"/>
                    <a:gd name="connsiteY28" fmla="*/ 711001 h 1092200"/>
                    <a:gd name="connsiteX29" fmla="*/ 360302 w 1129633"/>
                    <a:gd name="connsiteY29" fmla="*/ 710287 h 1092200"/>
                    <a:gd name="connsiteX30" fmla="*/ 362442 w 1129633"/>
                    <a:gd name="connsiteY30" fmla="*/ 705290 h 1092200"/>
                    <a:gd name="connsiteX31" fmla="*/ 363156 w 1129633"/>
                    <a:gd name="connsiteY31" fmla="*/ 704576 h 1092200"/>
                    <a:gd name="connsiteX32" fmla="*/ 365296 w 1129633"/>
                    <a:gd name="connsiteY32" fmla="*/ 699579 h 1092200"/>
                    <a:gd name="connsiteX33" fmla="*/ 365296 w 1129633"/>
                    <a:gd name="connsiteY33" fmla="*/ 698865 h 1092200"/>
                    <a:gd name="connsiteX34" fmla="*/ 368150 w 1129633"/>
                    <a:gd name="connsiteY34" fmla="*/ 693868 h 1092200"/>
                    <a:gd name="connsiteX35" fmla="*/ 368150 w 1129633"/>
                    <a:gd name="connsiteY35" fmla="*/ 692441 h 1092200"/>
                    <a:gd name="connsiteX36" fmla="*/ 371004 w 1129633"/>
                    <a:gd name="connsiteY36" fmla="*/ 688158 h 1092200"/>
                    <a:gd name="connsiteX37" fmla="*/ 371718 w 1129633"/>
                    <a:gd name="connsiteY37" fmla="*/ 686730 h 1092200"/>
                    <a:gd name="connsiteX38" fmla="*/ 373858 w 1129633"/>
                    <a:gd name="connsiteY38" fmla="*/ 682447 h 1092200"/>
                    <a:gd name="connsiteX39" fmla="*/ 374571 w 1129633"/>
                    <a:gd name="connsiteY39" fmla="*/ 681019 h 1092200"/>
                    <a:gd name="connsiteX40" fmla="*/ 377425 w 1129633"/>
                    <a:gd name="connsiteY40" fmla="*/ 676736 h 1092200"/>
                    <a:gd name="connsiteX41" fmla="*/ 378139 w 1129633"/>
                    <a:gd name="connsiteY41" fmla="*/ 675308 h 1092200"/>
                    <a:gd name="connsiteX42" fmla="*/ 380279 w 1129633"/>
                    <a:gd name="connsiteY42" fmla="*/ 671025 h 1092200"/>
                    <a:gd name="connsiteX43" fmla="*/ 380993 w 1129633"/>
                    <a:gd name="connsiteY43" fmla="*/ 669597 h 1092200"/>
                    <a:gd name="connsiteX44" fmla="*/ 383847 w 1129633"/>
                    <a:gd name="connsiteY44" fmla="*/ 666028 h 1092200"/>
                    <a:gd name="connsiteX45" fmla="*/ 384560 w 1129633"/>
                    <a:gd name="connsiteY45" fmla="*/ 664600 h 1092200"/>
                    <a:gd name="connsiteX46" fmla="*/ 387414 w 1129633"/>
                    <a:gd name="connsiteY46" fmla="*/ 660317 h 1092200"/>
                    <a:gd name="connsiteX47" fmla="*/ 387414 w 1129633"/>
                    <a:gd name="connsiteY47" fmla="*/ 658889 h 1092200"/>
                    <a:gd name="connsiteX48" fmla="*/ 390268 w 1129633"/>
                    <a:gd name="connsiteY48" fmla="*/ 655320 h 1092200"/>
                    <a:gd name="connsiteX49" fmla="*/ 391695 w 1129633"/>
                    <a:gd name="connsiteY49" fmla="*/ 653892 h 1092200"/>
                    <a:gd name="connsiteX50" fmla="*/ 394549 w 1129633"/>
                    <a:gd name="connsiteY50" fmla="*/ 650323 h 1092200"/>
                    <a:gd name="connsiteX51" fmla="*/ 395262 w 1129633"/>
                    <a:gd name="connsiteY51" fmla="*/ 648895 h 1092200"/>
                    <a:gd name="connsiteX52" fmla="*/ 398116 w 1129633"/>
                    <a:gd name="connsiteY52" fmla="*/ 644612 h 1092200"/>
                    <a:gd name="connsiteX53" fmla="*/ 399543 w 1129633"/>
                    <a:gd name="connsiteY53" fmla="*/ 643898 h 1092200"/>
                    <a:gd name="connsiteX54" fmla="*/ 402397 w 1129633"/>
                    <a:gd name="connsiteY54" fmla="*/ 639615 h 1092200"/>
                    <a:gd name="connsiteX55" fmla="*/ 403110 w 1129633"/>
                    <a:gd name="connsiteY55" fmla="*/ 638901 h 1092200"/>
                    <a:gd name="connsiteX56" fmla="*/ 406678 w 1129633"/>
                    <a:gd name="connsiteY56" fmla="*/ 634618 h 1092200"/>
                    <a:gd name="connsiteX57" fmla="*/ 407391 w 1129633"/>
                    <a:gd name="connsiteY57" fmla="*/ 633904 h 1092200"/>
                    <a:gd name="connsiteX58" fmla="*/ 410958 w 1129633"/>
                    <a:gd name="connsiteY58" fmla="*/ 630335 h 1092200"/>
                    <a:gd name="connsiteX59" fmla="*/ 411672 w 1129633"/>
                    <a:gd name="connsiteY59" fmla="*/ 628907 h 1092200"/>
                    <a:gd name="connsiteX60" fmla="*/ 415239 w 1129633"/>
                    <a:gd name="connsiteY60" fmla="*/ 625338 h 1092200"/>
                    <a:gd name="connsiteX61" fmla="*/ 415953 w 1129633"/>
                    <a:gd name="connsiteY61" fmla="*/ 624624 h 1092200"/>
                    <a:gd name="connsiteX62" fmla="*/ 419520 w 1129633"/>
                    <a:gd name="connsiteY62" fmla="*/ 621055 h 1092200"/>
                    <a:gd name="connsiteX63" fmla="*/ 420947 w 1129633"/>
                    <a:gd name="connsiteY63" fmla="*/ 620341 h 1092200"/>
                    <a:gd name="connsiteX64" fmla="*/ 424514 w 1129633"/>
                    <a:gd name="connsiteY64" fmla="*/ 616058 h 1092200"/>
                    <a:gd name="connsiteX65" fmla="*/ 425228 w 1129633"/>
                    <a:gd name="connsiteY65" fmla="*/ 616058 h 1092200"/>
                    <a:gd name="connsiteX66" fmla="*/ 448772 w 1129633"/>
                    <a:gd name="connsiteY66" fmla="*/ 595356 h 1092200"/>
                    <a:gd name="connsiteX67" fmla="*/ 453053 w 1129633"/>
                    <a:gd name="connsiteY67" fmla="*/ 592501 h 1092200"/>
                    <a:gd name="connsiteX68" fmla="*/ 454480 w 1129633"/>
                    <a:gd name="connsiteY68" fmla="*/ 591787 h 1092200"/>
                    <a:gd name="connsiteX69" fmla="*/ 458047 w 1129633"/>
                    <a:gd name="connsiteY69" fmla="*/ 588932 h 1092200"/>
                    <a:gd name="connsiteX70" fmla="*/ 459474 w 1129633"/>
                    <a:gd name="connsiteY70" fmla="*/ 588218 h 1092200"/>
                    <a:gd name="connsiteX71" fmla="*/ 463042 w 1129633"/>
                    <a:gd name="connsiteY71" fmla="*/ 586076 h 1092200"/>
                    <a:gd name="connsiteX72" fmla="*/ 465182 w 1129633"/>
                    <a:gd name="connsiteY72" fmla="*/ 584648 h 1092200"/>
                    <a:gd name="connsiteX73" fmla="*/ 468036 w 1129633"/>
                    <a:gd name="connsiteY73" fmla="*/ 582507 h 1092200"/>
                    <a:gd name="connsiteX74" fmla="*/ 470890 w 1129633"/>
                    <a:gd name="connsiteY74" fmla="*/ 581079 h 1092200"/>
                    <a:gd name="connsiteX75" fmla="*/ 473744 w 1129633"/>
                    <a:gd name="connsiteY75" fmla="*/ 578938 h 1092200"/>
                    <a:gd name="connsiteX76" fmla="*/ 476598 w 1129633"/>
                    <a:gd name="connsiteY76" fmla="*/ 577510 h 1092200"/>
                    <a:gd name="connsiteX77" fmla="*/ 479451 w 1129633"/>
                    <a:gd name="connsiteY77" fmla="*/ 575368 h 1092200"/>
                    <a:gd name="connsiteX78" fmla="*/ 482305 w 1129633"/>
                    <a:gd name="connsiteY78" fmla="*/ 573941 h 1092200"/>
                    <a:gd name="connsiteX79" fmla="*/ 485159 w 1129633"/>
                    <a:gd name="connsiteY79" fmla="*/ 572513 h 1092200"/>
                    <a:gd name="connsiteX80" fmla="*/ 488013 w 1129633"/>
                    <a:gd name="connsiteY80" fmla="*/ 571085 h 1092200"/>
                    <a:gd name="connsiteX81" fmla="*/ 490867 w 1129633"/>
                    <a:gd name="connsiteY81" fmla="*/ 569657 h 1092200"/>
                    <a:gd name="connsiteX82" fmla="*/ 493721 w 1129633"/>
                    <a:gd name="connsiteY82" fmla="*/ 568230 h 1092200"/>
                    <a:gd name="connsiteX83" fmla="*/ 496575 w 1129633"/>
                    <a:gd name="connsiteY83" fmla="*/ 566802 h 1092200"/>
                    <a:gd name="connsiteX84" fmla="*/ 499429 w 1129633"/>
                    <a:gd name="connsiteY84" fmla="*/ 565374 h 1092200"/>
                    <a:gd name="connsiteX85" fmla="*/ 502996 w 1129633"/>
                    <a:gd name="connsiteY85" fmla="*/ 563947 h 1092200"/>
                    <a:gd name="connsiteX86" fmla="*/ 505850 w 1129633"/>
                    <a:gd name="connsiteY86" fmla="*/ 562519 h 1092200"/>
                    <a:gd name="connsiteX87" fmla="*/ 508704 w 1129633"/>
                    <a:gd name="connsiteY87" fmla="*/ 561091 h 1092200"/>
                    <a:gd name="connsiteX88" fmla="*/ 511558 w 1129633"/>
                    <a:gd name="connsiteY88" fmla="*/ 560377 h 1092200"/>
                    <a:gd name="connsiteX89" fmla="*/ 515125 w 1129633"/>
                    <a:gd name="connsiteY89" fmla="*/ 558950 h 1092200"/>
                    <a:gd name="connsiteX90" fmla="*/ 517979 w 1129633"/>
                    <a:gd name="connsiteY90" fmla="*/ 557522 h 1092200"/>
                    <a:gd name="connsiteX91" fmla="*/ 520833 w 1129633"/>
                    <a:gd name="connsiteY91" fmla="*/ 556808 h 1092200"/>
                    <a:gd name="connsiteX92" fmla="*/ 524400 w 1129633"/>
                    <a:gd name="connsiteY92" fmla="*/ 555380 h 1092200"/>
                    <a:gd name="connsiteX93" fmla="*/ 527254 w 1129633"/>
                    <a:gd name="connsiteY93" fmla="*/ 554666 h 1092200"/>
                    <a:gd name="connsiteX94" fmla="*/ 530821 w 1129633"/>
                    <a:gd name="connsiteY94" fmla="*/ 553239 h 1092200"/>
                    <a:gd name="connsiteX95" fmla="*/ 533675 w 1129633"/>
                    <a:gd name="connsiteY95" fmla="*/ 552525 h 1092200"/>
                    <a:gd name="connsiteX96" fmla="*/ 537242 w 1129633"/>
                    <a:gd name="connsiteY96" fmla="*/ 551811 h 1092200"/>
                    <a:gd name="connsiteX97" fmla="*/ 540096 w 1129633"/>
                    <a:gd name="connsiteY97" fmla="*/ 550383 h 1092200"/>
                    <a:gd name="connsiteX98" fmla="*/ 543664 w 1129633"/>
                    <a:gd name="connsiteY98" fmla="*/ 549669 h 1092200"/>
                    <a:gd name="connsiteX99" fmla="*/ 546517 w 1129633"/>
                    <a:gd name="connsiteY99" fmla="*/ 548956 h 1092200"/>
                    <a:gd name="connsiteX100" fmla="*/ 550085 w 1129633"/>
                    <a:gd name="connsiteY100" fmla="*/ 548242 h 1092200"/>
                    <a:gd name="connsiteX101" fmla="*/ 552939 w 1129633"/>
                    <a:gd name="connsiteY101" fmla="*/ 547528 h 1092200"/>
                    <a:gd name="connsiteX102" fmla="*/ 556506 w 1129633"/>
                    <a:gd name="connsiteY102" fmla="*/ 546814 h 1092200"/>
                    <a:gd name="connsiteX103" fmla="*/ 559360 w 1129633"/>
                    <a:gd name="connsiteY103" fmla="*/ 546100 h 1092200"/>
                    <a:gd name="connsiteX104" fmla="*/ 562927 w 1129633"/>
                    <a:gd name="connsiteY104" fmla="*/ 546100 h 1092200"/>
                    <a:gd name="connsiteX105" fmla="*/ 566495 w 1129633"/>
                    <a:gd name="connsiteY105" fmla="*/ 545386 h 1092200"/>
                    <a:gd name="connsiteX106" fmla="*/ 570062 w 1129633"/>
                    <a:gd name="connsiteY106" fmla="*/ 544672 h 1092200"/>
                    <a:gd name="connsiteX107" fmla="*/ 572916 w 1129633"/>
                    <a:gd name="connsiteY107" fmla="*/ 543959 h 1092200"/>
                    <a:gd name="connsiteX108" fmla="*/ 576483 w 1129633"/>
                    <a:gd name="connsiteY108" fmla="*/ 543959 h 1092200"/>
                    <a:gd name="connsiteX109" fmla="*/ 580051 w 1129633"/>
                    <a:gd name="connsiteY109" fmla="*/ 543245 h 1092200"/>
                    <a:gd name="connsiteX110" fmla="*/ 583618 w 1129633"/>
                    <a:gd name="connsiteY110" fmla="*/ 542531 h 1092200"/>
                    <a:gd name="connsiteX111" fmla="*/ 586472 w 1129633"/>
                    <a:gd name="connsiteY111" fmla="*/ 542531 h 1092200"/>
                    <a:gd name="connsiteX112" fmla="*/ 590753 w 1129633"/>
                    <a:gd name="connsiteY112" fmla="*/ 542531 h 1092200"/>
                    <a:gd name="connsiteX113" fmla="*/ 593606 w 1129633"/>
                    <a:gd name="connsiteY113" fmla="*/ 541817 h 1092200"/>
                    <a:gd name="connsiteX114" fmla="*/ 597887 w 1129633"/>
                    <a:gd name="connsiteY114" fmla="*/ 541817 h 1092200"/>
                    <a:gd name="connsiteX115" fmla="*/ 600741 w 1129633"/>
                    <a:gd name="connsiteY115" fmla="*/ 541817 h 1092200"/>
                    <a:gd name="connsiteX116" fmla="*/ 605022 w 1129633"/>
                    <a:gd name="connsiteY116" fmla="*/ 541103 h 1092200"/>
                    <a:gd name="connsiteX117" fmla="*/ 607162 w 1129633"/>
                    <a:gd name="connsiteY117" fmla="*/ 541103 h 1092200"/>
                    <a:gd name="connsiteX118" fmla="*/ 614297 w 1129633"/>
                    <a:gd name="connsiteY118" fmla="*/ 541103 h 1092200"/>
                    <a:gd name="connsiteX119" fmla="*/ 859017 w 1129633"/>
                    <a:gd name="connsiteY119" fmla="*/ 541103 h 1092200"/>
                    <a:gd name="connsiteX120" fmla="*/ 874713 w 1129633"/>
                    <a:gd name="connsiteY120" fmla="*/ 556808 h 1092200"/>
                    <a:gd name="connsiteX121" fmla="*/ 874713 w 1129633"/>
                    <a:gd name="connsiteY121" fmla="*/ 726706 h 1092200"/>
                    <a:gd name="connsiteX122" fmla="*/ 874713 w 1129633"/>
                    <a:gd name="connsiteY122" fmla="*/ 905170 h 1092200"/>
                    <a:gd name="connsiteX123" fmla="*/ 874713 w 1129633"/>
                    <a:gd name="connsiteY123" fmla="*/ 1076495 h 1092200"/>
                    <a:gd name="connsiteX124" fmla="*/ 859017 w 1129633"/>
                    <a:gd name="connsiteY124" fmla="*/ 1092200 h 1092200"/>
                    <a:gd name="connsiteX125" fmla="*/ 614297 w 1129633"/>
                    <a:gd name="connsiteY125" fmla="*/ 1092200 h 1092200"/>
                    <a:gd name="connsiteX126" fmla="*/ 607162 w 1129633"/>
                    <a:gd name="connsiteY126" fmla="*/ 1092200 h 1092200"/>
                    <a:gd name="connsiteX127" fmla="*/ 605022 w 1129633"/>
                    <a:gd name="connsiteY127" fmla="*/ 1091486 h 1092200"/>
                    <a:gd name="connsiteX128" fmla="*/ 600741 w 1129633"/>
                    <a:gd name="connsiteY128" fmla="*/ 1091486 h 1092200"/>
                    <a:gd name="connsiteX129" fmla="*/ 597887 w 1129633"/>
                    <a:gd name="connsiteY129" fmla="*/ 1091486 h 1092200"/>
                    <a:gd name="connsiteX130" fmla="*/ 593606 w 1129633"/>
                    <a:gd name="connsiteY130" fmla="*/ 1091486 h 1092200"/>
                    <a:gd name="connsiteX131" fmla="*/ 590753 w 1129633"/>
                    <a:gd name="connsiteY131" fmla="*/ 1090772 h 1092200"/>
                    <a:gd name="connsiteX132" fmla="*/ 586472 w 1129633"/>
                    <a:gd name="connsiteY132" fmla="*/ 1090772 h 1092200"/>
                    <a:gd name="connsiteX133" fmla="*/ 583618 w 1129633"/>
                    <a:gd name="connsiteY133" fmla="*/ 1090059 h 1092200"/>
                    <a:gd name="connsiteX134" fmla="*/ 580051 w 1129633"/>
                    <a:gd name="connsiteY134" fmla="*/ 1090059 h 1092200"/>
                    <a:gd name="connsiteX135" fmla="*/ 576483 w 1129633"/>
                    <a:gd name="connsiteY135" fmla="*/ 1089345 h 1092200"/>
                    <a:gd name="connsiteX136" fmla="*/ 572916 w 1129633"/>
                    <a:gd name="connsiteY136" fmla="*/ 1088631 h 1092200"/>
                    <a:gd name="connsiteX137" fmla="*/ 570062 w 1129633"/>
                    <a:gd name="connsiteY137" fmla="*/ 1088631 h 1092200"/>
                    <a:gd name="connsiteX138" fmla="*/ 566495 w 1129633"/>
                    <a:gd name="connsiteY138" fmla="*/ 1087917 h 1092200"/>
                    <a:gd name="connsiteX139" fmla="*/ 562927 w 1129633"/>
                    <a:gd name="connsiteY139" fmla="*/ 1087203 h 1092200"/>
                    <a:gd name="connsiteX140" fmla="*/ 559360 w 1129633"/>
                    <a:gd name="connsiteY140" fmla="*/ 1086489 h 1092200"/>
                    <a:gd name="connsiteX141" fmla="*/ 556506 w 1129633"/>
                    <a:gd name="connsiteY141" fmla="*/ 1085775 h 1092200"/>
                    <a:gd name="connsiteX142" fmla="*/ 552939 w 1129633"/>
                    <a:gd name="connsiteY142" fmla="*/ 1085062 h 1092200"/>
                    <a:gd name="connsiteX143" fmla="*/ 550085 w 1129633"/>
                    <a:gd name="connsiteY143" fmla="*/ 1084348 h 1092200"/>
                    <a:gd name="connsiteX144" fmla="*/ 546517 w 1129633"/>
                    <a:gd name="connsiteY144" fmla="*/ 1083634 h 1092200"/>
                    <a:gd name="connsiteX145" fmla="*/ 543664 w 1129633"/>
                    <a:gd name="connsiteY145" fmla="*/ 1082920 h 1092200"/>
                    <a:gd name="connsiteX146" fmla="*/ 540096 w 1129633"/>
                    <a:gd name="connsiteY146" fmla="*/ 1081492 h 1092200"/>
                    <a:gd name="connsiteX147" fmla="*/ 537242 w 1129633"/>
                    <a:gd name="connsiteY147" fmla="*/ 1080778 h 1092200"/>
                    <a:gd name="connsiteX148" fmla="*/ 533675 w 1129633"/>
                    <a:gd name="connsiteY148" fmla="*/ 1080065 h 1092200"/>
                    <a:gd name="connsiteX149" fmla="*/ 530821 w 1129633"/>
                    <a:gd name="connsiteY149" fmla="*/ 1078637 h 1092200"/>
                    <a:gd name="connsiteX150" fmla="*/ 527254 w 1129633"/>
                    <a:gd name="connsiteY150" fmla="*/ 1077923 h 1092200"/>
                    <a:gd name="connsiteX151" fmla="*/ 524400 w 1129633"/>
                    <a:gd name="connsiteY151" fmla="*/ 1077209 h 1092200"/>
                    <a:gd name="connsiteX152" fmla="*/ 520833 w 1129633"/>
                    <a:gd name="connsiteY152" fmla="*/ 1075781 h 1092200"/>
                    <a:gd name="connsiteX153" fmla="*/ 517979 w 1129633"/>
                    <a:gd name="connsiteY153" fmla="*/ 1074354 h 1092200"/>
                    <a:gd name="connsiteX154" fmla="*/ 515125 w 1129633"/>
                    <a:gd name="connsiteY154" fmla="*/ 1073640 h 1092200"/>
                    <a:gd name="connsiteX155" fmla="*/ 511558 w 1129633"/>
                    <a:gd name="connsiteY155" fmla="*/ 1072212 h 1092200"/>
                    <a:gd name="connsiteX156" fmla="*/ 508704 w 1129633"/>
                    <a:gd name="connsiteY156" fmla="*/ 1070785 h 1092200"/>
                    <a:gd name="connsiteX157" fmla="*/ 505850 w 1129633"/>
                    <a:gd name="connsiteY157" fmla="*/ 1069357 h 1092200"/>
                    <a:gd name="connsiteX158" fmla="*/ 502996 w 1129633"/>
                    <a:gd name="connsiteY158" fmla="*/ 1068643 h 1092200"/>
                    <a:gd name="connsiteX159" fmla="*/ 499429 w 1129633"/>
                    <a:gd name="connsiteY159" fmla="*/ 1067215 h 1092200"/>
                    <a:gd name="connsiteX160" fmla="*/ 496575 w 1129633"/>
                    <a:gd name="connsiteY160" fmla="*/ 1065788 h 1092200"/>
                    <a:gd name="connsiteX161" fmla="*/ 493721 w 1129633"/>
                    <a:gd name="connsiteY161" fmla="*/ 1064360 h 1092200"/>
                    <a:gd name="connsiteX162" fmla="*/ 490867 w 1129633"/>
                    <a:gd name="connsiteY162" fmla="*/ 1062932 h 1092200"/>
                    <a:gd name="connsiteX163" fmla="*/ 488013 w 1129633"/>
                    <a:gd name="connsiteY163" fmla="*/ 1061504 h 1092200"/>
                    <a:gd name="connsiteX164" fmla="*/ 485159 w 1129633"/>
                    <a:gd name="connsiteY164" fmla="*/ 1060077 h 1092200"/>
                    <a:gd name="connsiteX165" fmla="*/ 482305 w 1129633"/>
                    <a:gd name="connsiteY165" fmla="*/ 1057935 h 1092200"/>
                    <a:gd name="connsiteX166" fmla="*/ 479451 w 1129633"/>
                    <a:gd name="connsiteY166" fmla="*/ 1056507 h 1092200"/>
                    <a:gd name="connsiteX167" fmla="*/ 475884 w 1129633"/>
                    <a:gd name="connsiteY167" fmla="*/ 1055080 h 1092200"/>
                    <a:gd name="connsiteX168" fmla="*/ 473744 w 1129633"/>
                    <a:gd name="connsiteY168" fmla="*/ 1053652 h 1092200"/>
                    <a:gd name="connsiteX169" fmla="*/ 470890 w 1129633"/>
                    <a:gd name="connsiteY169" fmla="*/ 1051510 h 1092200"/>
                    <a:gd name="connsiteX170" fmla="*/ 468036 w 1129633"/>
                    <a:gd name="connsiteY170" fmla="*/ 1050083 h 1092200"/>
                    <a:gd name="connsiteX171" fmla="*/ 465182 w 1129633"/>
                    <a:gd name="connsiteY171" fmla="*/ 1047941 h 1092200"/>
                    <a:gd name="connsiteX172" fmla="*/ 463042 w 1129633"/>
                    <a:gd name="connsiteY172" fmla="*/ 1046513 h 1092200"/>
                    <a:gd name="connsiteX173" fmla="*/ 459474 w 1129633"/>
                    <a:gd name="connsiteY173" fmla="*/ 1044372 h 1092200"/>
                    <a:gd name="connsiteX174" fmla="*/ 458047 w 1129633"/>
                    <a:gd name="connsiteY174" fmla="*/ 1042944 h 1092200"/>
                    <a:gd name="connsiteX175" fmla="*/ 454480 w 1129633"/>
                    <a:gd name="connsiteY175" fmla="*/ 1040803 h 1092200"/>
                    <a:gd name="connsiteX176" fmla="*/ 453053 w 1129633"/>
                    <a:gd name="connsiteY176" fmla="*/ 1040089 h 1092200"/>
                    <a:gd name="connsiteX177" fmla="*/ 448772 w 1129633"/>
                    <a:gd name="connsiteY177" fmla="*/ 1036519 h 1092200"/>
                    <a:gd name="connsiteX178" fmla="*/ 424514 w 1129633"/>
                    <a:gd name="connsiteY178" fmla="*/ 1016531 h 1092200"/>
                    <a:gd name="connsiteX179" fmla="*/ 424514 w 1129633"/>
                    <a:gd name="connsiteY179" fmla="*/ 1015818 h 1092200"/>
                    <a:gd name="connsiteX180" fmla="*/ 420947 w 1129633"/>
                    <a:gd name="connsiteY180" fmla="*/ 1012248 h 1092200"/>
                    <a:gd name="connsiteX181" fmla="*/ 419520 w 1129633"/>
                    <a:gd name="connsiteY181" fmla="*/ 1011534 h 1092200"/>
                    <a:gd name="connsiteX182" fmla="*/ 415953 w 1129633"/>
                    <a:gd name="connsiteY182" fmla="*/ 1007965 h 1092200"/>
                    <a:gd name="connsiteX183" fmla="*/ 415239 w 1129633"/>
                    <a:gd name="connsiteY183" fmla="*/ 1007251 h 1092200"/>
                    <a:gd name="connsiteX184" fmla="*/ 411672 w 1129633"/>
                    <a:gd name="connsiteY184" fmla="*/ 1003682 h 1092200"/>
                    <a:gd name="connsiteX185" fmla="*/ 410958 w 1129633"/>
                    <a:gd name="connsiteY185" fmla="*/ 1002254 h 1092200"/>
                    <a:gd name="connsiteX186" fmla="*/ 407391 w 1129633"/>
                    <a:gd name="connsiteY186" fmla="*/ 998685 h 1092200"/>
                    <a:gd name="connsiteX187" fmla="*/ 406678 w 1129633"/>
                    <a:gd name="connsiteY187" fmla="*/ 997257 h 1092200"/>
                    <a:gd name="connsiteX188" fmla="*/ 403110 w 1129633"/>
                    <a:gd name="connsiteY188" fmla="*/ 993688 h 1092200"/>
                    <a:gd name="connsiteX189" fmla="*/ 402397 w 1129633"/>
                    <a:gd name="connsiteY189" fmla="*/ 992260 h 1092200"/>
                    <a:gd name="connsiteX190" fmla="*/ 399543 w 1129633"/>
                    <a:gd name="connsiteY190" fmla="*/ 988691 h 1092200"/>
                    <a:gd name="connsiteX191" fmla="*/ 398116 w 1129633"/>
                    <a:gd name="connsiteY191" fmla="*/ 987263 h 1092200"/>
                    <a:gd name="connsiteX192" fmla="*/ 395262 w 1129633"/>
                    <a:gd name="connsiteY192" fmla="*/ 983694 h 1092200"/>
                    <a:gd name="connsiteX193" fmla="*/ 394549 w 1129633"/>
                    <a:gd name="connsiteY193" fmla="*/ 982266 h 1092200"/>
                    <a:gd name="connsiteX194" fmla="*/ 391695 w 1129633"/>
                    <a:gd name="connsiteY194" fmla="*/ 978697 h 1092200"/>
                    <a:gd name="connsiteX195" fmla="*/ 390268 w 1129633"/>
                    <a:gd name="connsiteY195" fmla="*/ 977269 h 1092200"/>
                    <a:gd name="connsiteX196" fmla="*/ 387414 w 1129633"/>
                    <a:gd name="connsiteY196" fmla="*/ 972986 h 1092200"/>
                    <a:gd name="connsiteX197" fmla="*/ 387414 w 1129633"/>
                    <a:gd name="connsiteY197" fmla="*/ 972272 h 1092200"/>
                    <a:gd name="connsiteX198" fmla="*/ 384560 w 1129633"/>
                    <a:gd name="connsiteY198" fmla="*/ 967989 h 1092200"/>
                    <a:gd name="connsiteX199" fmla="*/ 383847 w 1129633"/>
                    <a:gd name="connsiteY199" fmla="*/ 966561 h 1092200"/>
                    <a:gd name="connsiteX200" fmla="*/ 380993 w 1129633"/>
                    <a:gd name="connsiteY200" fmla="*/ 962278 h 1092200"/>
                    <a:gd name="connsiteX201" fmla="*/ 380279 w 1129633"/>
                    <a:gd name="connsiteY201" fmla="*/ 960851 h 1092200"/>
                    <a:gd name="connsiteX202" fmla="*/ 378139 w 1129633"/>
                    <a:gd name="connsiteY202" fmla="*/ 956567 h 1092200"/>
                    <a:gd name="connsiteX203" fmla="*/ 377425 w 1129633"/>
                    <a:gd name="connsiteY203" fmla="*/ 955854 h 1092200"/>
                    <a:gd name="connsiteX204" fmla="*/ 374571 w 1129633"/>
                    <a:gd name="connsiteY204" fmla="*/ 951570 h 1092200"/>
                    <a:gd name="connsiteX205" fmla="*/ 373858 w 1129633"/>
                    <a:gd name="connsiteY205" fmla="*/ 950143 h 1092200"/>
                    <a:gd name="connsiteX206" fmla="*/ 371718 w 1129633"/>
                    <a:gd name="connsiteY206" fmla="*/ 945860 h 1092200"/>
                    <a:gd name="connsiteX207" fmla="*/ 371004 w 1129633"/>
                    <a:gd name="connsiteY207" fmla="*/ 944432 h 1092200"/>
                    <a:gd name="connsiteX208" fmla="*/ 368150 w 1129633"/>
                    <a:gd name="connsiteY208" fmla="*/ 939435 h 1092200"/>
                    <a:gd name="connsiteX209" fmla="*/ 368150 w 1129633"/>
                    <a:gd name="connsiteY209" fmla="*/ 938721 h 1092200"/>
                    <a:gd name="connsiteX210" fmla="*/ 365296 w 1129633"/>
                    <a:gd name="connsiteY210" fmla="*/ 933724 h 1092200"/>
                    <a:gd name="connsiteX211" fmla="*/ 365296 w 1129633"/>
                    <a:gd name="connsiteY211" fmla="*/ 933010 h 1092200"/>
                    <a:gd name="connsiteX212" fmla="*/ 363156 w 1129633"/>
                    <a:gd name="connsiteY212" fmla="*/ 928013 h 1092200"/>
                    <a:gd name="connsiteX213" fmla="*/ 362442 w 1129633"/>
                    <a:gd name="connsiteY213" fmla="*/ 927299 h 1092200"/>
                    <a:gd name="connsiteX214" fmla="*/ 360302 w 1129633"/>
                    <a:gd name="connsiteY214" fmla="*/ 921589 h 1092200"/>
                    <a:gd name="connsiteX215" fmla="*/ 360302 w 1129633"/>
                    <a:gd name="connsiteY215" fmla="*/ 920875 h 1092200"/>
                    <a:gd name="connsiteX216" fmla="*/ 357448 w 1129633"/>
                    <a:gd name="connsiteY216" fmla="*/ 915878 h 1092200"/>
                    <a:gd name="connsiteX217" fmla="*/ 357448 w 1129633"/>
                    <a:gd name="connsiteY217" fmla="*/ 915164 h 1092200"/>
                    <a:gd name="connsiteX218" fmla="*/ 339611 w 1129633"/>
                    <a:gd name="connsiteY218" fmla="*/ 832356 h 1092200"/>
                    <a:gd name="connsiteX219" fmla="*/ 286101 w 1129633"/>
                    <a:gd name="connsiteY219" fmla="*/ 832356 h 1092200"/>
                    <a:gd name="connsiteX220" fmla="*/ 0 w 1129633"/>
                    <a:gd name="connsiteY220" fmla="*/ 546100 h 1092200"/>
                    <a:gd name="connsiteX221" fmla="*/ 286101 w 1129633"/>
                    <a:gd name="connsiteY221" fmla="*/ 259130 h 1092200"/>
                    <a:gd name="connsiteX222" fmla="*/ 729879 w 1129633"/>
                    <a:gd name="connsiteY222" fmla="*/ 259130 h 1092200"/>
                    <a:gd name="connsiteX223" fmla="*/ 843321 w 1129633"/>
                    <a:gd name="connsiteY223" fmla="*/ 145627 h 1092200"/>
                    <a:gd name="connsiteX224" fmla="*/ 729879 w 1129633"/>
                    <a:gd name="connsiteY224" fmla="*/ 31410 h 1092200"/>
                    <a:gd name="connsiteX225" fmla="*/ 339611 w 1129633"/>
                    <a:gd name="connsiteY225" fmla="*/ 31410 h 1092200"/>
                    <a:gd name="connsiteX226" fmla="*/ 323915 w 1129633"/>
                    <a:gd name="connsiteY226" fmla="*/ 19988 h 1092200"/>
                    <a:gd name="connsiteX227" fmla="*/ 338898 w 1129633"/>
                    <a:gd name="connsiteY227" fmla="*/ 0 h 1092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</a:cxnLst>
                  <a:rect l="l" t="t" r="r" b="b"/>
                  <a:pathLst>
                    <a:path w="1129633" h="1092200">
                      <a:moveTo>
                        <a:pt x="906463" y="944562"/>
                      </a:moveTo>
                      <a:cubicBezTo>
                        <a:pt x="906463" y="944562"/>
                        <a:pt x="906463" y="944562"/>
                        <a:pt x="1112991" y="944562"/>
                      </a:cubicBezTo>
                      <a:cubicBezTo>
                        <a:pt x="1121567" y="944562"/>
                        <a:pt x="1128713" y="951577"/>
                        <a:pt x="1128713" y="959293"/>
                      </a:cubicBezTo>
                      <a:cubicBezTo>
                        <a:pt x="1128713" y="967710"/>
                        <a:pt x="1121567" y="974725"/>
                        <a:pt x="1112991" y="974725"/>
                      </a:cubicBezTo>
                      <a:cubicBezTo>
                        <a:pt x="1112991" y="974725"/>
                        <a:pt x="1112991" y="974725"/>
                        <a:pt x="906463" y="974725"/>
                      </a:cubicBezTo>
                      <a:cubicBezTo>
                        <a:pt x="906463" y="974725"/>
                        <a:pt x="906463" y="974725"/>
                        <a:pt x="906463" y="944562"/>
                      </a:cubicBezTo>
                      <a:close/>
                      <a:moveTo>
                        <a:pt x="906463" y="658812"/>
                      </a:moveTo>
                      <a:cubicBezTo>
                        <a:pt x="1113800" y="658812"/>
                        <a:pt x="1113800" y="658812"/>
                        <a:pt x="1113800" y="658812"/>
                      </a:cubicBezTo>
                      <a:cubicBezTo>
                        <a:pt x="1122410" y="658812"/>
                        <a:pt x="1129584" y="664255"/>
                        <a:pt x="1129584" y="672419"/>
                      </a:cubicBezTo>
                      <a:cubicBezTo>
                        <a:pt x="1130301" y="680584"/>
                        <a:pt x="1123127" y="687387"/>
                        <a:pt x="1113800" y="687387"/>
                      </a:cubicBezTo>
                      <a:cubicBezTo>
                        <a:pt x="1113800" y="687387"/>
                        <a:pt x="1113800" y="687387"/>
                        <a:pt x="906463" y="687387"/>
                      </a:cubicBezTo>
                      <a:cubicBezTo>
                        <a:pt x="906463" y="687387"/>
                        <a:pt x="906463" y="687387"/>
                        <a:pt x="906463" y="658812"/>
                      </a:cubicBezTo>
                      <a:close/>
                      <a:moveTo>
                        <a:pt x="613918" y="571500"/>
                      </a:moveTo>
                      <a:cubicBezTo>
                        <a:pt x="479059" y="571500"/>
                        <a:pt x="369888" y="681425"/>
                        <a:pt x="369888" y="816332"/>
                      </a:cubicBezTo>
                      <a:cubicBezTo>
                        <a:pt x="369888" y="950526"/>
                        <a:pt x="479059" y="1060450"/>
                        <a:pt x="613918" y="1060450"/>
                      </a:cubicBezTo>
                      <a:cubicBezTo>
                        <a:pt x="613918" y="1060450"/>
                        <a:pt x="613918" y="1060450"/>
                        <a:pt x="842963" y="1060450"/>
                      </a:cubicBezTo>
                      <a:cubicBezTo>
                        <a:pt x="842963" y="571500"/>
                        <a:pt x="842963" y="571500"/>
                        <a:pt x="842963" y="571500"/>
                      </a:cubicBezTo>
                      <a:cubicBezTo>
                        <a:pt x="842963" y="571500"/>
                        <a:pt x="842963" y="571500"/>
                        <a:pt x="613918" y="571500"/>
                      </a:cubicBezTo>
                      <a:close/>
                      <a:moveTo>
                        <a:pt x="338898" y="0"/>
                      </a:moveTo>
                      <a:cubicBezTo>
                        <a:pt x="338898" y="0"/>
                        <a:pt x="338898" y="0"/>
                        <a:pt x="729879" y="0"/>
                      </a:cubicBezTo>
                      <a:cubicBezTo>
                        <a:pt x="809788" y="0"/>
                        <a:pt x="874713" y="65675"/>
                        <a:pt x="874713" y="145627"/>
                      </a:cubicBezTo>
                      <a:cubicBezTo>
                        <a:pt x="874713" y="224865"/>
                        <a:pt x="809788" y="290540"/>
                        <a:pt x="729879" y="290540"/>
                      </a:cubicBezTo>
                      <a:cubicBezTo>
                        <a:pt x="729879" y="290540"/>
                        <a:pt x="729879" y="290540"/>
                        <a:pt x="286101" y="290540"/>
                      </a:cubicBezTo>
                      <a:cubicBezTo>
                        <a:pt x="145548" y="290540"/>
                        <a:pt x="30679" y="405470"/>
                        <a:pt x="30679" y="546100"/>
                      </a:cubicBezTo>
                      <a:cubicBezTo>
                        <a:pt x="30679" y="686016"/>
                        <a:pt x="145548" y="800947"/>
                        <a:pt x="286101" y="800947"/>
                      </a:cubicBezTo>
                      <a:cubicBezTo>
                        <a:pt x="286101" y="800947"/>
                        <a:pt x="286101" y="800947"/>
                        <a:pt x="339611" y="800947"/>
                      </a:cubicBezTo>
                      <a:cubicBezTo>
                        <a:pt x="341038" y="771679"/>
                        <a:pt x="347460" y="743124"/>
                        <a:pt x="357448" y="717426"/>
                      </a:cubicBezTo>
                      <a:cubicBezTo>
                        <a:pt x="357448" y="716712"/>
                        <a:pt x="357448" y="716712"/>
                        <a:pt x="357448" y="716712"/>
                      </a:cubicBezTo>
                      <a:cubicBezTo>
                        <a:pt x="358162" y="714570"/>
                        <a:pt x="358875" y="713143"/>
                        <a:pt x="360302" y="711001"/>
                      </a:cubicBezTo>
                      <a:cubicBezTo>
                        <a:pt x="360302" y="711001"/>
                        <a:pt x="360302" y="711001"/>
                        <a:pt x="360302" y="710287"/>
                      </a:cubicBezTo>
                      <a:cubicBezTo>
                        <a:pt x="361016" y="708859"/>
                        <a:pt x="361729" y="707432"/>
                        <a:pt x="362442" y="705290"/>
                      </a:cubicBezTo>
                      <a:cubicBezTo>
                        <a:pt x="362442" y="705290"/>
                        <a:pt x="362442" y="704576"/>
                        <a:pt x="363156" y="704576"/>
                      </a:cubicBezTo>
                      <a:cubicBezTo>
                        <a:pt x="363869" y="703149"/>
                        <a:pt x="364583" y="701007"/>
                        <a:pt x="365296" y="699579"/>
                      </a:cubicBezTo>
                      <a:cubicBezTo>
                        <a:pt x="365296" y="699579"/>
                        <a:pt x="365296" y="699579"/>
                        <a:pt x="365296" y="698865"/>
                      </a:cubicBezTo>
                      <a:cubicBezTo>
                        <a:pt x="366010" y="696724"/>
                        <a:pt x="367437" y="695296"/>
                        <a:pt x="368150" y="693868"/>
                      </a:cubicBezTo>
                      <a:cubicBezTo>
                        <a:pt x="368150" y="693155"/>
                        <a:pt x="368150" y="693155"/>
                        <a:pt x="368150" y="692441"/>
                      </a:cubicBezTo>
                      <a:cubicBezTo>
                        <a:pt x="368864" y="691013"/>
                        <a:pt x="370291" y="689585"/>
                        <a:pt x="371004" y="688158"/>
                      </a:cubicBezTo>
                      <a:cubicBezTo>
                        <a:pt x="371004" y="687444"/>
                        <a:pt x="371004" y="687444"/>
                        <a:pt x="371718" y="686730"/>
                      </a:cubicBezTo>
                      <a:cubicBezTo>
                        <a:pt x="372431" y="685302"/>
                        <a:pt x="373145" y="683874"/>
                        <a:pt x="373858" y="682447"/>
                      </a:cubicBezTo>
                      <a:cubicBezTo>
                        <a:pt x="373858" y="681733"/>
                        <a:pt x="374571" y="681733"/>
                        <a:pt x="374571" y="681019"/>
                      </a:cubicBezTo>
                      <a:cubicBezTo>
                        <a:pt x="375285" y="679591"/>
                        <a:pt x="375998" y="678164"/>
                        <a:pt x="377425" y="676736"/>
                      </a:cubicBezTo>
                      <a:cubicBezTo>
                        <a:pt x="377425" y="676022"/>
                        <a:pt x="377425" y="676022"/>
                        <a:pt x="378139" y="675308"/>
                      </a:cubicBezTo>
                      <a:cubicBezTo>
                        <a:pt x="378852" y="673880"/>
                        <a:pt x="379566" y="672453"/>
                        <a:pt x="380279" y="671025"/>
                      </a:cubicBezTo>
                      <a:cubicBezTo>
                        <a:pt x="380993" y="671025"/>
                        <a:pt x="380993" y="670311"/>
                        <a:pt x="380993" y="669597"/>
                      </a:cubicBezTo>
                      <a:cubicBezTo>
                        <a:pt x="382420" y="668883"/>
                        <a:pt x="383133" y="667456"/>
                        <a:pt x="383847" y="666028"/>
                      </a:cubicBezTo>
                      <a:cubicBezTo>
                        <a:pt x="383847" y="665314"/>
                        <a:pt x="384560" y="664600"/>
                        <a:pt x="384560" y="664600"/>
                      </a:cubicBezTo>
                      <a:cubicBezTo>
                        <a:pt x="385987" y="663173"/>
                        <a:pt x="386700" y="661745"/>
                        <a:pt x="387414" y="660317"/>
                      </a:cubicBezTo>
                      <a:cubicBezTo>
                        <a:pt x="387414" y="660317"/>
                        <a:pt x="387414" y="659603"/>
                        <a:pt x="387414" y="658889"/>
                      </a:cubicBezTo>
                      <a:cubicBezTo>
                        <a:pt x="388841" y="657462"/>
                        <a:pt x="389554" y="656748"/>
                        <a:pt x="390268" y="655320"/>
                      </a:cubicBezTo>
                      <a:cubicBezTo>
                        <a:pt x="390981" y="654606"/>
                        <a:pt x="390981" y="654606"/>
                        <a:pt x="391695" y="653892"/>
                      </a:cubicBezTo>
                      <a:cubicBezTo>
                        <a:pt x="392408" y="652465"/>
                        <a:pt x="393122" y="651037"/>
                        <a:pt x="394549" y="650323"/>
                      </a:cubicBezTo>
                      <a:cubicBezTo>
                        <a:pt x="394549" y="649609"/>
                        <a:pt x="395262" y="648895"/>
                        <a:pt x="395262" y="648895"/>
                      </a:cubicBezTo>
                      <a:cubicBezTo>
                        <a:pt x="395976" y="647468"/>
                        <a:pt x="397402" y="646040"/>
                        <a:pt x="398116" y="644612"/>
                      </a:cubicBezTo>
                      <a:cubicBezTo>
                        <a:pt x="398829" y="644612"/>
                        <a:pt x="398829" y="643898"/>
                        <a:pt x="399543" y="643898"/>
                      </a:cubicBezTo>
                      <a:cubicBezTo>
                        <a:pt x="400256" y="642471"/>
                        <a:pt x="401683" y="641043"/>
                        <a:pt x="402397" y="639615"/>
                      </a:cubicBezTo>
                      <a:cubicBezTo>
                        <a:pt x="402397" y="639615"/>
                        <a:pt x="402397" y="639615"/>
                        <a:pt x="403110" y="638901"/>
                      </a:cubicBezTo>
                      <a:cubicBezTo>
                        <a:pt x="404537" y="637474"/>
                        <a:pt x="405251" y="636046"/>
                        <a:pt x="406678" y="634618"/>
                      </a:cubicBezTo>
                      <a:cubicBezTo>
                        <a:pt x="406678" y="634618"/>
                        <a:pt x="406678" y="634618"/>
                        <a:pt x="407391" y="633904"/>
                      </a:cubicBezTo>
                      <a:cubicBezTo>
                        <a:pt x="408818" y="632477"/>
                        <a:pt x="409531" y="631049"/>
                        <a:pt x="410958" y="630335"/>
                      </a:cubicBezTo>
                      <a:cubicBezTo>
                        <a:pt x="410958" y="629621"/>
                        <a:pt x="411672" y="629621"/>
                        <a:pt x="411672" y="628907"/>
                      </a:cubicBezTo>
                      <a:cubicBezTo>
                        <a:pt x="413099" y="627480"/>
                        <a:pt x="413812" y="626766"/>
                        <a:pt x="415239" y="625338"/>
                      </a:cubicBezTo>
                      <a:cubicBezTo>
                        <a:pt x="415953" y="625338"/>
                        <a:pt x="415953" y="624624"/>
                        <a:pt x="415953" y="624624"/>
                      </a:cubicBezTo>
                      <a:cubicBezTo>
                        <a:pt x="417380" y="623197"/>
                        <a:pt x="418807" y="621769"/>
                        <a:pt x="419520" y="621055"/>
                      </a:cubicBezTo>
                      <a:cubicBezTo>
                        <a:pt x="420233" y="620341"/>
                        <a:pt x="420233" y="620341"/>
                        <a:pt x="420947" y="620341"/>
                      </a:cubicBezTo>
                      <a:cubicBezTo>
                        <a:pt x="421660" y="618913"/>
                        <a:pt x="423087" y="617486"/>
                        <a:pt x="424514" y="616058"/>
                      </a:cubicBezTo>
                      <a:cubicBezTo>
                        <a:pt x="424514" y="616058"/>
                        <a:pt x="424514" y="616058"/>
                        <a:pt x="425228" y="616058"/>
                      </a:cubicBezTo>
                      <a:cubicBezTo>
                        <a:pt x="432362" y="608920"/>
                        <a:pt x="440211" y="601781"/>
                        <a:pt x="448772" y="595356"/>
                      </a:cubicBezTo>
                      <a:cubicBezTo>
                        <a:pt x="450199" y="594642"/>
                        <a:pt x="451626" y="593929"/>
                        <a:pt x="453053" y="592501"/>
                      </a:cubicBezTo>
                      <a:cubicBezTo>
                        <a:pt x="453053" y="592501"/>
                        <a:pt x="453767" y="591787"/>
                        <a:pt x="454480" y="591787"/>
                      </a:cubicBezTo>
                      <a:cubicBezTo>
                        <a:pt x="455193" y="591073"/>
                        <a:pt x="456620" y="590359"/>
                        <a:pt x="458047" y="588932"/>
                      </a:cubicBezTo>
                      <a:cubicBezTo>
                        <a:pt x="458761" y="588932"/>
                        <a:pt x="458761" y="588218"/>
                        <a:pt x="459474" y="588218"/>
                      </a:cubicBezTo>
                      <a:cubicBezTo>
                        <a:pt x="460901" y="587504"/>
                        <a:pt x="461615" y="586790"/>
                        <a:pt x="463042" y="586076"/>
                      </a:cubicBezTo>
                      <a:cubicBezTo>
                        <a:pt x="463755" y="585362"/>
                        <a:pt x="464469" y="584648"/>
                        <a:pt x="465182" y="584648"/>
                      </a:cubicBezTo>
                      <a:cubicBezTo>
                        <a:pt x="465895" y="583935"/>
                        <a:pt x="467322" y="583221"/>
                        <a:pt x="468036" y="582507"/>
                      </a:cubicBezTo>
                      <a:cubicBezTo>
                        <a:pt x="468749" y="581793"/>
                        <a:pt x="470176" y="581079"/>
                        <a:pt x="470890" y="581079"/>
                      </a:cubicBezTo>
                      <a:cubicBezTo>
                        <a:pt x="471603" y="580365"/>
                        <a:pt x="473030" y="579651"/>
                        <a:pt x="473744" y="578938"/>
                      </a:cubicBezTo>
                      <a:cubicBezTo>
                        <a:pt x="474457" y="578224"/>
                        <a:pt x="475171" y="578224"/>
                        <a:pt x="476598" y="577510"/>
                      </a:cubicBezTo>
                      <a:cubicBezTo>
                        <a:pt x="477311" y="576796"/>
                        <a:pt x="478024" y="576082"/>
                        <a:pt x="479451" y="575368"/>
                      </a:cubicBezTo>
                      <a:cubicBezTo>
                        <a:pt x="480165" y="575368"/>
                        <a:pt x="480878" y="574654"/>
                        <a:pt x="482305" y="573941"/>
                      </a:cubicBezTo>
                      <a:cubicBezTo>
                        <a:pt x="483019" y="573941"/>
                        <a:pt x="483732" y="573227"/>
                        <a:pt x="485159" y="572513"/>
                      </a:cubicBezTo>
                      <a:cubicBezTo>
                        <a:pt x="485873" y="571799"/>
                        <a:pt x="486586" y="571799"/>
                        <a:pt x="488013" y="571085"/>
                      </a:cubicBezTo>
                      <a:cubicBezTo>
                        <a:pt x="488727" y="570371"/>
                        <a:pt x="490153" y="570371"/>
                        <a:pt x="490867" y="569657"/>
                      </a:cubicBezTo>
                      <a:cubicBezTo>
                        <a:pt x="491580" y="568944"/>
                        <a:pt x="493007" y="568944"/>
                        <a:pt x="493721" y="568230"/>
                      </a:cubicBezTo>
                      <a:cubicBezTo>
                        <a:pt x="494434" y="567516"/>
                        <a:pt x="495861" y="567516"/>
                        <a:pt x="496575" y="566802"/>
                      </a:cubicBezTo>
                      <a:cubicBezTo>
                        <a:pt x="498002" y="566088"/>
                        <a:pt x="498715" y="566088"/>
                        <a:pt x="499429" y="565374"/>
                      </a:cubicBezTo>
                      <a:cubicBezTo>
                        <a:pt x="500855" y="564660"/>
                        <a:pt x="501569" y="564660"/>
                        <a:pt x="502996" y="563947"/>
                      </a:cubicBezTo>
                      <a:cubicBezTo>
                        <a:pt x="503709" y="563233"/>
                        <a:pt x="504423" y="563233"/>
                        <a:pt x="505850" y="562519"/>
                      </a:cubicBezTo>
                      <a:cubicBezTo>
                        <a:pt x="506563" y="562519"/>
                        <a:pt x="507990" y="561805"/>
                        <a:pt x="508704" y="561091"/>
                      </a:cubicBezTo>
                      <a:cubicBezTo>
                        <a:pt x="509417" y="561091"/>
                        <a:pt x="510844" y="560377"/>
                        <a:pt x="511558" y="560377"/>
                      </a:cubicBezTo>
                      <a:cubicBezTo>
                        <a:pt x="512984" y="559663"/>
                        <a:pt x="513698" y="559663"/>
                        <a:pt x="515125" y="558950"/>
                      </a:cubicBezTo>
                      <a:cubicBezTo>
                        <a:pt x="515838" y="558236"/>
                        <a:pt x="517265" y="558236"/>
                        <a:pt x="517979" y="557522"/>
                      </a:cubicBezTo>
                      <a:cubicBezTo>
                        <a:pt x="518692" y="557522"/>
                        <a:pt x="520119" y="556808"/>
                        <a:pt x="520833" y="556808"/>
                      </a:cubicBezTo>
                      <a:cubicBezTo>
                        <a:pt x="522260" y="556094"/>
                        <a:pt x="522973" y="556094"/>
                        <a:pt x="524400" y="555380"/>
                      </a:cubicBezTo>
                      <a:cubicBezTo>
                        <a:pt x="525113" y="555380"/>
                        <a:pt x="526540" y="554666"/>
                        <a:pt x="527254" y="554666"/>
                      </a:cubicBezTo>
                      <a:cubicBezTo>
                        <a:pt x="528681" y="553953"/>
                        <a:pt x="529394" y="553953"/>
                        <a:pt x="530821" y="553239"/>
                      </a:cubicBezTo>
                      <a:cubicBezTo>
                        <a:pt x="531535" y="553239"/>
                        <a:pt x="532962" y="552525"/>
                        <a:pt x="533675" y="552525"/>
                      </a:cubicBezTo>
                      <a:cubicBezTo>
                        <a:pt x="535102" y="551811"/>
                        <a:pt x="535815" y="551811"/>
                        <a:pt x="537242" y="551811"/>
                      </a:cubicBezTo>
                      <a:cubicBezTo>
                        <a:pt x="537956" y="551097"/>
                        <a:pt x="539383" y="551097"/>
                        <a:pt x="540096" y="550383"/>
                      </a:cubicBezTo>
                      <a:cubicBezTo>
                        <a:pt x="541523" y="550383"/>
                        <a:pt x="542237" y="549669"/>
                        <a:pt x="543664" y="549669"/>
                      </a:cubicBezTo>
                      <a:cubicBezTo>
                        <a:pt x="544377" y="549669"/>
                        <a:pt x="545804" y="548956"/>
                        <a:pt x="546517" y="548956"/>
                      </a:cubicBezTo>
                      <a:cubicBezTo>
                        <a:pt x="547944" y="548242"/>
                        <a:pt x="548658" y="548242"/>
                        <a:pt x="550085" y="548242"/>
                      </a:cubicBezTo>
                      <a:cubicBezTo>
                        <a:pt x="550798" y="547528"/>
                        <a:pt x="552225" y="547528"/>
                        <a:pt x="552939" y="547528"/>
                      </a:cubicBezTo>
                      <a:cubicBezTo>
                        <a:pt x="554366" y="546814"/>
                        <a:pt x="555079" y="546814"/>
                        <a:pt x="556506" y="546814"/>
                      </a:cubicBezTo>
                      <a:cubicBezTo>
                        <a:pt x="557933" y="546100"/>
                        <a:pt x="558646" y="546100"/>
                        <a:pt x="559360" y="546100"/>
                      </a:cubicBezTo>
                      <a:cubicBezTo>
                        <a:pt x="560787" y="546100"/>
                        <a:pt x="562214" y="546100"/>
                        <a:pt x="562927" y="546100"/>
                      </a:cubicBezTo>
                      <a:cubicBezTo>
                        <a:pt x="564354" y="545386"/>
                        <a:pt x="565068" y="545386"/>
                        <a:pt x="566495" y="545386"/>
                      </a:cubicBezTo>
                      <a:cubicBezTo>
                        <a:pt x="567922" y="545386"/>
                        <a:pt x="568635" y="544672"/>
                        <a:pt x="570062" y="544672"/>
                      </a:cubicBezTo>
                      <a:cubicBezTo>
                        <a:pt x="570775" y="544672"/>
                        <a:pt x="572202" y="544672"/>
                        <a:pt x="572916" y="543959"/>
                      </a:cubicBezTo>
                      <a:cubicBezTo>
                        <a:pt x="574343" y="543959"/>
                        <a:pt x="575770" y="543959"/>
                        <a:pt x="576483" y="543959"/>
                      </a:cubicBezTo>
                      <a:cubicBezTo>
                        <a:pt x="577910" y="543245"/>
                        <a:pt x="578624" y="543245"/>
                        <a:pt x="580051" y="543245"/>
                      </a:cubicBezTo>
                      <a:cubicBezTo>
                        <a:pt x="580764" y="543245"/>
                        <a:pt x="582191" y="543245"/>
                        <a:pt x="583618" y="542531"/>
                      </a:cubicBezTo>
                      <a:cubicBezTo>
                        <a:pt x="584331" y="542531"/>
                        <a:pt x="585758" y="542531"/>
                        <a:pt x="586472" y="542531"/>
                      </a:cubicBezTo>
                      <a:cubicBezTo>
                        <a:pt x="587899" y="542531"/>
                        <a:pt x="589326" y="542531"/>
                        <a:pt x="590753" y="542531"/>
                      </a:cubicBezTo>
                      <a:cubicBezTo>
                        <a:pt x="591466" y="541817"/>
                        <a:pt x="592893" y="541817"/>
                        <a:pt x="593606" y="541817"/>
                      </a:cubicBezTo>
                      <a:cubicBezTo>
                        <a:pt x="595033" y="541817"/>
                        <a:pt x="596460" y="541817"/>
                        <a:pt x="597887" y="541817"/>
                      </a:cubicBezTo>
                      <a:cubicBezTo>
                        <a:pt x="598601" y="541817"/>
                        <a:pt x="599314" y="541817"/>
                        <a:pt x="600741" y="541817"/>
                      </a:cubicBezTo>
                      <a:cubicBezTo>
                        <a:pt x="602168" y="541103"/>
                        <a:pt x="603595" y="541103"/>
                        <a:pt x="605022" y="541103"/>
                      </a:cubicBezTo>
                      <a:cubicBezTo>
                        <a:pt x="605735" y="541103"/>
                        <a:pt x="606449" y="541103"/>
                        <a:pt x="607162" y="541103"/>
                      </a:cubicBezTo>
                      <a:cubicBezTo>
                        <a:pt x="610016" y="541103"/>
                        <a:pt x="612157" y="541103"/>
                        <a:pt x="614297" y="541103"/>
                      </a:cubicBezTo>
                      <a:cubicBezTo>
                        <a:pt x="859017" y="541103"/>
                        <a:pt x="859017" y="541103"/>
                        <a:pt x="859017" y="541103"/>
                      </a:cubicBezTo>
                      <a:cubicBezTo>
                        <a:pt x="868292" y="541103"/>
                        <a:pt x="874713" y="548242"/>
                        <a:pt x="874713" y="556808"/>
                      </a:cubicBezTo>
                      <a:cubicBezTo>
                        <a:pt x="874713" y="726706"/>
                        <a:pt x="874713" y="726706"/>
                        <a:pt x="874713" y="726706"/>
                      </a:cubicBezTo>
                      <a:cubicBezTo>
                        <a:pt x="874713" y="726706"/>
                        <a:pt x="874713" y="726706"/>
                        <a:pt x="874713" y="905170"/>
                      </a:cubicBezTo>
                      <a:cubicBezTo>
                        <a:pt x="874713" y="1076495"/>
                        <a:pt x="874713" y="1076495"/>
                        <a:pt x="874713" y="1076495"/>
                      </a:cubicBezTo>
                      <a:cubicBezTo>
                        <a:pt x="874713" y="1085062"/>
                        <a:pt x="868292" y="1092200"/>
                        <a:pt x="859017" y="1092200"/>
                      </a:cubicBezTo>
                      <a:cubicBezTo>
                        <a:pt x="614297" y="1092200"/>
                        <a:pt x="614297" y="1092200"/>
                        <a:pt x="614297" y="1092200"/>
                      </a:cubicBezTo>
                      <a:cubicBezTo>
                        <a:pt x="612157" y="1092200"/>
                        <a:pt x="610016" y="1092200"/>
                        <a:pt x="607162" y="1092200"/>
                      </a:cubicBezTo>
                      <a:cubicBezTo>
                        <a:pt x="606449" y="1092200"/>
                        <a:pt x="605735" y="1091486"/>
                        <a:pt x="605022" y="1091486"/>
                      </a:cubicBezTo>
                      <a:cubicBezTo>
                        <a:pt x="603595" y="1091486"/>
                        <a:pt x="602168" y="1091486"/>
                        <a:pt x="600741" y="1091486"/>
                      </a:cubicBezTo>
                      <a:cubicBezTo>
                        <a:pt x="599314" y="1091486"/>
                        <a:pt x="598601" y="1091486"/>
                        <a:pt x="597887" y="1091486"/>
                      </a:cubicBezTo>
                      <a:cubicBezTo>
                        <a:pt x="596460" y="1091486"/>
                        <a:pt x="595033" y="1091486"/>
                        <a:pt x="593606" y="1091486"/>
                      </a:cubicBezTo>
                      <a:cubicBezTo>
                        <a:pt x="592893" y="1090772"/>
                        <a:pt x="591466" y="1090772"/>
                        <a:pt x="590753" y="1090772"/>
                      </a:cubicBezTo>
                      <a:cubicBezTo>
                        <a:pt x="589326" y="1090772"/>
                        <a:pt x="587899" y="1090772"/>
                        <a:pt x="586472" y="1090772"/>
                      </a:cubicBezTo>
                      <a:cubicBezTo>
                        <a:pt x="585758" y="1090772"/>
                        <a:pt x="584331" y="1090059"/>
                        <a:pt x="583618" y="1090059"/>
                      </a:cubicBezTo>
                      <a:cubicBezTo>
                        <a:pt x="582191" y="1090059"/>
                        <a:pt x="580764" y="1090059"/>
                        <a:pt x="580051" y="1090059"/>
                      </a:cubicBezTo>
                      <a:cubicBezTo>
                        <a:pt x="578624" y="1089345"/>
                        <a:pt x="577910" y="1089345"/>
                        <a:pt x="576483" y="1089345"/>
                      </a:cubicBezTo>
                      <a:cubicBezTo>
                        <a:pt x="575770" y="1089345"/>
                        <a:pt x="574343" y="1089345"/>
                        <a:pt x="572916" y="1088631"/>
                      </a:cubicBezTo>
                      <a:cubicBezTo>
                        <a:pt x="572202" y="1088631"/>
                        <a:pt x="570775" y="1088631"/>
                        <a:pt x="570062" y="1088631"/>
                      </a:cubicBezTo>
                      <a:cubicBezTo>
                        <a:pt x="568635" y="1087917"/>
                        <a:pt x="567922" y="1087917"/>
                        <a:pt x="566495" y="1087917"/>
                      </a:cubicBezTo>
                      <a:cubicBezTo>
                        <a:pt x="565068" y="1087917"/>
                        <a:pt x="564354" y="1087203"/>
                        <a:pt x="562927" y="1087203"/>
                      </a:cubicBezTo>
                      <a:cubicBezTo>
                        <a:pt x="562214" y="1087203"/>
                        <a:pt x="560787" y="1086489"/>
                        <a:pt x="559360" y="1086489"/>
                      </a:cubicBezTo>
                      <a:cubicBezTo>
                        <a:pt x="558646" y="1086489"/>
                        <a:pt x="557933" y="1085775"/>
                        <a:pt x="556506" y="1085775"/>
                      </a:cubicBezTo>
                      <a:cubicBezTo>
                        <a:pt x="555079" y="1085775"/>
                        <a:pt x="554366" y="1085062"/>
                        <a:pt x="552939" y="1085062"/>
                      </a:cubicBezTo>
                      <a:cubicBezTo>
                        <a:pt x="552225" y="1085062"/>
                        <a:pt x="550798" y="1084348"/>
                        <a:pt x="550085" y="1084348"/>
                      </a:cubicBezTo>
                      <a:cubicBezTo>
                        <a:pt x="548658" y="1084348"/>
                        <a:pt x="547944" y="1083634"/>
                        <a:pt x="546517" y="1083634"/>
                      </a:cubicBezTo>
                      <a:cubicBezTo>
                        <a:pt x="545804" y="1083634"/>
                        <a:pt x="544377" y="1082920"/>
                        <a:pt x="543664" y="1082920"/>
                      </a:cubicBezTo>
                      <a:cubicBezTo>
                        <a:pt x="542237" y="1082206"/>
                        <a:pt x="541523" y="1082206"/>
                        <a:pt x="540096" y="1081492"/>
                      </a:cubicBezTo>
                      <a:cubicBezTo>
                        <a:pt x="539383" y="1081492"/>
                        <a:pt x="537956" y="1081492"/>
                        <a:pt x="537242" y="1080778"/>
                      </a:cubicBezTo>
                      <a:cubicBezTo>
                        <a:pt x="535815" y="1080778"/>
                        <a:pt x="535102" y="1080065"/>
                        <a:pt x="533675" y="1080065"/>
                      </a:cubicBezTo>
                      <a:cubicBezTo>
                        <a:pt x="532962" y="1079351"/>
                        <a:pt x="531535" y="1079351"/>
                        <a:pt x="530821" y="1078637"/>
                      </a:cubicBezTo>
                      <a:cubicBezTo>
                        <a:pt x="529394" y="1078637"/>
                        <a:pt x="528681" y="1078637"/>
                        <a:pt x="527254" y="1077923"/>
                      </a:cubicBezTo>
                      <a:cubicBezTo>
                        <a:pt x="526540" y="1077923"/>
                        <a:pt x="525113" y="1077209"/>
                        <a:pt x="524400" y="1077209"/>
                      </a:cubicBezTo>
                      <a:cubicBezTo>
                        <a:pt x="522973" y="1076495"/>
                        <a:pt x="522260" y="1075781"/>
                        <a:pt x="520833" y="1075781"/>
                      </a:cubicBezTo>
                      <a:cubicBezTo>
                        <a:pt x="520119" y="1075068"/>
                        <a:pt x="518692" y="1075068"/>
                        <a:pt x="517979" y="1074354"/>
                      </a:cubicBezTo>
                      <a:cubicBezTo>
                        <a:pt x="517265" y="1074354"/>
                        <a:pt x="515838" y="1073640"/>
                        <a:pt x="515125" y="1073640"/>
                      </a:cubicBezTo>
                      <a:cubicBezTo>
                        <a:pt x="513698" y="1072926"/>
                        <a:pt x="512984" y="1072926"/>
                        <a:pt x="511558" y="1072212"/>
                      </a:cubicBezTo>
                      <a:cubicBezTo>
                        <a:pt x="510844" y="1071498"/>
                        <a:pt x="509417" y="1071498"/>
                        <a:pt x="508704" y="1070785"/>
                      </a:cubicBezTo>
                      <a:cubicBezTo>
                        <a:pt x="507990" y="1070785"/>
                        <a:pt x="506563" y="1070071"/>
                        <a:pt x="505850" y="1069357"/>
                      </a:cubicBezTo>
                      <a:cubicBezTo>
                        <a:pt x="504423" y="1069357"/>
                        <a:pt x="503709" y="1068643"/>
                        <a:pt x="502996" y="1068643"/>
                      </a:cubicBezTo>
                      <a:cubicBezTo>
                        <a:pt x="501569" y="1067929"/>
                        <a:pt x="500855" y="1067215"/>
                        <a:pt x="499429" y="1067215"/>
                      </a:cubicBezTo>
                      <a:cubicBezTo>
                        <a:pt x="498715" y="1066501"/>
                        <a:pt x="498002" y="1065788"/>
                        <a:pt x="496575" y="1065788"/>
                      </a:cubicBezTo>
                      <a:cubicBezTo>
                        <a:pt x="495861" y="1065074"/>
                        <a:pt x="494434" y="1064360"/>
                        <a:pt x="493721" y="1064360"/>
                      </a:cubicBezTo>
                      <a:cubicBezTo>
                        <a:pt x="493007" y="1063646"/>
                        <a:pt x="491580" y="1062932"/>
                        <a:pt x="490867" y="1062932"/>
                      </a:cubicBezTo>
                      <a:cubicBezTo>
                        <a:pt x="490153" y="1062218"/>
                        <a:pt x="488727" y="1061504"/>
                        <a:pt x="488013" y="1061504"/>
                      </a:cubicBezTo>
                      <a:cubicBezTo>
                        <a:pt x="486586" y="1060791"/>
                        <a:pt x="485873" y="1060077"/>
                        <a:pt x="485159" y="1060077"/>
                      </a:cubicBezTo>
                      <a:cubicBezTo>
                        <a:pt x="483732" y="1059363"/>
                        <a:pt x="483019" y="1058649"/>
                        <a:pt x="482305" y="1057935"/>
                      </a:cubicBezTo>
                      <a:cubicBezTo>
                        <a:pt x="480878" y="1057935"/>
                        <a:pt x="480165" y="1057221"/>
                        <a:pt x="479451" y="1056507"/>
                      </a:cubicBezTo>
                      <a:cubicBezTo>
                        <a:pt x="478024" y="1055794"/>
                        <a:pt x="477311" y="1055794"/>
                        <a:pt x="475884" y="1055080"/>
                      </a:cubicBezTo>
                      <a:cubicBezTo>
                        <a:pt x="475171" y="1054366"/>
                        <a:pt x="474457" y="1053652"/>
                        <a:pt x="473744" y="1053652"/>
                      </a:cubicBezTo>
                      <a:cubicBezTo>
                        <a:pt x="473030" y="1052938"/>
                        <a:pt x="471603" y="1052224"/>
                        <a:pt x="470890" y="1051510"/>
                      </a:cubicBezTo>
                      <a:cubicBezTo>
                        <a:pt x="470176" y="1050797"/>
                        <a:pt x="468749" y="1050797"/>
                        <a:pt x="468036" y="1050083"/>
                      </a:cubicBezTo>
                      <a:cubicBezTo>
                        <a:pt x="467322" y="1049369"/>
                        <a:pt x="465895" y="1048655"/>
                        <a:pt x="465182" y="1047941"/>
                      </a:cubicBezTo>
                      <a:cubicBezTo>
                        <a:pt x="464469" y="1047941"/>
                        <a:pt x="463755" y="1047227"/>
                        <a:pt x="463042" y="1046513"/>
                      </a:cubicBezTo>
                      <a:cubicBezTo>
                        <a:pt x="461615" y="1045800"/>
                        <a:pt x="460901" y="1045086"/>
                        <a:pt x="459474" y="1044372"/>
                      </a:cubicBezTo>
                      <a:cubicBezTo>
                        <a:pt x="458761" y="1044372"/>
                        <a:pt x="458761" y="1043658"/>
                        <a:pt x="458047" y="1042944"/>
                      </a:cubicBezTo>
                      <a:cubicBezTo>
                        <a:pt x="456620" y="1042230"/>
                        <a:pt x="455193" y="1041516"/>
                        <a:pt x="454480" y="1040803"/>
                      </a:cubicBezTo>
                      <a:cubicBezTo>
                        <a:pt x="453767" y="1040089"/>
                        <a:pt x="453053" y="1040089"/>
                        <a:pt x="453053" y="1040089"/>
                      </a:cubicBezTo>
                      <a:cubicBezTo>
                        <a:pt x="451626" y="1038661"/>
                        <a:pt x="450199" y="1037947"/>
                        <a:pt x="448772" y="1036519"/>
                      </a:cubicBezTo>
                      <a:cubicBezTo>
                        <a:pt x="440211" y="1030095"/>
                        <a:pt x="432362" y="1023670"/>
                        <a:pt x="424514" y="1016531"/>
                      </a:cubicBezTo>
                      <a:cubicBezTo>
                        <a:pt x="424514" y="1016531"/>
                        <a:pt x="424514" y="1016531"/>
                        <a:pt x="424514" y="1015818"/>
                      </a:cubicBezTo>
                      <a:cubicBezTo>
                        <a:pt x="423087" y="1015104"/>
                        <a:pt x="421660" y="1013676"/>
                        <a:pt x="420947" y="1012248"/>
                      </a:cubicBezTo>
                      <a:cubicBezTo>
                        <a:pt x="420233" y="1012248"/>
                        <a:pt x="420233" y="1012248"/>
                        <a:pt x="419520" y="1011534"/>
                      </a:cubicBezTo>
                      <a:cubicBezTo>
                        <a:pt x="418807" y="1010107"/>
                        <a:pt x="417380" y="1009393"/>
                        <a:pt x="415953" y="1007965"/>
                      </a:cubicBezTo>
                      <a:cubicBezTo>
                        <a:pt x="415953" y="1007965"/>
                        <a:pt x="415953" y="1007251"/>
                        <a:pt x="415239" y="1007251"/>
                      </a:cubicBezTo>
                      <a:cubicBezTo>
                        <a:pt x="413812" y="1005824"/>
                        <a:pt x="413099" y="1004396"/>
                        <a:pt x="411672" y="1003682"/>
                      </a:cubicBezTo>
                      <a:cubicBezTo>
                        <a:pt x="411672" y="1002968"/>
                        <a:pt x="410958" y="1002968"/>
                        <a:pt x="410958" y="1002254"/>
                      </a:cubicBezTo>
                      <a:cubicBezTo>
                        <a:pt x="409531" y="1000827"/>
                        <a:pt x="408818" y="1000113"/>
                        <a:pt x="407391" y="998685"/>
                      </a:cubicBezTo>
                      <a:cubicBezTo>
                        <a:pt x="407391" y="997971"/>
                        <a:pt x="406678" y="997971"/>
                        <a:pt x="406678" y="997257"/>
                      </a:cubicBezTo>
                      <a:cubicBezTo>
                        <a:pt x="405251" y="996543"/>
                        <a:pt x="404537" y="995116"/>
                        <a:pt x="403110" y="993688"/>
                      </a:cubicBezTo>
                      <a:cubicBezTo>
                        <a:pt x="403110" y="993688"/>
                        <a:pt x="402397" y="992974"/>
                        <a:pt x="402397" y="992260"/>
                      </a:cubicBezTo>
                      <a:cubicBezTo>
                        <a:pt x="401683" y="991546"/>
                        <a:pt x="400256" y="990119"/>
                        <a:pt x="399543" y="988691"/>
                      </a:cubicBezTo>
                      <a:cubicBezTo>
                        <a:pt x="398829" y="988691"/>
                        <a:pt x="398829" y="987977"/>
                        <a:pt x="398116" y="987263"/>
                      </a:cubicBezTo>
                      <a:cubicBezTo>
                        <a:pt x="397402" y="986549"/>
                        <a:pt x="395976" y="985122"/>
                        <a:pt x="395262" y="983694"/>
                      </a:cubicBezTo>
                      <a:cubicBezTo>
                        <a:pt x="395262" y="982980"/>
                        <a:pt x="394549" y="982980"/>
                        <a:pt x="394549" y="982266"/>
                      </a:cubicBezTo>
                      <a:cubicBezTo>
                        <a:pt x="393122" y="980839"/>
                        <a:pt x="392408" y="980125"/>
                        <a:pt x="391695" y="978697"/>
                      </a:cubicBezTo>
                      <a:cubicBezTo>
                        <a:pt x="390981" y="977983"/>
                        <a:pt x="390981" y="977983"/>
                        <a:pt x="390268" y="977269"/>
                      </a:cubicBezTo>
                      <a:cubicBezTo>
                        <a:pt x="389554" y="975842"/>
                        <a:pt x="388841" y="974414"/>
                        <a:pt x="387414" y="972986"/>
                      </a:cubicBezTo>
                      <a:cubicBezTo>
                        <a:pt x="387414" y="972272"/>
                        <a:pt x="387414" y="972272"/>
                        <a:pt x="387414" y="972272"/>
                      </a:cubicBezTo>
                      <a:cubicBezTo>
                        <a:pt x="386700" y="970845"/>
                        <a:pt x="385987" y="969417"/>
                        <a:pt x="384560" y="967989"/>
                      </a:cubicBezTo>
                      <a:cubicBezTo>
                        <a:pt x="384560" y="967275"/>
                        <a:pt x="383847" y="967275"/>
                        <a:pt x="383847" y="966561"/>
                      </a:cubicBezTo>
                      <a:cubicBezTo>
                        <a:pt x="383133" y="965134"/>
                        <a:pt x="382420" y="963706"/>
                        <a:pt x="380993" y="962278"/>
                      </a:cubicBezTo>
                      <a:cubicBezTo>
                        <a:pt x="380993" y="962278"/>
                        <a:pt x="380993" y="961564"/>
                        <a:pt x="380279" y="960851"/>
                      </a:cubicBezTo>
                      <a:cubicBezTo>
                        <a:pt x="379566" y="959423"/>
                        <a:pt x="378852" y="957995"/>
                        <a:pt x="378139" y="956567"/>
                      </a:cubicBezTo>
                      <a:cubicBezTo>
                        <a:pt x="377425" y="956567"/>
                        <a:pt x="377425" y="955854"/>
                        <a:pt x="377425" y="955854"/>
                      </a:cubicBezTo>
                      <a:cubicBezTo>
                        <a:pt x="375998" y="954426"/>
                        <a:pt x="375285" y="952998"/>
                        <a:pt x="374571" y="951570"/>
                      </a:cubicBezTo>
                      <a:cubicBezTo>
                        <a:pt x="374571" y="950857"/>
                        <a:pt x="373858" y="950143"/>
                        <a:pt x="373858" y="950143"/>
                      </a:cubicBezTo>
                      <a:cubicBezTo>
                        <a:pt x="373145" y="948715"/>
                        <a:pt x="372431" y="947287"/>
                        <a:pt x="371718" y="945860"/>
                      </a:cubicBezTo>
                      <a:cubicBezTo>
                        <a:pt x="371004" y="945146"/>
                        <a:pt x="371004" y="944432"/>
                        <a:pt x="371004" y="944432"/>
                      </a:cubicBezTo>
                      <a:cubicBezTo>
                        <a:pt x="370291" y="943004"/>
                        <a:pt x="368864" y="941576"/>
                        <a:pt x="368150" y="939435"/>
                      </a:cubicBezTo>
                      <a:cubicBezTo>
                        <a:pt x="368150" y="939435"/>
                        <a:pt x="368150" y="939435"/>
                        <a:pt x="368150" y="938721"/>
                      </a:cubicBezTo>
                      <a:cubicBezTo>
                        <a:pt x="367437" y="937293"/>
                        <a:pt x="366010" y="935152"/>
                        <a:pt x="365296" y="933724"/>
                      </a:cubicBezTo>
                      <a:cubicBezTo>
                        <a:pt x="365296" y="933724"/>
                        <a:pt x="365296" y="933724"/>
                        <a:pt x="365296" y="933010"/>
                      </a:cubicBezTo>
                      <a:cubicBezTo>
                        <a:pt x="364583" y="930869"/>
                        <a:pt x="363869" y="929441"/>
                        <a:pt x="363156" y="928013"/>
                      </a:cubicBezTo>
                      <a:cubicBezTo>
                        <a:pt x="362442" y="927299"/>
                        <a:pt x="362442" y="927299"/>
                        <a:pt x="362442" y="927299"/>
                      </a:cubicBezTo>
                      <a:cubicBezTo>
                        <a:pt x="361729" y="925158"/>
                        <a:pt x="361016" y="923730"/>
                        <a:pt x="360302" y="921589"/>
                      </a:cubicBezTo>
                      <a:cubicBezTo>
                        <a:pt x="360302" y="921589"/>
                        <a:pt x="360302" y="921589"/>
                        <a:pt x="360302" y="920875"/>
                      </a:cubicBezTo>
                      <a:cubicBezTo>
                        <a:pt x="358875" y="919447"/>
                        <a:pt x="358162" y="917305"/>
                        <a:pt x="357448" y="915878"/>
                      </a:cubicBezTo>
                      <a:cubicBezTo>
                        <a:pt x="357448" y="915878"/>
                        <a:pt x="357448" y="915878"/>
                        <a:pt x="357448" y="915164"/>
                      </a:cubicBezTo>
                      <a:cubicBezTo>
                        <a:pt x="347460" y="889465"/>
                        <a:pt x="341038" y="861625"/>
                        <a:pt x="339611" y="832356"/>
                      </a:cubicBezTo>
                      <a:cubicBezTo>
                        <a:pt x="339611" y="832356"/>
                        <a:pt x="339611" y="832356"/>
                        <a:pt x="286101" y="832356"/>
                      </a:cubicBezTo>
                      <a:cubicBezTo>
                        <a:pt x="128425" y="832356"/>
                        <a:pt x="0" y="703862"/>
                        <a:pt x="0" y="546100"/>
                      </a:cubicBezTo>
                      <a:cubicBezTo>
                        <a:pt x="0" y="387624"/>
                        <a:pt x="128425" y="259130"/>
                        <a:pt x="286101" y="259130"/>
                      </a:cubicBezTo>
                      <a:cubicBezTo>
                        <a:pt x="286101" y="259130"/>
                        <a:pt x="286101" y="259130"/>
                        <a:pt x="729879" y="259130"/>
                      </a:cubicBezTo>
                      <a:cubicBezTo>
                        <a:pt x="792664" y="259130"/>
                        <a:pt x="843321" y="208446"/>
                        <a:pt x="843321" y="145627"/>
                      </a:cubicBezTo>
                      <a:cubicBezTo>
                        <a:pt x="843321" y="82807"/>
                        <a:pt x="792664" y="31410"/>
                        <a:pt x="729879" y="31410"/>
                      </a:cubicBezTo>
                      <a:cubicBezTo>
                        <a:pt x="339611" y="31410"/>
                        <a:pt x="339611" y="31410"/>
                        <a:pt x="339611" y="31410"/>
                      </a:cubicBezTo>
                      <a:cubicBezTo>
                        <a:pt x="331763" y="31410"/>
                        <a:pt x="325342" y="27127"/>
                        <a:pt x="323915" y="19988"/>
                      </a:cubicBezTo>
                      <a:cubicBezTo>
                        <a:pt x="321061" y="9280"/>
                        <a:pt x="328909" y="0"/>
                        <a:pt x="338898" y="0"/>
                      </a:cubicBezTo>
                      <a:close/>
                    </a:path>
                  </a:pathLst>
                </a:custGeom>
                <a:solidFill>
                  <a:srgbClr val="00104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55E37BF-472E-4365-A839-9C6C4A116975}"/>
              </a:ext>
            </a:extLst>
          </p:cNvPr>
          <p:cNvGrpSpPr/>
          <p:nvPr/>
        </p:nvGrpSpPr>
        <p:grpSpPr>
          <a:xfrm>
            <a:off x="259218" y="4272870"/>
            <a:ext cx="864608" cy="864608"/>
            <a:chOff x="462686" y="2297442"/>
            <a:chExt cx="619720" cy="61972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633AEDA-4A56-4AB8-A972-1F3F5ADBACD5}"/>
                </a:ext>
              </a:extLst>
            </p:cNvPr>
            <p:cNvSpPr/>
            <p:nvPr/>
          </p:nvSpPr>
          <p:spPr>
            <a:xfrm>
              <a:off x="462686" y="2297442"/>
              <a:ext cx="619720" cy="619720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5E07E51F-E78B-4D43-82BF-2920A03086A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21303" y="2356059"/>
              <a:ext cx="502485" cy="502485"/>
              <a:chOff x="5273675" y="2514600"/>
              <a:chExt cx="1646238" cy="1646238"/>
            </a:xfrm>
          </p:grpSpPr>
          <p:sp>
            <p:nvSpPr>
              <p:cNvPr id="35" name="AutoShape 9">
                <a:extLst>
                  <a:ext uri="{FF2B5EF4-FFF2-40B4-BE49-F238E27FC236}">
                    <a16:creationId xmlns:a16="http://schemas.microsoft.com/office/drawing/2014/main" id="{BC56719B-21D1-45B3-92F7-A5BA5A468C5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514600"/>
                <a:ext cx="1646238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2E4C3FE-3C45-4E91-9DA9-5595D8CD2903}"/>
                  </a:ext>
                </a:extLst>
              </p:cNvPr>
              <p:cNvGrpSpPr/>
              <p:nvPr/>
            </p:nvGrpSpPr>
            <p:grpSpPr>
              <a:xfrm>
                <a:off x="5466557" y="2735263"/>
                <a:ext cx="1260475" cy="1204913"/>
                <a:chOff x="5468938" y="2735263"/>
                <a:chExt cx="1260475" cy="1204913"/>
              </a:xfrm>
            </p:grpSpPr>
            <p:sp>
              <p:nvSpPr>
                <p:cNvPr id="37" name="Freeform 5">
                  <a:extLst>
                    <a:ext uri="{FF2B5EF4-FFF2-40B4-BE49-F238E27FC236}">
                      <a16:creationId xmlns:a16="http://schemas.microsoft.com/office/drawing/2014/main" id="{D0C251E3-322F-4A44-9C1C-F11571066D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30850" y="2797175"/>
                  <a:ext cx="1135063" cy="1081088"/>
                </a:xfrm>
                <a:custGeom>
                  <a:avLst/>
                  <a:gdLst>
                    <a:gd name="connsiteX0" fmla="*/ 559594 w 1135063"/>
                    <a:gd name="connsiteY0" fmla="*/ 141288 h 1081088"/>
                    <a:gd name="connsiteX1" fmla="*/ 264894 w 1135063"/>
                    <a:gd name="connsiteY1" fmla="*/ 263562 h 1081088"/>
                    <a:gd name="connsiteX2" fmla="*/ 142875 w 1135063"/>
                    <a:gd name="connsiteY2" fmla="*/ 559595 h 1081088"/>
                    <a:gd name="connsiteX3" fmla="*/ 264894 w 1135063"/>
                    <a:gd name="connsiteY3" fmla="*/ 855627 h 1081088"/>
                    <a:gd name="connsiteX4" fmla="*/ 559594 w 1135063"/>
                    <a:gd name="connsiteY4" fmla="*/ 977901 h 1081088"/>
                    <a:gd name="connsiteX5" fmla="*/ 854294 w 1135063"/>
                    <a:gd name="connsiteY5" fmla="*/ 855627 h 1081088"/>
                    <a:gd name="connsiteX6" fmla="*/ 976313 w 1135063"/>
                    <a:gd name="connsiteY6" fmla="*/ 559595 h 1081088"/>
                    <a:gd name="connsiteX7" fmla="*/ 854294 w 1135063"/>
                    <a:gd name="connsiteY7" fmla="*/ 263562 h 1081088"/>
                    <a:gd name="connsiteX8" fmla="*/ 559594 w 1135063"/>
                    <a:gd name="connsiteY8" fmla="*/ 141288 h 1081088"/>
                    <a:gd name="connsiteX9" fmla="*/ 332371 w 1135063"/>
                    <a:gd name="connsiteY9" fmla="*/ 0 h 1081088"/>
                    <a:gd name="connsiteX10" fmla="*/ 333800 w 1135063"/>
                    <a:gd name="connsiteY10" fmla="*/ 0 h 1081088"/>
                    <a:gd name="connsiteX11" fmla="*/ 349525 w 1135063"/>
                    <a:gd name="connsiteY11" fmla="*/ 14281 h 1081088"/>
                    <a:gd name="connsiteX12" fmla="*/ 356673 w 1135063"/>
                    <a:gd name="connsiteY12" fmla="*/ 117820 h 1081088"/>
                    <a:gd name="connsiteX13" fmla="*/ 356673 w 1135063"/>
                    <a:gd name="connsiteY13" fmla="*/ 118534 h 1081088"/>
                    <a:gd name="connsiteX14" fmla="*/ 356673 w 1135063"/>
                    <a:gd name="connsiteY14" fmla="*/ 119248 h 1081088"/>
                    <a:gd name="connsiteX15" fmla="*/ 356673 w 1135063"/>
                    <a:gd name="connsiteY15" fmla="*/ 119962 h 1081088"/>
                    <a:gd name="connsiteX16" fmla="*/ 356673 w 1135063"/>
                    <a:gd name="connsiteY16" fmla="*/ 120676 h 1081088"/>
                    <a:gd name="connsiteX17" fmla="*/ 356673 w 1135063"/>
                    <a:gd name="connsiteY17" fmla="*/ 121390 h 1081088"/>
                    <a:gd name="connsiteX18" fmla="*/ 356673 w 1135063"/>
                    <a:gd name="connsiteY18" fmla="*/ 122105 h 1081088"/>
                    <a:gd name="connsiteX19" fmla="*/ 356673 w 1135063"/>
                    <a:gd name="connsiteY19" fmla="*/ 122819 h 1081088"/>
                    <a:gd name="connsiteX20" fmla="*/ 355958 w 1135063"/>
                    <a:gd name="connsiteY20" fmla="*/ 123533 h 1081088"/>
                    <a:gd name="connsiteX21" fmla="*/ 355958 w 1135063"/>
                    <a:gd name="connsiteY21" fmla="*/ 124247 h 1081088"/>
                    <a:gd name="connsiteX22" fmla="*/ 355958 w 1135063"/>
                    <a:gd name="connsiteY22" fmla="*/ 124961 h 1081088"/>
                    <a:gd name="connsiteX23" fmla="*/ 355244 w 1135063"/>
                    <a:gd name="connsiteY23" fmla="*/ 124961 h 1081088"/>
                    <a:gd name="connsiteX24" fmla="*/ 355244 w 1135063"/>
                    <a:gd name="connsiteY24" fmla="*/ 125675 h 1081088"/>
                    <a:gd name="connsiteX25" fmla="*/ 355244 w 1135063"/>
                    <a:gd name="connsiteY25" fmla="*/ 126389 h 1081088"/>
                    <a:gd name="connsiteX26" fmla="*/ 354529 w 1135063"/>
                    <a:gd name="connsiteY26" fmla="*/ 127103 h 1081088"/>
                    <a:gd name="connsiteX27" fmla="*/ 354529 w 1135063"/>
                    <a:gd name="connsiteY27" fmla="*/ 127817 h 1081088"/>
                    <a:gd name="connsiteX28" fmla="*/ 353814 w 1135063"/>
                    <a:gd name="connsiteY28" fmla="*/ 127817 h 1081088"/>
                    <a:gd name="connsiteX29" fmla="*/ 353814 w 1135063"/>
                    <a:gd name="connsiteY29" fmla="*/ 128531 h 1081088"/>
                    <a:gd name="connsiteX30" fmla="*/ 353099 w 1135063"/>
                    <a:gd name="connsiteY30" fmla="*/ 129245 h 1081088"/>
                    <a:gd name="connsiteX31" fmla="*/ 352384 w 1135063"/>
                    <a:gd name="connsiteY31" fmla="*/ 129245 h 1081088"/>
                    <a:gd name="connsiteX32" fmla="*/ 352384 w 1135063"/>
                    <a:gd name="connsiteY32" fmla="*/ 129959 h 1081088"/>
                    <a:gd name="connsiteX33" fmla="*/ 351670 w 1135063"/>
                    <a:gd name="connsiteY33" fmla="*/ 130673 h 1081088"/>
                    <a:gd name="connsiteX34" fmla="*/ 350955 w 1135063"/>
                    <a:gd name="connsiteY34" fmla="*/ 131387 h 1081088"/>
                    <a:gd name="connsiteX35" fmla="*/ 350240 w 1135063"/>
                    <a:gd name="connsiteY35" fmla="*/ 131387 h 1081088"/>
                    <a:gd name="connsiteX36" fmla="*/ 349525 w 1135063"/>
                    <a:gd name="connsiteY36" fmla="*/ 132101 h 1081088"/>
                    <a:gd name="connsiteX37" fmla="*/ 348811 w 1135063"/>
                    <a:gd name="connsiteY37" fmla="*/ 132101 h 1081088"/>
                    <a:gd name="connsiteX38" fmla="*/ 348096 w 1135063"/>
                    <a:gd name="connsiteY38" fmla="*/ 132815 h 1081088"/>
                    <a:gd name="connsiteX39" fmla="*/ 347381 w 1135063"/>
                    <a:gd name="connsiteY39" fmla="*/ 133529 h 1081088"/>
                    <a:gd name="connsiteX40" fmla="*/ 346666 w 1135063"/>
                    <a:gd name="connsiteY40" fmla="*/ 133529 h 1081088"/>
                    <a:gd name="connsiteX41" fmla="*/ 345237 w 1135063"/>
                    <a:gd name="connsiteY41" fmla="*/ 133529 h 1081088"/>
                    <a:gd name="connsiteX42" fmla="*/ 345237 w 1135063"/>
                    <a:gd name="connsiteY42" fmla="*/ 134244 h 1081088"/>
                    <a:gd name="connsiteX43" fmla="*/ 343807 w 1135063"/>
                    <a:gd name="connsiteY43" fmla="*/ 134244 h 1081088"/>
                    <a:gd name="connsiteX44" fmla="*/ 342378 w 1135063"/>
                    <a:gd name="connsiteY44" fmla="*/ 134244 h 1081088"/>
                    <a:gd name="connsiteX45" fmla="*/ 247312 w 1135063"/>
                    <a:gd name="connsiteY45" fmla="*/ 142098 h 1081088"/>
                    <a:gd name="connsiteX46" fmla="*/ 245883 w 1135063"/>
                    <a:gd name="connsiteY46" fmla="*/ 142098 h 1081088"/>
                    <a:gd name="connsiteX47" fmla="*/ 230158 w 1135063"/>
                    <a:gd name="connsiteY47" fmla="*/ 127817 h 1081088"/>
                    <a:gd name="connsiteX48" fmla="*/ 244453 w 1135063"/>
                    <a:gd name="connsiteY48" fmla="*/ 110680 h 1081088"/>
                    <a:gd name="connsiteX49" fmla="*/ 311642 w 1135063"/>
                    <a:gd name="connsiteY49" fmla="*/ 105681 h 1081088"/>
                    <a:gd name="connsiteX50" fmla="*/ 192275 w 1135063"/>
                    <a:gd name="connsiteY50" fmla="*/ 52841 h 1081088"/>
                    <a:gd name="connsiteX51" fmla="*/ 32165 w 1135063"/>
                    <a:gd name="connsiteY51" fmla="*/ 212790 h 1081088"/>
                    <a:gd name="connsiteX52" fmla="*/ 146529 w 1135063"/>
                    <a:gd name="connsiteY52" fmla="*/ 367027 h 1081088"/>
                    <a:gd name="connsiteX53" fmla="*/ 153677 w 1135063"/>
                    <a:gd name="connsiteY53" fmla="*/ 369170 h 1081088"/>
                    <a:gd name="connsiteX54" fmla="*/ 559669 w 1135063"/>
                    <a:gd name="connsiteY54" fmla="*/ 109965 h 1081088"/>
                    <a:gd name="connsiteX55" fmla="*/ 1008548 w 1135063"/>
                    <a:gd name="connsiteY55" fmla="*/ 559110 h 1081088"/>
                    <a:gd name="connsiteX56" fmla="*/ 724782 w 1135063"/>
                    <a:gd name="connsiteY56" fmla="*/ 977549 h 1081088"/>
                    <a:gd name="connsiteX57" fmla="*/ 725497 w 1135063"/>
                    <a:gd name="connsiteY57" fmla="*/ 977549 h 1081088"/>
                    <a:gd name="connsiteX58" fmla="*/ 1083599 w 1135063"/>
                    <a:gd name="connsiteY58" fmla="*/ 977549 h 1081088"/>
                    <a:gd name="connsiteX59" fmla="*/ 1041428 w 1135063"/>
                    <a:gd name="connsiteY59" fmla="*/ 931135 h 1081088"/>
                    <a:gd name="connsiteX60" fmla="*/ 1042857 w 1135063"/>
                    <a:gd name="connsiteY60" fmla="*/ 909000 h 1081088"/>
                    <a:gd name="connsiteX61" fmla="*/ 1052864 w 1135063"/>
                    <a:gd name="connsiteY61" fmla="*/ 904715 h 1081088"/>
                    <a:gd name="connsiteX62" fmla="*/ 1065015 w 1135063"/>
                    <a:gd name="connsiteY62" fmla="*/ 909714 h 1081088"/>
                    <a:gd name="connsiteX63" fmla="*/ 1130775 w 1135063"/>
                    <a:gd name="connsiteY63" fmla="*/ 982548 h 1081088"/>
                    <a:gd name="connsiteX64" fmla="*/ 1131489 w 1135063"/>
                    <a:gd name="connsiteY64" fmla="*/ 983976 h 1081088"/>
                    <a:gd name="connsiteX65" fmla="*/ 1132204 w 1135063"/>
                    <a:gd name="connsiteY65" fmla="*/ 983976 h 1081088"/>
                    <a:gd name="connsiteX66" fmla="*/ 1132204 w 1135063"/>
                    <a:gd name="connsiteY66" fmla="*/ 984690 h 1081088"/>
                    <a:gd name="connsiteX67" fmla="*/ 1132919 w 1135063"/>
                    <a:gd name="connsiteY67" fmla="*/ 985404 h 1081088"/>
                    <a:gd name="connsiteX68" fmla="*/ 1133634 w 1135063"/>
                    <a:gd name="connsiteY68" fmla="*/ 986118 h 1081088"/>
                    <a:gd name="connsiteX69" fmla="*/ 1133634 w 1135063"/>
                    <a:gd name="connsiteY69" fmla="*/ 986832 h 1081088"/>
                    <a:gd name="connsiteX70" fmla="*/ 1133634 w 1135063"/>
                    <a:gd name="connsiteY70" fmla="*/ 987546 h 1081088"/>
                    <a:gd name="connsiteX71" fmla="*/ 1134348 w 1135063"/>
                    <a:gd name="connsiteY71" fmla="*/ 988260 h 1081088"/>
                    <a:gd name="connsiteX72" fmla="*/ 1134348 w 1135063"/>
                    <a:gd name="connsiteY72" fmla="*/ 988974 h 1081088"/>
                    <a:gd name="connsiteX73" fmla="*/ 1134348 w 1135063"/>
                    <a:gd name="connsiteY73" fmla="*/ 989688 h 1081088"/>
                    <a:gd name="connsiteX74" fmla="*/ 1134348 w 1135063"/>
                    <a:gd name="connsiteY74" fmla="*/ 990402 h 1081088"/>
                    <a:gd name="connsiteX75" fmla="*/ 1135063 w 1135063"/>
                    <a:gd name="connsiteY75" fmla="*/ 991116 h 1081088"/>
                    <a:gd name="connsiteX76" fmla="*/ 1135063 w 1135063"/>
                    <a:gd name="connsiteY76" fmla="*/ 991831 h 1081088"/>
                    <a:gd name="connsiteX77" fmla="*/ 1135063 w 1135063"/>
                    <a:gd name="connsiteY77" fmla="*/ 992545 h 1081088"/>
                    <a:gd name="connsiteX78" fmla="*/ 1135063 w 1135063"/>
                    <a:gd name="connsiteY78" fmla="*/ 993259 h 1081088"/>
                    <a:gd name="connsiteX79" fmla="*/ 1135063 w 1135063"/>
                    <a:gd name="connsiteY79" fmla="*/ 993973 h 1081088"/>
                    <a:gd name="connsiteX80" fmla="*/ 1135063 w 1135063"/>
                    <a:gd name="connsiteY80" fmla="*/ 995401 h 1081088"/>
                    <a:gd name="connsiteX81" fmla="*/ 1134348 w 1135063"/>
                    <a:gd name="connsiteY81" fmla="*/ 995401 h 1081088"/>
                    <a:gd name="connsiteX82" fmla="*/ 1134348 w 1135063"/>
                    <a:gd name="connsiteY82" fmla="*/ 996829 h 1081088"/>
                    <a:gd name="connsiteX83" fmla="*/ 1134348 w 1135063"/>
                    <a:gd name="connsiteY83" fmla="*/ 998257 h 1081088"/>
                    <a:gd name="connsiteX84" fmla="*/ 1133634 w 1135063"/>
                    <a:gd name="connsiteY84" fmla="*/ 998257 h 1081088"/>
                    <a:gd name="connsiteX85" fmla="*/ 1133634 w 1135063"/>
                    <a:gd name="connsiteY85" fmla="*/ 999685 h 1081088"/>
                    <a:gd name="connsiteX86" fmla="*/ 1132919 w 1135063"/>
                    <a:gd name="connsiteY86" fmla="*/ 1001113 h 1081088"/>
                    <a:gd name="connsiteX87" fmla="*/ 1132204 w 1135063"/>
                    <a:gd name="connsiteY87" fmla="*/ 1001113 h 1081088"/>
                    <a:gd name="connsiteX88" fmla="*/ 1132204 w 1135063"/>
                    <a:gd name="connsiteY88" fmla="*/ 1001827 h 1081088"/>
                    <a:gd name="connsiteX89" fmla="*/ 1131489 w 1135063"/>
                    <a:gd name="connsiteY89" fmla="*/ 1002541 h 1081088"/>
                    <a:gd name="connsiteX90" fmla="*/ 1130775 w 1135063"/>
                    <a:gd name="connsiteY90" fmla="*/ 1003256 h 1081088"/>
                    <a:gd name="connsiteX91" fmla="*/ 1130775 w 1135063"/>
                    <a:gd name="connsiteY91" fmla="*/ 1003970 h 1081088"/>
                    <a:gd name="connsiteX92" fmla="*/ 1065015 w 1135063"/>
                    <a:gd name="connsiteY92" fmla="*/ 1076090 h 1081088"/>
                    <a:gd name="connsiteX93" fmla="*/ 1052864 w 1135063"/>
                    <a:gd name="connsiteY93" fmla="*/ 1081088 h 1081088"/>
                    <a:gd name="connsiteX94" fmla="*/ 1042857 w 1135063"/>
                    <a:gd name="connsiteY94" fmla="*/ 1076804 h 1081088"/>
                    <a:gd name="connsiteX95" fmla="*/ 1041428 w 1135063"/>
                    <a:gd name="connsiteY95" fmla="*/ 1054668 h 1081088"/>
                    <a:gd name="connsiteX96" fmla="*/ 1083599 w 1135063"/>
                    <a:gd name="connsiteY96" fmla="*/ 1008968 h 1081088"/>
                    <a:gd name="connsiteX97" fmla="*/ 15725 w 1135063"/>
                    <a:gd name="connsiteY97" fmla="*/ 1008968 h 1081088"/>
                    <a:gd name="connsiteX98" fmla="*/ 0 w 1135063"/>
                    <a:gd name="connsiteY98" fmla="*/ 993259 h 1081088"/>
                    <a:gd name="connsiteX99" fmla="*/ 15725 w 1135063"/>
                    <a:gd name="connsiteY99" fmla="*/ 977549 h 1081088"/>
                    <a:gd name="connsiteX100" fmla="*/ 395271 w 1135063"/>
                    <a:gd name="connsiteY100" fmla="*/ 977549 h 1081088"/>
                    <a:gd name="connsiteX101" fmla="*/ 110790 w 1135063"/>
                    <a:gd name="connsiteY101" fmla="*/ 559110 h 1081088"/>
                    <a:gd name="connsiteX102" fmla="*/ 140811 w 1135063"/>
                    <a:gd name="connsiteY102" fmla="*/ 398446 h 1081088"/>
                    <a:gd name="connsiteX103" fmla="*/ 137952 w 1135063"/>
                    <a:gd name="connsiteY103" fmla="*/ 397018 h 1081088"/>
                    <a:gd name="connsiteX104" fmla="*/ 715 w 1135063"/>
                    <a:gd name="connsiteY104" fmla="*/ 212790 h 1081088"/>
                    <a:gd name="connsiteX105" fmla="*/ 192275 w 1135063"/>
                    <a:gd name="connsiteY105" fmla="*/ 21422 h 1081088"/>
                    <a:gd name="connsiteX106" fmla="*/ 322364 w 1135063"/>
                    <a:gd name="connsiteY106" fmla="*/ 71406 h 1081088"/>
                    <a:gd name="connsiteX107" fmla="*/ 318075 w 1135063"/>
                    <a:gd name="connsiteY107" fmla="*/ 16424 h 1081088"/>
                    <a:gd name="connsiteX108" fmla="*/ 332371 w 1135063"/>
                    <a:gd name="connsiteY108" fmla="*/ 0 h 10810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</a:cxnLst>
                  <a:rect l="l" t="t" r="r" b="b"/>
                  <a:pathLst>
                    <a:path w="1135063" h="1081088">
                      <a:moveTo>
                        <a:pt x="559594" y="141288"/>
                      </a:moveTo>
                      <a:cubicBezTo>
                        <a:pt x="448279" y="141288"/>
                        <a:pt x="344099" y="184906"/>
                        <a:pt x="264894" y="263562"/>
                      </a:cubicBezTo>
                      <a:cubicBezTo>
                        <a:pt x="186402" y="343648"/>
                        <a:pt x="142875" y="448046"/>
                        <a:pt x="142875" y="559595"/>
                      </a:cubicBezTo>
                      <a:cubicBezTo>
                        <a:pt x="142875" y="671143"/>
                        <a:pt x="186402" y="776971"/>
                        <a:pt x="264894" y="855627"/>
                      </a:cubicBezTo>
                      <a:cubicBezTo>
                        <a:pt x="344099" y="934998"/>
                        <a:pt x="448279" y="977901"/>
                        <a:pt x="559594" y="977901"/>
                      </a:cubicBezTo>
                      <a:cubicBezTo>
                        <a:pt x="670910" y="977901"/>
                        <a:pt x="775803" y="934998"/>
                        <a:pt x="854294" y="855627"/>
                      </a:cubicBezTo>
                      <a:cubicBezTo>
                        <a:pt x="933500" y="776971"/>
                        <a:pt x="976313" y="671143"/>
                        <a:pt x="976313" y="559595"/>
                      </a:cubicBezTo>
                      <a:cubicBezTo>
                        <a:pt x="976313" y="448046"/>
                        <a:pt x="933500" y="343648"/>
                        <a:pt x="854294" y="263562"/>
                      </a:cubicBezTo>
                      <a:cubicBezTo>
                        <a:pt x="775803" y="184906"/>
                        <a:pt x="670910" y="141288"/>
                        <a:pt x="559594" y="141288"/>
                      </a:cubicBezTo>
                      <a:close/>
                      <a:moveTo>
                        <a:pt x="332371" y="0"/>
                      </a:moveTo>
                      <a:cubicBezTo>
                        <a:pt x="333085" y="0"/>
                        <a:pt x="333085" y="0"/>
                        <a:pt x="333800" y="0"/>
                      </a:cubicBezTo>
                      <a:cubicBezTo>
                        <a:pt x="341663" y="0"/>
                        <a:pt x="348811" y="6427"/>
                        <a:pt x="349525" y="14281"/>
                      </a:cubicBezTo>
                      <a:cubicBezTo>
                        <a:pt x="349525" y="14281"/>
                        <a:pt x="349525" y="14281"/>
                        <a:pt x="356673" y="117820"/>
                      </a:cubicBezTo>
                      <a:cubicBezTo>
                        <a:pt x="356673" y="117820"/>
                        <a:pt x="356673" y="117820"/>
                        <a:pt x="356673" y="118534"/>
                      </a:cubicBezTo>
                      <a:cubicBezTo>
                        <a:pt x="356673" y="118534"/>
                        <a:pt x="356673" y="118534"/>
                        <a:pt x="356673" y="119248"/>
                      </a:cubicBezTo>
                      <a:cubicBezTo>
                        <a:pt x="356673" y="119248"/>
                        <a:pt x="356673" y="119248"/>
                        <a:pt x="356673" y="119962"/>
                      </a:cubicBezTo>
                      <a:cubicBezTo>
                        <a:pt x="356673" y="119962"/>
                        <a:pt x="356673" y="119962"/>
                        <a:pt x="356673" y="120676"/>
                      </a:cubicBezTo>
                      <a:cubicBezTo>
                        <a:pt x="356673" y="120676"/>
                        <a:pt x="356673" y="120676"/>
                        <a:pt x="356673" y="121390"/>
                      </a:cubicBezTo>
                      <a:cubicBezTo>
                        <a:pt x="356673" y="122105"/>
                        <a:pt x="356673" y="122105"/>
                        <a:pt x="356673" y="122105"/>
                      </a:cubicBezTo>
                      <a:cubicBezTo>
                        <a:pt x="356673" y="122819"/>
                        <a:pt x="356673" y="122819"/>
                        <a:pt x="356673" y="122819"/>
                      </a:cubicBezTo>
                      <a:cubicBezTo>
                        <a:pt x="355958" y="123533"/>
                        <a:pt x="355958" y="123533"/>
                        <a:pt x="355958" y="123533"/>
                      </a:cubicBezTo>
                      <a:cubicBezTo>
                        <a:pt x="355958" y="124247"/>
                        <a:pt x="355958" y="124247"/>
                        <a:pt x="355958" y="124247"/>
                      </a:cubicBezTo>
                      <a:cubicBezTo>
                        <a:pt x="355958" y="124961"/>
                        <a:pt x="355958" y="124961"/>
                        <a:pt x="355958" y="124961"/>
                      </a:cubicBezTo>
                      <a:cubicBezTo>
                        <a:pt x="355958" y="124961"/>
                        <a:pt x="355958" y="124961"/>
                        <a:pt x="355244" y="124961"/>
                      </a:cubicBezTo>
                      <a:cubicBezTo>
                        <a:pt x="355244" y="125675"/>
                        <a:pt x="355244" y="125675"/>
                        <a:pt x="355244" y="125675"/>
                      </a:cubicBezTo>
                      <a:cubicBezTo>
                        <a:pt x="355244" y="126389"/>
                        <a:pt x="355244" y="126389"/>
                        <a:pt x="355244" y="126389"/>
                      </a:cubicBezTo>
                      <a:cubicBezTo>
                        <a:pt x="354529" y="127103"/>
                        <a:pt x="354529" y="127103"/>
                        <a:pt x="354529" y="127103"/>
                      </a:cubicBezTo>
                      <a:cubicBezTo>
                        <a:pt x="354529" y="127103"/>
                        <a:pt x="354529" y="127103"/>
                        <a:pt x="354529" y="127817"/>
                      </a:cubicBezTo>
                      <a:cubicBezTo>
                        <a:pt x="354529" y="127817"/>
                        <a:pt x="354529" y="127817"/>
                        <a:pt x="353814" y="127817"/>
                      </a:cubicBezTo>
                      <a:cubicBezTo>
                        <a:pt x="353814" y="127817"/>
                        <a:pt x="353814" y="127817"/>
                        <a:pt x="353814" y="128531"/>
                      </a:cubicBezTo>
                      <a:cubicBezTo>
                        <a:pt x="353099" y="128531"/>
                        <a:pt x="353099" y="128531"/>
                        <a:pt x="353099" y="129245"/>
                      </a:cubicBezTo>
                      <a:cubicBezTo>
                        <a:pt x="353099" y="129245"/>
                        <a:pt x="353099" y="129245"/>
                        <a:pt x="352384" y="129245"/>
                      </a:cubicBezTo>
                      <a:cubicBezTo>
                        <a:pt x="352384" y="129959"/>
                        <a:pt x="352384" y="129959"/>
                        <a:pt x="352384" y="129959"/>
                      </a:cubicBezTo>
                      <a:cubicBezTo>
                        <a:pt x="351670" y="129959"/>
                        <a:pt x="351670" y="130673"/>
                        <a:pt x="351670" y="130673"/>
                      </a:cubicBezTo>
                      <a:cubicBezTo>
                        <a:pt x="351670" y="130673"/>
                        <a:pt x="350955" y="130673"/>
                        <a:pt x="350955" y="131387"/>
                      </a:cubicBezTo>
                      <a:cubicBezTo>
                        <a:pt x="350955" y="131387"/>
                        <a:pt x="350955" y="131387"/>
                        <a:pt x="350240" y="131387"/>
                      </a:cubicBezTo>
                      <a:cubicBezTo>
                        <a:pt x="350240" y="131387"/>
                        <a:pt x="350240" y="132101"/>
                        <a:pt x="349525" y="132101"/>
                      </a:cubicBezTo>
                      <a:cubicBezTo>
                        <a:pt x="349525" y="132101"/>
                        <a:pt x="349525" y="132101"/>
                        <a:pt x="348811" y="132101"/>
                      </a:cubicBezTo>
                      <a:cubicBezTo>
                        <a:pt x="348811" y="132815"/>
                        <a:pt x="348811" y="132815"/>
                        <a:pt x="348096" y="132815"/>
                      </a:cubicBezTo>
                      <a:cubicBezTo>
                        <a:pt x="347381" y="132815"/>
                        <a:pt x="347381" y="133529"/>
                        <a:pt x="347381" y="133529"/>
                      </a:cubicBezTo>
                      <a:cubicBezTo>
                        <a:pt x="346666" y="133529"/>
                        <a:pt x="346666" y="133529"/>
                        <a:pt x="346666" y="133529"/>
                      </a:cubicBezTo>
                      <a:cubicBezTo>
                        <a:pt x="345951" y="133529"/>
                        <a:pt x="345951" y="133529"/>
                        <a:pt x="345237" y="133529"/>
                      </a:cubicBezTo>
                      <a:cubicBezTo>
                        <a:pt x="345237" y="134244"/>
                        <a:pt x="345237" y="134244"/>
                        <a:pt x="345237" y="134244"/>
                      </a:cubicBezTo>
                      <a:cubicBezTo>
                        <a:pt x="344522" y="134244"/>
                        <a:pt x="344522" y="134244"/>
                        <a:pt x="343807" y="134244"/>
                      </a:cubicBezTo>
                      <a:cubicBezTo>
                        <a:pt x="343092" y="134244"/>
                        <a:pt x="343092" y="134244"/>
                        <a:pt x="342378" y="134244"/>
                      </a:cubicBezTo>
                      <a:cubicBezTo>
                        <a:pt x="342378" y="134244"/>
                        <a:pt x="342378" y="134244"/>
                        <a:pt x="247312" y="142098"/>
                      </a:cubicBezTo>
                      <a:cubicBezTo>
                        <a:pt x="246598" y="142098"/>
                        <a:pt x="246598" y="142098"/>
                        <a:pt x="245883" y="142098"/>
                      </a:cubicBezTo>
                      <a:cubicBezTo>
                        <a:pt x="238020" y="142098"/>
                        <a:pt x="230873" y="135672"/>
                        <a:pt x="230158" y="127817"/>
                      </a:cubicBezTo>
                      <a:cubicBezTo>
                        <a:pt x="229443" y="118534"/>
                        <a:pt x="235876" y="111394"/>
                        <a:pt x="244453" y="110680"/>
                      </a:cubicBezTo>
                      <a:cubicBezTo>
                        <a:pt x="244453" y="110680"/>
                        <a:pt x="244453" y="110680"/>
                        <a:pt x="311642" y="105681"/>
                      </a:cubicBezTo>
                      <a:cubicBezTo>
                        <a:pt x="280907" y="72120"/>
                        <a:pt x="238735" y="52841"/>
                        <a:pt x="192275" y="52841"/>
                      </a:cubicBezTo>
                      <a:cubicBezTo>
                        <a:pt x="104357" y="52841"/>
                        <a:pt x="32165" y="124961"/>
                        <a:pt x="32165" y="212790"/>
                      </a:cubicBezTo>
                      <a:cubicBezTo>
                        <a:pt x="32165" y="283482"/>
                        <a:pt x="79340" y="347034"/>
                        <a:pt x="146529" y="367027"/>
                      </a:cubicBezTo>
                      <a:cubicBezTo>
                        <a:pt x="147959" y="367741"/>
                        <a:pt x="150818" y="368455"/>
                        <a:pt x="153677" y="369170"/>
                      </a:cubicBezTo>
                      <a:cubicBezTo>
                        <a:pt x="225154" y="215646"/>
                        <a:pt x="380261" y="109965"/>
                        <a:pt x="559669" y="109965"/>
                      </a:cubicBezTo>
                      <a:cubicBezTo>
                        <a:pt x="807696" y="109965"/>
                        <a:pt x="1008548" y="310617"/>
                        <a:pt x="1008548" y="559110"/>
                      </a:cubicBezTo>
                      <a:cubicBezTo>
                        <a:pt x="1008548" y="749764"/>
                        <a:pt x="891325" y="911856"/>
                        <a:pt x="724782" y="977549"/>
                      </a:cubicBezTo>
                      <a:cubicBezTo>
                        <a:pt x="724782" y="977549"/>
                        <a:pt x="724782" y="977549"/>
                        <a:pt x="725497" y="977549"/>
                      </a:cubicBezTo>
                      <a:cubicBezTo>
                        <a:pt x="725497" y="977549"/>
                        <a:pt x="725497" y="977549"/>
                        <a:pt x="1083599" y="977549"/>
                      </a:cubicBezTo>
                      <a:cubicBezTo>
                        <a:pt x="1083599" y="977549"/>
                        <a:pt x="1083599" y="977549"/>
                        <a:pt x="1041428" y="931135"/>
                      </a:cubicBezTo>
                      <a:cubicBezTo>
                        <a:pt x="1035709" y="924709"/>
                        <a:pt x="1036424" y="914712"/>
                        <a:pt x="1042857" y="909000"/>
                      </a:cubicBezTo>
                      <a:cubicBezTo>
                        <a:pt x="1045716" y="906143"/>
                        <a:pt x="1049290" y="904715"/>
                        <a:pt x="1052864" y="904715"/>
                      </a:cubicBezTo>
                      <a:cubicBezTo>
                        <a:pt x="1057153" y="904715"/>
                        <a:pt x="1061441" y="906857"/>
                        <a:pt x="1065015" y="909714"/>
                      </a:cubicBezTo>
                      <a:cubicBezTo>
                        <a:pt x="1065015" y="909714"/>
                        <a:pt x="1065015" y="909714"/>
                        <a:pt x="1130775" y="982548"/>
                      </a:cubicBezTo>
                      <a:cubicBezTo>
                        <a:pt x="1131489" y="983262"/>
                        <a:pt x="1131489" y="983262"/>
                        <a:pt x="1131489" y="983976"/>
                      </a:cubicBezTo>
                      <a:cubicBezTo>
                        <a:pt x="1131489" y="983976"/>
                        <a:pt x="1131489" y="983976"/>
                        <a:pt x="1132204" y="983976"/>
                      </a:cubicBezTo>
                      <a:cubicBezTo>
                        <a:pt x="1132204" y="983976"/>
                        <a:pt x="1132204" y="983976"/>
                        <a:pt x="1132204" y="984690"/>
                      </a:cubicBezTo>
                      <a:cubicBezTo>
                        <a:pt x="1132919" y="984690"/>
                        <a:pt x="1132919" y="985404"/>
                        <a:pt x="1132919" y="985404"/>
                      </a:cubicBezTo>
                      <a:cubicBezTo>
                        <a:pt x="1132919" y="985404"/>
                        <a:pt x="1132919" y="986118"/>
                        <a:pt x="1133634" y="986118"/>
                      </a:cubicBezTo>
                      <a:cubicBezTo>
                        <a:pt x="1133634" y="986118"/>
                        <a:pt x="1133634" y="986118"/>
                        <a:pt x="1133634" y="986832"/>
                      </a:cubicBezTo>
                      <a:cubicBezTo>
                        <a:pt x="1133634" y="986832"/>
                        <a:pt x="1133634" y="986832"/>
                        <a:pt x="1133634" y="987546"/>
                      </a:cubicBezTo>
                      <a:cubicBezTo>
                        <a:pt x="1133634" y="987546"/>
                        <a:pt x="1133634" y="987546"/>
                        <a:pt x="1134348" y="988260"/>
                      </a:cubicBezTo>
                      <a:cubicBezTo>
                        <a:pt x="1134348" y="988260"/>
                        <a:pt x="1134348" y="988260"/>
                        <a:pt x="1134348" y="988974"/>
                      </a:cubicBezTo>
                      <a:cubicBezTo>
                        <a:pt x="1134348" y="988974"/>
                        <a:pt x="1134348" y="988974"/>
                        <a:pt x="1134348" y="989688"/>
                      </a:cubicBezTo>
                      <a:cubicBezTo>
                        <a:pt x="1134348" y="989688"/>
                        <a:pt x="1134348" y="989688"/>
                        <a:pt x="1134348" y="990402"/>
                      </a:cubicBezTo>
                      <a:cubicBezTo>
                        <a:pt x="1134348" y="990402"/>
                        <a:pt x="1134348" y="991116"/>
                        <a:pt x="1135063" y="991116"/>
                      </a:cubicBezTo>
                      <a:cubicBezTo>
                        <a:pt x="1135063" y="991116"/>
                        <a:pt x="1135063" y="991116"/>
                        <a:pt x="1135063" y="991831"/>
                      </a:cubicBezTo>
                      <a:cubicBezTo>
                        <a:pt x="1135063" y="992545"/>
                        <a:pt x="1135063" y="992545"/>
                        <a:pt x="1135063" y="992545"/>
                      </a:cubicBezTo>
                      <a:cubicBezTo>
                        <a:pt x="1135063" y="992545"/>
                        <a:pt x="1135063" y="992545"/>
                        <a:pt x="1135063" y="993259"/>
                      </a:cubicBezTo>
                      <a:cubicBezTo>
                        <a:pt x="1135063" y="993973"/>
                        <a:pt x="1135063" y="993973"/>
                        <a:pt x="1135063" y="993973"/>
                      </a:cubicBezTo>
                      <a:cubicBezTo>
                        <a:pt x="1135063" y="994687"/>
                        <a:pt x="1135063" y="994687"/>
                        <a:pt x="1135063" y="995401"/>
                      </a:cubicBezTo>
                      <a:cubicBezTo>
                        <a:pt x="1134348" y="995401"/>
                        <a:pt x="1134348" y="995401"/>
                        <a:pt x="1134348" y="995401"/>
                      </a:cubicBezTo>
                      <a:cubicBezTo>
                        <a:pt x="1134348" y="996115"/>
                        <a:pt x="1134348" y="996115"/>
                        <a:pt x="1134348" y="996829"/>
                      </a:cubicBezTo>
                      <a:cubicBezTo>
                        <a:pt x="1134348" y="997543"/>
                        <a:pt x="1134348" y="997543"/>
                        <a:pt x="1134348" y="998257"/>
                      </a:cubicBezTo>
                      <a:cubicBezTo>
                        <a:pt x="1133634" y="998257"/>
                        <a:pt x="1133634" y="998257"/>
                        <a:pt x="1133634" y="998257"/>
                      </a:cubicBezTo>
                      <a:cubicBezTo>
                        <a:pt x="1133634" y="998971"/>
                        <a:pt x="1133634" y="998971"/>
                        <a:pt x="1133634" y="999685"/>
                      </a:cubicBezTo>
                      <a:cubicBezTo>
                        <a:pt x="1132919" y="1000399"/>
                        <a:pt x="1132919" y="1000399"/>
                        <a:pt x="1132919" y="1001113"/>
                      </a:cubicBezTo>
                      <a:cubicBezTo>
                        <a:pt x="1132919" y="1001113"/>
                        <a:pt x="1132919" y="1001113"/>
                        <a:pt x="1132204" y="1001113"/>
                      </a:cubicBezTo>
                      <a:cubicBezTo>
                        <a:pt x="1132204" y="1001827"/>
                        <a:pt x="1132204" y="1001827"/>
                        <a:pt x="1132204" y="1001827"/>
                      </a:cubicBezTo>
                      <a:cubicBezTo>
                        <a:pt x="1132204" y="1002541"/>
                        <a:pt x="1131489" y="1002541"/>
                        <a:pt x="1131489" y="1002541"/>
                      </a:cubicBezTo>
                      <a:cubicBezTo>
                        <a:pt x="1131489" y="1002541"/>
                        <a:pt x="1131489" y="1003256"/>
                        <a:pt x="1130775" y="1003256"/>
                      </a:cubicBezTo>
                      <a:cubicBezTo>
                        <a:pt x="1130775" y="1003256"/>
                        <a:pt x="1130775" y="1003256"/>
                        <a:pt x="1130775" y="1003970"/>
                      </a:cubicBezTo>
                      <a:cubicBezTo>
                        <a:pt x="1130775" y="1003970"/>
                        <a:pt x="1130775" y="1003970"/>
                        <a:pt x="1065015" y="1076090"/>
                      </a:cubicBezTo>
                      <a:cubicBezTo>
                        <a:pt x="1061441" y="1079660"/>
                        <a:pt x="1057153" y="1081088"/>
                        <a:pt x="1052864" y="1081088"/>
                      </a:cubicBezTo>
                      <a:cubicBezTo>
                        <a:pt x="1049290" y="1081088"/>
                        <a:pt x="1045716" y="1079660"/>
                        <a:pt x="1042857" y="1076804"/>
                      </a:cubicBezTo>
                      <a:cubicBezTo>
                        <a:pt x="1036424" y="1071091"/>
                        <a:pt x="1035709" y="1061094"/>
                        <a:pt x="1041428" y="1054668"/>
                      </a:cubicBezTo>
                      <a:cubicBezTo>
                        <a:pt x="1041428" y="1054668"/>
                        <a:pt x="1041428" y="1054668"/>
                        <a:pt x="1083599" y="1008968"/>
                      </a:cubicBezTo>
                      <a:cubicBezTo>
                        <a:pt x="1083599" y="1008968"/>
                        <a:pt x="1083599" y="1008968"/>
                        <a:pt x="15725" y="1008968"/>
                      </a:cubicBezTo>
                      <a:cubicBezTo>
                        <a:pt x="7148" y="1008968"/>
                        <a:pt x="0" y="1001827"/>
                        <a:pt x="0" y="993259"/>
                      </a:cubicBezTo>
                      <a:cubicBezTo>
                        <a:pt x="0" y="984690"/>
                        <a:pt x="7148" y="977549"/>
                        <a:pt x="15725" y="977549"/>
                      </a:cubicBezTo>
                      <a:cubicBezTo>
                        <a:pt x="15725" y="977549"/>
                        <a:pt x="15725" y="977549"/>
                        <a:pt x="395271" y="977549"/>
                      </a:cubicBezTo>
                      <a:cubicBezTo>
                        <a:pt x="228728" y="911856"/>
                        <a:pt x="110790" y="749764"/>
                        <a:pt x="110790" y="559110"/>
                      </a:cubicBezTo>
                      <a:cubicBezTo>
                        <a:pt x="110790" y="502699"/>
                        <a:pt x="121512" y="448430"/>
                        <a:pt x="140811" y="398446"/>
                      </a:cubicBezTo>
                      <a:cubicBezTo>
                        <a:pt x="139381" y="397732"/>
                        <a:pt x="138667" y="397018"/>
                        <a:pt x="137952" y="397018"/>
                      </a:cubicBezTo>
                      <a:cubicBezTo>
                        <a:pt x="57182" y="373454"/>
                        <a:pt x="715" y="297049"/>
                        <a:pt x="715" y="212790"/>
                      </a:cubicBezTo>
                      <a:cubicBezTo>
                        <a:pt x="715" y="107109"/>
                        <a:pt x="87203" y="21422"/>
                        <a:pt x="192275" y="21422"/>
                      </a:cubicBezTo>
                      <a:cubicBezTo>
                        <a:pt x="241594" y="21422"/>
                        <a:pt x="287340" y="39273"/>
                        <a:pt x="322364" y="71406"/>
                      </a:cubicBezTo>
                      <a:cubicBezTo>
                        <a:pt x="322364" y="71406"/>
                        <a:pt x="322364" y="71406"/>
                        <a:pt x="318075" y="16424"/>
                      </a:cubicBezTo>
                      <a:cubicBezTo>
                        <a:pt x="317360" y="7855"/>
                        <a:pt x="323793" y="714"/>
                        <a:pt x="332371" y="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296" tIns="41148" rIns="82296" bIns="41148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Freeform 6">
                  <a:extLst>
                    <a:ext uri="{FF2B5EF4-FFF2-40B4-BE49-F238E27FC236}">
                      <a16:creationId xmlns:a16="http://schemas.microsoft.com/office/drawing/2014/main" id="{BB490444-D7C9-469D-8A93-7BC53D6F8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8938" y="2735263"/>
                  <a:ext cx="1260475" cy="1204913"/>
                </a:xfrm>
                <a:custGeom>
                  <a:avLst/>
                  <a:gdLst>
                    <a:gd name="connsiteX0" fmla="*/ 229849 w 1260475"/>
                    <a:gd name="connsiteY0" fmla="*/ 180975 h 1204913"/>
                    <a:gd name="connsiteX1" fmla="*/ 157162 w 1260475"/>
                    <a:gd name="connsiteY1" fmla="*/ 275004 h 1204913"/>
                    <a:gd name="connsiteX2" fmla="*/ 189547 w 1260475"/>
                    <a:gd name="connsiteY2" fmla="*/ 347663 h 1204913"/>
                    <a:gd name="connsiteX3" fmla="*/ 265112 w 1260475"/>
                    <a:gd name="connsiteY3" fmla="*/ 254346 h 1204913"/>
                    <a:gd name="connsiteX4" fmla="*/ 229849 w 1260475"/>
                    <a:gd name="connsiteY4" fmla="*/ 194510 h 1204913"/>
                    <a:gd name="connsiteX5" fmla="*/ 229849 w 1260475"/>
                    <a:gd name="connsiteY5" fmla="*/ 180975 h 1204913"/>
                    <a:gd name="connsiteX6" fmla="*/ 254252 w 1260475"/>
                    <a:gd name="connsiteY6" fmla="*/ 146050 h 1204913"/>
                    <a:gd name="connsiteX7" fmla="*/ 275579 w 1260475"/>
                    <a:gd name="connsiteY7" fmla="*/ 147481 h 1204913"/>
                    <a:gd name="connsiteX8" fmla="*/ 281266 w 1260475"/>
                    <a:gd name="connsiteY8" fmla="*/ 148911 h 1204913"/>
                    <a:gd name="connsiteX9" fmla="*/ 262072 w 1260475"/>
                    <a:gd name="connsiteY9" fmla="*/ 177523 h 1204913"/>
                    <a:gd name="connsiteX10" fmla="*/ 260650 w 1260475"/>
                    <a:gd name="connsiteY10" fmla="*/ 191829 h 1204913"/>
                    <a:gd name="connsiteX11" fmla="*/ 265626 w 1260475"/>
                    <a:gd name="connsiteY11" fmla="*/ 208281 h 1204913"/>
                    <a:gd name="connsiteX12" fmla="*/ 267759 w 1260475"/>
                    <a:gd name="connsiteY12" fmla="*/ 213288 h 1204913"/>
                    <a:gd name="connsiteX13" fmla="*/ 278422 w 1260475"/>
                    <a:gd name="connsiteY13" fmla="*/ 224733 h 1204913"/>
                    <a:gd name="connsiteX14" fmla="*/ 280555 w 1260475"/>
                    <a:gd name="connsiteY14" fmla="*/ 226879 h 1204913"/>
                    <a:gd name="connsiteX15" fmla="*/ 283399 w 1260475"/>
                    <a:gd name="connsiteY15" fmla="*/ 228310 h 1204913"/>
                    <a:gd name="connsiteX16" fmla="*/ 288375 w 1260475"/>
                    <a:gd name="connsiteY16" fmla="*/ 231171 h 1204913"/>
                    <a:gd name="connsiteX17" fmla="*/ 291930 w 1260475"/>
                    <a:gd name="connsiteY17" fmla="*/ 232601 h 1204913"/>
                    <a:gd name="connsiteX18" fmla="*/ 299039 w 1260475"/>
                    <a:gd name="connsiteY18" fmla="*/ 234747 h 1204913"/>
                    <a:gd name="connsiteX19" fmla="*/ 307569 w 1260475"/>
                    <a:gd name="connsiteY19" fmla="*/ 235463 h 1204913"/>
                    <a:gd name="connsiteX20" fmla="*/ 311124 w 1260475"/>
                    <a:gd name="connsiteY20" fmla="*/ 235463 h 1204913"/>
                    <a:gd name="connsiteX21" fmla="*/ 311835 w 1260475"/>
                    <a:gd name="connsiteY21" fmla="*/ 235463 h 1204913"/>
                    <a:gd name="connsiteX22" fmla="*/ 338138 w 1260475"/>
                    <a:gd name="connsiteY22" fmla="*/ 233317 h 1204913"/>
                    <a:gd name="connsiteX23" fmla="*/ 316100 w 1260475"/>
                    <a:gd name="connsiteY23" fmla="*/ 250484 h 1204913"/>
                    <a:gd name="connsiteX24" fmla="*/ 286953 w 1260475"/>
                    <a:gd name="connsiteY24" fmla="*/ 276235 h 1204913"/>
                    <a:gd name="connsiteX25" fmla="*/ 259939 w 1260475"/>
                    <a:gd name="connsiteY25" fmla="*/ 304847 h 1204913"/>
                    <a:gd name="connsiteX26" fmla="*/ 251408 w 1260475"/>
                    <a:gd name="connsiteY26" fmla="*/ 314861 h 1204913"/>
                    <a:gd name="connsiteX27" fmla="*/ 249986 w 1260475"/>
                    <a:gd name="connsiteY27" fmla="*/ 317007 h 1204913"/>
                    <a:gd name="connsiteX28" fmla="*/ 243588 w 1260475"/>
                    <a:gd name="connsiteY28" fmla="*/ 324875 h 1204913"/>
                    <a:gd name="connsiteX29" fmla="*/ 242166 w 1260475"/>
                    <a:gd name="connsiteY29" fmla="*/ 326306 h 1204913"/>
                    <a:gd name="connsiteX30" fmla="*/ 227948 w 1260475"/>
                    <a:gd name="connsiteY30" fmla="*/ 347049 h 1204913"/>
                    <a:gd name="connsiteX31" fmla="*/ 200934 w 1260475"/>
                    <a:gd name="connsiteY31" fmla="*/ 392113 h 1204913"/>
                    <a:gd name="connsiteX32" fmla="*/ 134109 w 1260475"/>
                    <a:gd name="connsiteY32" fmla="*/ 315576 h 1204913"/>
                    <a:gd name="connsiteX33" fmla="*/ 133398 w 1260475"/>
                    <a:gd name="connsiteY33" fmla="*/ 314145 h 1204913"/>
                    <a:gd name="connsiteX34" fmla="*/ 132687 w 1260475"/>
                    <a:gd name="connsiteY34" fmla="*/ 311284 h 1204913"/>
                    <a:gd name="connsiteX35" fmla="*/ 131977 w 1260475"/>
                    <a:gd name="connsiteY35" fmla="*/ 309854 h 1204913"/>
                    <a:gd name="connsiteX36" fmla="*/ 131266 w 1260475"/>
                    <a:gd name="connsiteY36" fmla="*/ 306993 h 1204913"/>
                    <a:gd name="connsiteX37" fmla="*/ 130555 w 1260475"/>
                    <a:gd name="connsiteY37" fmla="*/ 303416 h 1204913"/>
                    <a:gd name="connsiteX38" fmla="*/ 129844 w 1260475"/>
                    <a:gd name="connsiteY38" fmla="*/ 302701 h 1204913"/>
                    <a:gd name="connsiteX39" fmla="*/ 129133 w 1260475"/>
                    <a:gd name="connsiteY39" fmla="*/ 298409 h 1204913"/>
                    <a:gd name="connsiteX40" fmla="*/ 129133 w 1260475"/>
                    <a:gd name="connsiteY40" fmla="*/ 297694 h 1204913"/>
                    <a:gd name="connsiteX41" fmla="*/ 128422 w 1260475"/>
                    <a:gd name="connsiteY41" fmla="*/ 294117 h 1204913"/>
                    <a:gd name="connsiteX42" fmla="*/ 128422 w 1260475"/>
                    <a:gd name="connsiteY42" fmla="*/ 293402 h 1204913"/>
                    <a:gd name="connsiteX43" fmla="*/ 127711 w 1260475"/>
                    <a:gd name="connsiteY43" fmla="*/ 284818 h 1204913"/>
                    <a:gd name="connsiteX44" fmla="*/ 127711 w 1260475"/>
                    <a:gd name="connsiteY44" fmla="*/ 284103 h 1204913"/>
                    <a:gd name="connsiteX45" fmla="*/ 127000 w 1260475"/>
                    <a:gd name="connsiteY45" fmla="*/ 274804 h 1204913"/>
                    <a:gd name="connsiteX46" fmla="*/ 129133 w 1260475"/>
                    <a:gd name="connsiteY46" fmla="*/ 253345 h 1204913"/>
                    <a:gd name="connsiteX47" fmla="*/ 131266 w 1260475"/>
                    <a:gd name="connsiteY47" fmla="*/ 241900 h 1204913"/>
                    <a:gd name="connsiteX48" fmla="*/ 166811 w 1260475"/>
                    <a:gd name="connsiteY48" fmla="*/ 181815 h 1204913"/>
                    <a:gd name="connsiteX49" fmla="*/ 185294 w 1260475"/>
                    <a:gd name="connsiteY49" fmla="*/ 166794 h 1204913"/>
                    <a:gd name="connsiteX50" fmla="*/ 198801 w 1260475"/>
                    <a:gd name="connsiteY50" fmla="*/ 158926 h 1204913"/>
                    <a:gd name="connsiteX51" fmla="*/ 213019 w 1260475"/>
                    <a:gd name="connsiteY51" fmla="*/ 153203 h 1204913"/>
                    <a:gd name="connsiteX52" fmla="*/ 220839 w 1260475"/>
                    <a:gd name="connsiteY52" fmla="*/ 150342 h 1204913"/>
                    <a:gd name="connsiteX53" fmla="*/ 228659 w 1260475"/>
                    <a:gd name="connsiteY53" fmla="*/ 148911 h 1204913"/>
                    <a:gd name="connsiteX54" fmla="*/ 254252 w 1260475"/>
                    <a:gd name="connsiteY54" fmla="*/ 146050 h 1204913"/>
                    <a:gd name="connsiteX55" fmla="*/ 393128 w 1260475"/>
                    <a:gd name="connsiteY55" fmla="*/ 31750 h 1204913"/>
                    <a:gd name="connsiteX56" fmla="*/ 367417 w 1260475"/>
                    <a:gd name="connsiteY56" fmla="*/ 41750 h 1204913"/>
                    <a:gd name="connsiteX57" fmla="*/ 363847 w 1260475"/>
                    <a:gd name="connsiteY57" fmla="*/ 44607 h 1204913"/>
                    <a:gd name="connsiteX58" fmla="*/ 360990 w 1260475"/>
                    <a:gd name="connsiteY58" fmla="*/ 48178 h 1204913"/>
                    <a:gd name="connsiteX59" fmla="*/ 351705 w 1260475"/>
                    <a:gd name="connsiteY59" fmla="*/ 63178 h 1204913"/>
                    <a:gd name="connsiteX60" fmla="*/ 350991 w 1260475"/>
                    <a:gd name="connsiteY60" fmla="*/ 68178 h 1204913"/>
                    <a:gd name="connsiteX61" fmla="*/ 349563 w 1260475"/>
                    <a:gd name="connsiteY61" fmla="*/ 73892 h 1204913"/>
                    <a:gd name="connsiteX62" fmla="*/ 344564 w 1260475"/>
                    <a:gd name="connsiteY62" fmla="*/ 71750 h 1204913"/>
                    <a:gd name="connsiteX63" fmla="*/ 261718 w 1260475"/>
                    <a:gd name="connsiteY63" fmla="*/ 53178 h 1204913"/>
                    <a:gd name="connsiteX64" fmla="*/ 255290 w 1260475"/>
                    <a:gd name="connsiteY64" fmla="*/ 53178 h 1204913"/>
                    <a:gd name="connsiteX65" fmla="*/ 221724 w 1260475"/>
                    <a:gd name="connsiteY65" fmla="*/ 56036 h 1204913"/>
                    <a:gd name="connsiteX66" fmla="*/ 192442 w 1260475"/>
                    <a:gd name="connsiteY66" fmla="*/ 62464 h 1204913"/>
                    <a:gd name="connsiteX67" fmla="*/ 176016 w 1260475"/>
                    <a:gd name="connsiteY67" fmla="*/ 68178 h 1204913"/>
                    <a:gd name="connsiteX68" fmla="*/ 168874 w 1260475"/>
                    <a:gd name="connsiteY68" fmla="*/ 71035 h 1204913"/>
                    <a:gd name="connsiteX69" fmla="*/ 147448 w 1260475"/>
                    <a:gd name="connsiteY69" fmla="*/ 81035 h 1204913"/>
                    <a:gd name="connsiteX70" fmla="*/ 91028 w 1260475"/>
                    <a:gd name="connsiteY70" fmla="*/ 126035 h 1204913"/>
                    <a:gd name="connsiteX71" fmla="*/ 75316 w 1260475"/>
                    <a:gd name="connsiteY71" fmla="*/ 145320 h 1204913"/>
                    <a:gd name="connsiteX72" fmla="*/ 43891 w 1260475"/>
                    <a:gd name="connsiteY72" fmla="*/ 206748 h 1204913"/>
                    <a:gd name="connsiteX73" fmla="*/ 41035 w 1260475"/>
                    <a:gd name="connsiteY73" fmla="*/ 214605 h 1204913"/>
                    <a:gd name="connsiteX74" fmla="*/ 33893 w 1260475"/>
                    <a:gd name="connsiteY74" fmla="*/ 253176 h 1204913"/>
                    <a:gd name="connsiteX75" fmla="*/ 32464 w 1260475"/>
                    <a:gd name="connsiteY75" fmla="*/ 276033 h 1204913"/>
                    <a:gd name="connsiteX76" fmla="*/ 32464 w 1260475"/>
                    <a:gd name="connsiteY76" fmla="*/ 284604 h 1204913"/>
                    <a:gd name="connsiteX77" fmla="*/ 33179 w 1260475"/>
                    <a:gd name="connsiteY77" fmla="*/ 289604 h 1204913"/>
                    <a:gd name="connsiteX78" fmla="*/ 33179 w 1260475"/>
                    <a:gd name="connsiteY78" fmla="*/ 292461 h 1204913"/>
                    <a:gd name="connsiteX79" fmla="*/ 33893 w 1260475"/>
                    <a:gd name="connsiteY79" fmla="*/ 297461 h 1204913"/>
                    <a:gd name="connsiteX80" fmla="*/ 33893 w 1260475"/>
                    <a:gd name="connsiteY80" fmla="*/ 300318 h 1204913"/>
                    <a:gd name="connsiteX81" fmla="*/ 34607 w 1260475"/>
                    <a:gd name="connsiteY81" fmla="*/ 305318 h 1204913"/>
                    <a:gd name="connsiteX82" fmla="*/ 35321 w 1260475"/>
                    <a:gd name="connsiteY82" fmla="*/ 308889 h 1204913"/>
                    <a:gd name="connsiteX83" fmla="*/ 36035 w 1260475"/>
                    <a:gd name="connsiteY83" fmla="*/ 315318 h 1204913"/>
                    <a:gd name="connsiteX84" fmla="*/ 36035 w 1260475"/>
                    <a:gd name="connsiteY84" fmla="*/ 316746 h 1204913"/>
                    <a:gd name="connsiteX85" fmla="*/ 163875 w 1260475"/>
                    <a:gd name="connsiteY85" fmla="*/ 478887 h 1204913"/>
                    <a:gd name="connsiteX86" fmla="*/ 154590 w 1260475"/>
                    <a:gd name="connsiteY86" fmla="*/ 514601 h 1204913"/>
                    <a:gd name="connsiteX87" fmla="*/ 142449 w 1260475"/>
                    <a:gd name="connsiteY87" fmla="*/ 621028 h 1204913"/>
                    <a:gd name="connsiteX88" fmla="*/ 142449 w 1260475"/>
                    <a:gd name="connsiteY88" fmla="*/ 630313 h 1204913"/>
                    <a:gd name="connsiteX89" fmla="*/ 149591 w 1260475"/>
                    <a:gd name="connsiteY89" fmla="*/ 701741 h 1204913"/>
                    <a:gd name="connsiteX90" fmla="*/ 151019 w 1260475"/>
                    <a:gd name="connsiteY90" fmla="*/ 711741 h 1204913"/>
                    <a:gd name="connsiteX91" fmla="*/ 156733 w 1260475"/>
                    <a:gd name="connsiteY91" fmla="*/ 738169 h 1204913"/>
                    <a:gd name="connsiteX92" fmla="*/ 164589 w 1260475"/>
                    <a:gd name="connsiteY92" fmla="*/ 764597 h 1204913"/>
                    <a:gd name="connsiteX93" fmla="*/ 166731 w 1260475"/>
                    <a:gd name="connsiteY93" fmla="*/ 773169 h 1204913"/>
                    <a:gd name="connsiteX94" fmla="*/ 173159 w 1260475"/>
                    <a:gd name="connsiteY94" fmla="*/ 790311 h 1204913"/>
                    <a:gd name="connsiteX95" fmla="*/ 179587 w 1260475"/>
                    <a:gd name="connsiteY95" fmla="*/ 806740 h 1204913"/>
                    <a:gd name="connsiteX96" fmla="*/ 187443 w 1260475"/>
                    <a:gd name="connsiteY96" fmla="*/ 823168 h 1204913"/>
                    <a:gd name="connsiteX97" fmla="*/ 199584 w 1260475"/>
                    <a:gd name="connsiteY97" fmla="*/ 846739 h 1204913"/>
                    <a:gd name="connsiteX98" fmla="*/ 203869 w 1260475"/>
                    <a:gd name="connsiteY98" fmla="*/ 855310 h 1204913"/>
                    <a:gd name="connsiteX99" fmla="*/ 209582 w 1260475"/>
                    <a:gd name="connsiteY99" fmla="*/ 864596 h 1204913"/>
                    <a:gd name="connsiteX100" fmla="*/ 218153 w 1260475"/>
                    <a:gd name="connsiteY100" fmla="*/ 879596 h 1204913"/>
                    <a:gd name="connsiteX101" fmla="*/ 228151 w 1260475"/>
                    <a:gd name="connsiteY101" fmla="*/ 893881 h 1204913"/>
                    <a:gd name="connsiteX102" fmla="*/ 236721 w 1260475"/>
                    <a:gd name="connsiteY102" fmla="*/ 905310 h 1204913"/>
                    <a:gd name="connsiteX103" fmla="*/ 336707 w 1260475"/>
                    <a:gd name="connsiteY103" fmla="*/ 1006737 h 1204913"/>
                    <a:gd name="connsiteX104" fmla="*/ 78886 w 1260475"/>
                    <a:gd name="connsiteY104" fmla="*/ 1006737 h 1204913"/>
                    <a:gd name="connsiteX105" fmla="*/ 69602 w 1260475"/>
                    <a:gd name="connsiteY105" fmla="*/ 1007451 h 1204913"/>
                    <a:gd name="connsiteX106" fmla="*/ 61746 w 1260475"/>
                    <a:gd name="connsiteY106" fmla="*/ 1009594 h 1204913"/>
                    <a:gd name="connsiteX107" fmla="*/ 31750 w 1260475"/>
                    <a:gd name="connsiteY107" fmla="*/ 1053879 h 1204913"/>
                    <a:gd name="connsiteX108" fmla="*/ 61746 w 1260475"/>
                    <a:gd name="connsiteY108" fmla="*/ 1097450 h 1204913"/>
                    <a:gd name="connsiteX109" fmla="*/ 69602 w 1260475"/>
                    <a:gd name="connsiteY109" fmla="*/ 1099593 h 1204913"/>
                    <a:gd name="connsiteX110" fmla="*/ 78886 w 1260475"/>
                    <a:gd name="connsiteY110" fmla="*/ 1101021 h 1204913"/>
                    <a:gd name="connsiteX111" fmla="*/ 1075890 w 1260475"/>
                    <a:gd name="connsiteY111" fmla="*/ 1101021 h 1204913"/>
                    <a:gd name="connsiteX112" fmla="*/ 1083746 w 1260475"/>
                    <a:gd name="connsiteY112" fmla="*/ 1161020 h 1204913"/>
                    <a:gd name="connsiteX113" fmla="*/ 1110885 w 1260475"/>
                    <a:gd name="connsiteY113" fmla="*/ 1173163 h 1204913"/>
                    <a:gd name="connsiteX114" fmla="*/ 1115170 w 1260475"/>
                    <a:gd name="connsiteY114" fmla="*/ 1173163 h 1204913"/>
                    <a:gd name="connsiteX115" fmla="*/ 1122312 w 1260475"/>
                    <a:gd name="connsiteY115" fmla="*/ 1172449 h 1204913"/>
                    <a:gd name="connsiteX116" fmla="*/ 1128739 w 1260475"/>
                    <a:gd name="connsiteY116" fmla="*/ 1171020 h 1204913"/>
                    <a:gd name="connsiteX117" fmla="*/ 1150165 w 1260475"/>
                    <a:gd name="connsiteY117" fmla="*/ 1158163 h 1204913"/>
                    <a:gd name="connsiteX118" fmla="*/ 1216584 w 1260475"/>
                    <a:gd name="connsiteY118" fmla="*/ 1085307 h 1204913"/>
                    <a:gd name="connsiteX119" fmla="*/ 1218012 w 1260475"/>
                    <a:gd name="connsiteY119" fmla="*/ 1083879 h 1204913"/>
                    <a:gd name="connsiteX120" fmla="*/ 1218012 w 1260475"/>
                    <a:gd name="connsiteY120" fmla="*/ 1083164 h 1204913"/>
                    <a:gd name="connsiteX121" fmla="*/ 1218727 w 1260475"/>
                    <a:gd name="connsiteY121" fmla="*/ 1083164 h 1204913"/>
                    <a:gd name="connsiteX122" fmla="*/ 1218727 w 1260475"/>
                    <a:gd name="connsiteY122" fmla="*/ 1082450 h 1204913"/>
                    <a:gd name="connsiteX123" fmla="*/ 1219441 w 1260475"/>
                    <a:gd name="connsiteY123" fmla="*/ 1081736 h 1204913"/>
                    <a:gd name="connsiteX124" fmla="*/ 1219441 w 1260475"/>
                    <a:gd name="connsiteY124" fmla="*/ 1081022 h 1204913"/>
                    <a:gd name="connsiteX125" fmla="*/ 1220155 w 1260475"/>
                    <a:gd name="connsiteY125" fmla="*/ 1081022 h 1204913"/>
                    <a:gd name="connsiteX126" fmla="*/ 1221583 w 1260475"/>
                    <a:gd name="connsiteY126" fmla="*/ 1078164 h 1204913"/>
                    <a:gd name="connsiteX127" fmla="*/ 1222298 w 1260475"/>
                    <a:gd name="connsiteY127" fmla="*/ 1077450 h 1204913"/>
                    <a:gd name="connsiteX128" fmla="*/ 1223726 w 1260475"/>
                    <a:gd name="connsiteY128" fmla="*/ 1073879 h 1204913"/>
                    <a:gd name="connsiteX129" fmla="*/ 1224440 w 1260475"/>
                    <a:gd name="connsiteY129" fmla="*/ 1073879 h 1204913"/>
                    <a:gd name="connsiteX130" fmla="*/ 1224440 w 1260475"/>
                    <a:gd name="connsiteY130" fmla="*/ 1073165 h 1204913"/>
                    <a:gd name="connsiteX131" fmla="*/ 1225154 w 1260475"/>
                    <a:gd name="connsiteY131" fmla="*/ 1071022 h 1204913"/>
                    <a:gd name="connsiteX132" fmla="*/ 1225868 w 1260475"/>
                    <a:gd name="connsiteY132" fmla="*/ 1070307 h 1204913"/>
                    <a:gd name="connsiteX133" fmla="*/ 1225868 w 1260475"/>
                    <a:gd name="connsiteY133" fmla="*/ 1068879 h 1204913"/>
                    <a:gd name="connsiteX134" fmla="*/ 1227297 w 1260475"/>
                    <a:gd name="connsiteY134" fmla="*/ 1065307 h 1204913"/>
                    <a:gd name="connsiteX135" fmla="*/ 1227297 w 1260475"/>
                    <a:gd name="connsiteY135" fmla="*/ 1064593 h 1204913"/>
                    <a:gd name="connsiteX136" fmla="*/ 1228011 w 1260475"/>
                    <a:gd name="connsiteY136" fmla="*/ 1061022 h 1204913"/>
                    <a:gd name="connsiteX137" fmla="*/ 1228011 w 1260475"/>
                    <a:gd name="connsiteY137" fmla="*/ 1059593 h 1204913"/>
                    <a:gd name="connsiteX138" fmla="*/ 1228011 w 1260475"/>
                    <a:gd name="connsiteY138" fmla="*/ 1058879 h 1204913"/>
                    <a:gd name="connsiteX139" fmla="*/ 1228725 w 1260475"/>
                    <a:gd name="connsiteY139" fmla="*/ 1056736 h 1204913"/>
                    <a:gd name="connsiteX140" fmla="*/ 1228725 w 1260475"/>
                    <a:gd name="connsiteY140" fmla="*/ 1056022 h 1204913"/>
                    <a:gd name="connsiteX141" fmla="*/ 1228725 w 1260475"/>
                    <a:gd name="connsiteY141" fmla="*/ 1053879 h 1204913"/>
                    <a:gd name="connsiteX142" fmla="*/ 1228725 w 1260475"/>
                    <a:gd name="connsiteY142" fmla="*/ 1051736 h 1204913"/>
                    <a:gd name="connsiteX143" fmla="*/ 1228725 w 1260475"/>
                    <a:gd name="connsiteY143" fmla="*/ 1051022 h 1204913"/>
                    <a:gd name="connsiteX144" fmla="*/ 1228011 w 1260475"/>
                    <a:gd name="connsiteY144" fmla="*/ 1047451 h 1204913"/>
                    <a:gd name="connsiteX145" fmla="*/ 1228011 w 1260475"/>
                    <a:gd name="connsiteY145" fmla="*/ 1046022 h 1204913"/>
                    <a:gd name="connsiteX146" fmla="*/ 1227297 w 1260475"/>
                    <a:gd name="connsiteY146" fmla="*/ 1044593 h 1204913"/>
                    <a:gd name="connsiteX147" fmla="*/ 1227297 w 1260475"/>
                    <a:gd name="connsiteY147" fmla="*/ 1043165 h 1204913"/>
                    <a:gd name="connsiteX148" fmla="*/ 1227297 w 1260475"/>
                    <a:gd name="connsiteY148" fmla="*/ 1041736 h 1204913"/>
                    <a:gd name="connsiteX149" fmla="*/ 1225868 w 1260475"/>
                    <a:gd name="connsiteY149" fmla="*/ 1038165 h 1204913"/>
                    <a:gd name="connsiteX150" fmla="*/ 1225868 w 1260475"/>
                    <a:gd name="connsiteY150" fmla="*/ 1037451 h 1204913"/>
                    <a:gd name="connsiteX151" fmla="*/ 1224440 w 1260475"/>
                    <a:gd name="connsiteY151" fmla="*/ 1034594 h 1204913"/>
                    <a:gd name="connsiteX152" fmla="*/ 1223726 w 1260475"/>
                    <a:gd name="connsiteY152" fmla="*/ 1033165 h 1204913"/>
                    <a:gd name="connsiteX153" fmla="*/ 1222298 w 1260475"/>
                    <a:gd name="connsiteY153" fmla="*/ 1030308 h 1204913"/>
                    <a:gd name="connsiteX154" fmla="*/ 1221583 w 1260475"/>
                    <a:gd name="connsiteY154" fmla="*/ 1028879 h 1204913"/>
                    <a:gd name="connsiteX155" fmla="*/ 1219441 w 1260475"/>
                    <a:gd name="connsiteY155" fmla="*/ 1026022 h 1204913"/>
                    <a:gd name="connsiteX156" fmla="*/ 1218727 w 1260475"/>
                    <a:gd name="connsiteY156" fmla="*/ 1025308 h 1204913"/>
                    <a:gd name="connsiteX157" fmla="*/ 1218727 w 1260475"/>
                    <a:gd name="connsiteY157" fmla="*/ 1024594 h 1204913"/>
                    <a:gd name="connsiteX158" fmla="*/ 1218012 w 1260475"/>
                    <a:gd name="connsiteY158" fmla="*/ 1023879 h 1204913"/>
                    <a:gd name="connsiteX159" fmla="*/ 1216584 w 1260475"/>
                    <a:gd name="connsiteY159" fmla="*/ 1022451 h 1204913"/>
                    <a:gd name="connsiteX160" fmla="*/ 1216584 w 1260475"/>
                    <a:gd name="connsiteY160" fmla="*/ 1021737 h 1204913"/>
                    <a:gd name="connsiteX161" fmla="*/ 1150165 w 1260475"/>
                    <a:gd name="connsiteY161" fmla="*/ 949595 h 1204913"/>
                    <a:gd name="connsiteX162" fmla="*/ 1143023 w 1260475"/>
                    <a:gd name="connsiteY162" fmla="*/ 943166 h 1204913"/>
                    <a:gd name="connsiteX163" fmla="*/ 1137309 w 1260475"/>
                    <a:gd name="connsiteY163" fmla="*/ 939595 h 1204913"/>
                    <a:gd name="connsiteX164" fmla="*/ 1134453 w 1260475"/>
                    <a:gd name="connsiteY164" fmla="*/ 938166 h 1204913"/>
                    <a:gd name="connsiteX165" fmla="*/ 1131596 w 1260475"/>
                    <a:gd name="connsiteY165" fmla="*/ 936738 h 1204913"/>
                    <a:gd name="connsiteX166" fmla="*/ 1115170 w 1260475"/>
                    <a:gd name="connsiteY166" fmla="*/ 933881 h 1204913"/>
                    <a:gd name="connsiteX167" fmla="*/ 1087316 w 1260475"/>
                    <a:gd name="connsiteY167" fmla="*/ 943881 h 1204913"/>
                    <a:gd name="connsiteX168" fmla="*/ 1083746 w 1260475"/>
                    <a:gd name="connsiteY168" fmla="*/ 946023 h 1204913"/>
                    <a:gd name="connsiteX169" fmla="*/ 1080175 w 1260475"/>
                    <a:gd name="connsiteY169" fmla="*/ 949595 h 1204913"/>
                    <a:gd name="connsiteX170" fmla="*/ 1079460 w 1260475"/>
                    <a:gd name="connsiteY170" fmla="*/ 951023 h 1204913"/>
                    <a:gd name="connsiteX171" fmla="*/ 1078032 w 1260475"/>
                    <a:gd name="connsiteY171" fmla="*/ 953166 h 1204913"/>
                    <a:gd name="connsiteX172" fmla="*/ 1076604 w 1260475"/>
                    <a:gd name="connsiteY172" fmla="*/ 954595 h 1204913"/>
                    <a:gd name="connsiteX173" fmla="*/ 1075175 w 1260475"/>
                    <a:gd name="connsiteY173" fmla="*/ 956738 h 1204913"/>
                    <a:gd name="connsiteX174" fmla="*/ 1073747 w 1260475"/>
                    <a:gd name="connsiteY174" fmla="*/ 958880 h 1204913"/>
                    <a:gd name="connsiteX175" fmla="*/ 1073033 w 1260475"/>
                    <a:gd name="connsiteY175" fmla="*/ 960309 h 1204913"/>
                    <a:gd name="connsiteX176" fmla="*/ 1072319 w 1260475"/>
                    <a:gd name="connsiteY176" fmla="*/ 962452 h 1204913"/>
                    <a:gd name="connsiteX177" fmla="*/ 1071604 w 1260475"/>
                    <a:gd name="connsiteY177" fmla="*/ 963880 h 1204913"/>
                    <a:gd name="connsiteX178" fmla="*/ 1070890 w 1260475"/>
                    <a:gd name="connsiteY178" fmla="*/ 966737 h 1204913"/>
                    <a:gd name="connsiteX179" fmla="*/ 1070176 w 1260475"/>
                    <a:gd name="connsiteY179" fmla="*/ 968166 h 1204913"/>
                    <a:gd name="connsiteX180" fmla="*/ 1069462 w 1260475"/>
                    <a:gd name="connsiteY180" fmla="*/ 971023 h 1204913"/>
                    <a:gd name="connsiteX181" fmla="*/ 1069462 w 1260475"/>
                    <a:gd name="connsiteY181" fmla="*/ 971737 h 1204913"/>
                    <a:gd name="connsiteX182" fmla="*/ 1068748 w 1260475"/>
                    <a:gd name="connsiteY182" fmla="*/ 975309 h 1204913"/>
                    <a:gd name="connsiteX183" fmla="*/ 1068748 w 1260475"/>
                    <a:gd name="connsiteY183" fmla="*/ 976023 h 1204913"/>
                    <a:gd name="connsiteX184" fmla="*/ 1068033 w 1260475"/>
                    <a:gd name="connsiteY184" fmla="*/ 978880 h 1204913"/>
                    <a:gd name="connsiteX185" fmla="*/ 1068033 w 1260475"/>
                    <a:gd name="connsiteY185" fmla="*/ 981737 h 1204913"/>
                    <a:gd name="connsiteX186" fmla="*/ 1068748 w 1260475"/>
                    <a:gd name="connsiteY186" fmla="*/ 983880 h 1204913"/>
                    <a:gd name="connsiteX187" fmla="*/ 1068748 w 1260475"/>
                    <a:gd name="connsiteY187" fmla="*/ 987451 h 1204913"/>
                    <a:gd name="connsiteX188" fmla="*/ 1069462 w 1260475"/>
                    <a:gd name="connsiteY188" fmla="*/ 991023 h 1204913"/>
                    <a:gd name="connsiteX189" fmla="*/ 1069462 w 1260475"/>
                    <a:gd name="connsiteY189" fmla="*/ 991737 h 1204913"/>
                    <a:gd name="connsiteX190" fmla="*/ 1070176 w 1260475"/>
                    <a:gd name="connsiteY190" fmla="*/ 995308 h 1204913"/>
                    <a:gd name="connsiteX191" fmla="*/ 1071604 w 1260475"/>
                    <a:gd name="connsiteY191" fmla="*/ 998880 h 1204913"/>
                    <a:gd name="connsiteX192" fmla="*/ 1071604 w 1260475"/>
                    <a:gd name="connsiteY192" fmla="*/ 999594 h 1204913"/>
                    <a:gd name="connsiteX193" fmla="*/ 1073747 w 1260475"/>
                    <a:gd name="connsiteY193" fmla="*/ 1002451 h 1204913"/>
                    <a:gd name="connsiteX194" fmla="*/ 1073747 w 1260475"/>
                    <a:gd name="connsiteY194" fmla="*/ 1003165 h 1204913"/>
                    <a:gd name="connsiteX195" fmla="*/ 1075890 w 1260475"/>
                    <a:gd name="connsiteY195" fmla="*/ 1006737 h 1204913"/>
                    <a:gd name="connsiteX196" fmla="*/ 908056 w 1260475"/>
                    <a:gd name="connsiteY196" fmla="*/ 1006737 h 1204913"/>
                    <a:gd name="connsiteX197" fmla="*/ 1014470 w 1260475"/>
                    <a:gd name="connsiteY197" fmla="*/ 897453 h 1204913"/>
                    <a:gd name="connsiteX198" fmla="*/ 1017326 w 1260475"/>
                    <a:gd name="connsiteY198" fmla="*/ 893881 h 1204913"/>
                    <a:gd name="connsiteX199" fmla="*/ 1022326 w 1260475"/>
                    <a:gd name="connsiteY199" fmla="*/ 886024 h 1204913"/>
                    <a:gd name="connsiteX200" fmla="*/ 1102314 w 1260475"/>
                    <a:gd name="connsiteY200" fmla="*/ 621028 h 1204913"/>
                    <a:gd name="connsiteX201" fmla="*/ 1102314 w 1260475"/>
                    <a:gd name="connsiteY201" fmla="*/ 608885 h 1204913"/>
                    <a:gd name="connsiteX202" fmla="*/ 1102314 w 1260475"/>
                    <a:gd name="connsiteY202" fmla="*/ 596742 h 1204913"/>
                    <a:gd name="connsiteX203" fmla="*/ 1101600 w 1260475"/>
                    <a:gd name="connsiteY203" fmla="*/ 596028 h 1204913"/>
                    <a:gd name="connsiteX204" fmla="*/ 1100886 w 1260475"/>
                    <a:gd name="connsiteY204" fmla="*/ 584600 h 1204913"/>
                    <a:gd name="connsiteX205" fmla="*/ 1100172 w 1260475"/>
                    <a:gd name="connsiteY205" fmla="*/ 573171 h 1204913"/>
                    <a:gd name="connsiteX206" fmla="*/ 1100172 w 1260475"/>
                    <a:gd name="connsiteY206" fmla="*/ 571743 h 1204913"/>
                    <a:gd name="connsiteX207" fmla="*/ 1098743 w 1260475"/>
                    <a:gd name="connsiteY207" fmla="*/ 561029 h 1204913"/>
                    <a:gd name="connsiteX208" fmla="*/ 1096601 w 1260475"/>
                    <a:gd name="connsiteY208" fmla="*/ 547457 h 1204913"/>
                    <a:gd name="connsiteX209" fmla="*/ 1095887 w 1260475"/>
                    <a:gd name="connsiteY209" fmla="*/ 541743 h 1204913"/>
                    <a:gd name="connsiteX210" fmla="*/ 1094458 w 1260475"/>
                    <a:gd name="connsiteY210" fmla="*/ 533886 h 1204913"/>
                    <a:gd name="connsiteX211" fmla="*/ 1092316 w 1260475"/>
                    <a:gd name="connsiteY211" fmla="*/ 521029 h 1204913"/>
                    <a:gd name="connsiteX212" fmla="*/ 1091602 w 1260475"/>
                    <a:gd name="connsiteY212" fmla="*/ 517458 h 1204913"/>
                    <a:gd name="connsiteX213" fmla="*/ 1088745 w 1260475"/>
                    <a:gd name="connsiteY213" fmla="*/ 507458 h 1204913"/>
                    <a:gd name="connsiteX214" fmla="*/ 1065177 w 1260475"/>
                    <a:gd name="connsiteY214" fmla="*/ 434602 h 1204913"/>
                    <a:gd name="connsiteX215" fmla="*/ 962334 w 1260475"/>
                    <a:gd name="connsiteY215" fmla="*/ 282461 h 1204913"/>
                    <a:gd name="connsiteX216" fmla="*/ 809498 w 1260475"/>
                    <a:gd name="connsiteY216" fmla="*/ 179605 h 1204913"/>
                    <a:gd name="connsiteX217" fmla="*/ 634523 w 1260475"/>
                    <a:gd name="connsiteY217" fmla="*/ 141749 h 1204913"/>
                    <a:gd name="connsiteX218" fmla="*/ 626667 w 1260475"/>
                    <a:gd name="connsiteY218" fmla="*/ 141749 h 1204913"/>
                    <a:gd name="connsiteX219" fmla="*/ 622382 w 1260475"/>
                    <a:gd name="connsiteY219" fmla="*/ 141749 h 1204913"/>
                    <a:gd name="connsiteX220" fmla="*/ 450977 w 1260475"/>
                    <a:gd name="connsiteY220" fmla="*/ 173891 h 1204913"/>
                    <a:gd name="connsiteX221" fmla="*/ 443835 w 1260475"/>
                    <a:gd name="connsiteY221" fmla="*/ 75321 h 1204913"/>
                    <a:gd name="connsiteX222" fmla="*/ 396699 w 1260475"/>
                    <a:gd name="connsiteY222" fmla="*/ 31750 h 1204913"/>
                    <a:gd name="connsiteX223" fmla="*/ 395271 w 1260475"/>
                    <a:gd name="connsiteY223" fmla="*/ 31750 h 1204913"/>
                    <a:gd name="connsiteX224" fmla="*/ 393128 w 1260475"/>
                    <a:gd name="connsiteY224" fmla="*/ 31750 h 1204913"/>
                    <a:gd name="connsiteX225" fmla="*/ 390862 w 1260475"/>
                    <a:gd name="connsiteY225" fmla="*/ 0 h 1204913"/>
                    <a:gd name="connsiteX226" fmla="*/ 396578 w 1260475"/>
                    <a:gd name="connsiteY226" fmla="*/ 0 h 1204913"/>
                    <a:gd name="connsiteX227" fmla="*/ 475179 w 1260475"/>
                    <a:gd name="connsiteY227" fmla="*/ 72895 h 1204913"/>
                    <a:gd name="connsiteX228" fmla="*/ 479467 w 1260475"/>
                    <a:gd name="connsiteY228" fmla="*/ 130783 h 1204913"/>
                    <a:gd name="connsiteX229" fmla="*/ 622378 w 1260475"/>
                    <a:gd name="connsiteY229" fmla="*/ 110057 h 1204913"/>
                    <a:gd name="connsiteX230" fmla="*/ 1133999 w 1260475"/>
                    <a:gd name="connsiteY230" fmla="*/ 621038 h 1204913"/>
                    <a:gd name="connsiteX231" fmla="*/ 1043251 w 1260475"/>
                    <a:gd name="connsiteY231" fmla="*/ 911903 h 1204913"/>
                    <a:gd name="connsiteX232" fmla="*/ 991803 w 1260475"/>
                    <a:gd name="connsiteY232" fmla="*/ 975508 h 1204913"/>
                    <a:gd name="connsiteX233" fmla="*/ 1037534 w 1260475"/>
                    <a:gd name="connsiteY233" fmla="*/ 975508 h 1204913"/>
                    <a:gd name="connsiteX234" fmla="*/ 1062543 w 1260475"/>
                    <a:gd name="connsiteY234" fmla="*/ 923338 h 1204913"/>
                    <a:gd name="connsiteX235" fmla="*/ 1115421 w 1260475"/>
                    <a:gd name="connsiteY235" fmla="*/ 902613 h 1204913"/>
                    <a:gd name="connsiteX236" fmla="*/ 1174014 w 1260475"/>
                    <a:gd name="connsiteY236" fmla="*/ 928341 h 1204913"/>
                    <a:gd name="connsiteX237" fmla="*/ 1240468 w 1260475"/>
                    <a:gd name="connsiteY237" fmla="*/ 1001236 h 1204913"/>
                    <a:gd name="connsiteX238" fmla="*/ 1240468 w 1260475"/>
                    <a:gd name="connsiteY238" fmla="*/ 1001950 h 1204913"/>
                    <a:gd name="connsiteX239" fmla="*/ 1241897 w 1260475"/>
                    <a:gd name="connsiteY239" fmla="*/ 1003380 h 1204913"/>
                    <a:gd name="connsiteX240" fmla="*/ 1243326 w 1260475"/>
                    <a:gd name="connsiteY240" fmla="*/ 1004809 h 1204913"/>
                    <a:gd name="connsiteX241" fmla="*/ 1244040 w 1260475"/>
                    <a:gd name="connsiteY241" fmla="*/ 1006238 h 1204913"/>
                    <a:gd name="connsiteX242" fmla="*/ 1244755 w 1260475"/>
                    <a:gd name="connsiteY242" fmla="*/ 1006953 h 1204913"/>
                    <a:gd name="connsiteX243" fmla="*/ 1245470 w 1260475"/>
                    <a:gd name="connsiteY243" fmla="*/ 1008382 h 1204913"/>
                    <a:gd name="connsiteX244" fmla="*/ 1248328 w 1260475"/>
                    <a:gd name="connsiteY244" fmla="*/ 1012670 h 1204913"/>
                    <a:gd name="connsiteX245" fmla="*/ 1249757 w 1260475"/>
                    <a:gd name="connsiteY245" fmla="*/ 1014814 h 1204913"/>
                    <a:gd name="connsiteX246" fmla="*/ 1252615 w 1260475"/>
                    <a:gd name="connsiteY246" fmla="*/ 1019817 h 1204913"/>
                    <a:gd name="connsiteX247" fmla="*/ 1253330 w 1260475"/>
                    <a:gd name="connsiteY247" fmla="*/ 1021961 h 1204913"/>
                    <a:gd name="connsiteX248" fmla="*/ 1255473 w 1260475"/>
                    <a:gd name="connsiteY248" fmla="*/ 1026963 h 1204913"/>
                    <a:gd name="connsiteX249" fmla="*/ 1256188 w 1260475"/>
                    <a:gd name="connsiteY249" fmla="*/ 1028393 h 1204913"/>
                    <a:gd name="connsiteX250" fmla="*/ 1257617 w 1260475"/>
                    <a:gd name="connsiteY250" fmla="*/ 1034110 h 1204913"/>
                    <a:gd name="connsiteX251" fmla="*/ 1257617 w 1260475"/>
                    <a:gd name="connsiteY251" fmla="*/ 1034825 h 1204913"/>
                    <a:gd name="connsiteX252" fmla="*/ 1258332 w 1260475"/>
                    <a:gd name="connsiteY252" fmla="*/ 1035539 h 1204913"/>
                    <a:gd name="connsiteX253" fmla="*/ 1258332 w 1260475"/>
                    <a:gd name="connsiteY253" fmla="*/ 1036254 h 1204913"/>
                    <a:gd name="connsiteX254" fmla="*/ 1259046 w 1260475"/>
                    <a:gd name="connsiteY254" fmla="*/ 1041257 h 1204913"/>
                    <a:gd name="connsiteX255" fmla="*/ 1259761 w 1260475"/>
                    <a:gd name="connsiteY255" fmla="*/ 1044115 h 1204913"/>
                    <a:gd name="connsiteX256" fmla="*/ 1260475 w 1260475"/>
                    <a:gd name="connsiteY256" fmla="*/ 1049118 h 1204913"/>
                    <a:gd name="connsiteX257" fmla="*/ 1260475 w 1260475"/>
                    <a:gd name="connsiteY257" fmla="*/ 1049832 h 1204913"/>
                    <a:gd name="connsiteX258" fmla="*/ 1260475 w 1260475"/>
                    <a:gd name="connsiteY258" fmla="*/ 1054120 h 1204913"/>
                    <a:gd name="connsiteX259" fmla="*/ 1260475 w 1260475"/>
                    <a:gd name="connsiteY259" fmla="*/ 1058408 h 1204913"/>
                    <a:gd name="connsiteX260" fmla="*/ 1259761 w 1260475"/>
                    <a:gd name="connsiteY260" fmla="*/ 1064126 h 1204913"/>
                    <a:gd name="connsiteX261" fmla="*/ 1259761 w 1260475"/>
                    <a:gd name="connsiteY261" fmla="*/ 1064840 h 1204913"/>
                    <a:gd name="connsiteX262" fmla="*/ 1259046 w 1260475"/>
                    <a:gd name="connsiteY262" fmla="*/ 1065555 h 1204913"/>
                    <a:gd name="connsiteX263" fmla="*/ 1259046 w 1260475"/>
                    <a:gd name="connsiteY263" fmla="*/ 1066270 h 1204913"/>
                    <a:gd name="connsiteX264" fmla="*/ 1258332 w 1260475"/>
                    <a:gd name="connsiteY264" fmla="*/ 1071987 h 1204913"/>
                    <a:gd name="connsiteX265" fmla="*/ 1257617 w 1260475"/>
                    <a:gd name="connsiteY265" fmla="*/ 1073416 h 1204913"/>
                    <a:gd name="connsiteX266" fmla="*/ 1256188 w 1260475"/>
                    <a:gd name="connsiteY266" fmla="*/ 1079133 h 1204913"/>
                    <a:gd name="connsiteX267" fmla="*/ 1256188 w 1260475"/>
                    <a:gd name="connsiteY267" fmla="*/ 1079848 h 1204913"/>
                    <a:gd name="connsiteX268" fmla="*/ 1255473 w 1260475"/>
                    <a:gd name="connsiteY268" fmla="*/ 1080563 h 1204913"/>
                    <a:gd name="connsiteX269" fmla="*/ 1255473 w 1260475"/>
                    <a:gd name="connsiteY269" fmla="*/ 1081277 h 1204913"/>
                    <a:gd name="connsiteX270" fmla="*/ 1253330 w 1260475"/>
                    <a:gd name="connsiteY270" fmla="*/ 1086280 h 1204913"/>
                    <a:gd name="connsiteX271" fmla="*/ 1253330 w 1260475"/>
                    <a:gd name="connsiteY271" fmla="*/ 1086995 h 1204913"/>
                    <a:gd name="connsiteX272" fmla="*/ 1252615 w 1260475"/>
                    <a:gd name="connsiteY272" fmla="*/ 1086995 h 1204913"/>
                    <a:gd name="connsiteX273" fmla="*/ 1252615 w 1260475"/>
                    <a:gd name="connsiteY273" fmla="*/ 1087709 h 1204913"/>
                    <a:gd name="connsiteX274" fmla="*/ 1252615 w 1260475"/>
                    <a:gd name="connsiteY274" fmla="*/ 1088424 h 1204913"/>
                    <a:gd name="connsiteX275" fmla="*/ 1249757 w 1260475"/>
                    <a:gd name="connsiteY275" fmla="*/ 1093427 h 1204913"/>
                    <a:gd name="connsiteX276" fmla="*/ 1249042 w 1260475"/>
                    <a:gd name="connsiteY276" fmla="*/ 1094856 h 1204913"/>
                    <a:gd name="connsiteX277" fmla="*/ 1246184 w 1260475"/>
                    <a:gd name="connsiteY277" fmla="*/ 1099144 h 1204913"/>
                    <a:gd name="connsiteX278" fmla="*/ 1245470 w 1260475"/>
                    <a:gd name="connsiteY278" fmla="*/ 1099144 h 1204913"/>
                    <a:gd name="connsiteX279" fmla="*/ 1245470 w 1260475"/>
                    <a:gd name="connsiteY279" fmla="*/ 1099858 h 1204913"/>
                    <a:gd name="connsiteX280" fmla="*/ 1244755 w 1260475"/>
                    <a:gd name="connsiteY280" fmla="*/ 1100573 h 1204913"/>
                    <a:gd name="connsiteX281" fmla="*/ 1244040 w 1260475"/>
                    <a:gd name="connsiteY281" fmla="*/ 1101288 h 1204913"/>
                    <a:gd name="connsiteX282" fmla="*/ 1243326 w 1260475"/>
                    <a:gd name="connsiteY282" fmla="*/ 1102717 h 1204913"/>
                    <a:gd name="connsiteX283" fmla="*/ 1241897 w 1260475"/>
                    <a:gd name="connsiteY283" fmla="*/ 1104146 h 1204913"/>
                    <a:gd name="connsiteX284" fmla="*/ 1240468 w 1260475"/>
                    <a:gd name="connsiteY284" fmla="*/ 1106290 h 1204913"/>
                    <a:gd name="connsiteX285" fmla="*/ 1239753 w 1260475"/>
                    <a:gd name="connsiteY285" fmla="*/ 1106290 h 1204913"/>
                    <a:gd name="connsiteX286" fmla="*/ 1239753 w 1260475"/>
                    <a:gd name="connsiteY286" fmla="*/ 1107005 h 1204913"/>
                    <a:gd name="connsiteX287" fmla="*/ 1174014 w 1260475"/>
                    <a:gd name="connsiteY287" fmla="*/ 1179186 h 1204913"/>
                    <a:gd name="connsiteX288" fmla="*/ 1115421 w 1260475"/>
                    <a:gd name="connsiteY288" fmla="*/ 1204913 h 1204913"/>
                    <a:gd name="connsiteX289" fmla="*/ 1062543 w 1260475"/>
                    <a:gd name="connsiteY289" fmla="*/ 1184903 h 1204913"/>
                    <a:gd name="connsiteX290" fmla="*/ 1037534 w 1260475"/>
                    <a:gd name="connsiteY290" fmla="*/ 1132733 h 1204913"/>
                    <a:gd name="connsiteX291" fmla="*/ 78601 w 1260475"/>
                    <a:gd name="connsiteY291" fmla="*/ 1132733 h 1204913"/>
                    <a:gd name="connsiteX292" fmla="*/ 0 w 1260475"/>
                    <a:gd name="connsiteY292" fmla="*/ 1054120 h 1204913"/>
                    <a:gd name="connsiteX293" fmla="*/ 78601 w 1260475"/>
                    <a:gd name="connsiteY293" fmla="*/ 975508 h 1204913"/>
                    <a:gd name="connsiteX294" fmla="*/ 253667 w 1260475"/>
                    <a:gd name="connsiteY294" fmla="*/ 975508 h 1204913"/>
                    <a:gd name="connsiteX295" fmla="*/ 201505 w 1260475"/>
                    <a:gd name="connsiteY295" fmla="*/ 911903 h 1204913"/>
                    <a:gd name="connsiteX296" fmla="*/ 110756 w 1260475"/>
                    <a:gd name="connsiteY296" fmla="*/ 621038 h 1204913"/>
                    <a:gd name="connsiteX297" fmla="*/ 126476 w 1260475"/>
                    <a:gd name="connsiteY297" fmla="*/ 494543 h 1204913"/>
                    <a:gd name="connsiteX298" fmla="*/ 42159 w 1260475"/>
                    <a:gd name="connsiteY298" fmla="*/ 413787 h 1204913"/>
                    <a:gd name="connsiteX299" fmla="*/ 715 w 1260475"/>
                    <a:gd name="connsiteY299" fmla="*/ 275858 h 1204913"/>
                    <a:gd name="connsiteX300" fmla="*/ 255096 w 1260475"/>
                    <a:gd name="connsiteY300" fmla="*/ 21440 h 1204913"/>
                    <a:gd name="connsiteX301" fmla="*/ 332268 w 1260475"/>
                    <a:gd name="connsiteY301" fmla="*/ 32874 h 1204913"/>
                    <a:gd name="connsiteX302" fmla="*/ 337270 w 1260475"/>
                    <a:gd name="connsiteY302" fmla="*/ 27157 h 1204913"/>
                    <a:gd name="connsiteX303" fmla="*/ 390862 w 1260475"/>
                    <a:gd name="connsiteY303" fmla="*/ 0 h 12049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  <a:cxn ang="0">
                      <a:pos x="connsiteX276" y="connsiteY276"/>
                    </a:cxn>
                    <a:cxn ang="0">
                      <a:pos x="connsiteX277" y="connsiteY277"/>
                    </a:cxn>
                    <a:cxn ang="0">
                      <a:pos x="connsiteX278" y="connsiteY278"/>
                    </a:cxn>
                    <a:cxn ang="0">
                      <a:pos x="connsiteX279" y="connsiteY279"/>
                    </a:cxn>
                    <a:cxn ang="0">
                      <a:pos x="connsiteX280" y="connsiteY280"/>
                    </a:cxn>
                    <a:cxn ang="0">
                      <a:pos x="connsiteX281" y="connsiteY281"/>
                    </a:cxn>
                    <a:cxn ang="0">
                      <a:pos x="connsiteX282" y="connsiteY282"/>
                    </a:cxn>
                    <a:cxn ang="0">
                      <a:pos x="connsiteX283" y="connsiteY283"/>
                    </a:cxn>
                    <a:cxn ang="0">
                      <a:pos x="connsiteX284" y="connsiteY284"/>
                    </a:cxn>
                    <a:cxn ang="0">
                      <a:pos x="connsiteX285" y="connsiteY285"/>
                    </a:cxn>
                    <a:cxn ang="0">
                      <a:pos x="connsiteX286" y="connsiteY286"/>
                    </a:cxn>
                    <a:cxn ang="0">
                      <a:pos x="connsiteX287" y="connsiteY287"/>
                    </a:cxn>
                    <a:cxn ang="0">
                      <a:pos x="connsiteX288" y="connsiteY288"/>
                    </a:cxn>
                    <a:cxn ang="0">
                      <a:pos x="connsiteX289" y="connsiteY289"/>
                    </a:cxn>
                    <a:cxn ang="0">
                      <a:pos x="connsiteX290" y="connsiteY290"/>
                    </a:cxn>
                    <a:cxn ang="0">
                      <a:pos x="connsiteX291" y="connsiteY291"/>
                    </a:cxn>
                    <a:cxn ang="0">
                      <a:pos x="connsiteX292" y="connsiteY292"/>
                    </a:cxn>
                    <a:cxn ang="0">
                      <a:pos x="connsiteX293" y="connsiteY293"/>
                    </a:cxn>
                    <a:cxn ang="0">
                      <a:pos x="connsiteX294" y="connsiteY294"/>
                    </a:cxn>
                    <a:cxn ang="0">
                      <a:pos x="connsiteX295" y="connsiteY295"/>
                    </a:cxn>
                    <a:cxn ang="0">
                      <a:pos x="connsiteX296" y="connsiteY296"/>
                    </a:cxn>
                    <a:cxn ang="0">
                      <a:pos x="connsiteX297" y="connsiteY297"/>
                    </a:cxn>
                    <a:cxn ang="0">
                      <a:pos x="connsiteX298" y="connsiteY298"/>
                    </a:cxn>
                    <a:cxn ang="0">
                      <a:pos x="connsiteX299" y="connsiteY299"/>
                    </a:cxn>
                    <a:cxn ang="0">
                      <a:pos x="connsiteX300" y="connsiteY300"/>
                    </a:cxn>
                    <a:cxn ang="0">
                      <a:pos x="connsiteX301" y="connsiteY301"/>
                    </a:cxn>
                    <a:cxn ang="0">
                      <a:pos x="connsiteX302" y="connsiteY302"/>
                    </a:cxn>
                    <a:cxn ang="0">
                      <a:pos x="connsiteX303" y="connsiteY303"/>
                    </a:cxn>
                  </a:cxnLst>
                  <a:rect l="l" t="t" r="r" b="b"/>
                  <a:pathLst>
                    <a:path w="1260475" h="1204913">
                      <a:moveTo>
                        <a:pt x="229849" y="180975"/>
                      </a:moveTo>
                      <a:cubicBezTo>
                        <a:pt x="188108" y="192373"/>
                        <a:pt x="157162" y="230127"/>
                        <a:pt x="157162" y="275004"/>
                      </a:cubicBezTo>
                      <a:cubicBezTo>
                        <a:pt x="157162" y="302786"/>
                        <a:pt x="169397" y="329142"/>
                        <a:pt x="189547" y="347663"/>
                      </a:cubicBezTo>
                      <a:cubicBezTo>
                        <a:pt x="210418" y="313471"/>
                        <a:pt x="236326" y="282128"/>
                        <a:pt x="265112" y="254346"/>
                      </a:cubicBezTo>
                      <a:cubicBezTo>
                        <a:pt x="245681" y="241524"/>
                        <a:pt x="231288" y="219442"/>
                        <a:pt x="229849" y="194510"/>
                      </a:cubicBezTo>
                      <a:cubicBezTo>
                        <a:pt x="229129" y="190236"/>
                        <a:pt x="229129" y="185962"/>
                        <a:pt x="229849" y="180975"/>
                      </a:cubicBezTo>
                      <a:close/>
                      <a:moveTo>
                        <a:pt x="254252" y="146050"/>
                      </a:moveTo>
                      <a:cubicBezTo>
                        <a:pt x="262072" y="146050"/>
                        <a:pt x="269181" y="146765"/>
                        <a:pt x="275579" y="147481"/>
                      </a:cubicBezTo>
                      <a:cubicBezTo>
                        <a:pt x="277712" y="148196"/>
                        <a:pt x="279844" y="148196"/>
                        <a:pt x="281266" y="148911"/>
                      </a:cubicBezTo>
                      <a:cubicBezTo>
                        <a:pt x="272024" y="155349"/>
                        <a:pt x="264915" y="165363"/>
                        <a:pt x="262072" y="177523"/>
                      </a:cubicBezTo>
                      <a:cubicBezTo>
                        <a:pt x="260650" y="181815"/>
                        <a:pt x="260650" y="186822"/>
                        <a:pt x="260650" y="191829"/>
                      </a:cubicBezTo>
                      <a:cubicBezTo>
                        <a:pt x="261361" y="197552"/>
                        <a:pt x="262783" y="203274"/>
                        <a:pt x="265626" y="208281"/>
                      </a:cubicBezTo>
                      <a:cubicBezTo>
                        <a:pt x="266337" y="209712"/>
                        <a:pt x="267048" y="211858"/>
                        <a:pt x="267759" y="213288"/>
                      </a:cubicBezTo>
                      <a:cubicBezTo>
                        <a:pt x="270603" y="217580"/>
                        <a:pt x="274157" y="221872"/>
                        <a:pt x="278422" y="224733"/>
                      </a:cubicBezTo>
                      <a:cubicBezTo>
                        <a:pt x="279133" y="225448"/>
                        <a:pt x="279844" y="226164"/>
                        <a:pt x="280555" y="226879"/>
                      </a:cubicBezTo>
                      <a:cubicBezTo>
                        <a:pt x="281977" y="227594"/>
                        <a:pt x="282688" y="227594"/>
                        <a:pt x="283399" y="228310"/>
                      </a:cubicBezTo>
                      <a:cubicBezTo>
                        <a:pt x="285531" y="229740"/>
                        <a:pt x="286953" y="230455"/>
                        <a:pt x="288375" y="231171"/>
                      </a:cubicBezTo>
                      <a:cubicBezTo>
                        <a:pt x="289797" y="231886"/>
                        <a:pt x="290508" y="231886"/>
                        <a:pt x="291930" y="232601"/>
                      </a:cubicBezTo>
                      <a:cubicBezTo>
                        <a:pt x="294062" y="233317"/>
                        <a:pt x="296195" y="234032"/>
                        <a:pt x="299039" y="234747"/>
                      </a:cubicBezTo>
                      <a:cubicBezTo>
                        <a:pt x="301882" y="234747"/>
                        <a:pt x="304726" y="235463"/>
                        <a:pt x="307569" y="235463"/>
                      </a:cubicBezTo>
                      <a:cubicBezTo>
                        <a:pt x="308991" y="235463"/>
                        <a:pt x="309702" y="235463"/>
                        <a:pt x="311124" y="235463"/>
                      </a:cubicBezTo>
                      <a:cubicBezTo>
                        <a:pt x="311124" y="235463"/>
                        <a:pt x="311124" y="235463"/>
                        <a:pt x="311835" y="235463"/>
                      </a:cubicBezTo>
                      <a:cubicBezTo>
                        <a:pt x="311835" y="235463"/>
                        <a:pt x="311835" y="235463"/>
                        <a:pt x="338138" y="233317"/>
                      </a:cubicBezTo>
                      <a:cubicBezTo>
                        <a:pt x="330318" y="238324"/>
                        <a:pt x="323209" y="244046"/>
                        <a:pt x="316100" y="250484"/>
                      </a:cubicBezTo>
                      <a:cubicBezTo>
                        <a:pt x="306148" y="258352"/>
                        <a:pt x="296195" y="267651"/>
                        <a:pt x="286953" y="276235"/>
                      </a:cubicBezTo>
                      <a:cubicBezTo>
                        <a:pt x="277712" y="285534"/>
                        <a:pt x="268470" y="294832"/>
                        <a:pt x="259939" y="304847"/>
                      </a:cubicBezTo>
                      <a:cubicBezTo>
                        <a:pt x="257095" y="308423"/>
                        <a:pt x="254252" y="311284"/>
                        <a:pt x="251408" y="314861"/>
                      </a:cubicBezTo>
                      <a:cubicBezTo>
                        <a:pt x="251408" y="315576"/>
                        <a:pt x="250697" y="316291"/>
                        <a:pt x="249986" y="317007"/>
                      </a:cubicBezTo>
                      <a:cubicBezTo>
                        <a:pt x="247854" y="319868"/>
                        <a:pt x="245721" y="322014"/>
                        <a:pt x="243588" y="324875"/>
                      </a:cubicBezTo>
                      <a:cubicBezTo>
                        <a:pt x="242877" y="325590"/>
                        <a:pt x="242877" y="326306"/>
                        <a:pt x="242166" y="326306"/>
                      </a:cubicBezTo>
                      <a:cubicBezTo>
                        <a:pt x="237190" y="332743"/>
                        <a:pt x="232214" y="340612"/>
                        <a:pt x="227948" y="347049"/>
                      </a:cubicBezTo>
                      <a:cubicBezTo>
                        <a:pt x="217996" y="361355"/>
                        <a:pt x="208754" y="377092"/>
                        <a:pt x="200934" y="392113"/>
                      </a:cubicBezTo>
                      <a:cubicBezTo>
                        <a:pt x="168943" y="377092"/>
                        <a:pt x="144773" y="349195"/>
                        <a:pt x="134109" y="315576"/>
                      </a:cubicBezTo>
                      <a:cubicBezTo>
                        <a:pt x="133398" y="315576"/>
                        <a:pt x="133398" y="314861"/>
                        <a:pt x="133398" y="314145"/>
                      </a:cubicBezTo>
                      <a:cubicBezTo>
                        <a:pt x="133398" y="313430"/>
                        <a:pt x="132687" y="312000"/>
                        <a:pt x="132687" y="311284"/>
                      </a:cubicBezTo>
                      <a:cubicBezTo>
                        <a:pt x="132687" y="311284"/>
                        <a:pt x="131977" y="310569"/>
                        <a:pt x="131977" y="309854"/>
                      </a:cubicBezTo>
                      <a:cubicBezTo>
                        <a:pt x="131977" y="309138"/>
                        <a:pt x="131266" y="307708"/>
                        <a:pt x="131266" y="306993"/>
                      </a:cubicBezTo>
                      <a:cubicBezTo>
                        <a:pt x="131266" y="305562"/>
                        <a:pt x="130555" y="304847"/>
                        <a:pt x="130555" y="303416"/>
                      </a:cubicBezTo>
                      <a:cubicBezTo>
                        <a:pt x="130555" y="303416"/>
                        <a:pt x="130555" y="302701"/>
                        <a:pt x="129844" y="302701"/>
                      </a:cubicBezTo>
                      <a:cubicBezTo>
                        <a:pt x="129844" y="301270"/>
                        <a:pt x="129844" y="299840"/>
                        <a:pt x="129133" y="298409"/>
                      </a:cubicBezTo>
                      <a:cubicBezTo>
                        <a:pt x="129133" y="298409"/>
                        <a:pt x="129133" y="298409"/>
                        <a:pt x="129133" y="297694"/>
                      </a:cubicBezTo>
                      <a:cubicBezTo>
                        <a:pt x="129133" y="296978"/>
                        <a:pt x="129133" y="295548"/>
                        <a:pt x="128422" y="294117"/>
                      </a:cubicBezTo>
                      <a:cubicBezTo>
                        <a:pt x="128422" y="294117"/>
                        <a:pt x="128422" y="294117"/>
                        <a:pt x="128422" y="293402"/>
                      </a:cubicBezTo>
                      <a:cubicBezTo>
                        <a:pt x="128422" y="290541"/>
                        <a:pt x="127711" y="287679"/>
                        <a:pt x="127711" y="284818"/>
                      </a:cubicBezTo>
                      <a:cubicBezTo>
                        <a:pt x="127711" y="284818"/>
                        <a:pt x="127711" y="284818"/>
                        <a:pt x="127711" y="284103"/>
                      </a:cubicBezTo>
                      <a:cubicBezTo>
                        <a:pt x="127000" y="281242"/>
                        <a:pt x="127000" y="278381"/>
                        <a:pt x="127000" y="274804"/>
                      </a:cubicBezTo>
                      <a:cubicBezTo>
                        <a:pt x="127000" y="267651"/>
                        <a:pt x="127711" y="260498"/>
                        <a:pt x="129133" y="253345"/>
                      </a:cubicBezTo>
                      <a:cubicBezTo>
                        <a:pt x="129844" y="249053"/>
                        <a:pt x="130555" y="245477"/>
                        <a:pt x="131266" y="241900"/>
                      </a:cubicBezTo>
                      <a:cubicBezTo>
                        <a:pt x="137664" y="218295"/>
                        <a:pt x="150460" y="197552"/>
                        <a:pt x="166811" y="181815"/>
                      </a:cubicBezTo>
                      <a:cubicBezTo>
                        <a:pt x="172498" y="176093"/>
                        <a:pt x="178896" y="171086"/>
                        <a:pt x="185294" y="166794"/>
                      </a:cubicBezTo>
                      <a:cubicBezTo>
                        <a:pt x="189560" y="163933"/>
                        <a:pt x="194536" y="161787"/>
                        <a:pt x="198801" y="158926"/>
                      </a:cubicBezTo>
                      <a:cubicBezTo>
                        <a:pt x="203778" y="156780"/>
                        <a:pt x="208754" y="154634"/>
                        <a:pt x="213019" y="153203"/>
                      </a:cubicBezTo>
                      <a:cubicBezTo>
                        <a:pt x="215152" y="152488"/>
                        <a:pt x="217996" y="151057"/>
                        <a:pt x="220839" y="150342"/>
                      </a:cubicBezTo>
                      <a:cubicBezTo>
                        <a:pt x="223683" y="149627"/>
                        <a:pt x="225816" y="148911"/>
                        <a:pt x="228659" y="148911"/>
                      </a:cubicBezTo>
                      <a:cubicBezTo>
                        <a:pt x="237190" y="146765"/>
                        <a:pt x="245721" y="146050"/>
                        <a:pt x="254252" y="146050"/>
                      </a:cubicBezTo>
                      <a:close/>
                      <a:moveTo>
                        <a:pt x="393128" y="31750"/>
                      </a:moveTo>
                      <a:cubicBezTo>
                        <a:pt x="383844" y="32464"/>
                        <a:pt x="375273" y="36036"/>
                        <a:pt x="367417" y="41750"/>
                      </a:cubicBezTo>
                      <a:cubicBezTo>
                        <a:pt x="365989" y="42464"/>
                        <a:pt x="365275" y="43893"/>
                        <a:pt x="363847" y="44607"/>
                      </a:cubicBezTo>
                      <a:cubicBezTo>
                        <a:pt x="363132" y="46036"/>
                        <a:pt x="361704" y="46750"/>
                        <a:pt x="360990" y="48178"/>
                      </a:cubicBezTo>
                      <a:cubicBezTo>
                        <a:pt x="356705" y="52464"/>
                        <a:pt x="353848" y="57464"/>
                        <a:pt x="351705" y="63178"/>
                      </a:cubicBezTo>
                      <a:cubicBezTo>
                        <a:pt x="351705" y="65321"/>
                        <a:pt x="350991" y="66750"/>
                        <a:pt x="350991" y="68178"/>
                      </a:cubicBezTo>
                      <a:cubicBezTo>
                        <a:pt x="350277" y="70321"/>
                        <a:pt x="350277" y="71750"/>
                        <a:pt x="349563" y="73892"/>
                      </a:cubicBezTo>
                      <a:cubicBezTo>
                        <a:pt x="348134" y="73178"/>
                        <a:pt x="345992" y="72464"/>
                        <a:pt x="344564" y="71750"/>
                      </a:cubicBezTo>
                      <a:cubicBezTo>
                        <a:pt x="318139" y="60321"/>
                        <a:pt x="290285" y="53893"/>
                        <a:pt x="261718" y="53178"/>
                      </a:cubicBezTo>
                      <a:cubicBezTo>
                        <a:pt x="259575" y="53178"/>
                        <a:pt x="257433" y="53178"/>
                        <a:pt x="255290" y="53178"/>
                      </a:cubicBezTo>
                      <a:cubicBezTo>
                        <a:pt x="243863" y="53178"/>
                        <a:pt x="232436" y="53893"/>
                        <a:pt x="221724" y="56036"/>
                      </a:cubicBezTo>
                      <a:cubicBezTo>
                        <a:pt x="211725" y="57464"/>
                        <a:pt x="201726" y="59607"/>
                        <a:pt x="192442" y="62464"/>
                      </a:cubicBezTo>
                      <a:cubicBezTo>
                        <a:pt x="186729" y="63893"/>
                        <a:pt x="181015" y="66035"/>
                        <a:pt x="176016" y="68178"/>
                      </a:cubicBezTo>
                      <a:cubicBezTo>
                        <a:pt x="173159" y="68892"/>
                        <a:pt x="171016" y="69607"/>
                        <a:pt x="168874" y="71035"/>
                      </a:cubicBezTo>
                      <a:cubicBezTo>
                        <a:pt x="161732" y="73892"/>
                        <a:pt x="153876" y="77464"/>
                        <a:pt x="147448" y="81035"/>
                      </a:cubicBezTo>
                      <a:cubicBezTo>
                        <a:pt x="126023" y="93178"/>
                        <a:pt x="107454" y="108178"/>
                        <a:pt x="91028" y="126035"/>
                      </a:cubicBezTo>
                      <a:cubicBezTo>
                        <a:pt x="85314" y="131749"/>
                        <a:pt x="80315" y="138892"/>
                        <a:pt x="75316" y="145320"/>
                      </a:cubicBezTo>
                      <a:cubicBezTo>
                        <a:pt x="61746" y="163891"/>
                        <a:pt x="51033" y="184605"/>
                        <a:pt x="43891" y="206748"/>
                      </a:cubicBezTo>
                      <a:cubicBezTo>
                        <a:pt x="43177" y="208891"/>
                        <a:pt x="42463" y="211748"/>
                        <a:pt x="41035" y="214605"/>
                      </a:cubicBezTo>
                      <a:cubicBezTo>
                        <a:pt x="37464" y="226747"/>
                        <a:pt x="35321" y="240319"/>
                        <a:pt x="33893" y="253176"/>
                      </a:cubicBezTo>
                      <a:cubicBezTo>
                        <a:pt x="33179" y="261033"/>
                        <a:pt x="32464" y="268175"/>
                        <a:pt x="32464" y="276033"/>
                      </a:cubicBezTo>
                      <a:cubicBezTo>
                        <a:pt x="32464" y="278890"/>
                        <a:pt x="32464" y="281747"/>
                        <a:pt x="32464" y="284604"/>
                      </a:cubicBezTo>
                      <a:cubicBezTo>
                        <a:pt x="33179" y="286032"/>
                        <a:pt x="33179" y="288175"/>
                        <a:pt x="33179" y="289604"/>
                      </a:cubicBezTo>
                      <a:cubicBezTo>
                        <a:pt x="33179" y="291032"/>
                        <a:pt x="33179" y="291747"/>
                        <a:pt x="33179" y="292461"/>
                      </a:cubicBezTo>
                      <a:cubicBezTo>
                        <a:pt x="33179" y="293889"/>
                        <a:pt x="33179" y="296032"/>
                        <a:pt x="33893" y="297461"/>
                      </a:cubicBezTo>
                      <a:cubicBezTo>
                        <a:pt x="33893" y="298889"/>
                        <a:pt x="33893" y="299604"/>
                        <a:pt x="33893" y="300318"/>
                      </a:cubicBezTo>
                      <a:cubicBezTo>
                        <a:pt x="33893" y="302461"/>
                        <a:pt x="34607" y="303889"/>
                        <a:pt x="34607" y="305318"/>
                      </a:cubicBezTo>
                      <a:cubicBezTo>
                        <a:pt x="34607" y="306032"/>
                        <a:pt x="34607" y="307461"/>
                        <a:pt x="35321" y="308889"/>
                      </a:cubicBezTo>
                      <a:cubicBezTo>
                        <a:pt x="35321" y="311032"/>
                        <a:pt x="36035" y="313175"/>
                        <a:pt x="36035" y="315318"/>
                      </a:cubicBezTo>
                      <a:cubicBezTo>
                        <a:pt x="36035" y="315318"/>
                        <a:pt x="36035" y="316032"/>
                        <a:pt x="36035" y="316746"/>
                      </a:cubicBezTo>
                      <a:cubicBezTo>
                        <a:pt x="49605" y="387460"/>
                        <a:pt x="97455" y="448887"/>
                        <a:pt x="163875" y="478887"/>
                      </a:cubicBezTo>
                      <a:cubicBezTo>
                        <a:pt x="160304" y="490315"/>
                        <a:pt x="157447" y="502458"/>
                        <a:pt x="154590" y="514601"/>
                      </a:cubicBezTo>
                      <a:cubicBezTo>
                        <a:pt x="146734" y="549600"/>
                        <a:pt x="142449" y="585314"/>
                        <a:pt x="142449" y="621028"/>
                      </a:cubicBezTo>
                      <a:cubicBezTo>
                        <a:pt x="142449" y="624599"/>
                        <a:pt x="142449" y="627456"/>
                        <a:pt x="142449" y="630313"/>
                      </a:cubicBezTo>
                      <a:cubicBezTo>
                        <a:pt x="143163" y="654599"/>
                        <a:pt x="145306" y="678170"/>
                        <a:pt x="149591" y="701741"/>
                      </a:cubicBezTo>
                      <a:cubicBezTo>
                        <a:pt x="149591" y="705312"/>
                        <a:pt x="150305" y="708884"/>
                        <a:pt x="151019" y="711741"/>
                      </a:cubicBezTo>
                      <a:cubicBezTo>
                        <a:pt x="153162" y="721026"/>
                        <a:pt x="154590" y="729598"/>
                        <a:pt x="156733" y="738169"/>
                      </a:cubicBezTo>
                      <a:cubicBezTo>
                        <a:pt x="158875" y="747455"/>
                        <a:pt x="161732" y="756026"/>
                        <a:pt x="164589" y="764597"/>
                      </a:cubicBezTo>
                      <a:cubicBezTo>
                        <a:pt x="165303" y="767454"/>
                        <a:pt x="166017" y="770312"/>
                        <a:pt x="166731" y="773169"/>
                      </a:cubicBezTo>
                      <a:cubicBezTo>
                        <a:pt x="168874" y="778883"/>
                        <a:pt x="171016" y="784597"/>
                        <a:pt x="173159" y="790311"/>
                      </a:cubicBezTo>
                      <a:cubicBezTo>
                        <a:pt x="175302" y="796025"/>
                        <a:pt x="177444" y="801025"/>
                        <a:pt x="179587" y="806740"/>
                      </a:cubicBezTo>
                      <a:cubicBezTo>
                        <a:pt x="182443" y="812454"/>
                        <a:pt x="184586" y="818168"/>
                        <a:pt x="187443" y="823168"/>
                      </a:cubicBezTo>
                      <a:cubicBezTo>
                        <a:pt x="191014" y="831025"/>
                        <a:pt x="195299" y="838882"/>
                        <a:pt x="199584" y="846739"/>
                      </a:cubicBezTo>
                      <a:cubicBezTo>
                        <a:pt x="201012" y="849596"/>
                        <a:pt x="202441" y="852453"/>
                        <a:pt x="203869" y="855310"/>
                      </a:cubicBezTo>
                      <a:cubicBezTo>
                        <a:pt x="205297" y="858167"/>
                        <a:pt x="207440" y="861739"/>
                        <a:pt x="209582" y="864596"/>
                      </a:cubicBezTo>
                      <a:cubicBezTo>
                        <a:pt x="212439" y="869596"/>
                        <a:pt x="215296" y="874596"/>
                        <a:pt x="218153" y="879596"/>
                      </a:cubicBezTo>
                      <a:cubicBezTo>
                        <a:pt x="221009" y="883881"/>
                        <a:pt x="224580" y="888881"/>
                        <a:pt x="228151" y="893881"/>
                      </a:cubicBezTo>
                      <a:cubicBezTo>
                        <a:pt x="230294" y="897453"/>
                        <a:pt x="233865" y="901738"/>
                        <a:pt x="236721" y="905310"/>
                      </a:cubicBezTo>
                      <a:cubicBezTo>
                        <a:pt x="265289" y="944595"/>
                        <a:pt x="298856" y="978166"/>
                        <a:pt x="336707" y="1006737"/>
                      </a:cubicBezTo>
                      <a:cubicBezTo>
                        <a:pt x="336707" y="1006737"/>
                        <a:pt x="336707" y="1006737"/>
                        <a:pt x="78886" y="1006737"/>
                      </a:cubicBezTo>
                      <a:cubicBezTo>
                        <a:pt x="76030" y="1006737"/>
                        <a:pt x="72459" y="1006737"/>
                        <a:pt x="69602" y="1007451"/>
                      </a:cubicBezTo>
                      <a:cubicBezTo>
                        <a:pt x="66745" y="1008165"/>
                        <a:pt x="64603" y="1008880"/>
                        <a:pt x="61746" y="1009594"/>
                      </a:cubicBezTo>
                      <a:cubicBezTo>
                        <a:pt x="44606" y="1016737"/>
                        <a:pt x="31750" y="1033879"/>
                        <a:pt x="31750" y="1053879"/>
                      </a:cubicBezTo>
                      <a:cubicBezTo>
                        <a:pt x="31750" y="1073879"/>
                        <a:pt x="44606" y="1090307"/>
                        <a:pt x="61746" y="1097450"/>
                      </a:cubicBezTo>
                      <a:cubicBezTo>
                        <a:pt x="64603" y="1098878"/>
                        <a:pt x="66745" y="1099593"/>
                        <a:pt x="69602" y="1099593"/>
                      </a:cubicBezTo>
                      <a:cubicBezTo>
                        <a:pt x="72459" y="1100307"/>
                        <a:pt x="76030" y="1101021"/>
                        <a:pt x="78886" y="1101021"/>
                      </a:cubicBezTo>
                      <a:cubicBezTo>
                        <a:pt x="78886" y="1101021"/>
                        <a:pt x="78886" y="1101021"/>
                        <a:pt x="1075890" y="1101021"/>
                      </a:cubicBezTo>
                      <a:cubicBezTo>
                        <a:pt x="1063748" y="1119592"/>
                        <a:pt x="1066605" y="1145306"/>
                        <a:pt x="1083746" y="1161020"/>
                      </a:cubicBezTo>
                      <a:cubicBezTo>
                        <a:pt x="1091602" y="1168163"/>
                        <a:pt x="1100886" y="1171735"/>
                        <a:pt x="1110885" y="1173163"/>
                      </a:cubicBezTo>
                      <a:cubicBezTo>
                        <a:pt x="1112313" y="1173163"/>
                        <a:pt x="1113741" y="1173163"/>
                        <a:pt x="1115170" y="1173163"/>
                      </a:cubicBezTo>
                      <a:cubicBezTo>
                        <a:pt x="1118026" y="1173163"/>
                        <a:pt x="1120169" y="1173163"/>
                        <a:pt x="1122312" y="1172449"/>
                      </a:cubicBezTo>
                      <a:cubicBezTo>
                        <a:pt x="1124454" y="1172449"/>
                        <a:pt x="1126597" y="1171735"/>
                        <a:pt x="1128739" y="1171020"/>
                      </a:cubicBezTo>
                      <a:cubicBezTo>
                        <a:pt x="1136595" y="1168878"/>
                        <a:pt x="1144451" y="1164592"/>
                        <a:pt x="1150165" y="1158163"/>
                      </a:cubicBezTo>
                      <a:cubicBezTo>
                        <a:pt x="1150165" y="1158163"/>
                        <a:pt x="1150165" y="1158163"/>
                        <a:pt x="1216584" y="1085307"/>
                      </a:cubicBezTo>
                      <a:cubicBezTo>
                        <a:pt x="1216584" y="1085307"/>
                        <a:pt x="1216584" y="1085307"/>
                        <a:pt x="1218012" y="1083879"/>
                      </a:cubicBezTo>
                      <a:cubicBezTo>
                        <a:pt x="1218012" y="1083879"/>
                        <a:pt x="1218012" y="1083879"/>
                        <a:pt x="1218012" y="1083164"/>
                      </a:cubicBezTo>
                      <a:cubicBezTo>
                        <a:pt x="1218012" y="1083164"/>
                        <a:pt x="1218012" y="1083164"/>
                        <a:pt x="1218727" y="1083164"/>
                      </a:cubicBezTo>
                      <a:cubicBezTo>
                        <a:pt x="1218727" y="1082450"/>
                        <a:pt x="1218727" y="1082450"/>
                        <a:pt x="1218727" y="1082450"/>
                      </a:cubicBezTo>
                      <a:cubicBezTo>
                        <a:pt x="1218727" y="1082450"/>
                        <a:pt x="1218727" y="1081736"/>
                        <a:pt x="1219441" y="1081736"/>
                      </a:cubicBezTo>
                      <a:cubicBezTo>
                        <a:pt x="1219441" y="1081736"/>
                        <a:pt x="1219441" y="1081736"/>
                        <a:pt x="1219441" y="1081022"/>
                      </a:cubicBezTo>
                      <a:cubicBezTo>
                        <a:pt x="1219441" y="1081022"/>
                        <a:pt x="1219441" y="1081022"/>
                        <a:pt x="1220155" y="1081022"/>
                      </a:cubicBezTo>
                      <a:cubicBezTo>
                        <a:pt x="1220155" y="1080307"/>
                        <a:pt x="1220869" y="1078879"/>
                        <a:pt x="1221583" y="1078164"/>
                      </a:cubicBezTo>
                      <a:cubicBezTo>
                        <a:pt x="1221583" y="1077450"/>
                        <a:pt x="1222298" y="1077450"/>
                        <a:pt x="1222298" y="1077450"/>
                      </a:cubicBezTo>
                      <a:cubicBezTo>
                        <a:pt x="1223012" y="1076022"/>
                        <a:pt x="1223012" y="1075307"/>
                        <a:pt x="1223726" y="1073879"/>
                      </a:cubicBezTo>
                      <a:cubicBezTo>
                        <a:pt x="1223726" y="1073879"/>
                        <a:pt x="1223726" y="1073879"/>
                        <a:pt x="1224440" y="1073879"/>
                      </a:cubicBezTo>
                      <a:cubicBezTo>
                        <a:pt x="1224440" y="1073879"/>
                        <a:pt x="1224440" y="1073879"/>
                        <a:pt x="1224440" y="1073165"/>
                      </a:cubicBezTo>
                      <a:cubicBezTo>
                        <a:pt x="1224440" y="1072450"/>
                        <a:pt x="1225154" y="1071736"/>
                        <a:pt x="1225154" y="1071022"/>
                      </a:cubicBezTo>
                      <a:cubicBezTo>
                        <a:pt x="1225154" y="1071022"/>
                        <a:pt x="1225154" y="1070307"/>
                        <a:pt x="1225868" y="1070307"/>
                      </a:cubicBezTo>
                      <a:cubicBezTo>
                        <a:pt x="1225868" y="1070307"/>
                        <a:pt x="1225868" y="1070307"/>
                        <a:pt x="1225868" y="1068879"/>
                      </a:cubicBezTo>
                      <a:cubicBezTo>
                        <a:pt x="1226583" y="1067450"/>
                        <a:pt x="1226583" y="1066736"/>
                        <a:pt x="1227297" y="1065307"/>
                      </a:cubicBezTo>
                      <a:cubicBezTo>
                        <a:pt x="1227297" y="1065307"/>
                        <a:pt x="1227297" y="1065307"/>
                        <a:pt x="1227297" y="1064593"/>
                      </a:cubicBezTo>
                      <a:cubicBezTo>
                        <a:pt x="1227297" y="1063165"/>
                        <a:pt x="1228011" y="1062450"/>
                        <a:pt x="1228011" y="1061022"/>
                      </a:cubicBezTo>
                      <a:cubicBezTo>
                        <a:pt x="1228011" y="1060308"/>
                        <a:pt x="1228011" y="1060308"/>
                        <a:pt x="1228011" y="1059593"/>
                      </a:cubicBezTo>
                      <a:cubicBezTo>
                        <a:pt x="1228011" y="1059593"/>
                        <a:pt x="1228011" y="1059593"/>
                        <a:pt x="1228011" y="1058879"/>
                      </a:cubicBezTo>
                      <a:cubicBezTo>
                        <a:pt x="1228011" y="1058165"/>
                        <a:pt x="1228725" y="1057450"/>
                        <a:pt x="1228725" y="1056736"/>
                      </a:cubicBezTo>
                      <a:cubicBezTo>
                        <a:pt x="1228725" y="1056022"/>
                        <a:pt x="1228725" y="1056022"/>
                        <a:pt x="1228725" y="1056022"/>
                      </a:cubicBezTo>
                      <a:cubicBezTo>
                        <a:pt x="1228725" y="1055308"/>
                        <a:pt x="1228725" y="1054593"/>
                        <a:pt x="1228725" y="1053879"/>
                      </a:cubicBezTo>
                      <a:cubicBezTo>
                        <a:pt x="1228725" y="1053165"/>
                        <a:pt x="1228725" y="1052451"/>
                        <a:pt x="1228725" y="1051736"/>
                      </a:cubicBezTo>
                      <a:cubicBezTo>
                        <a:pt x="1228725" y="1051022"/>
                        <a:pt x="1228725" y="1051022"/>
                        <a:pt x="1228725" y="1051022"/>
                      </a:cubicBezTo>
                      <a:cubicBezTo>
                        <a:pt x="1228011" y="1049593"/>
                        <a:pt x="1228011" y="1048879"/>
                        <a:pt x="1228011" y="1047451"/>
                      </a:cubicBezTo>
                      <a:cubicBezTo>
                        <a:pt x="1228011" y="1046736"/>
                        <a:pt x="1228011" y="1046736"/>
                        <a:pt x="1228011" y="1046022"/>
                      </a:cubicBezTo>
                      <a:cubicBezTo>
                        <a:pt x="1228011" y="1046022"/>
                        <a:pt x="1228011" y="1045308"/>
                        <a:pt x="1227297" y="1044593"/>
                      </a:cubicBezTo>
                      <a:cubicBezTo>
                        <a:pt x="1227297" y="1043879"/>
                        <a:pt x="1227297" y="1043165"/>
                        <a:pt x="1227297" y="1043165"/>
                      </a:cubicBezTo>
                      <a:cubicBezTo>
                        <a:pt x="1227297" y="1043165"/>
                        <a:pt x="1227297" y="1043165"/>
                        <a:pt x="1227297" y="1041736"/>
                      </a:cubicBezTo>
                      <a:cubicBezTo>
                        <a:pt x="1226583" y="1040308"/>
                        <a:pt x="1226583" y="1039594"/>
                        <a:pt x="1225868" y="1038165"/>
                      </a:cubicBezTo>
                      <a:cubicBezTo>
                        <a:pt x="1225868" y="1038165"/>
                        <a:pt x="1225868" y="1038165"/>
                        <a:pt x="1225868" y="1037451"/>
                      </a:cubicBezTo>
                      <a:cubicBezTo>
                        <a:pt x="1225154" y="1036022"/>
                        <a:pt x="1225154" y="1035308"/>
                        <a:pt x="1224440" y="1034594"/>
                      </a:cubicBezTo>
                      <a:cubicBezTo>
                        <a:pt x="1224440" y="1033879"/>
                        <a:pt x="1223726" y="1033879"/>
                        <a:pt x="1223726" y="1033165"/>
                      </a:cubicBezTo>
                      <a:cubicBezTo>
                        <a:pt x="1223012" y="1032451"/>
                        <a:pt x="1223012" y="1031022"/>
                        <a:pt x="1222298" y="1030308"/>
                      </a:cubicBezTo>
                      <a:cubicBezTo>
                        <a:pt x="1222298" y="1029594"/>
                        <a:pt x="1221583" y="1029594"/>
                        <a:pt x="1221583" y="1028879"/>
                      </a:cubicBezTo>
                      <a:cubicBezTo>
                        <a:pt x="1220869" y="1028165"/>
                        <a:pt x="1220155" y="1027451"/>
                        <a:pt x="1219441" y="1026022"/>
                      </a:cubicBezTo>
                      <a:cubicBezTo>
                        <a:pt x="1219441" y="1026022"/>
                        <a:pt x="1219441" y="1026022"/>
                        <a:pt x="1218727" y="1025308"/>
                      </a:cubicBezTo>
                      <a:cubicBezTo>
                        <a:pt x="1218727" y="1025308"/>
                        <a:pt x="1218727" y="1025308"/>
                        <a:pt x="1218727" y="1024594"/>
                      </a:cubicBezTo>
                      <a:cubicBezTo>
                        <a:pt x="1218727" y="1024594"/>
                        <a:pt x="1218727" y="1024594"/>
                        <a:pt x="1218012" y="1023879"/>
                      </a:cubicBezTo>
                      <a:cubicBezTo>
                        <a:pt x="1218012" y="1023879"/>
                        <a:pt x="1218012" y="1023879"/>
                        <a:pt x="1216584" y="1022451"/>
                      </a:cubicBezTo>
                      <a:cubicBezTo>
                        <a:pt x="1216584" y="1022451"/>
                        <a:pt x="1216584" y="1022451"/>
                        <a:pt x="1216584" y="1021737"/>
                      </a:cubicBezTo>
                      <a:cubicBezTo>
                        <a:pt x="1216584" y="1021737"/>
                        <a:pt x="1216584" y="1021737"/>
                        <a:pt x="1150165" y="949595"/>
                      </a:cubicBezTo>
                      <a:cubicBezTo>
                        <a:pt x="1148022" y="946738"/>
                        <a:pt x="1145880" y="944595"/>
                        <a:pt x="1143023" y="943166"/>
                      </a:cubicBezTo>
                      <a:cubicBezTo>
                        <a:pt x="1140880" y="941738"/>
                        <a:pt x="1139452" y="940309"/>
                        <a:pt x="1137309" y="939595"/>
                      </a:cubicBezTo>
                      <a:cubicBezTo>
                        <a:pt x="1136595" y="938881"/>
                        <a:pt x="1135167" y="938881"/>
                        <a:pt x="1134453" y="938166"/>
                      </a:cubicBezTo>
                      <a:cubicBezTo>
                        <a:pt x="1133739" y="937452"/>
                        <a:pt x="1132310" y="937452"/>
                        <a:pt x="1131596" y="936738"/>
                      </a:cubicBezTo>
                      <a:cubicBezTo>
                        <a:pt x="1126597" y="935309"/>
                        <a:pt x="1120883" y="933881"/>
                        <a:pt x="1115170" y="933881"/>
                      </a:cubicBezTo>
                      <a:cubicBezTo>
                        <a:pt x="1105171" y="933881"/>
                        <a:pt x="1095172" y="937452"/>
                        <a:pt x="1087316" y="943881"/>
                      </a:cubicBezTo>
                      <a:cubicBezTo>
                        <a:pt x="1085888" y="944595"/>
                        <a:pt x="1084460" y="945309"/>
                        <a:pt x="1083746" y="946023"/>
                      </a:cubicBezTo>
                      <a:cubicBezTo>
                        <a:pt x="1082317" y="947452"/>
                        <a:pt x="1081603" y="948166"/>
                        <a:pt x="1080175" y="949595"/>
                      </a:cubicBezTo>
                      <a:cubicBezTo>
                        <a:pt x="1080175" y="950309"/>
                        <a:pt x="1079460" y="950309"/>
                        <a:pt x="1079460" y="951023"/>
                      </a:cubicBezTo>
                      <a:cubicBezTo>
                        <a:pt x="1078746" y="951738"/>
                        <a:pt x="1078032" y="952452"/>
                        <a:pt x="1078032" y="953166"/>
                      </a:cubicBezTo>
                      <a:cubicBezTo>
                        <a:pt x="1077318" y="953880"/>
                        <a:pt x="1076604" y="953880"/>
                        <a:pt x="1076604" y="954595"/>
                      </a:cubicBezTo>
                      <a:cubicBezTo>
                        <a:pt x="1075890" y="955309"/>
                        <a:pt x="1075890" y="956023"/>
                        <a:pt x="1075175" y="956738"/>
                      </a:cubicBezTo>
                      <a:cubicBezTo>
                        <a:pt x="1075175" y="957452"/>
                        <a:pt x="1074461" y="958166"/>
                        <a:pt x="1073747" y="958880"/>
                      </a:cubicBezTo>
                      <a:cubicBezTo>
                        <a:pt x="1073747" y="959595"/>
                        <a:pt x="1073747" y="959595"/>
                        <a:pt x="1073033" y="960309"/>
                      </a:cubicBezTo>
                      <a:cubicBezTo>
                        <a:pt x="1073033" y="961023"/>
                        <a:pt x="1072319" y="961737"/>
                        <a:pt x="1072319" y="962452"/>
                      </a:cubicBezTo>
                      <a:cubicBezTo>
                        <a:pt x="1071604" y="963166"/>
                        <a:pt x="1071604" y="963880"/>
                        <a:pt x="1071604" y="963880"/>
                      </a:cubicBezTo>
                      <a:cubicBezTo>
                        <a:pt x="1070890" y="964595"/>
                        <a:pt x="1070890" y="966023"/>
                        <a:pt x="1070890" y="966737"/>
                      </a:cubicBezTo>
                      <a:cubicBezTo>
                        <a:pt x="1070176" y="967452"/>
                        <a:pt x="1070176" y="967452"/>
                        <a:pt x="1070176" y="968166"/>
                      </a:cubicBezTo>
                      <a:cubicBezTo>
                        <a:pt x="1070176" y="968880"/>
                        <a:pt x="1069462" y="969595"/>
                        <a:pt x="1069462" y="971023"/>
                      </a:cubicBezTo>
                      <a:cubicBezTo>
                        <a:pt x="1069462" y="971023"/>
                        <a:pt x="1069462" y="971023"/>
                        <a:pt x="1069462" y="971737"/>
                      </a:cubicBezTo>
                      <a:cubicBezTo>
                        <a:pt x="1068748" y="973166"/>
                        <a:pt x="1068748" y="973880"/>
                        <a:pt x="1068748" y="975309"/>
                      </a:cubicBezTo>
                      <a:cubicBezTo>
                        <a:pt x="1068748" y="975309"/>
                        <a:pt x="1068748" y="975309"/>
                        <a:pt x="1068748" y="976023"/>
                      </a:cubicBezTo>
                      <a:cubicBezTo>
                        <a:pt x="1068748" y="976737"/>
                        <a:pt x="1068748" y="978166"/>
                        <a:pt x="1068033" y="978880"/>
                      </a:cubicBezTo>
                      <a:cubicBezTo>
                        <a:pt x="1068033" y="979594"/>
                        <a:pt x="1068033" y="981023"/>
                        <a:pt x="1068033" y="981737"/>
                      </a:cubicBezTo>
                      <a:cubicBezTo>
                        <a:pt x="1068033" y="982451"/>
                        <a:pt x="1068033" y="983166"/>
                        <a:pt x="1068748" y="983880"/>
                      </a:cubicBezTo>
                      <a:cubicBezTo>
                        <a:pt x="1068748" y="985309"/>
                        <a:pt x="1068748" y="986023"/>
                        <a:pt x="1068748" y="987451"/>
                      </a:cubicBezTo>
                      <a:cubicBezTo>
                        <a:pt x="1068748" y="988880"/>
                        <a:pt x="1069462" y="990309"/>
                        <a:pt x="1069462" y="991023"/>
                      </a:cubicBezTo>
                      <a:cubicBezTo>
                        <a:pt x="1069462" y="991023"/>
                        <a:pt x="1069462" y="991023"/>
                        <a:pt x="1069462" y="991737"/>
                      </a:cubicBezTo>
                      <a:cubicBezTo>
                        <a:pt x="1069462" y="992451"/>
                        <a:pt x="1070176" y="993880"/>
                        <a:pt x="1070176" y="995308"/>
                      </a:cubicBezTo>
                      <a:cubicBezTo>
                        <a:pt x="1070890" y="996737"/>
                        <a:pt x="1071604" y="997451"/>
                        <a:pt x="1071604" y="998880"/>
                      </a:cubicBezTo>
                      <a:cubicBezTo>
                        <a:pt x="1071604" y="998880"/>
                        <a:pt x="1071604" y="998880"/>
                        <a:pt x="1071604" y="999594"/>
                      </a:cubicBezTo>
                      <a:cubicBezTo>
                        <a:pt x="1072319" y="1000308"/>
                        <a:pt x="1073033" y="1001737"/>
                        <a:pt x="1073747" y="1002451"/>
                      </a:cubicBezTo>
                      <a:cubicBezTo>
                        <a:pt x="1073747" y="1003165"/>
                        <a:pt x="1073747" y="1003165"/>
                        <a:pt x="1073747" y="1003165"/>
                      </a:cubicBezTo>
                      <a:cubicBezTo>
                        <a:pt x="1074461" y="1003880"/>
                        <a:pt x="1075175" y="1005308"/>
                        <a:pt x="1075890" y="1006737"/>
                      </a:cubicBezTo>
                      <a:cubicBezTo>
                        <a:pt x="1075890" y="1006737"/>
                        <a:pt x="1075890" y="1006737"/>
                        <a:pt x="908056" y="1006737"/>
                      </a:cubicBezTo>
                      <a:cubicBezTo>
                        <a:pt x="948764" y="976023"/>
                        <a:pt x="985188" y="939595"/>
                        <a:pt x="1014470" y="897453"/>
                      </a:cubicBezTo>
                      <a:cubicBezTo>
                        <a:pt x="1015898" y="896024"/>
                        <a:pt x="1016612" y="894596"/>
                        <a:pt x="1017326" y="893881"/>
                      </a:cubicBezTo>
                      <a:cubicBezTo>
                        <a:pt x="1019469" y="891024"/>
                        <a:pt x="1020897" y="888881"/>
                        <a:pt x="1022326" y="886024"/>
                      </a:cubicBezTo>
                      <a:cubicBezTo>
                        <a:pt x="1075175" y="808168"/>
                        <a:pt x="1102314" y="716741"/>
                        <a:pt x="1102314" y="621028"/>
                      </a:cubicBezTo>
                      <a:cubicBezTo>
                        <a:pt x="1102314" y="617456"/>
                        <a:pt x="1102314" y="613171"/>
                        <a:pt x="1102314" y="608885"/>
                      </a:cubicBezTo>
                      <a:cubicBezTo>
                        <a:pt x="1102314" y="604599"/>
                        <a:pt x="1102314" y="600314"/>
                        <a:pt x="1102314" y="596742"/>
                      </a:cubicBezTo>
                      <a:cubicBezTo>
                        <a:pt x="1101600" y="596028"/>
                        <a:pt x="1101600" y="596028"/>
                        <a:pt x="1101600" y="596028"/>
                      </a:cubicBezTo>
                      <a:cubicBezTo>
                        <a:pt x="1101600" y="591743"/>
                        <a:pt x="1101600" y="588171"/>
                        <a:pt x="1100886" y="584600"/>
                      </a:cubicBezTo>
                      <a:cubicBezTo>
                        <a:pt x="1100886" y="580314"/>
                        <a:pt x="1100886" y="576743"/>
                        <a:pt x="1100172" y="573171"/>
                      </a:cubicBezTo>
                      <a:cubicBezTo>
                        <a:pt x="1100172" y="572457"/>
                        <a:pt x="1100172" y="572457"/>
                        <a:pt x="1100172" y="571743"/>
                      </a:cubicBezTo>
                      <a:cubicBezTo>
                        <a:pt x="1099458" y="568171"/>
                        <a:pt x="1099458" y="564600"/>
                        <a:pt x="1098743" y="561029"/>
                      </a:cubicBezTo>
                      <a:cubicBezTo>
                        <a:pt x="1098029" y="556743"/>
                        <a:pt x="1097315" y="551743"/>
                        <a:pt x="1096601" y="547457"/>
                      </a:cubicBezTo>
                      <a:cubicBezTo>
                        <a:pt x="1096601" y="545315"/>
                        <a:pt x="1096601" y="543886"/>
                        <a:pt x="1095887" y="541743"/>
                      </a:cubicBezTo>
                      <a:cubicBezTo>
                        <a:pt x="1095887" y="538886"/>
                        <a:pt x="1095172" y="536743"/>
                        <a:pt x="1094458" y="533886"/>
                      </a:cubicBezTo>
                      <a:cubicBezTo>
                        <a:pt x="1093744" y="529600"/>
                        <a:pt x="1093030" y="525315"/>
                        <a:pt x="1092316" y="521029"/>
                      </a:cubicBezTo>
                      <a:cubicBezTo>
                        <a:pt x="1091602" y="519601"/>
                        <a:pt x="1091602" y="518886"/>
                        <a:pt x="1091602" y="517458"/>
                      </a:cubicBezTo>
                      <a:cubicBezTo>
                        <a:pt x="1090887" y="513886"/>
                        <a:pt x="1089459" y="511029"/>
                        <a:pt x="1088745" y="507458"/>
                      </a:cubicBezTo>
                      <a:cubicBezTo>
                        <a:pt x="1083031" y="482458"/>
                        <a:pt x="1075175" y="458173"/>
                        <a:pt x="1065177" y="434602"/>
                      </a:cubicBezTo>
                      <a:cubicBezTo>
                        <a:pt x="1040894" y="377460"/>
                        <a:pt x="1005899" y="326746"/>
                        <a:pt x="962334" y="282461"/>
                      </a:cubicBezTo>
                      <a:cubicBezTo>
                        <a:pt x="918054" y="238176"/>
                        <a:pt x="866633" y="203891"/>
                        <a:pt x="809498" y="179605"/>
                      </a:cubicBezTo>
                      <a:cubicBezTo>
                        <a:pt x="753792" y="156034"/>
                        <a:pt x="695229" y="143891"/>
                        <a:pt x="634523" y="141749"/>
                      </a:cubicBezTo>
                      <a:cubicBezTo>
                        <a:pt x="631666" y="141749"/>
                        <a:pt x="629524" y="141749"/>
                        <a:pt x="626667" y="141749"/>
                      </a:cubicBezTo>
                      <a:cubicBezTo>
                        <a:pt x="625238" y="141749"/>
                        <a:pt x="623810" y="141749"/>
                        <a:pt x="622382" y="141749"/>
                      </a:cubicBezTo>
                      <a:cubicBezTo>
                        <a:pt x="563104" y="141749"/>
                        <a:pt x="505255" y="152463"/>
                        <a:pt x="450977" y="173891"/>
                      </a:cubicBezTo>
                      <a:cubicBezTo>
                        <a:pt x="450977" y="173891"/>
                        <a:pt x="450977" y="173891"/>
                        <a:pt x="443835" y="75321"/>
                      </a:cubicBezTo>
                      <a:cubicBezTo>
                        <a:pt x="441693" y="51036"/>
                        <a:pt x="420981" y="31750"/>
                        <a:pt x="396699" y="31750"/>
                      </a:cubicBezTo>
                      <a:cubicBezTo>
                        <a:pt x="395985" y="31750"/>
                        <a:pt x="395985" y="31750"/>
                        <a:pt x="395271" y="31750"/>
                      </a:cubicBezTo>
                      <a:cubicBezTo>
                        <a:pt x="394556" y="31750"/>
                        <a:pt x="393842" y="31750"/>
                        <a:pt x="393128" y="31750"/>
                      </a:cubicBezTo>
                      <a:close/>
                      <a:moveTo>
                        <a:pt x="390862" y="0"/>
                      </a:moveTo>
                      <a:cubicBezTo>
                        <a:pt x="393005" y="0"/>
                        <a:pt x="394435" y="0"/>
                        <a:pt x="396578" y="0"/>
                      </a:cubicBezTo>
                      <a:cubicBezTo>
                        <a:pt x="437308" y="0"/>
                        <a:pt x="471607" y="32160"/>
                        <a:pt x="475179" y="72895"/>
                      </a:cubicBezTo>
                      <a:cubicBezTo>
                        <a:pt x="475179" y="72895"/>
                        <a:pt x="475179" y="72895"/>
                        <a:pt x="479467" y="130783"/>
                      </a:cubicBezTo>
                      <a:cubicBezTo>
                        <a:pt x="525198" y="117204"/>
                        <a:pt x="573788" y="110057"/>
                        <a:pt x="622378" y="110057"/>
                      </a:cubicBezTo>
                      <a:cubicBezTo>
                        <a:pt x="904627" y="110057"/>
                        <a:pt x="1133999" y="340177"/>
                        <a:pt x="1133999" y="621038"/>
                      </a:cubicBezTo>
                      <a:cubicBezTo>
                        <a:pt x="1133999" y="726092"/>
                        <a:pt x="1102559" y="826859"/>
                        <a:pt x="1043251" y="911903"/>
                      </a:cubicBezTo>
                      <a:cubicBezTo>
                        <a:pt x="1027530" y="934058"/>
                        <a:pt x="1010381" y="955498"/>
                        <a:pt x="991803" y="975508"/>
                      </a:cubicBezTo>
                      <a:cubicBezTo>
                        <a:pt x="991803" y="975508"/>
                        <a:pt x="991803" y="975508"/>
                        <a:pt x="1037534" y="975508"/>
                      </a:cubicBezTo>
                      <a:cubicBezTo>
                        <a:pt x="1038963" y="956212"/>
                        <a:pt x="1047538" y="936916"/>
                        <a:pt x="1062543" y="923338"/>
                      </a:cubicBezTo>
                      <a:cubicBezTo>
                        <a:pt x="1077549" y="909759"/>
                        <a:pt x="1096128" y="902613"/>
                        <a:pt x="1115421" y="902613"/>
                      </a:cubicBezTo>
                      <a:cubicBezTo>
                        <a:pt x="1137572" y="902613"/>
                        <a:pt x="1159008" y="911903"/>
                        <a:pt x="1174014" y="928341"/>
                      </a:cubicBezTo>
                      <a:cubicBezTo>
                        <a:pt x="1174014" y="928341"/>
                        <a:pt x="1174014" y="928341"/>
                        <a:pt x="1240468" y="1001236"/>
                      </a:cubicBezTo>
                      <a:cubicBezTo>
                        <a:pt x="1240468" y="1001236"/>
                        <a:pt x="1240468" y="1001236"/>
                        <a:pt x="1240468" y="1001950"/>
                      </a:cubicBezTo>
                      <a:cubicBezTo>
                        <a:pt x="1240468" y="1001950"/>
                        <a:pt x="1240468" y="1001950"/>
                        <a:pt x="1241897" y="1003380"/>
                      </a:cubicBezTo>
                      <a:cubicBezTo>
                        <a:pt x="1241897" y="1003380"/>
                        <a:pt x="1241897" y="1003380"/>
                        <a:pt x="1243326" y="1004809"/>
                      </a:cubicBezTo>
                      <a:cubicBezTo>
                        <a:pt x="1243326" y="1004809"/>
                        <a:pt x="1243326" y="1004809"/>
                        <a:pt x="1244040" y="1006238"/>
                      </a:cubicBezTo>
                      <a:cubicBezTo>
                        <a:pt x="1244040" y="1006238"/>
                        <a:pt x="1244040" y="1006238"/>
                        <a:pt x="1244755" y="1006953"/>
                      </a:cubicBezTo>
                      <a:cubicBezTo>
                        <a:pt x="1244755" y="1006953"/>
                        <a:pt x="1245470" y="1007668"/>
                        <a:pt x="1245470" y="1008382"/>
                      </a:cubicBezTo>
                      <a:cubicBezTo>
                        <a:pt x="1246899" y="1009812"/>
                        <a:pt x="1247613" y="1011241"/>
                        <a:pt x="1248328" y="1012670"/>
                      </a:cubicBezTo>
                      <a:cubicBezTo>
                        <a:pt x="1249042" y="1013385"/>
                        <a:pt x="1249757" y="1014100"/>
                        <a:pt x="1249757" y="1014814"/>
                      </a:cubicBezTo>
                      <a:cubicBezTo>
                        <a:pt x="1250471" y="1016244"/>
                        <a:pt x="1251901" y="1017673"/>
                        <a:pt x="1252615" y="1019817"/>
                      </a:cubicBezTo>
                      <a:cubicBezTo>
                        <a:pt x="1252615" y="1020531"/>
                        <a:pt x="1253330" y="1021246"/>
                        <a:pt x="1253330" y="1021961"/>
                      </a:cubicBezTo>
                      <a:cubicBezTo>
                        <a:pt x="1254044" y="1023390"/>
                        <a:pt x="1254759" y="1024819"/>
                        <a:pt x="1255473" y="1026963"/>
                      </a:cubicBezTo>
                      <a:cubicBezTo>
                        <a:pt x="1255473" y="1026963"/>
                        <a:pt x="1256188" y="1027678"/>
                        <a:pt x="1256188" y="1028393"/>
                      </a:cubicBezTo>
                      <a:cubicBezTo>
                        <a:pt x="1256902" y="1030537"/>
                        <a:pt x="1257617" y="1032681"/>
                        <a:pt x="1257617" y="1034110"/>
                      </a:cubicBezTo>
                      <a:cubicBezTo>
                        <a:pt x="1257617" y="1034110"/>
                        <a:pt x="1257617" y="1034110"/>
                        <a:pt x="1257617" y="1034825"/>
                      </a:cubicBezTo>
                      <a:cubicBezTo>
                        <a:pt x="1257617" y="1034825"/>
                        <a:pt x="1257617" y="1034825"/>
                        <a:pt x="1258332" y="1035539"/>
                      </a:cubicBezTo>
                      <a:cubicBezTo>
                        <a:pt x="1258332" y="1035539"/>
                        <a:pt x="1258332" y="1035539"/>
                        <a:pt x="1258332" y="1036254"/>
                      </a:cubicBezTo>
                      <a:cubicBezTo>
                        <a:pt x="1258332" y="1037683"/>
                        <a:pt x="1259046" y="1039827"/>
                        <a:pt x="1259046" y="1041257"/>
                      </a:cubicBezTo>
                      <a:cubicBezTo>
                        <a:pt x="1259761" y="1042686"/>
                        <a:pt x="1259761" y="1043401"/>
                        <a:pt x="1259761" y="1044115"/>
                      </a:cubicBezTo>
                      <a:cubicBezTo>
                        <a:pt x="1259761" y="1045544"/>
                        <a:pt x="1259761" y="1047688"/>
                        <a:pt x="1260475" y="1049118"/>
                      </a:cubicBezTo>
                      <a:cubicBezTo>
                        <a:pt x="1260475" y="1049118"/>
                        <a:pt x="1260475" y="1049118"/>
                        <a:pt x="1260475" y="1049832"/>
                      </a:cubicBezTo>
                      <a:cubicBezTo>
                        <a:pt x="1260475" y="1051262"/>
                        <a:pt x="1260475" y="1052691"/>
                        <a:pt x="1260475" y="1054120"/>
                      </a:cubicBezTo>
                      <a:cubicBezTo>
                        <a:pt x="1260475" y="1055550"/>
                        <a:pt x="1260475" y="1056979"/>
                        <a:pt x="1260475" y="1058408"/>
                      </a:cubicBezTo>
                      <a:cubicBezTo>
                        <a:pt x="1259761" y="1060552"/>
                        <a:pt x="1259761" y="1062696"/>
                        <a:pt x="1259761" y="1064126"/>
                      </a:cubicBezTo>
                      <a:cubicBezTo>
                        <a:pt x="1259761" y="1064126"/>
                        <a:pt x="1259761" y="1064126"/>
                        <a:pt x="1259761" y="1064840"/>
                      </a:cubicBezTo>
                      <a:cubicBezTo>
                        <a:pt x="1259761" y="1064840"/>
                        <a:pt x="1259761" y="1064840"/>
                        <a:pt x="1259046" y="1065555"/>
                      </a:cubicBezTo>
                      <a:cubicBezTo>
                        <a:pt x="1259046" y="1065555"/>
                        <a:pt x="1259046" y="1065555"/>
                        <a:pt x="1259046" y="1066270"/>
                      </a:cubicBezTo>
                      <a:cubicBezTo>
                        <a:pt x="1259046" y="1068414"/>
                        <a:pt x="1258332" y="1069843"/>
                        <a:pt x="1258332" y="1071987"/>
                      </a:cubicBezTo>
                      <a:cubicBezTo>
                        <a:pt x="1258332" y="1071987"/>
                        <a:pt x="1258332" y="1071987"/>
                        <a:pt x="1257617" y="1073416"/>
                      </a:cubicBezTo>
                      <a:cubicBezTo>
                        <a:pt x="1257617" y="1075560"/>
                        <a:pt x="1256902" y="1077704"/>
                        <a:pt x="1256188" y="1079133"/>
                      </a:cubicBezTo>
                      <a:cubicBezTo>
                        <a:pt x="1256188" y="1079133"/>
                        <a:pt x="1256188" y="1079133"/>
                        <a:pt x="1256188" y="1079848"/>
                      </a:cubicBezTo>
                      <a:cubicBezTo>
                        <a:pt x="1256188" y="1079848"/>
                        <a:pt x="1256188" y="1079848"/>
                        <a:pt x="1255473" y="1080563"/>
                      </a:cubicBezTo>
                      <a:cubicBezTo>
                        <a:pt x="1255473" y="1080563"/>
                        <a:pt x="1255473" y="1080563"/>
                        <a:pt x="1255473" y="1081277"/>
                      </a:cubicBezTo>
                      <a:cubicBezTo>
                        <a:pt x="1254759" y="1082707"/>
                        <a:pt x="1254044" y="1084851"/>
                        <a:pt x="1253330" y="1086280"/>
                      </a:cubicBezTo>
                      <a:cubicBezTo>
                        <a:pt x="1253330" y="1086280"/>
                        <a:pt x="1253330" y="1086280"/>
                        <a:pt x="1253330" y="1086995"/>
                      </a:cubicBezTo>
                      <a:cubicBezTo>
                        <a:pt x="1253330" y="1086995"/>
                        <a:pt x="1253330" y="1086995"/>
                        <a:pt x="1252615" y="1086995"/>
                      </a:cubicBezTo>
                      <a:cubicBezTo>
                        <a:pt x="1252615" y="1086995"/>
                        <a:pt x="1252615" y="1086995"/>
                        <a:pt x="1252615" y="1087709"/>
                      </a:cubicBezTo>
                      <a:cubicBezTo>
                        <a:pt x="1252615" y="1087709"/>
                        <a:pt x="1252615" y="1087709"/>
                        <a:pt x="1252615" y="1088424"/>
                      </a:cubicBezTo>
                      <a:cubicBezTo>
                        <a:pt x="1251901" y="1089853"/>
                        <a:pt x="1250471" y="1091997"/>
                        <a:pt x="1249757" y="1093427"/>
                      </a:cubicBezTo>
                      <a:cubicBezTo>
                        <a:pt x="1249757" y="1093427"/>
                        <a:pt x="1249757" y="1093427"/>
                        <a:pt x="1249042" y="1094856"/>
                      </a:cubicBezTo>
                      <a:cubicBezTo>
                        <a:pt x="1247613" y="1096285"/>
                        <a:pt x="1246899" y="1097715"/>
                        <a:pt x="1246184" y="1099144"/>
                      </a:cubicBezTo>
                      <a:cubicBezTo>
                        <a:pt x="1246184" y="1099144"/>
                        <a:pt x="1246184" y="1099144"/>
                        <a:pt x="1245470" y="1099144"/>
                      </a:cubicBezTo>
                      <a:cubicBezTo>
                        <a:pt x="1245470" y="1099144"/>
                        <a:pt x="1245470" y="1099144"/>
                        <a:pt x="1245470" y="1099858"/>
                      </a:cubicBezTo>
                      <a:cubicBezTo>
                        <a:pt x="1245470" y="1099858"/>
                        <a:pt x="1245470" y="1099858"/>
                        <a:pt x="1244755" y="1100573"/>
                      </a:cubicBezTo>
                      <a:cubicBezTo>
                        <a:pt x="1244755" y="1100573"/>
                        <a:pt x="1244755" y="1100573"/>
                        <a:pt x="1244040" y="1101288"/>
                      </a:cubicBezTo>
                      <a:cubicBezTo>
                        <a:pt x="1244040" y="1101288"/>
                        <a:pt x="1244040" y="1101288"/>
                        <a:pt x="1243326" y="1102717"/>
                      </a:cubicBezTo>
                      <a:cubicBezTo>
                        <a:pt x="1243326" y="1102717"/>
                        <a:pt x="1243326" y="1102717"/>
                        <a:pt x="1241897" y="1104146"/>
                      </a:cubicBezTo>
                      <a:cubicBezTo>
                        <a:pt x="1241897" y="1104146"/>
                        <a:pt x="1241897" y="1104146"/>
                        <a:pt x="1240468" y="1106290"/>
                      </a:cubicBezTo>
                      <a:cubicBezTo>
                        <a:pt x="1240468" y="1106290"/>
                        <a:pt x="1240468" y="1106290"/>
                        <a:pt x="1239753" y="1106290"/>
                      </a:cubicBezTo>
                      <a:cubicBezTo>
                        <a:pt x="1239753" y="1106290"/>
                        <a:pt x="1239753" y="1106290"/>
                        <a:pt x="1239753" y="1107005"/>
                      </a:cubicBezTo>
                      <a:cubicBezTo>
                        <a:pt x="1239753" y="1107005"/>
                        <a:pt x="1239753" y="1107005"/>
                        <a:pt x="1174014" y="1179186"/>
                      </a:cubicBezTo>
                      <a:cubicBezTo>
                        <a:pt x="1159008" y="1195623"/>
                        <a:pt x="1137572" y="1204913"/>
                        <a:pt x="1115421" y="1204913"/>
                      </a:cubicBezTo>
                      <a:cubicBezTo>
                        <a:pt x="1096128" y="1204913"/>
                        <a:pt x="1077549" y="1197767"/>
                        <a:pt x="1062543" y="1184903"/>
                      </a:cubicBezTo>
                      <a:cubicBezTo>
                        <a:pt x="1047538" y="1170610"/>
                        <a:pt x="1038963" y="1152029"/>
                        <a:pt x="1037534" y="1132733"/>
                      </a:cubicBezTo>
                      <a:cubicBezTo>
                        <a:pt x="1037534" y="1132733"/>
                        <a:pt x="1037534" y="1132733"/>
                        <a:pt x="78601" y="1132733"/>
                      </a:cubicBezTo>
                      <a:cubicBezTo>
                        <a:pt x="35728" y="1132733"/>
                        <a:pt x="0" y="1097000"/>
                        <a:pt x="0" y="1054120"/>
                      </a:cubicBezTo>
                      <a:cubicBezTo>
                        <a:pt x="0" y="1010526"/>
                        <a:pt x="35728" y="975508"/>
                        <a:pt x="78601" y="975508"/>
                      </a:cubicBezTo>
                      <a:cubicBezTo>
                        <a:pt x="78601" y="975508"/>
                        <a:pt x="78601" y="975508"/>
                        <a:pt x="253667" y="975508"/>
                      </a:cubicBezTo>
                      <a:cubicBezTo>
                        <a:pt x="235089" y="955498"/>
                        <a:pt x="217225" y="934058"/>
                        <a:pt x="201505" y="911903"/>
                      </a:cubicBezTo>
                      <a:cubicBezTo>
                        <a:pt x="142197" y="826859"/>
                        <a:pt x="110756" y="726092"/>
                        <a:pt x="110756" y="621038"/>
                      </a:cubicBezTo>
                      <a:cubicBezTo>
                        <a:pt x="110756" y="578158"/>
                        <a:pt x="116473" y="535993"/>
                        <a:pt x="126476" y="494543"/>
                      </a:cubicBezTo>
                      <a:cubicBezTo>
                        <a:pt x="92892" y="475248"/>
                        <a:pt x="64310" y="447376"/>
                        <a:pt x="42159" y="413787"/>
                      </a:cubicBezTo>
                      <a:cubicBezTo>
                        <a:pt x="15006" y="373051"/>
                        <a:pt x="715" y="325169"/>
                        <a:pt x="715" y="275858"/>
                      </a:cubicBezTo>
                      <a:cubicBezTo>
                        <a:pt x="715" y="135785"/>
                        <a:pt x="115044" y="21440"/>
                        <a:pt x="255096" y="21440"/>
                      </a:cubicBezTo>
                      <a:cubicBezTo>
                        <a:pt x="281535" y="21440"/>
                        <a:pt x="307259" y="25013"/>
                        <a:pt x="332268" y="32874"/>
                      </a:cubicBezTo>
                      <a:cubicBezTo>
                        <a:pt x="333697" y="30730"/>
                        <a:pt x="335127" y="29301"/>
                        <a:pt x="337270" y="27157"/>
                      </a:cubicBezTo>
                      <a:cubicBezTo>
                        <a:pt x="350847" y="11435"/>
                        <a:pt x="370140" y="1429"/>
                        <a:pt x="39086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296" tIns="41148" rIns="82296" bIns="41148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8AD74E3-EE9E-4CB9-B43C-3D8E2390DE95}"/>
              </a:ext>
            </a:extLst>
          </p:cNvPr>
          <p:cNvGrpSpPr/>
          <p:nvPr/>
        </p:nvGrpSpPr>
        <p:grpSpPr>
          <a:xfrm>
            <a:off x="259218" y="5682369"/>
            <a:ext cx="864608" cy="864608"/>
            <a:chOff x="462686" y="3070365"/>
            <a:chExt cx="619720" cy="61972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2542B085-F0DD-4E67-9AAA-1CA82D287CBA}"/>
                </a:ext>
              </a:extLst>
            </p:cNvPr>
            <p:cNvSpPr/>
            <p:nvPr/>
          </p:nvSpPr>
          <p:spPr>
            <a:xfrm>
              <a:off x="462686" y="3070365"/>
              <a:ext cx="619720" cy="619720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C65F0DD-003B-4FB1-BC36-D2811CE1AD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1631" y="3139542"/>
              <a:ext cx="481829" cy="481365"/>
              <a:chOff x="6464300" y="2606675"/>
              <a:chExt cx="1646238" cy="1644650"/>
            </a:xfrm>
          </p:grpSpPr>
          <p:sp>
            <p:nvSpPr>
              <p:cNvPr id="41" name="AutoShape 3">
                <a:extLst>
                  <a:ext uri="{FF2B5EF4-FFF2-40B4-BE49-F238E27FC236}">
                    <a16:creationId xmlns:a16="http://schemas.microsoft.com/office/drawing/2014/main" id="{AD853EEA-4FC5-4E81-86B5-58D3C63700D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464300" y="2606675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FF896462-436A-4CC6-82B4-C41EE0D1AD38}"/>
                  </a:ext>
                </a:extLst>
              </p:cNvPr>
              <p:cNvGrpSpPr/>
              <p:nvPr/>
            </p:nvGrpSpPr>
            <p:grpSpPr>
              <a:xfrm>
                <a:off x="6729413" y="2881313"/>
                <a:ext cx="1123838" cy="1125538"/>
                <a:chOff x="6729413" y="2881313"/>
                <a:chExt cx="1123838" cy="1125538"/>
              </a:xfrm>
            </p:grpSpPr>
            <p:sp>
              <p:nvSpPr>
                <p:cNvPr id="43" name="Freeform 16">
                  <a:extLst>
                    <a:ext uri="{FF2B5EF4-FFF2-40B4-BE49-F238E27FC236}">
                      <a16:creationId xmlns:a16="http://schemas.microsoft.com/office/drawing/2014/main" id="{25B3BEEC-0652-433A-986A-F6588DC144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3900" y="2881313"/>
                  <a:ext cx="709613" cy="574675"/>
                </a:xfrm>
                <a:custGeom>
                  <a:avLst/>
                  <a:gdLst>
                    <a:gd name="T0" fmla="*/ 992 w 993"/>
                    <a:gd name="T1" fmla="*/ 8 h 805"/>
                    <a:gd name="T2" fmla="*/ 983 w 993"/>
                    <a:gd name="T3" fmla="*/ 0 h 805"/>
                    <a:gd name="T4" fmla="*/ 486 w 993"/>
                    <a:gd name="T5" fmla="*/ 429 h 805"/>
                    <a:gd name="T6" fmla="*/ 469 w 993"/>
                    <a:gd name="T7" fmla="*/ 433 h 805"/>
                    <a:gd name="T8" fmla="*/ 9 w 993"/>
                    <a:gd name="T9" fmla="*/ 255 h 805"/>
                    <a:gd name="T10" fmla="*/ 0 w 993"/>
                    <a:gd name="T11" fmla="*/ 264 h 805"/>
                    <a:gd name="T12" fmla="*/ 385 w 993"/>
                    <a:gd name="T13" fmla="*/ 649 h 805"/>
                    <a:gd name="T14" fmla="*/ 393 w 993"/>
                    <a:gd name="T15" fmla="*/ 641 h 805"/>
                    <a:gd name="T16" fmla="*/ 284 w 993"/>
                    <a:gd name="T17" fmla="*/ 426 h 805"/>
                    <a:gd name="T18" fmla="*/ 294 w 993"/>
                    <a:gd name="T19" fmla="*/ 412 h 805"/>
                    <a:gd name="T20" fmla="*/ 461 w 993"/>
                    <a:gd name="T21" fmla="*/ 766 h 805"/>
                    <a:gd name="T22" fmla="*/ 461 w 993"/>
                    <a:gd name="T23" fmla="*/ 794 h 805"/>
                    <a:gd name="T24" fmla="*/ 521 w 993"/>
                    <a:gd name="T25" fmla="*/ 797 h 805"/>
                    <a:gd name="T26" fmla="*/ 562 w 993"/>
                    <a:gd name="T27" fmla="*/ 805 h 805"/>
                    <a:gd name="T28" fmla="*/ 554 w 993"/>
                    <a:gd name="T29" fmla="*/ 681 h 805"/>
                    <a:gd name="T30" fmla="*/ 555 w 993"/>
                    <a:gd name="T31" fmla="*/ 524 h 805"/>
                    <a:gd name="T32" fmla="*/ 578 w 993"/>
                    <a:gd name="T33" fmla="*/ 391 h 805"/>
                    <a:gd name="T34" fmla="*/ 679 w 993"/>
                    <a:gd name="T35" fmla="*/ 227 h 805"/>
                    <a:gd name="T36" fmla="*/ 745 w 993"/>
                    <a:gd name="T37" fmla="*/ 180 h 805"/>
                    <a:gd name="T38" fmla="*/ 755 w 993"/>
                    <a:gd name="T39" fmla="*/ 194 h 805"/>
                    <a:gd name="T40" fmla="*/ 623 w 993"/>
                    <a:gd name="T41" fmla="*/ 477 h 805"/>
                    <a:gd name="T42" fmla="*/ 632 w 993"/>
                    <a:gd name="T43" fmla="*/ 487 h 805"/>
                    <a:gd name="T44" fmla="*/ 992 w 993"/>
                    <a:gd name="T45" fmla="*/ 8 h 8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993" h="805">
                      <a:moveTo>
                        <a:pt x="992" y="8"/>
                      </a:moveTo>
                      <a:cubicBezTo>
                        <a:pt x="992" y="3"/>
                        <a:pt x="988" y="0"/>
                        <a:pt x="983" y="0"/>
                      </a:cubicBezTo>
                      <a:cubicBezTo>
                        <a:pt x="559" y="3"/>
                        <a:pt x="495" y="259"/>
                        <a:pt x="486" y="429"/>
                      </a:cubicBezTo>
                      <a:cubicBezTo>
                        <a:pt x="486" y="438"/>
                        <a:pt x="474" y="441"/>
                        <a:pt x="469" y="433"/>
                      </a:cubicBezTo>
                      <a:cubicBezTo>
                        <a:pt x="417" y="327"/>
                        <a:pt x="293" y="242"/>
                        <a:pt x="9" y="255"/>
                      </a:cubicBezTo>
                      <a:cubicBezTo>
                        <a:pt x="4" y="255"/>
                        <a:pt x="0" y="259"/>
                        <a:pt x="0" y="264"/>
                      </a:cubicBezTo>
                      <a:cubicBezTo>
                        <a:pt x="3" y="321"/>
                        <a:pt x="35" y="645"/>
                        <a:pt x="385" y="649"/>
                      </a:cubicBezTo>
                      <a:cubicBezTo>
                        <a:pt x="389" y="649"/>
                        <a:pt x="393" y="645"/>
                        <a:pt x="393" y="641"/>
                      </a:cubicBezTo>
                      <a:cubicBezTo>
                        <a:pt x="395" y="614"/>
                        <a:pt x="392" y="523"/>
                        <a:pt x="284" y="426"/>
                      </a:cubicBezTo>
                      <a:cubicBezTo>
                        <a:pt x="276" y="420"/>
                        <a:pt x="284" y="408"/>
                        <a:pt x="294" y="412"/>
                      </a:cubicBezTo>
                      <a:cubicBezTo>
                        <a:pt x="427" y="475"/>
                        <a:pt x="467" y="630"/>
                        <a:pt x="461" y="766"/>
                      </a:cubicBezTo>
                      <a:cubicBezTo>
                        <a:pt x="460" y="772"/>
                        <a:pt x="460" y="782"/>
                        <a:pt x="461" y="794"/>
                      </a:cubicBezTo>
                      <a:cubicBezTo>
                        <a:pt x="521" y="797"/>
                        <a:pt x="521" y="797"/>
                        <a:pt x="521" y="797"/>
                      </a:cubicBezTo>
                      <a:cubicBezTo>
                        <a:pt x="535" y="798"/>
                        <a:pt x="549" y="801"/>
                        <a:pt x="562" y="805"/>
                      </a:cubicBezTo>
                      <a:cubicBezTo>
                        <a:pt x="565" y="763"/>
                        <a:pt x="557" y="710"/>
                        <a:pt x="554" y="681"/>
                      </a:cubicBezTo>
                      <a:cubicBezTo>
                        <a:pt x="551" y="628"/>
                        <a:pt x="552" y="576"/>
                        <a:pt x="555" y="524"/>
                      </a:cubicBezTo>
                      <a:cubicBezTo>
                        <a:pt x="557" y="479"/>
                        <a:pt x="564" y="434"/>
                        <a:pt x="578" y="391"/>
                      </a:cubicBezTo>
                      <a:cubicBezTo>
                        <a:pt x="597" y="329"/>
                        <a:pt x="632" y="272"/>
                        <a:pt x="679" y="227"/>
                      </a:cubicBezTo>
                      <a:cubicBezTo>
                        <a:pt x="699" y="209"/>
                        <a:pt x="721" y="193"/>
                        <a:pt x="745" y="180"/>
                      </a:cubicBezTo>
                      <a:cubicBezTo>
                        <a:pt x="753" y="175"/>
                        <a:pt x="761" y="186"/>
                        <a:pt x="755" y="194"/>
                      </a:cubicBezTo>
                      <a:cubicBezTo>
                        <a:pt x="643" y="322"/>
                        <a:pt x="626" y="444"/>
                        <a:pt x="623" y="477"/>
                      </a:cubicBezTo>
                      <a:cubicBezTo>
                        <a:pt x="623" y="482"/>
                        <a:pt x="627" y="487"/>
                        <a:pt x="632" y="487"/>
                      </a:cubicBezTo>
                      <a:cubicBezTo>
                        <a:pt x="984" y="480"/>
                        <a:pt x="993" y="73"/>
                        <a:pt x="992" y="8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82296" tIns="41148" rIns="82296" bIns="41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17">
                  <a:extLst>
                    <a:ext uri="{FF2B5EF4-FFF2-40B4-BE49-F238E27FC236}">
                      <a16:creationId xmlns:a16="http://schemas.microsoft.com/office/drawing/2014/main" id="{9B81284B-6F96-45B5-9A31-AB53B95B87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29413" y="3465513"/>
                  <a:ext cx="1123838" cy="541338"/>
                </a:xfrm>
                <a:custGeom>
                  <a:avLst/>
                  <a:gdLst>
                    <a:gd name="connsiteX0" fmla="*/ 409739 w 1123838"/>
                    <a:gd name="connsiteY0" fmla="*/ 31591 h 541338"/>
                    <a:gd name="connsiteX1" fmla="*/ 326138 w 1123838"/>
                    <a:gd name="connsiteY1" fmla="*/ 51601 h 541338"/>
                    <a:gd name="connsiteX2" fmla="*/ 31750 w 1123838"/>
                    <a:gd name="connsiteY2" fmla="*/ 218820 h 541338"/>
                    <a:gd name="connsiteX3" fmla="*/ 31750 w 1123838"/>
                    <a:gd name="connsiteY3" fmla="*/ 503237 h 541338"/>
                    <a:gd name="connsiteX4" fmla="*/ 368296 w 1123838"/>
                    <a:gd name="connsiteY4" fmla="*/ 373177 h 541338"/>
                    <a:gd name="connsiteX5" fmla="*/ 419028 w 1123838"/>
                    <a:gd name="connsiteY5" fmla="*/ 365316 h 541338"/>
                    <a:gd name="connsiteX6" fmla="*/ 568366 w 1123838"/>
                    <a:gd name="connsiteY6" fmla="*/ 376036 h 541338"/>
                    <a:gd name="connsiteX7" fmla="*/ 797017 w 1123838"/>
                    <a:gd name="connsiteY7" fmla="*/ 349595 h 541338"/>
                    <a:gd name="connsiteX8" fmla="*/ 1047818 w 1123838"/>
                    <a:gd name="connsiteY8" fmla="*/ 183090 h 541338"/>
                    <a:gd name="connsiteX9" fmla="*/ 1079972 w 1123838"/>
                    <a:gd name="connsiteY9" fmla="*/ 145930 h 541338"/>
                    <a:gd name="connsiteX10" fmla="*/ 1074971 w 1123838"/>
                    <a:gd name="connsiteY10" fmla="*/ 71610 h 541338"/>
                    <a:gd name="connsiteX11" fmla="*/ 1036386 w 1123838"/>
                    <a:gd name="connsiteY11" fmla="*/ 58032 h 541338"/>
                    <a:gd name="connsiteX12" fmla="*/ 999230 w 1123838"/>
                    <a:gd name="connsiteY12" fmla="*/ 75897 h 541338"/>
                    <a:gd name="connsiteX13" fmla="*/ 951356 w 1123838"/>
                    <a:gd name="connsiteY13" fmla="*/ 129494 h 541338"/>
                    <a:gd name="connsiteX14" fmla="*/ 805591 w 1123838"/>
                    <a:gd name="connsiteY14" fmla="*/ 220964 h 541338"/>
                    <a:gd name="connsiteX15" fmla="*/ 608380 w 1123838"/>
                    <a:gd name="connsiteY15" fmla="*/ 210245 h 541338"/>
                    <a:gd name="connsiteX16" fmla="*/ 553360 w 1123838"/>
                    <a:gd name="connsiteY16" fmla="*/ 188092 h 541338"/>
                    <a:gd name="connsiteX17" fmla="*/ 544071 w 1123838"/>
                    <a:gd name="connsiteY17" fmla="*/ 171656 h 541338"/>
                    <a:gd name="connsiteX18" fmla="*/ 557648 w 1123838"/>
                    <a:gd name="connsiteY18" fmla="*/ 158078 h 541338"/>
                    <a:gd name="connsiteX19" fmla="*/ 715560 w 1123838"/>
                    <a:gd name="connsiteY19" fmla="*/ 142357 h 541338"/>
                    <a:gd name="connsiteX20" fmla="*/ 759146 w 1123838"/>
                    <a:gd name="connsiteY20" fmla="*/ 95192 h 541338"/>
                    <a:gd name="connsiteX21" fmla="*/ 713416 w 1123838"/>
                    <a:gd name="connsiteY21" fmla="*/ 47313 h 541338"/>
                    <a:gd name="connsiteX22" fmla="*/ 409739 w 1123838"/>
                    <a:gd name="connsiteY22" fmla="*/ 31591 h 541338"/>
                    <a:gd name="connsiteX23" fmla="*/ 390213 w 1123838"/>
                    <a:gd name="connsiteY23" fmla="*/ 0 h 541338"/>
                    <a:gd name="connsiteX24" fmla="*/ 393786 w 1123838"/>
                    <a:gd name="connsiteY24" fmla="*/ 0 h 541338"/>
                    <a:gd name="connsiteX25" fmla="*/ 396645 w 1123838"/>
                    <a:gd name="connsiteY25" fmla="*/ 0 h 541338"/>
                    <a:gd name="connsiteX26" fmla="*/ 399504 w 1123838"/>
                    <a:gd name="connsiteY26" fmla="*/ 0 h 541338"/>
                    <a:gd name="connsiteX27" fmla="*/ 403077 w 1123838"/>
                    <a:gd name="connsiteY27" fmla="*/ 0 h 541338"/>
                    <a:gd name="connsiteX28" fmla="*/ 410939 w 1123838"/>
                    <a:gd name="connsiteY28" fmla="*/ 0 h 541338"/>
                    <a:gd name="connsiteX29" fmla="*/ 715390 w 1123838"/>
                    <a:gd name="connsiteY29" fmla="*/ 15712 h 541338"/>
                    <a:gd name="connsiteX30" fmla="*/ 780426 w 1123838"/>
                    <a:gd name="connsiteY30" fmla="*/ 56419 h 541338"/>
                    <a:gd name="connsiteX31" fmla="*/ 782570 w 1123838"/>
                    <a:gd name="connsiteY31" fmla="*/ 60704 h 541338"/>
                    <a:gd name="connsiteX32" fmla="*/ 789002 w 1123838"/>
                    <a:gd name="connsiteY32" fmla="*/ 79273 h 541338"/>
                    <a:gd name="connsiteX33" fmla="*/ 790431 w 1123838"/>
                    <a:gd name="connsiteY33" fmla="*/ 94984 h 541338"/>
                    <a:gd name="connsiteX34" fmla="*/ 789716 w 1123838"/>
                    <a:gd name="connsiteY34" fmla="*/ 100698 h 541338"/>
                    <a:gd name="connsiteX35" fmla="*/ 789716 w 1123838"/>
                    <a:gd name="connsiteY35" fmla="*/ 101412 h 541338"/>
                    <a:gd name="connsiteX36" fmla="*/ 789002 w 1123838"/>
                    <a:gd name="connsiteY36" fmla="*/ 107125 h 541338"/>
                    <a:gd name="connsiteX37" fmla="*/ 763988 w 1123838"/>
                    <a:gd name="connsiteY37" fmla="*/ 154260 h 541338"/>
                    <a:gd name="connsiteX38" fmla="*/ 763273 w 1123838"/>
                    <a:gd name="connsiteY38" fmla="*/ 154260 h 541338"/>
                    <a:gd name="connsiteX39" fmla="*/ 758985 w 1123838"/>
                    <a:gd name="connsiteY39" fmla="*/ 157831 h 541338"/>
                    <a:gd name="connsiteX40" fmla="*/ 754697 w 1123838"/>
                    <a:gd name="connsiteY40" fmla="*/ 160688 h 541338"/>
                    <a:gd name="connsiteX41" fmla="*/ 753983 w 1123838"/>
                    <a:gd name="connsiteY41" fmla="*/ 161402 h 541338"/>
                    <a:gd name="connsiteX42" fmla="*/ 749695 w 1123838"/>
                    <a:gd name="connsiteY42" fmla="*/ 164258 h 541338"/>
                    <a:gd name="connsiteX43" fmla="*/ 748265 w 1123838"/>
                    <a:gd name="connsiteY43" fmla="*/ 164973 h 541338"/>
                    <a:gd name="connsiteX44" fmla="*/ 743263 w 1123838"/>
                    <a:gd name="connsiteY44" fmla="*/ 167115 h 541338"/>
                    <a:gd name="connsiteX45" fmla="*/ 742548 w 1123838"/>
                    <a:gd name="connsiteY45" fmla="*/ 167829 h 541338"/>
                    <a:gd name="connsiteX46" fmla="*/ 738260 w 1123838"/>
                    <a:gd name="connsiteY46" fmla="*/ 169258 h 541338"/>
                    <a:gd name="connsiteX47" fmla="*/ 718964 w 1123838"/>
                    <a:gd name="connsiteY47" fmla="*/ 173543 h 541338"/>
                    <a:gd name="connsiteX48" fmla="*/ 624626 w 1123838"/>
                    <a:gd name="connsiteY48" fmla="*/ 182827 h 541338"/>
                    <a:gd name="connsiteX49" fmla="*/ 743263 w 1123838"/>
                    <a:gd name="connsiteY49" fmla="*/ 199967 h 541338"/>
                    <a:gd name="connsiteX50" fmla="*/ 775423 w 1123838"/>
                    <a:gd name="connsiteY50" fmla="*/ 195682 h 541338"/>
                    <a:gd name="connsiteX51" fmla="*/ 785428 w 1123838"/>
                    <a:gd name="connsiteY51" fmla="*/ 193539 h 541338"/>
                    <a:gd name="connsiteX52" fmla="*/ 786858 w 1123838"/>
                    <a:gd name="connsiteY52" fmla="*/ 192825 h 541338"/>
                    <a:gd name="connsiteX53" fmla="*/ 796863 w 1123838"/>
                    <a:gd name="connsiteY53" fmla="*/ 190683 h 541338"/>
                    <a:gd name="connsiteX54" fmla="*/ 826880 w 1123838"/>
                    <a:gd name="connsiteY54" fmla="*/ 179970 h 541338"/>
                    <a:gd name="connsiteX55" fmla="*/ 909782 w 1123838"/>
                    <a:gd name="connsiteY55" fmla="*/ 127122 h 541338"/>
                    <a:gd name="connsiteX56" fmla="*/ 928363 w 1123838"/>
                    <a:gd name="connsiteY56" fmla="*/ 108553 h 541338"/>
                    <a:gd name="connsiteX57" fmla="*/ 975532 w 1123838"/>
                    <a:gd name="connsiteY57" fmla="*/ 54991 h 541338"/>
                    <a:gd name="connsiteX58" fmla="*/ 978391 w 1123838"/>
                    <a:gd name="connsiteY58" fmla="*/ 51420 h 541338"/>
                    <a:gd name="connsiteX59" fmla="*/ 979105 w 1123838"/>
                    <a:gd name="connsiteY59" fmla="*/ 51420 h 541338"/>
                    <a:gd name="connsiteX60" fmla="*/ 1034135 w 1123838"/>
                    <a:gd name="connsiteY60" fmla="*/ 26424 h 541338"/>
                    <a:gd name="connsiteX61" fmla="*/ 1034850 w 1123838"/>
                    <a:gd name="connsiteY61" fmla="*/ 26424 h 541338"/>
                    <a:gd name="connsiteX62" fmla="*/ 1039138 w 1123838"/>
                    <a:gd name="connsiteY62" fmla="*/ 26424 h 541338"/>
                    <a:gd name="connsiteX63" fmla="*/ 1040567 w 1123838"/>
                    <a:gd name="connsiteY63" fmla="*/ 26424 h 541338"/>
                    <a:gd name="connsiteX64" fmla="*/ 1079875 w 1123838"/>
                    <a:gd name="connsiteY64" fmla="*/ 37137 h 541338"/>
                    <a:gd name="connsiteX65" fmla="*/ 1083448 w 1123838"/>
                    <a:gd name="connsiteY65" fmla="*/ 39279 h 541338"/>
                    <a:gd name="connsiteX66" fmla="*/ 1086307 w 1123838"/>
                    <a:gd name="connsiteY66" fmla="*/ 40708 h 541338"/>
                    <a:gd name="connsiteX67" fmla="*/ 1087021 w 1123838"/>
                    <a:gd name="connsiteY67" fmla="*/ 41422 h 541338"/>
                    <a:gd name="connsiteX68" fmla="*/ 1089880 w 1123838"/>
                    <a:gd name="connsiteY68" fmla="*/ 43564 h 541338"/>
                    <a:gd name="connsiteX69" fmla="*/ 1090595 w 1123838"/>
                    <a:gd name="connsiteY69" fmla="*/ 44278 h 541338"/>
                    <a:gd name="connsiteX70" fmla="*/ 1092739 w 1123838"/>
                    <a:gd name="connsiteY70" fmla="*/ 45707 h 541338"/>
                    <a:gd name="connsiteX71" fmla="*/ 1095597 w 1123838"/>
                    <a:gd name="connsiteY71" fmla="*/ 47849 h 541338"/>
                    <a:gd name="connsiteX72" fmla="*/ 1095597 w 1123838"/>
                    <a:gd name="connsiteY72" fmla="*/ 48563 h 541338"/>
                    <a:gd name="connsiteX73" fmla="*/ 1103459 w 1123838"/>
                    <a:gd name="connsiteY73" fmla="*/ 165687 h 541338"/>
                    <a:gd name="connsiteX74" fmla="*/ 1072013 w 1123838"/>
                    <a:gd name="connsiteY74" fmla="*/ 203538 h 541338"/>
                    <a:gd name="connsiteX75" fmla="*/ 966241 w 1123838"/>
                    <a:gd name="connsiteY75" fmla="*/ 299950 h 541338"/>
                    <a:gd name="connsiteX76" fmla="*/ 956950 w 1123838"/>
                    <a:gd name="connsiteY76" fmla="*/ 306377 h 541338"/>
                    <a:gd name="connsiteX77" fmla="*/ 948374 w 1123838"/>
                    <a:gd name="connsiteY77" fmla="*/ 312091 h 541338"/>
                    <a:gd name="connsiteX78" fmla="*/ 806154 w 1123838"/>
                    <a:gd name="connsiteY78" fmla="*/ 379222 h 541338"/>
                    <a:gd name="connsiteX79" fmla="*/ 792575 w 1123838"/>
                    <a:gd name="connsiteY79" fmla="*/ 383507 h 541338"/>
                    <a:gd name="connsiteX80" fmla="*/ 788287 w 1123838"/>
                    <a:gd name="connsiteY80" fmla="*/ 384222 h 541338"/>
                    <a:gd name="connsiteX81" fmla="*/ 779711 w 1123838"/>
                    <a:gd name="connsiteY81" fmla="*/ 387078 h 541338"/>
                    <a:gd name="connsiteX82" fmla="*/ 773994 w 1123838"/>
                    <a:gd name="connsiteY82" fmla="*/ 388507 h 541338"/>
                    <a:gd name="connsiteX83" fmla="*/ 766132 w 1123838"/>
                    <a:gd name="connsiteY83" fmla="*/ 389935 h 541338"/>
                    <a:gd name="connsiteX84" fmla="*/ 759700 w 1123838"/>
                    <a:gd name="connsiteY84" fmla="*/ 392077 h 541338"/>
                    <a:gd name="connsiteX85" fmla="*/ 753983 w 1123838"/>
                    <a:gd name="connsiteY85" fmla="*/ 392792 h 541338"/>
                    <a:gd name="connsiteX86" fmla="*/ 724681 w 1123838"/>
                    <a:gd name="connsiteY86" fmla="*/ 399219 h 541338"/>
                    <a:gd name="connsiteX87" fmla="*/ 721822 w 1123838"/>
                    <a:gd name="connsiteY87" fmla="*/ 399219 h 541338"/>
                    <a:gd name="connsiteX88" fmla="*/ 711102 w 1123838"/>
                    <a:gd name="connsiteY88" fmla="*/ 401362 h 541338"/>
                    <a:gd name="connsiteX89" fmla="*/ 709673 w 1123838"/>
                    <a:gd name="connsiteY89" fmla="*/ 401362 h 541338"/>
                    <a:gd name="connsiteX90" fmla="*/ 650355 w 1123838"/>
                    <a:gd name="connsiteY90" fmla="*/ 407789 h 541338"/>
                    <a:gd name="connsiteX91" fmla="*/ 648211 w 1123838"/>
                    <a:gd name="connsiteY91" fmla="*/ 407789 h 541338"/>
                    <a:gd name="connsiteX92" fmla="*/ 637491 w 1123838"/>
                    <a:gd name="connsiteY92" fmla="*/ 408503 h 541338"/>
                    <a:gd name="connsiteX93" fmla="*/ 635347 w 1123838"/>
                    <a:gd name="connsiteY93" fmla="*/ 408503 h 541338"/>
                    <a:gd name="connsiteX94" fmla="*/ 621053 w 1123838"/>
                    <a:gd name="connsiteY94" fmla="*/ 408503 h 541338"/>
                    <a:gd name="connsiteX95" fmla="*/ 620338 w 1123838"/>
                    <a:gd name="connsiteY95" fmla="*/ 408503 h 541338"/>
                    <a:gd name="connsiteX96" fmla="*/ 612477 w 1123838"/>
                    <a:gd name="connsiteY96" fmla="*/ 408503 h 541338"/>
                    <a:gd name="connsiteX97" fmla="*/ 606045 w 1123838"/>
                    <a:gd name="connsiteY97" fmla="*/ 408503 h 541338"/>
                    <a:gd name="connsiteX98" fmla="*/ 598898 w 1123838"/>
                    <a:gd name="connsiteY98" fmla="*/ 408503 h 541338"/>
                    <a:gd name="connsiteX99" fmla="*/ 592466 w 1123838"/>
                    <a:gd name="connsiteY99" fmla="*/ 408503 h 541338"/>
                    <a:gd name="connsiteX100" fmla="*/ 584605 w 1123838"/>
                    <a:gd name="connsiteY100" fmla="*/ 407789 h 541338"/>
                    <a:gd name="connsiteX101" fmla="*/ 578887 w 1123838"/>
                    <a:gd name="connsiteY101" fmla="*/ 407789 h 541338"/>
                    <a:gd name="connsiteX102" fmla="*/ 566738 w 1123838"/>
                    <a:gd name="connsiteY102" fmla="*/ 407075 h 541338"/>
                    <a:gd name="connsiteX103" fmla="*/ 566023 w 1123838"/>
                    <a:gd name="connsiteY103" fmla="*/ 407075 h 541338"/>
                    <a:gd name="connsiteX104" fmla="*/ 485265 w 1123838"/>
                    <a:gd name="connsiteY104" fmla="*/ 401362 h 541338"/>
                    <a:gd name="connsiteX105" fmla="*/ 416656 w 1123838"/>
                    <a:gd name="connsiteY105" fmla="*/ 396362 h 541338"/>
                    <a:gd name="connsiteX106" fmla="*/ 410939 w 1123838"/>
                    <a:gd name="connsiteY106" fmla="*/ 396362 h 541338"/>
                    <a:gd name="connsiteX107" fmla="*/ 407365 w 1123838"/>
                    <a:gd name="connsiteY107" fmla="*/ 396362 h 541338"/>
                    <a:gd name="connsiteX108" fmla="*/ 393072 w 1123838"/>
                    <a:gd name="connsiteY108" fmla="*/ 397791 h 541338"/>
                    <a:gd name="connsiteX109" fmla="*/ 388784 w 1123838"/>
                    <a:gd name="connsiteY109" fmla="*/ 398505 h 541338"/>
                    <a:gd name="connsiteX110" fmla="*/ 388784 w 1123838"/>
                    <a:gd name="connsiteY110" fmla="*/ 399219 h 541338"/>
                    <a:gd name="connsiteX111" fmla="*/ 384496 w 1123838"/>
                    <a:gd name="connsiteY111" fmla="*/ 399933 h 541338"/>
                    <a:gd name="connsiteX112" fmla="*/ 383781 w 1123838"/>
                    <a:gd name="connsiteY112" fmla="*/ 400647 h 541338"/>
                    <a:gd name="connsiteX113" fmla="*/ 379493 w 1123838"/>
                    <a:gd name="connsiteY113" fmla="*/ 402076 h 541338"/>
                    <a:gd name="connsiteX114" fmla="*/ 21441 w 1123838"/>
                    <a:gd name="connsiteY114" fmla="*/ 540624 h 541338"/>
                    <a:gd name="connsiteX115" fmla="*/ 15723 w 1123838"/>
                    <a:gd name="connsiteY115" fmla="*/ 541338 h 541338"/>
                    <a:gd name="connsiteX116" fmla="*/ 7147 w 1123838"/>
                    <a:gd name="connsiteY116" fmla="*/ 538481 h 541338"/>
                    <a:gd name="connsiteX117" fmla="*/ 0 w 1123838"/>
                    <a:gd name="connsiteY117" fmla="*/ 525626 h 541338"/>
                    <a:gd name="connsiteX118" fmla="*/ 0 w 1123838"/>
                    <a:gd name="connsiteY118" fmla="*/ 209251 h 541338"/>
                    <a:gd name="connsiteX119" fmla="*/ 7862 w 1123838"/>
                    <a:gd name="connsiteY119" fmla="*/ 195682 h 541338"/>
                    <a:gd name="connsiteX120" fmla="*/ 310169 w 1123838"/>
                    <a:gd name="connsiteY120" fmla="*/ 24282 h 541338"/>
                    <a:gd name="connsiteX121" fmla="*/ 315887 w 1123838"/>
                    <a:gd name="connsiteY121" fmla="*/ 21425 h 541338"/>
                    <a:gd name="connsiteX122" fmla="*/ 318031 w 1123838"/>
                    <a:gd name="connsiteY122" fmla="*/ 19997 h 541338"/>
                    <a:gd name="connsiteX123" fmla="*/ 320889 w 1123838"/>
                    <a:gd name="connsiteY123" fmla="*/ 18568 h 541338"/>
                    <a:gd name="connsiteX124" fmla="*/ 324463 w 1123838"/>
                    <a:gd name="connsiteY124" fmla="*/ 17140 h 541338"/>
                    <a:gd name="connsiteX125" fmla="*/ 326607 w 1123838"/>
                    <a:gd name="connsiteY125" fmla="*/ 15712 h 541338"/>
                    <a:gd name="connsiteX126" fmla="*/ 330180 w 1123838"/>
                    <a:gd name="connsiteY126" fmla="*/ 14283 h 541338"/>
                    <a:gd name="connsiteX127" fmla="*/ 332324 w 1123838"/>
                    <a:gd name="connsiteY127" fmla="*/ 13569 h 541338"/>
                    <a:gd name="connsiteX128" fmla="*/ 336612 w 1123838"/>
                    <a:gd name="connsiteY128" fmla="*/ 12141 h 541338"/>
                    <a:gd name="connsiteX129" fmla="*/ 338042 w 1123838"/>
                    <a:gd name="connsiteY129" fmla="*/ 11427 h 541338"/>
                    <a:gd name="connsiteX130" fmla="*/ 342330 w 1123838"/>
                    <a:gd name="connsiteY130" fmla="*/ 9998 h 541338"/>
                    <a:gd name="connsiteX131" fmla="*/ 343044 w 1123838"/>
                    <a:gd name="connsiteY131" fmla="*/ 9284 h 541338"/>
                    <a:gd name="connsiteX132" fmla="*/ 348047 w 1123838"/>
                    <a:gd name="connsiteY132" fmla="*/ 7856 h 541338"/>
                    <a:gd name="connsiteX133" fmla="*/ 348762 w 1123838"/>
                    <a:gd name="connsiteY133" fmla="*/ 7856 h 541338"/>
                    <a:gd name="connsiteX134" fmla="*/ 382352 w 1123838"/>
                    <a:gd name="connsiteY134" fmla="*/ 714 h 541338"/>
                    <a:gd name="connsiteX135" fmla="*/ 383781 w 1123838"/>
                    <a:gd name="connsiteY135" fmla="*/ 714 h 541338"/>
                    <a:gd name="connsiteX136" fmla="*/ 387354 w 1123838"/>
                    <a:gd name="connsiteY136" fmla="*/ 714 h 541338"/>
                    <a:gd name="connsiteX137" fmla="*/ 390213 w 1123838"/>
                    <a:gd name="connsiteY137" fmla="*/ 0 h 5413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</a:cxnLst>
                  <a:rect l="l" t="t" r="r" b="b"/>
                  <a:pathLst>
                    <a:path w="1123838" h="541338">
                      <a:moveTo>
                        <a:pt x="409739" y="31591"/>
                      </a:moveTo>
                      <a:cubicBezTo>
                        <a:pt x="380443" y="30162"/>
                        <a:pt x="351147" y="37308"/>
                        <a:pt x="326138" y="51601"/>
                      </a:cubicBezTo>
                      <a:cubicBezTo>
                        <a:pt x="326138" y="51601"/>
                        <a:pt x="326138" y="51601"/>
                        <a:pt x="31750" y="218820"/>
                      </a:cubicBezTo>
                      <a:cubicBezTo>
                        <a:pt x="31750" y="218820"/>
                        <a:pt x="31750" y="218820"/>
                        <a:pt x="31750" y="503237"/>
                      </a:cubicBezTo>
                      <a:cubicBezTo>
                        <a:pt x="31750" y="503237"/>
                        <a:pt x="31750" y="503237"/>
                        <a:pt x="368296" y="373177"/>
                      </a:cubicBezTo>
                      <a:cubicBezTo>
                        <a:pt x="384730" y="366746"/>
                        <a:pt x="401879" y="363887"/>
                        <a:pt x="419028" y="365316"/>
                      </a:cubicBezTo>
                      <a:cubicBezTo>
                        <a:pt x="419028" y="365316"/>
                        <a:pt x="419028" y="365316"/>
                        <a:pt x="568366" y="376036"/>
                      </a:cubicBezTo>
                      <a:cubicBezTo>
                        <a:pt x="645535" y="381753"/>
                        <a:pt x="722705" y="372463"/>
                        <a:pt x="797017" y="349595"/>
                      </a:cubicBezTo>
                      <a:cubicBezTo>
                        <a:pt x="894908" y="318867"/>
                        <a:pt x="981367" y="261697"/>
                        <a:pt x="1047818" y="183090"/>
                      </a:cubicBezTo>
                      <a:cubicBezTo>
                        <a:pt x="1047818" y="183090"/>
                        <a:pt x="1047818" y="183090"/>
                        <a:pt x="1079972" y="145930"/>
                      </a:cubicBezTo>
                      <a:cubicBezTo>
                        <a:pt x="1098550" y="123777"/>
                        <a:pt x="1096407" y="90904"/>
                        <a:pt x="1074971" y="71610"/>
                      </a:cubicBezTo>
                      <a:cubicBezTo>
                        <a:pt x="1064253" y="62320"/>
                        <a:pt x="1050676" y="57317"/>
                        <a:pt x="1036386" y="58032"/>
                      </a:cubicBezTo>
                      <a:cubicBezTo>
                        <a:pt x="1022095" y="58747"/>
                        <a:pt x="1008519" y="65178"/>
                        <a:pt x="999230" y="75897"/>
                      </a:cubicBezTo>
                      <a:cubicBezTo>
                        <a:pt x="999230" y="75897"/>
                        <a:pt x="999230" y="75897"/>
                        <a:pt x="951356" y="129494"/>
                      </a:cubicBezTo>
                      <a:cubicBezTo>
                        <a:pt x="912771" y="173800"/>
                        <a:pt x="862039" y="205243"/>
                        <a:pt x="805591" y="220964"/>
                      </a:cubicBezTo>
                      <a:cubicBezTo>
                        <a:pt x="740568" y="239544"/>
                        <a:pt x="670544" y="235257"/>
                        <a:pt x="608380" y="210245"/>
                      </a:cubicBezTo>
                      <a:cubicBezTo>
                        <a:pt x="608380" y="210245"/>
                        <a:pt x="608380" y="210245"/>
                        <a:pt x="553360" y="188092"/>
                      </a:cubicBezTo>
                      <a:cubicBezTo>
                        <a:pt x="546930" y="185234"/>
                        <a:pt x="542642" y="178802"/>
                        <a:pt x="544071" y="171656"/>
                      </a:cubicBezTo>
                      <a:cubicBezTo>
                        <a:pt x="544786" y="164510"/>
                        <a:pt x="550502" y="158793"/>
                        <a:pt x="557648" y="158078"/>
                      </a:cubicBezTo>
                      <a:cubicBezTo>
                        <a:pt x="557648" y="158078"/>
                        <a:pt x="557648" y="158078"/>
                        <a:pt x="715560" y="142357"/>
                      </a:cubicBezTo>
                      <a:cubicBezTo>
                        <a:pt x="740568" y="140213"/>
                        <a:pt x="759146" y="119489"/>
                        <a:pt x="759146" y="95192"/>
                      </a:cubicBezTo>
                      <a:cubicBezTo>
                        <a:pt x="759146" y="69466"/>
                        <a:pt x="739139" y="48742"/>
                        <a:pt x="713416" y="47313"/>
                      </a:cubicBezTo>
                      <a:cubicBezTo>
                        <a:pt x="713416" y="47313"/>
                        <a:pt x="713416" y="47313"/>
                        <a:pt x="409739" y="31591"/>
                      </a:cubicBezTo>
                      <a:close/>
                      <a:moveTo>
                        <a:pt x="390213" y="0"/>
                      </a:moveTo>
                      <a:cubicBezTo>
                        <a:pt x="391642" y="0"/>
                        <a:pt x="392357" y="0"/>
                        <a:pt x="393786" y="0"/>
                      </a:cubicBezTo>
                      <a:cubicBezTo>
                        <a:pt x="394501" y="0"/>
                        <a:pt x="395930" y="0"/>
                        <a:pt x="396645" y="0"/>
                      </a:cubicBezTo>
                      <a:cubicBezTo>
                        <a:pt x="398074" y="0"/>
                        <a:pt x="398789" y="0"/>
                        <a:pt x="399504" y="0"/>
                      </a:cubicBezTo>
                      <a:cubicBezTo>
                        <a:pt x="400933" y="0"/>
                        <a:pt x="401648" y="0"/>
                        <a:pt x="403077" y="0"/>
                      </a:cubicBezTo>
                      <a:cubicBezTo>
                        <a:pt x="405221" y="0"/>
                        <a:pt x="408080" y="0"/>
                        <a:pt x="410939" y="0"/>
                      </a:cubicBezTo>
                      <a:cubicBezTo>
                        <a:pt x="410939" y="0"/>
                        <a:pt x="410939" y="0"/>
                        <a:pt x="715390" y="15712"/>
                      </a:cubicBezTo>
                      <a:cubicBezTo>
                        <a:pt x="743263" y="17140"/>
                        <a:pt x="766847" y="33566"/>
                        <a:pt x="780426" y="56419"/>
                      </a:cubicBezTo>
                      <a:cubicBezTo>
                        <a:pt x="781140" y="57848"/>
                        <a:pt x="781855" y="59276"/>
                        <a:pt x="782570" y="60704"/>
                      </a:cubicBezTo>
                      <a:cubicBezTo>
                        <a:pt x="785428" y="66418"/>
                        <a:pt x="787572" y="72845"/>
                        <a:pt x="789002" y="79273"/>
                      </a:cubicBezTo>
                      <a:cubicBezTo>
                        <a:pt x="789716" y="84272"/>
                        <a:pt x="790431" y="89271"/>
                        <a:pt x="790431" y="94984"/>
                      </a:cubicBezTo>
                      <a:cubicBezTo>
                        <a:pt x="790431" y="97127"/>
                        <a:pt x="790431" y="98555"/>
                        <a:pt x="789716" y="100698"/>
                      </a:cubicBezTo>
                      <a:cubicBezTo>
                        <a:pt x="789716" y="100698"/>
                        <a:pt x="789716" y="101412"/>
                        <a:pt x="789716" y="101412"/>
                      </a:cubicBezTo>
                      <a:cubicBezTo>
                        <a:pt x="789716" y="103554"/>
                        <a:pt x="789716" y="104983"/>
                        <a:pt x="789002" y="107125"/>
                      </a:cubicBezTo>
                      <a:cubicBezTo>
                        <a:pt x="786143" y="125693"/>
                        <a:pt x="776852" y="142119"/>
                        <a:pt x="763988" y="154260"/>
                      </a:cubicBezTo>
                      <a:cubicBezTo>
                        <a:pt x="763988" y="154260"/>
                        <a:pt x="763273" y="154260"/>
                        <a:pt x="763273" y="154260"/>
                      </a:cubicBezTo>
                      <a:cubicBezTo>
                        <a:pt x="761844" y="155688"/>
                        <a:pt x="760415" y="156403"/>
                        <a:pt x="758985" y="157831"/>
                      </a:cubicBezTo>
                      <a:cubicBezTo>
                        <a:pt x="757556" y="159259"/>
                        <a:pt x="756127" y="159973"/>
                        <a:pt x="754697" y="160688"/>
                      </a:cubicBezTo>
                      <a:cubicBezTo>
                        <a:pt x="753983" y="161402"/>
                        <a:pt x="753983" y="161402"/>
                        <a:pt x="753983" y="161402"/>
                      </a:cubicBezTo>
                      <a:cubicBezTo>
                        <a:pt x="752553" y="162116"/>
                        <a:pt x="751124" y="163544"/>
                        <a:pt x="749695" y="164258"/>
                      </a:cubicBezTo>
                      <a:cubicBezTo>
                        <a:pt x="748980" y="164258"/>
                        <a:pt x="748265" y="164258"/>
                        <a:pt x="748265" y="164973"/>
                      </a:cubicBezTo>
                      <a:cubicBezTo>
                        <a:pt x="746836" y="165687"/>
                        <a:pt x="745407" y="166401"/>
                        <a:pt x="743263" y="167115"/>
                      </a:cubicBezTo>
                      <a:cubicBezTo>
                        <a:pt x="743263" y="167115"/>
                        <a:pt x="742548" y="167115"/>
                        <a:pt x="742548" y="167829"/>
                      </a:cubicBezTo>
                      <a:cubicBezTo>
                        <a:pt x="741118" y="167829"/>
                        <a:pt x="739689" y="168543"/>
                        <a:pt x="738260" y="169258"/>
                      </a:cubicBezTo>
                      <a:cubicBezTo>
                        <a:pt x="731828" y="171400"/>
                        <a:pt x="725396" y="172828"/>
                        <a:pt x="718964" y="173543"/>
                      </a:cubicBezTo>
                      <a:cubicBezTo>
                        <a:pt x="718964" y="173543"/>
                        <a:pt x="718964" y="173543"/>
                        <a:pt x="624626" y="182827"/>
                      </a:cubicBezTo>
                      <a:cubicBezTo>
                        <a:pt x="662504" y="197110"/>
                        <a:pt x="703241" y="202823"/>
                        <a:pt x="743263" y="199967"/>
                      </a:cubicBezTo>
                      <a:cubicBezTo>
                        <a:pt x="753983" y="199253"/>
                        <a:pt x="764703" y="197824"/>
                        <a:pt x="775423" y="195682"/>
                      </a:cubicBezTo>
                      <a:cubicBezTo>
                        <a:pt x="778996" y="194968"/>
                        <a:pt x="781855" y="194253"/>
                        <a:pt x="785428" y="193539"/>
                      </a:cubicBezTo>
                      <a:cubicBezTo>
                        <a:pt x="786143" y="193539"/>
                        <a:pt x="786143" y="193539"/>
                        <a:pt x="786858" y="192825"/>
                      </a:cubicBezTo>
                      <a:cubicBezTo>
                        <a:pt x="790431" y="192111"/>
                        <a:pt x="793290" y="191397"/>
                        <a:pt x="796863" y="190683"/>
                      </a:cubicBezTo>
                      <a:cubicBezTo>
                        <a:pt x="806869" y="187826"/>
                        <a:pt x="816874" y="184255"/>
                        <a:pt x="826880" y="179970"/>
                      </a:cubicBezTo>
                      <a:cubicBezTo>
                        <a:pt x="857611" y="167829"/>
                        <a:pt x="885483" y="149975"/>
                        <a:pt x="909782" y="127122"/>
                      </a:cubicBezTo>
                      <a:cubicBezTo>
                        <a:pt x="916214" y="121408"/>
                        <a:pt x="921931" y="114981"/>
                        <a:pt x="928363" y="108553"/>
                      </a:cubicBezTo>
                      <a:cubicBezTo>
                        <a:pt x="928363" y="108553"/>
                        <a:pt x="928363" y="108553"/>
                        <a:pt x="975532" y="54991"/>
                      </a:cubicBezTo>
                      <a:cubicBezTo>
                        <a:pt x="976961" y="53563"/>
                        <a:pt x="977676" y="52848"/>
                        <a:pt x="978391" y="51420"/>
                      </a:cubicBezTo>
                      <a:cubicBezTo>
                        <a:pt x="979105" y="51420"/>
                        <a:pt x="979105" y="51420"/>
                        <a:pt x="979105" y="51420"/>
                      </a:cubicBezTo>
                      <a:cubicBezTo>
                        <a:pt x="994114" y="36423"/>
                        <a:pt x="1013410" y="27853"/>
                        <a:pt x="1034135" y="26424"/>
                      </a:cubicBezTo>
                      <a:cubicBezTo>
                        <a:pt x="1034850" y="26424"/>
                        <a:pt x="1034850" y="26424"/>
                        <a:pt x="1034850" y="26424"/>
                      </a:cubicBezTo>
                      <a:cubicBezTo>
                        <a:pt x="1036279" y="26424"/>
                        <a:pt x="1037709" y="26424"/>
                        <a:pt x="1039138" y="26424"/>
                      </a:cubicBezTo>
                      <a:cubicBezTo>
                        <a:pt x="1039138" y="26424"/>
                        <a:pt x="1039853" y="26424"/>
                        <a:pt x="1040567" y="26424"/>
                      </a:cubicBezTo>
                      <a:cubicBezTo>
                        <a:pt x="1054146" y="26424"/>
                        <a:pt x="1067725" y="30709"/>
                        <a:pt x="1079875" y="37137"/>
                      </a:cubicBezTo>
                      <a:cubicBezTo>
                        <a:pt x="1081304" y="37851"/>
                        <a:pt x="1082019" y="38565"/>
                        <a:pt x="1083448" y="39279"/>
                      </a:cubicBezTo>
                      <a:cubicBezTo>
                        <a:pt x="1084877" y="39993"/>
                        <a:pt x="1085592" y="40708"/>
                        <a:pt x="1086307" y="40708"/>
                      </a:cubicBezTo>
                      <a:cubicBezTo>
                        <a:pt x="1087021" y="41422"/>
                        <a:pt x="1087021" y="41422"/>
                        <a:pt x="1087021" y="41422"/>
                      </a:cubicBezTo>
                      <a:cubicBezTo>
                        <a:pt x="1087736" y="42136"/>
                        <a:pt x="1089165" y="42850"/>
                        <a:pt x="1089880" y="43564"/>
                      </a:cubicBezTo>
                      <a:cubicBezTo>
                        <a:pt x="1089880" y="43564"/>
                        <a:pt x="1090595" y="44278"/>
                        <a:pt x="1090595" y="44278"/>
                      </a:cubicBezTo>
                      <a:cubicBezTo>
                        <a:pt x="1091309" y="44993"/>
                        <a:pt x="1092024" y="44993"/>
                        <a:pt x="1092739" y="45707"/>
                      </a:cubicBezTo>
                      <a:cubicBezTo>
                        <a:pt x="1093453" y="46421"/>
                        <a:pt x="1094168" y="47135"/>
                        <a:pt x="1095597" y="47849"/>
                      </a:cubicBezTo>
                      <a:cubicBezTo>
                        <a:pt x="1095597" y="47849"/>
                        <a:pt x="1095597" y="48563"/>
                        <a:pt x="1095597" y="48563"/>
                      </a:cubicBezTo>
                      <a:cubicBezTo>
                        <a:pt x="1129902" y="79273"/>
                        <a:pt x="1133475" y="130693"/>
                        <a:pt x="1103459" y="165687"/>
                      </a:cubicBezTo>
                      <a:cubicBezTo>
                        <a:pt x="1103459" y="165687"/>
                        <a:pt x="1103459" y="165687"/>
                        <a:pt x="1072013" y="203538"/>
                      </a:cubicBezTo>
                      <a:cubicBezTo>
                        <a:pt x="1040567" y="239960"/>
                        <a:pt x="1004834" y="272812"/>
                        <a:pt x="966241" y="299950"/>
                      </a:cubicBezTo>
                      <a:cubicBezTo>
                        <a:pt x="963383" y="302092"/>
                        <a:pt x="959809" y="304235"/>
                        <a:pt x="956950" y="306377"/>
                      </a:cubicBezTo>
                      <a:cubicBezTo>
                        <a:pt x="954092" y="308520"/>
                        <a:pt x="951233" y="310662"/>
                        <a:pt x="948374" y="312091"/>
                      </a:cubicBezTo>
                      <a:cubicBezTo>
                        <a:pt x="904779" y="340657"/>
                        <a:pt x="856896" y="363511"/>
                        <a:pt x="806154" y="379222"/>
                      </a:cubicBezTo>
                      <a:cubicBezTo>
                        <a:pt x="801866" y="380651"/>
                        <a:pt x="797578" y="382079"/>
                        <a:pt x="792575" y="383507"/>
                      </a:cubicBezTo>
                      <a:cubicBezTo>
                        <a:pt x="791146" y="383507"/>
                        <a:pt x="789716" y="384222"/>
                        <a:pt x="788287" y="384222"/>
                      </a:cubicBezTo>
                      <a:cubicBezTo>
                        <a:pt x="785428" y="384936"/>
                        <a:pt x="782570" y="386364"/>
                        <a:pt x="779711" y="387078"/>
                      </a:cubicBezTo>
                      <a:cubicBezTo>
                        <a:pt x="777567" y="387078"/>
                        <a:pt x="775423" y="387792"/>
                        <a:pt x="773994" y="388507"/>
                      </a:cubicBezTo>
                      <a:cubicBezTo>
                        <a:pt x="771135" y="389221"/>
                        <a:pt x="768991" y="389221"/>
                        <a:pt x="766132" y="389935"/>
                      </a:cubicBezTo>
                      <a:cubicBezTo>
                        <a:pt x="763988" y="390649"/>
                        <a:pt x="761844" y="391363"/>
                        <a:pt x="759700" y="392077"/>
                      </a:cubicBezTo>
                      <a:cubicBezTo>
                        <a:pt x="757556" y="392077"/>
                        <a:pt x="756127" y="392792"/>
                        <a:pt x="753983" y="392792"/>
                      </a:cubicBezTo>
                      <a:cubicBezTo>
                        <a:pt x="743977" y="394934"/>
                        <a:pt x="733972" y="397077"/>
                        <a:pt x="724681" y="399219"/>
                      </a:cubicBezTo>
                      <a:cubicBezTo>
                        <a:pt x="723252" y="399219"/>
                        <a:pt x="722537" y="399219"/>
                        <a:pt x="721822" y="399219"/>
                      </a:cubicBezTo>
                      <a:cubicBezTo>
                        <a:pt x="718249" y="399933"/>
                        <a:pt x="714676" y="400647"/>
                        <a:pt x="711102" y="401362"/>
                      </a:cubicBezTo>
                      <a:cubicBezTo>
                        <a:pt x="710387" y="401362"/>
                        <a:pt x="710387" y="401362"/>
                        <a:pt x="709673" y="401362"/>
                      </a:cubicBezTo>
                      <a:cubicBezTo>
                        <a:pt x="689662" y="404218"/>
                        <a:pt x="670366" y="406361"/>
                        <a:pt x="650355" y="407789"/>
                      </a:cubicBezTo>
                      <a:cubicBezTo>
                        <a:pt x="649640" y="407789"/>
                        <a:pt x="648925" y="407789"/>
                        <a:pt x="648211" y="407789"/>
                      </a:cubicBezTo>
                      <a:cubicBezTo>
                        <a:pt x="644637" y="407789"/>
                        <a:pt x="641064" y="407789"/>
                        <a:pt x="637491" y="408503"/>
                      </a:cubicBezTo>
                      <a:cubicBezTo>
                        <a:pt x="636776" y="408503"/>
                        <a:pt x="636061" y="408503"/>
                        <a:pt x="635347" y="408503"/>
                      </a:cubicBezTo>
                      <a:cubicBezTo>
                        <a:pt x="630344" y="408503"/>
                        <a:pt x="626056" y="408503"/>
                        <a:pt x="621053" y="408503"/>
                      </a:cubicBezTo>
                      <a:cubicBezTo>
                        <a:pt x="621053" y="408503"/>
                        <a:pt x="620338" y="408503"/>
                        <a:pt x="620338" y="408503"/>
                      </a:cubicBezTo>
                      <a:cubicBezTo>
                        <a:pt x="617480" y="408503"/>
                        <a:pt x="614621" y="408503"/>
                        <a:pt x="612477" y="408503"/>
                      </a:cubicBezTo>
                      <a:cubicBezTo>
                        <a:pt x="610333" y="408503"/>
                        <a:pt x="608189" y="408503"/>
                        <a:pt x="606045" y="408503"/>
                      </a:cubicBezTo>
                      <a:cubicBezTo>
                        <a:pt x="603901" y="408503"/>
                        <a:pt x="601042" y="408503"/>
                        <a:pt x="598898" y="408503"/>
                      </a:cubicBezTo>
                      <a:cubicBezTo>
                        <a:pt x="596754" y="408503"/>
                        <a:pt x="594610" y="408503"/>
                        <a:pt x="592466" y="408503"/>
                      </a:cubicBezTo>
                      <a:cubicBezTo>
                        <a:pt x="589607" y="408503"/>
                        <a:pt x="587463" y="408503"/>
                        <a:pt x="584605" y="407789"/>
                      </a:cubicBezTo>
                      <a:cubicBezTo>
                        <a:pt x="582461" y="407789"/>
                        <a:pt x="581031" y="407789"/>
                        <a:pt x="578887" y="407789"/>
                      </a:cubicBezTo>
                      <a:cubicBezTo>
                        <a:pt x="575314" y="407789"/>
                        <a:pt x="571026" y="407075"/>
                        <a:pt x="566738" y="407075"/>
                      </a:cubicBezTo>
                      <a:cubicBezTo>
                        <a:pt x="566738" y="407075"/>
                        <a:pt x="566023" y="407075"/>
                        <a:pt x="566023" y="407075"/>
                      </a:cubicBezTo>
                      <a:cubicBezTo>
                        <a:pt x="566023" y="407075"/>
                        <a:pt x="566023" y="407075"/>
                        <a:pt x="485265" y="401362"/>
                      </a:cubicBezTo>
                      <a:cubicBezTo>
                        <a:pt x="485265" y="401362"/>
                        <a:pt x="485265" y="401362"/>
                        <a:pt x="416656" y="396362"/>
                      </a:cubicBezTo>
                      <a:cubicBezTo>
                        <a:pt x="415227" y="396362"/>
                        <a:pt x="413083" y="396362"/>
                        <a:pt x="410939" y="396362"/>
                      </a:cubicBezTo>
                      <a:cubicBezTo>
                        <a:pt x="410224" y="396362"/>
                        <a:pt x="408794" y="396362"/>
                        <a:pt x="407365" y="396362"/>
                      </a:cubicBezTo>
                      <a:cubicBezTo>
                        <a:pt x="402362" y="396362"/>
                        <a:pt x="398074" y="397077"/>
                        <a:pt x="393072" y="397791"/>
                      </a:cubicBezTo>
                      <a:cubicBezTo>
                        <a:pt x="391642" y="398505"/>
                        <a:pt x="390213" y="398505"/>
                        <a:pt x="388784" y="398505"/>
                      </a:cubicBezTo>
                      <a:cubicBezTo>
                        <a:pt x="388784" y="399219"/>
                        <a:pt x="388784" y="399219"/>
                        <a:pt x="388784" y="399219"/>
                      </a:cubicBezTo>
                      <a:cubicBezTo>
                        <a:pt x="387354" y="399219"/>
                        <a:pt x="385925" y="399933"/>
                        <a:pt x="384496" y="399933"/>
                      </a:cubicBezTo>
                      <a:cubicBezTo>
                        <a:pt x="384496" y="399933"/>
                        <a:pt x="384496" y="399933"/>
                        <a:pt x="383781" y="400647"/>
                      </a:cubicBezTo>
                      <a:cubicBezTo>
                        <a:pt x="382352" y="400647"/>
                        <a:pt x="380922" y="401362"/>
                        <a:pt x="379493" y="402076"/>
                      </a:cubicBezTo>
                      <a:cubicBezTo>
                        <a:pt x="379493" y="402076"/>
                        <a:pt x="379493" y="402076"/>
                        <a:pt x="21441" y="540624"/>
                      </a:cubicBezTo>
                      <a:cubicBezTo>
                        <a:pt x="20011" y="541338"/>
                        <a:pt x="17867" y="541338"/>
                        <a:pt x="15723" y="541338"/>
                      </a:cubicBezTo>
                      <a:cubicBezTo>
                        <a:pt x="12864" y="541338"/>
                        <a:pt x="10006" y="540624"/>
                        <a:pt x="7147" y="538481"/>
                      </a:cubicBezTo>
                      <a:cubicBezTo>
                        <a:pt x="2859" y="535625"/>
                        <a:pt x="0" y="530626"/>
                        <a:pt x="0" y="525626"/>
                      </a:cubicBezTo>
                      <a:cubicBezTo>
                        <a:pt x="0" y="525626"/>
                        <a:pt x="0" y="525626"/>
                        <a:pt x="0" y="209251"/>
                      </a:cubicBezTo>
                      <a:cubicBezTo>
                        <a:pt x="0" y="203538"/>
                        <a:pt x="3574" y="198538"/>
                        <a:pt x="7862" y="195682"/>
                      </a:cubicBezTo>
                      <a:cubicBezTo>
                        <a:pt x="7862" y="195682"/>
                        <a:pt x="7862" y="195682"/>
                        <a:pt x="310169" y="24282"/>
                      </a:cubicBezTo>
                      <a:cubicBezTo>
                        <a:pt x="311599" y="22853"/>
                        <a:pt x="313743" y="22139"/>
                        <a:pt x="315887" y="21425"/>
                      </a:cubicBezTo>
                      <a:cubicBezTo>
                        <a:pt x="316601" y="20711"/>
                        <a:pt x="317316" y="20711"/>
                        <a:pt x="318031" y="19997"/>
                      </a:cubicBezTo>
                      <a:cubicBezTo>
                        <a:pt x="318745" y="19283"/>
                        <a:pt x="320175" y="18568"/>
                        <a:pt x="320889" y="18568"/>
                      </a:cubicBezTo>
                      <a:cubicBezTo>
                        <a:pt x="322319" y="17854"/>
                        <a:pt x="323033" y="17140"/>
                        <a:pt x="324463" y="17140"/>
                      </a:cubicBezTo>
                      <a:cubicBezTo>
                        <a:pt x="325177" y="16426"/>
                        <a:pt x="325892" y="16426"/>
                        <a:pt x="326607" y="15712"/>
                      </a:cubicBezTo>
                      <a:cubicBezTo>
                        <a:pt x="328036" y="14998"/>
                        <a:pt x="329466" y="14998"/>
                        <a:pt x="330180" y="14283"/>
                      </a:cubicBezTo>
                      <a:cubicBezTo>
                        <a:pt x="330895" y="14283"/>
                        <a:pt x="331610" y="13569"/>
                        <a:pt x="332324" y="13569"/>
                      </a:cubicBezTo>
                      <a:cubicBezTo>
                        <a:pt x="333754" y="12855"/>
                        <a:pt x="335183" y="12141"/>
                        <a:pt x="336612" y="12141"/>
                      </a:cubicBezTo>
                      <a:cubicBezTo>
                        <a:pt x="336612" y="11427"/>
                        <a:pt x="337327" y="11427"/>
                        <a:pt x="338042" y="11427"/>
                      </a:cubicBezTo>
                      <a:cubicBezTo>
                        <a:pt x="339471" y="10713"/>
                        <a:pt x="340900" y="9998"/>
                        <a:pt x="342330" y="9998"/>
                      </a:cubicBezTo>
                      <a:cubicBezTo>
                        <a:pt x="343044" y="9284"/>
                        <a:pt x="343044" y="9284"/>
                        <a:pt x="343044" y="9284"/>
                      </a:cubicBezTo>
                      <a:cubicBezTo>
                        <a:pt x="345188" y="8570"/>
                        <a:pt x="346618" y="8570"/>
                        <a:pt x="348047" y="7856"/>
                      </a:cubicBezTo>
                      <a:cubicBezTo>
                        <a:pt x="348762" y="7856"/>
                        <a:pt x="348762" y="7856"/>
                        <a:pt x="348762" y="7856"/>
                      </a:cubicBezTo>
                      <a:cubicBezTo>
                        <a:pt x="360197" y="4285"/>
                        <a:pt x="370917" y="2143"/>
                        <a:pt x="382352" y="714"/>
                      </a:cubicBezTo>
                      <a:cubicBezTo>
                        <a:pt x="383066" y="714"/>
                        <a:pt x="383781" y="714"/>
                        <a:pt x="383781" y="714"/>
                      </a:cubicBezTo>
                      <a:cubicBezTo>
                        <a:pt x="385210" y="714"/>
                        <a:pt x="386640" y="714"/>
                        <a:pt x="387354" y="714"/>
                      </a:cubicBezTo>
                      <a:cubicBezTo>
                        <a:pt x="388784" y="714"/>
                        <a:pt x="389498" y="714"/>
                        <a:pt x="390213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82296" tIns="41148" rIns="82296" bIns="41148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0810D60-9776-481E-8980-E1C19E1020E6}"/>
              </a:ext>
            </a:extLst>
          </p:cNvPr>
          <p:cNvCxnSpPr/>
          <p:nvPr/>
        </p:nvCxnSpPr>
        <p:spPr>
          <a:xfrm>
            <a:off x="1287335" y="5375200"/>
            <a:ext cx="569802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6A2A442D-7139-4880-BAD3-CC21CFB7113A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1" name="Oval 20">
            <a:extLst>
              <a:ext uri="{FF2B5EF4-FFF2-40B4-BE49-F238E27FC236}">
                <a16:creationId xmlns:a16="http://schemas.microsoft.com/office/drawing/2014/main" id="{C7C36739-C912-4910-9514-CD66F8C3FA1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A03AD942-8107-43B6-BC5B-3FBACD241C6F}"/>
              </a:ext>
            </a:extLst>
          </p:cNvPr>
          <p:cNvSpPr txBox="1">
            <a:spLocks/>
          </p:cNvSpPr>
          <p:nvPr/>
        </p:nvSpPr>
        <p:spPr>
          <a:xfrm>
            <a:off x="462684" y="304800"/>
            <a:ext cx="10006533" cy="228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r>
              <a:rPr lang="en-US">
                <a:solidFill>
                  <a:srgbClr val="00269E"/>
                </a:solidFill>
              </a:rPr>
              <a:t>ARPA workforce strategy, and how Market Makers support it</a:t>
            </a:r>
          </a:p>
        </p:txBody>
      </p:sp>
      <p:sp>
        <p:nvSpPr>
          <p:cNvPr id="75" name="ee4pContent1">
            <a:extLst>
              <a:ext uri="{FF2B5EF4-FFF2-40B4-BE49-F238E27FC236}">
                <a16:creationId xmlns:a16="http://schemas.microsoft.com/office/drawing/2014/main" id="{D17602B1-3A5E-4163-B3DB-53682BCA5911}"/>
              </a:ext>
            </a:extLst>
          </p:cNvPr>
          <p:cNvSpPr txBox="1"/>
          <p:nvPr/>
        </p:nvSpPr>
        <p:spPr>
          <a:xfrm>
            <a:off x="1287335" y="3120366"/>
            <a:ext cx="5698021" cy="6463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69E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69E"/>
              </a:buClr>
              <a:buSzPct val="100000"/>
              <a:buFont typeface="Trebuchet MS" panose="020B0603020202020204" pitchFamily="34" charset="0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6600">
                <a:solidFill>
                  <a:srgbClr val="00269E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269E"/>
                </a:solidFill>
              </a:defRPr>
            </a:lvl9pPr>
          </a:lstStyle>
          <a:p>
            <a:r>
              <a:rPr lang="en-US" sz="1800">
                <a:solidFill>
                  <a:schemeClr val="tx1"/>
                </a:solidFill>
              </a:rPr>
              <a:t>Market Makers are new </a:t>
            </a:r>
            <a:r>
              <a:rPr lang="en-US" sz="1800">
                <a:solidFill>
                  <a:srgbClr val="00269E"/>
                </a:solidFill>
              </a:rPr>
              <a:t>regional roles</a:t>
            </a:r>
            <a:r>
              <a:rPr lang="en-US" sz="1800">
                <a:solidFill>
                  <a:schemeClr val="tx1"/>
                </a:solidFill>
              </a:rPr>
              <a:t>, and will need to </a:t>
            </a:r>
            <a:r>
              <a:rPr lang="en-US" sz="1800">
                <a:solidFill>
                  <a:srgbClr val="00269E"/>
                </a:solidFill>
              </a:rPr>
              <a:t>partner with other workforce players like Business Service Representatives and Team MA affiliates </a:t>
            </a:r>
            <a:r>
              <a:rPr lang="en-US" sz="1800">
                <a:solidFill>
                  <a:schemeClr val="tx1"/>
                </a:solidFill>
              </a:rPr>
              <a:t>to support employer engagement</a:t>
            </a:r>
            <a:endParaRPr lang="en-US" sz="1800">
              <a:solidFill>
                <a:srgbClr val="00269E"/>
              </a:solidFill>
              <a:cs typeface="Arial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F7B211D-D6D6-45D4-8156-1454C3A3E989}"/>
              </a:ext>
            </a:extLst>
          </p:cNvPr>
          <p:cNvCxnSpPr/>
          <p:nvPr/>
        </p:nvCxnSpPr>
        <p:spPr>
          <a:xfrm>
            <a:off x="1287335" y="2761931"/>
            <a:ext cx="5698021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B3E5AF4-BAC8-4719-84EA-5D282869214A}"/>
              </a:ext>
            </a:extLst>
          </p:cNvPr>
          <p:cNvGrpSpPr/>
          <p:nvPr/>
        </p:nvGrpSpPr>
        <p:grpSpPr>
          <a:xfrm>
            <a:off x="259218" y="3115402"/>
            <a:ext cx="864608" cy="864608"/>
            <a:chOff x="462686" y="1524520"/>
            <a:chExt cx="619720" cy="61972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38E4016E-6715-4BB3-879A-79516CC35CD5}"/>
                </a:ext>
              </a:extLst>
            </p:cNvPr>
            <p:cNvSpPr/>
            <p:nvPr/>
          </p:nvSpPr>
          <p:spPr>
            <a:xfrm>
              <a:off x="462686" y="1524520"/>
              <a:ext cx="619720" cy="619720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584071CF-E414-4B01-8BAA-8506B2179D4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7927" y="1599762"/>
              <a:ext cx="469238" cy="469237"/>
              <a:chOff x="5272088" y="2605088"/>
              <a:chExt cx="1647825" cy="1647825"/>
            </a:xfrm>
          </p:grpSpPr>
          <p:sp>
            <p:nvSpPr>
              <p:cNvPr id="26" name="AutoShape 3">
                <a:extLst>
                  <a:ext uri="{FF2B5EF4-FFF2-40B4-BE49-F238E27FC236}">
                    <a16:creationId xmlns:a16="http://schemas.microsoft.com/office/drawing/2014/main" id="{E58616FF-9BFD-4957-A46E-58302F5031B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2088" y="2605088"/>
                <a:ext cx="1647825" cy="1647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82296" tIns="41148" rIns="82296" bIns="41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DDDEF6EB-836D-434F-9216-23FE871F5BBE}"/>
                  </a:ext>
                </a:extLst>
              </p:cNvPr>
              <p:cNvGrpSpPr/>
              <p:nvPr/>
            </p:nvGrpSpPr>
            <p:grpSpPr>
              <a:xfrm>
                <a:off x="5407046" y="2741613"/>
                <a:ext cx="1376322" cy="1374775"/>
                <a:chOff x="5407046" y="2741613"/>
                <a:chExt cx="1376322" cy="1374775"/>
              </a:xfrm>
            </p:grpSpPr>
            <p:sp>
              <p:nvSpPr>
                <p:cNvPr id="29" name="Freeform 5">
                  <a:extLst>
                    <a:ext uri="{FF2B5EF4-FFF2-40B4-BE49-F238E27FC236}">
                      <a16:creationId xmlns:a16="http://schemas.microsoft.com/office/drawing/2014/main" id="{C4652D4F-700F-4D8C-AAE4-873A7F66CD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89576" y="2741613"/>
                  <a:ext cx="1212850" cy="1374775"/>
                </a:xfrm>
                <a:custGeom>
                  <a:avLst/>
                  <a:gdLst>
                    <a:gd name="T0" fmla="*/ 46 w 1696"/>
                    <a:gd name="T1" fmla="*/ 785 h 1924"/>
                    <a:gd name="T2" fmla="*/ 20 w 1696"/>
                    <a:gd name="T3" fmla="*/ 802 h 1924"/>
                    <a:gd name="T4" fmla="*/ 303 w 1696"/>
                    <a:gd name="T5" fmla="*/ 292 h 1924"/>
                    <a:gd name="T6" fmla="*/ 772 w 1696"/>
                    <a:gd name="T7" fmla="*/ 39 h 1924"/>
                    <a:gd name="T8" fmla="*/ 803 w 1696"/>
                    <a:gd name="T9" fmla="*/ 9 h 1924"/>
                    <a:gd name="T10" fmla="*/ 900 w 1696"/>
                    <a:gd name="T11" fmla="*/ 139 h 1924"/>
                    <a:gd name="T12" fmla="*/ 785 w 1696"/>
                    <a:gd name="T13" fmla="*/ 240 h 1924"/>
                    <a:gd name="T14" fmla="*/ 770 w 1696"/>
                    <a:gd name="T15" fmla="*/ 203 h 1924"/>
                    <a:gd name="T16" fmla="*/ 831 w 1696"/>
                    <a:gd name="T17" fmla="*/ 144 h 1924"/>
                    <a:gd name="T18" fmla="*/ 1284 w 1696"/>
                    <a:gd name="T19" fmla="*/ 1501 h 1924"/>
                    <a:gd name="T20" fmla="*/ 1229 w 1696"/>
                    <a:gd name="T21" fmla="*/ 1488 h 1924"/>
                    <a:gd name="T22" fmla="*/ 1215 w 1696"/>
                    <a:gd name="T23" fmla="*/ 1455 h 1924"/>
                    <a:gd name="T24" fmla="*/ 468 w 1696"/>
                    <a:gd name="T25" fmla="*/ 1469 h 1924"/>
                    <a:gd name="T26" fmla="*/ 427 w 1696"/>
                    <a:gd name="T27" fmla="*/ 1488 h 1924"/>
                    <a:gd name="T28" fmla="*/ 413 w 1696"/>
                    <a:gd name="T29" fmla="*/ 1554 h 1924"/>
                    <a:gd name="T30" fmla="*/ 1270 w 1696"/>
                    <a:gd name="T31" fmla="*/ 1568 h 1924"/>
                    <a:gd name="T32" fmla="*/ 567 w 1696"/>
                    <a:gd name="T33" fmla="*/ 338 h 1924"/>
                    <a:gd name="T34" fmla="*/ 1148 w 1696"/>
                    <a:gd name="T35" fmla="*/ 347 h 1924"/>
                    <a:gd name="T36" fmla="*/ 1210 w 1696"/>
                    <a:gd name="T37" fmla="*/ 391 h 1924"/>
                    <a:gd name="T38" fmla="*/ 1232 w 1696"/>
                    <a:gd name="T39" fmla="*/ 454 h 1924"/>
                    <a:gd name="T40" fmla="*/ 1211 w 1696"/>
                    <a:gd name="T41" fmla="*/ 1427 h 1924"/>
                    <a:gd name="T42" fmla="*/ 1167 w 1696"/>
                    <a:gd name="T43" fmla="*/ 454 h 1924"/>
                    <a:gd name="T44" fmla="*/ 519 w 1696"/>
                    <a:gd name="T45" fmla="*/ 435 h 1924"/>
                    <a:gd name="T46" fmla="*/ 530 w 1696"/>
                    <a:gd name="T47" fmla="*/ 1427 h 1924"/>
                    <a:gd name="T48" fmla="*/ 486 w 1696"/>
                    <a:gd name="T49" fmla="*/ 476 h 1924"/>
                    <a:gd name="T50" fmla="*/ 465 w 1696"/>
                    <a:gd name="T51" fmla="*/ 413 h 1924"/>
                    <a:gd name="T52" fmla="*/ 519 w 1696"/>
                    <a:gd name="T53" fmla="*/ 391 h 1924"/>
                    <a:gd name="T54" fmla="*/ 567 w 1696"/>
                    <a:gd name="T55" fmla="*/ 338 h 1924"/>
                    <a:gd name="T56" fmla="*/ 1125 w 1696"/>
                    <a:gd name="T57" fmla="*/ 391 h 1924"/>
                    <a:gd name="T58" fmla="*/ 579 w 1696"/>
                    <a:gd name="T59" fmla="*/ 382 h 1924"/>
                    <a:gd name="T60" fmla="*/ 572 w 1696"/>
                    <a:gd name="T61" fmla="*/ 391 h 1924"/>
                    <a:gd name="T62" fmla="*/ 1650 w 1696"/>
                    <a:gd name="T63" fmla="*/ 1141 h 1924"/>
                    <a:gd name="T64" fmla="*/ 925 w 1696"/>
                    <a:gd name="T65" fmla="*/ 1724 h 1924"/>
                    <a:gd name="T66" fmla="*/ 895 w 1696"/>
                    <a:gd name="T67" fmla="*/ 1692 h 1924"/>
                    <a:gd name="T68" fmla="*/ 795 w 1696"/>
                    <a:gd name="T69" fmla="*/ 1819 h 1924"/>
                    <a:gd name="T70" fmla="*/ 907 w 1696"/>
                    <a:gd name="T71" fmla="*/ 1924 h 1924"/>
                    <a:gd name="T72" fmla="*/ 923 w 1696"/>
                    <a:gd name="T73" fmla="*/ 1887 h 1924"/>
                    <a:gd name="T74" fmla="*/ 1393 w 1696"/>
                    <a:gd name="T75" fmla="*/ 1634 h 1924"/>
                    <a:gd name="T76" fmla="*/ 1676 w 1696"/>
                    <a:gd name="T77" fmla="*/ 1124 h 19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696" h="1924">
                      <a:moveTo>
                        <a:pt x="831" y="144"/>
                      </a:moveTo>
                      <a:cubicBezTo>
                        <a:pt x="457" y="151"/>
                        <a:pt x="127" y="418"/>
                        <a:pt x="46" y="785"/>
                      </a:cubicBezTo>
                      <a:cubicBezTo>
                        <a:pt x="44" y="796"/>
                        <a:pt x="35" y="803"/>
                        <a:pt x="25" y="803"/>
                      </a:cubicBezTo>
                      <a:cubicBezTo>
                        <a:pt x="23" y="803"/>
                        <a:pt x="21" y="802"/>
                        <a:pt x="20" y="802"/>
                      </a:cubicBezTo>
                      <a:cubicBezTo>
                        <a:pt x="8" y="799"/>
                        <a:pt x="0" y="788"/>
                        <a:pt x="3" y="776"/>
                      </a:cubicBezTo>
                      <a:cubicBezTo>
                        <a:pt x="45" y="587"/>
                        <a:pt x="151" y="415"/>
                        <a:pt x="303" y="292"/>
                      </a:cubicBezTo>
                      <a:cubicBezTo>
                        <a:pt x="452" y="172"/>
                        <a:pt x="639" y="103"/>
                        <a:pt x="831" y="100"/>
                      </a:cubicBezTo>
                      <a:cubicBezTo>
                        <a:pt x="772" y="39"/>
                        <a:pt x="772" y="39"/>
                        <a:pt x="772" y="39"/>
                      </a:cubicBezTo>
                      <a:cubicBezTo>
                        <a:pt x="763" y="31"/>
                        <a:pt x="764" y="17"/>
                        <a:pt x="772" y="8"/>
                      </a:cubicBezTo>
                      <a:cubicBezTo>
                        <a:pt x="781" y="0"/>
                        <a:pt x="795" y="0"/>
                        <a:pt x="803" y="9"/>
                      </a:cubicBezTo>
                      <a:cubicBezTo>
                        <a:pt x="900" y="108"/>
                        <a:pt x="900" y="108"/>
                        <a:pt x="900" y="108"/>
                      </a:cubicBezTo>
                      <a:cubicBezTo>
                        <a:pt x="908" y="116"/>
                        <a:pt x="908" y="130"/>
                        <a:pt x="900" y="139"/>
                      </a:cubicBezTo>
                      <a:cubicBezTo>
                        <a:pt x="800" y="234"/>
                        <a:pt x="800" y="234"/>
                        <a:pt x="800" y="234"/>
                      </a:cubicBezTo>
                      <a:cubicBezTo>
                        <a:pt x="796" y="238"/>
                        <a:pt x="791" y="240"/>
                        <a:pt x="785" y="240"/>
                      </a:cubicBezTo>
                      <a:cubicBezTo>
                        <a:pt x="779" y="240"/>
                        <a:pt x="774" y="238"/>
                        <a:pt x="769" y="234"/>
                      </a:cubicBezTo>
                      <a:cubicBezTo>
                        <a:pt x="761" y="225"/>
                        <a:pt x="761" y="211"/>
                        <a:pt x="770" y="203"/>
                      </a:cubicBezTo>
                      <a:cubicBezTo>
                        <a:pt x="831" y="144"/>
                        <a:pt x="831" y="144"/>
                        <a:pt x="831" y="144"/>
                      </a:cubicBezTo>
                      <a:cubicBezTo>
                        <a:pt x="831" y="144"/>
                        <a:pt x="831" y="144"/>
                        <a:pt x="831" y="144"/>
                      </a:cubicBezTo>
                      <a:close/>
                      <a:moveTo>
                        <a:pt x="1284" y="1554"/>
                      </a:moveTo>
                      <a:cubicBezTo>
                        <a:pt x="1284" y="1501"/>
                        <a:pt x="1284" y="1501"/>
                        <a:pt x="1284" y="1501"/>
                      </a:cubicBezTo>
                      <a:cubicBezTo>
                        <a:pt x="1284" y="1494"/>
                        <a:pt x="1278" y="1488"/>
                        <a:pt x="1270" y="1488"/>
                      </a:cubicBezTo>
                      <a:cubicBezTo>
                        <a:pt x="1229" y="1488"/>
                        <a:pt x="1229" y="1488"/>
                        <a:pt x="1229" y="1488"/>
                      </a:cubicBezTo>
                      <a:cubicBezTo>
                        <a:pt x="1229" y="1469"/>
                        <a:pt x="1229" y="1469"/>
                        <a:pt x="1229" y="1469"/>
                      </a:cubicBezTo>
                      <a:cubicBezTo>
                        <a:pt x="1229" y="1461"/>
                        <a:pt x="1223" y="1455"/>
                        <a:pt x="1215" y="1455"/>
                      </a:cubicBezTo>
                      <a:cubicBezTo>
                        <a:pt x="482" y="1455"/>
                        <a:pt x="482" y="1455"/>
                        <a:pt x="482" y="1455"/>
                      </a:cubicBezTo>
                      <a:cubicBezTo>
                        <a:pt x="474" y="1455"/>
                        <a:pt x="468" y="1461"/>
                        <a:pt x="468" y="1469"/>
                      </a:cubicBezTo>
                      <a:cubicBezTo>
                        <a:pt x="468" y="1488"/>
                        <a:pt x="468" y="1488"/>
                        <a:pt x="468" y="1488"/>
                      </a:cubicBezTo>
                      <a:cubicBezTo>
                        <a:pt x="427" y="1488"/>
                        <a:pt x="427" y="1488"/>
                        <a:pt x="427" y="1488"/>
                      </a:cubicBezTo>
                      <a:cubicBezTo>
                        <a:pt x="419" y="1488"/>
                        <a:pt x="413" y="1494"/>
                        <a:pt x="413" y="1501"/>
                      </a:cubicBezTo>
                      <a:cubicBezTo>
                        <a:pt x="413" y="1554"/>
                        <a:pt x="413" y="1554"/>
                        <a:pt x="413" y="1554"/>
                      </a:cubicBezTo>
                      <a:cubicBezTo>
                        <a:pt x="413" y="1562"/>
                        <a:pt x="419" y="1568"/>
                        <a:pt x="427" y="1568"/>
                      </a:cubicBezTo>
                      <a:cubicBezTo>
                        <a:pt x="1270" y="1568"/>
                        <a:pt x="1270" y="1568"/>
                        <a:pt x="1270" y="1568"/>
                      </a:cubicBezTo>
                      <a:cubicBezTo>
                        <a:pt x="1278" y="1568"/>
                        <a:pt x="1284" y="1562"/>
                        <a:pt x="1284" y="1554"/>
                      </a:cubicBezTo>
                      <a:close/>
                      <a:moveTo>
                        <a:pt x="567" y="338"/>
                      </a:moveTo>
                      <a:cubicBezTo>
                        <a:pt x="1130" y="338"/>
                        <a:pt x="1130" y="338"/>
                        <a:pt x="1130" y="338"/>
                      </a:cubicBezTo>
                      <a:cubicBezTo>
                        <a:pt x="1137" y="338"/>
                        <a:pt x="1144" y="341"/>
                        <a:pt x="1148" y="347"/>
                      </a:cubicBezTo>
                      <a:cubicBezTo>
                        <a:pt x="1178" y="391"/>
                        <a:pt x="1178" y="391"/>
                        <a:pt x="1178" y="391"/>
                      </a:cubicBezTo>
                      <a:cubicBezTo>
                        <a:pt x="1210" y="391"/>
                        <a:pt x="1210" y="391"/>
                        <a:pt x="1210" y="391"/>
                      </a:cubicBezTo>
                      <a:cubicBezTo>
                        <a:pt x="1222" y="391"/>
                        <a:pt x="1232" y="401"/>
                        <a:pt x="1232" y="413"/>
                      </a:cubicBezTo>
                      <a:cubicBezTo>
                        <a:pt x="1232" y="454"/>
                        <a:pt x="1232" y="454"/>
                        <a:pt x="1232" y="454"/>
                      </a:cubicBezTo>
                      <a:cubicBezTo>
                        <a:pt x="1232" y="466"/>
                        <a:pt x="1222" y="476"/>
                        <a:pt x="1211" y="476"/>
                      </a:cubicBezTo>
                      <a:cubicBezTo>
                        <a:pt x="1211" y="1427"/>
                        <a:pt x="1211" y="1427"/>
                        <a:pt x="1211" y="1427"/>
                      </a:cubicBezTo>
                      <a:cubicBezTo>
                        <a:pt x="1167" y="1427"/>
                        <a:pt x="1167" y="1427"/>
                        <a:pt x="1167" y="1427"/>
                      </a:cubicBezTo>
                      <a:cubicBezTo>
                        <a:pt x="1167" y="454"/>
                        <a:pt x="1167" y="454"/>
                        <a:pt x="1167" y="454"/>
                      </a:cubicBezTo>
                      <a:cubicBezTo>
                        <a:pt x="1167" y="446"/>
                        <a:pt x="1171" y="439"/>
                        <a:pt x="1178" y="435"/>
                      </a:cubicBezTo>
                      <a:cubicBezTo>
                        <a:pt x="519" y="435"/>
                        <a:pt x="519" y="435"/>
                        <a:pt x="519" y="435"/>
                      </a:cubicBezTo>
                      <a:cubicBezTo>
                        <a:pt x="526" y="439"/>
                        <a:pt x="530" y="446"/>
                        <a:pt x="530" y="454"/>
                      </a:cubicBezTo>
                      <a:cubicBezTo>
                        <a:pt x="530" y="1427"/>
                        <a:pt x="530" y="1427"/>
                        <a:pt x="530" y="1427"/>
                      </a:cubicBezTo>
                      <a:cubicBezTo>
                        <a:pt x="486" y="1427"/>
                        <a:pt x="486" y="1427"/>
                        <a:pt x="486" y="1427"/>
                      </a:cubicBezTo>
                      <a:cubicBezTo>
                        <a:pt x="486" y="476"/>
                        <a:pt x="486" y="476"/>
                        <a:pt x="486" y="476"/>
                      </a:cubicBezTo>
                      <a:cubicBezTo>
                        <a:pt x="475" y="476"/>
                        <a:pt x="465" y="466"/>
                        <a:pt x="465" y="454"/>
                      </a:cubicBezTo>
                      <a:cubicBezTo>
                        <a:pt x="465" y="413"/>
                        <a:pt x="465" y="413"/>
                        <a:pt x="465" y="413"/>
                      </a:cubicBezTo>
                      <a:cubicBezTo>
                        <a:pt x="465" y="401"/>
                        <a:pt x="475" y="391"/>
                        <a:pt x="487" y="391"/>
                      </a:cubicBezTo>
                      <a:cubicBezTo>
                        <a:pt x="519" y="391"/>
                        <a:pt x="519" y="391"/>
                        <a:pt x="519" y="391"/>
                      </a:cubicBezTo>
                      <a:cubicBezTo>
                        <a:pt x="549" y="347"/>
                        <a:pt x="549" y="347"/>
                        <a:pt x="549" y="347"/>
                      </a:cubicBezTo>
                      <a:cubicBezTo>
                        <a:pt x="553" y="341"/>
                        <a:pt x="560" y="338"/>
                        <a:pt x="567" y="338"/>
                      </a:cubicBezTo>
                      <a:close/>
                      <a:moveTo>
                        <a:pt x="572" y="391"/>
                      </a:moveTo>
                      <a:cubicBezTo>
                        <a:pt x="1125" y="391"/>
                        <a:pt x="1125" y="391"/>
                        <a:pt x="1125" y="391"/>
                      </a:cubicBezTo>
                      <a:cubicBezTo>
                        <a:pt x="1118" y="382"/>
                        <a:pt x="1118" y="382"/>
                        <a:pt x="1118" y="382"/>
                      </a:cubicBezTo>
                      <a:cubicBezTo>
                        <a:pt x="579" y="382"/>
                        <a:pt x="579" y="382"/>
                        <a:pt x="579" y="382"/>
                      </a:cubicBezTo>
                      <a:cubicBezTo>
                        <a:pt x="572" y="391"/>
                        <a:pt x="572" y="391"/>
                        <a:pt x="572" y="391"/>
                      </a:cubicBezTo>
                      <a:cubicBezTo>
                        <a:pt x="572" y="391"/>
                        <a:pt x="572" y="391"/>
                        <a:pt x="572" y="391"/>
                      </a:cubicBezTo>
                      <a:close/>
                      <a:moveTo>
                        <a:pt x="1676" y="1124"/>
                      </a:moveTo>
                      <a:cubicBezTo>
                        <a:pt x="1664" y="1122"/>
                        <a:pt x="1653" y="1129"/>
                        <a:pt x="1650" y="1141"/>
                      </a:cubicBezTo>
                      <a:cubicBezTo>
                        <a:pt x="1569" y="1508"/>
                        <a:pt x="1239" y="1775"/>
                        <a:pt x="863" y="1783"/>
                      </a:cubicBezTo>
                      <a:cubicBezTo>
                        <a:pt x="925" y="1724"/>
                        <a:pt x="925" y="1724"/>
                        <a:pt x="925" y="1724"/>
                      </a:cubicBezTo>
                      <a:cubicBezTo>
                        <a:pt x="934" y="1715"/>
                        <a:pt x="934" y="1701"/>
                        <a:pt x="926" y="1692"/>
                      </a:cubicBezTo>
                      <a:cubicBezTo>
                        <a:pt x="917" y="1684"/>
                        <a:pt x="903" y="1684"/>
                        <a:pt x="895" y="1692"/>
                      </a:cubicBezTo>
                      <a:cubicBezTo>
                        <a:pt x="795" y="1788"/>
                        <a:pt x="795" y="1788"/>
                        <a:pt x="795" y="1788"/>
                      </a:cubicBezTo>
                      <a:cubicBezTo>
                        <a:pt x="787" y="1796"/>
                        <a:pt x="787" y="1810"/>
                        <a:pt x="795" y="1819"/>
                      </a:cubicBezTo>
                      <a:cubicBezTo>
                        <a:pt x="892" y="1918"/>
                        <a:pt x="892" y="1918"/>
                        <a:pt x="892" y="1918"/>
                      </a:cubicBezTo>
                      <a:cubicBezTo>
                        <a:pt x="896" y="1922"/>
                        <a:pt x="902" y="1924"/>
                        <a:pt x="907" y="1924"/>
                      </a:cubicBezTo>
                      <a:cubicBezTo>
                        <a:pt x="913" y="1924"/>
                        <a:pt x="918" y="1922"/>
                        <a:pt x="923" y="1918"/>
                      </a:cubicBezTo>
                      <a:cubicBezTo>
                        <a:pt x="931" y="1910"/>
                        <a:pt x="932" y="1896"/>
                        <a:pt x="923" y="1887"/>
                      </a:cubicBezTo>
                      <a:cubicBezTo>
                        <a:pt x="864" y="1827"/>
                        <a:pt x="864" y="1827"/>
                        <a:pt x="864" y="1827"/>
                      </a:cubicBezTo>
                      <a:cubicBezTo>
                        <a:pt x="1057" y="1823"/>
                        <a:pt x="1244" y="1755"/>
                        <a:pt x="1393" y="1634"/>
                      </a:cubicBezTo>
                      <a:cubicBezTo>
                        <a:pt x="1545" y="1511"/>
                        <a:pt x="1651" y="1339"/>
                        <a:pt x="1693" y="1151"/>
                      </a:cubicBezTo>
                      <a:cubicBezTo>
                        <a:pt x="1696" y="1139"/>
                        <a:pt x="1688" y="1127"/>
                        <a:pt x="1676" y="112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296" tIns="41148" rIns="82296" bIns="4114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0" name="Freeform 13">
                  <a:extLst>
                    <a:ext uri="{FF2B5EF4-FFF2-40B4-BE49-F238E27FC236}">
                      <a16:creationId xmlns:a16="http://schemas.microsoft.com/office/drawing/2014/main" id="{62311877-E55E-47A5-9562-F7FDA84ECA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7046" y="2824270"/>
                  <a:ext cx="1376322" cy="1211156"/>
                </a:xfrm>
                <a:custGeom>
                  <a:avLst/>
                  <a:gdLst>
                    <a:gd name="connsiteX0" fmla="*/ 707204 w 1376322"/>
                    <a:gd name="connsiteY0" fmla="*/ 755543 h 1211156"/>
                    <a:gd name="connsiteX1" fmla="*/ 799290 w 1376322"/>
                    <a:gd name="connsiteY1" fmla="*/ 755543 h 1211156"/>
                    <a:gd name="connsiteX2" fmla="*/ 806429 w 1376322"/>
                    <a:gd name="connsiteY2" fmla="*/ 762702 h 1211156"/>
                    <a:gd name="connsiteX3" fmla="*/ 806429 w 1376322"/>
                    <a:gd name="connsiteY3" fmla="*/ 930947 h 1211156"/>
                    <a:gd name="connsiteX4" fmla="*/ 799290 w 1376322"/>
                    <a:gd name="connsiteY4" fmla="*/ 938106 h 1211156"/>
                    <a:gd name="connsiteX5" fmla="*/ 707204 w 1376322"/>
                    <a:gd name="connsiteY5" fmla="*/ 938106 h 1211156"/>
                    <a:gd name="connsiteX6" fmla="*/ 700066 w 1376322"/>
                    <a:gd name="connsiteY6" fmla="*/ 930947 h 1211156"/>
                    <a:gd name="connsiteX7" fmla="*/ 700066 w 1376322"/>
                    <a:gd name="connsiteY7" fmla="*/ 762702 h 1211156"/>
                    <a:gd name="connsiteX8" fmla="*/ 707204 w 1376322"/>
                    <a:gd name="connsiteY8" fmla="*/ 755543 h 1211156"/>
                    <a:gd name="connsiteX9" fmla="*/ 578617 w 1376322"/>
                    <a:gd name="connsiteY9" fmla="*/ 755543 h 1211156"/>
                    <a:gd name="connsiteX10" fmla="*/ 670703 w 1376322"/>
                    <a:gd name="connsiteY10" fmla="*/ 755543 h 1211156"/>
                    <a:gd name="connsiteX11" fmla="*/ 677842 w 1376322"/>
                    <a:gd name="connsiteY11" fmla="*/ 762702 h 1211156"/>
                    <a:gd name="connsiteX12" fmla="*/ 677842 w 1376322"/>
                    <a:gd name="connsiteY12" fmla="*/ 930947 h 1211156"/>
                    <a:gd name="connsiteX13" fmla="*/ 670703 w 1376322"/>
                    <a:gd name="connsiteY13" fmla="*/ 938106 h 1211156"/>
                    <a:gd name="connsiteX14" fmla="*/ 578617 w 1376322"/>
                    <a:gd name="connsiteY14" fmla="*/ 938106 h 1211156"/>
                    <a:gd name="connsiteX15" fmla="*/ 571479 w 1376322"/>
                    <a:gd name="connsiteY15" fmla="*/ 930947 h 1211156"/>
                    <a:gd name="connsiteX16" fmla="*/ 571479 w 1376322"/>
                    <a:gd name="connsiteY16" fmla="*/ 762702 h 1211156"/>
                    <a:gd name="connsiteX17" fmla="*/ 578617 w 1376322"/>
                    <a:gd name="connsiteY17" fmla="*/ 755543 h 1211156"/>
                    <a:gd name="connsiteX18" fmla="*/ 86957 w 1376322"/>
                    <a:gd name="connsiteY18" fmla="*/ 563479 h 1211156"/>
                    <a:gd name="connsiteX19" fmla="*/ 97771 w 1376322"/>
                    <a:gd name="connsiteY19" fmla="*/ 568311 h 1211156"/>
                    <a:gd name="connsiteX20" fmla="*/ 167123 w 1376322"/>
                    <a:gd name="connsiteY20" fmla="*/ 639181 h 1211156"/>
                    <a:gd name="connsiteX21" fmla="*/ 166408 w 1376322"/>
                    <a:gd name="connsiteY21" fmla="*/ 661373 h 1211156"/>
                    <a:gd name="connsiteX22" fmla="*/ 155683 w 1376322"/>
                    <a:gd name="connsiteY22" fmla="*/ 666384 h 1211156"/>
                    <a:gd name="connsiteX23" fmla="*/ 144244 w 1376322"/>
                    <a:gd name="connsiteY23" fmla="*/ 661373 h 1211156"/>
                    <a:gd name="connsiteX24" fmla="*/ 101346 w 1376322"/>
                    <a:gd name="connsiteY24" fmla="*/ 616990 h 1211156"/>
                    <a:gd name="connsiteX25" fmla="*/ 561069 w 1376322"/>
                    <a:gd name="connsiteY25" fmla="*/ 1180374 h 1211156"/>
                    <a:gd name="connsiteX26" fmla="*/ 572509 w 1376322"/>
                    <a:gd name="connsiteY26" fmla="*/ 1198986 h 1211156"/>
                    <a:gd name="connsiteX27" fmla="*/ 557495 w 1376322"/>
                    <a:gd name="connsiteY27" fmla="*/ 1211156 h 1211156"/>
                    <a:gd name="connsiteX28" fmla="*/ 553920 w 1376322"/>
                    <a:gd name="connsiteY28" fmla="*/ 1211156 h 1211156"/>
                    <a:gd name="connsiteX29" fmla="*/ 207876 w 1376322"/>
                    <a:gd name="connsiteY29" fmla="*/ 996397 h 1211156"/>
                    <a:gd name="connsiteX30" fmla="*/ 69887 w 1376322"/>
                    <a:gd name="connsiteY30" fmla="*/ 617705 h 1211156"/>
                    <a:gd name="connsiteX31" fmla="*/ 26989 w 1376322"/>
                    <a:gd name="connsiteY31" fmla="*/ 659941 h 1211156"/>
                    <a:gd name="connsiteX32" fmla="*/ 4825 w 1376322"/>
                    <a:gd name="connsiteY32" fmla="*/ 659226 h 1211156"/>
                    <a:gd name="connsiteX33" fmla="*/ 4825 w 1376322"/>
                    <a:gd name="connsiteY33" fmla="*/ 637034 h 1211156"/>
                    <a:gd name="connsiteX34" fmla="*/ 75607 w 1376322"/>
                    <a:gd name="connsiteY34" fmla="*/ 568311 h 1211156"/>
                    <a:gd name="connsiteX35" fmla="*/ 86957 w 1376322"/>
                    <a:gd name="connsiteY35" fmla="*/ 563479 h 1211156"/>
                    <a:gd name="connsiteX36" fmla="*/ 711942 w 1376322"/>
                    <a:gd name="connsiteY36" fmla="*/ 503131 h 1211156"/>
                    <a:gd name="connsiteX37" fmla="*/ 827891 w 1376322"/>
                    <a:gd name="connsiteY37" fmla="*/ 503131 h 1211156"/>
                    <a:gd name="connsiteX38" fmla="*/ 835004 w 1376322"/>
                    <a:gd name="connsiteY38" fmla="*/ 510262 h 1211156"/>
                    <a:gd name="connsiteX39" fmla="*/ 835004 w 1376322"/>
                    <a:gd name="connsiteY39" fmla="*/ 678563 h 1211156"/>
                    <a:gd name="connsiteX40" fmla="*/ 827891 w 1376322"/>
                    <a:gd name="connsiteY40" fmla="*/ 685694 h 1211156"/>
                    <a:gd name="connsiteX41" fmla="*/ 711942 w 1376322"/>
                    <a:gd name="connsiteY41" fmla="*/ 685694 h 1211156"/>
                    <a:gd name="connsiteX42" fmla="*/ 704829 w 1376322"/>
                    <a:gd name="connsiteY42" fmla="*/ 678563 h 1211156"/>
                    <a:gd name="connsiteX43" fmla="*/ 704829 w 1376322"/>
                    <a:gd name="connsiteY43" fmla="*/ 510262 h 1211156"/>
                    <a:gd name="connsiteX44" fmla="*/ 711942 w 1376322"/>
                    <a:gd name="connsiteY44" fmla="*/ 503131 h 1211156"/>
                    <a:gd name="connsiteX45" fmla="*/ 550017 w 1376322"/>
                    <a:gd name="connsiteY45" fmla="*/ 503131 h 1211156"/>
                    <a:gd name="connsiteX46" fmla="*/ 665965 w 1376322"/>
                    <a:gd name="connsiteY46" fmla="*/ 503131 h 1211156"/>
                    <a:gd name="connsiteX47" fmla="*/ 673079 w 1376322"/>
                    <a:gd name="connsiteY47" fmla="*/ 510262 h 1211156"/>
                    <a:gd name="connsiteX48" fmla="*/ 673079 w 1376322"/>
                    <a:gd name="connsiteY48" fmla="*/ 678563 h 1211156"/>
                    <a:gd name="connsiteX49" fmla="*/ 665965 w 1376322"/>
                    <a:gd name="connsiteY49" fmla="*/ 685694 h 1211156"/>
                    <a:gd name="connsiteX50" fmla="*/ 550017 w 1376322"/>
                    <a:gd name="connsiteY50" fmla="*/ 685694 h 1211156"/>
                    <a:gd name="connsiteX51" fmla="*/ 542904 w 1376322"/>
                    <a:gd name="connsiteY51" fmla="*/ 678563 h 1211156"/>
                    <a:gd name="connsiteX52" fmla="*/ 542904 w 1376322"/>
                    <a:gd name="connsiteY52" fmla="*/ 510262 h 1211156"/>
                    <a:gd name="connsiteX53" fmla="*/ 550017 w 1376322"/>
                    <a:gd name="connsiteY53" fmla="*/ 503131 h 1211156"/>
                    <a:gd name="connsiteX54" fmla="*/ 711942 w 1376322"/>
                    <a:gd name="connsiteY54" fmla="*/ 287231 h 1211156"/>
                    <a:gd name="connsiteX55" fmla="*/ 827891 w 1376322"/>
                    <a:gd name="connsiteY55" fmla="*/ 287231 h 1211156"/>
                    <a:gd name="connsiteX56" fmla="*/ 835004 w 1376322"/>
                    <a:gd name="connsiteY56" fmla="*/ 294362 h 1211156"/>
                    <a:gd name="connsiteX57" fmla="*/ 835004 w 1376322"/>
                    <a:gd name="connsiteY57" fmla="*/ 462663 h 1211156"/>
                    <a:gd name="connsiteX58" fmla="*/ 827891 w 1376322"/>
                    <a:gd name="connsiteY58" fmla="*/ 469794 h 1211156"/>
                    <a:gd name="connsiteX59" fmla="*/ 711942 w 1376322"/>
                    <a:gd name="connsiteY59" fmla="*/ 469794 h 1211156"/>
                    <a:gd name="connsiteX60" fmla="*/ 704829 w 1376322"/>
                    <a:gd name="connsiteY60" fmla="*/ 462663 h 1211156"/>
                    <a:gd name="connsiteX61" fmla="*/ 704829 w 1376322"/>
                    <a:gd name="connsiteY61" fmla="*/ 294362 h 1211156"/>
                    <a:gd name="connsiteX62" fmla="*/ 711942 w 1376322"/>
                    <a:gd name="connsiteY62" fmla="*/ 287231 h 1211156"/>
                    <a:gd name="connsiteX63" fmla="*/ 550017 w 1376322"/>
                    <a:gd name="connsiteY63" fmla="*/ 287231 h 1211156"/>
                    <a:gd name="connsiteX64" fmla="*/ 665965 w 1376322"/>
                    <a:gd name="connsiteY64" fmla="*/ 287231 h 1211156"/>
                    <a:gd name="connsiteX65" fmla="*/ 673079 w 1376322"/>
                    <a:gd name="connsiteY65" fmla="*/ 294362 h 1211156"/>
                    <a:gd name="connsiteX66" fmla="*/ 673079 w 1376322"/>
                    <a:gd name="connsiteY66" fmla="*/ 462663 h 1211156"/>
                    <a:gd name="connsiteX67" fmla="*/ 665965 w 1376322"/>
                    <a:gd name="connsiteY67" fmla="*/ 469794 h 1211156"/>
                    <a:gd name="connsiteX68" fmla="*/ 550017 w 1376322"/>
                    <a:gd name="connsiteY68" fmla="*/ 469794 h 1211156"/>
                    <a:gd name="connsiteX69" fmla="*/ 542904 w 1376322"/>
                    <a:gd name="connsiteY69" fmla="*/ 462663 h 1211156"/>
                    <a:gd name="connsiteX70" fmla="*/ 542904 w 1376322"/>
                    <a:gd name="connsiteY70" fmla="*/ 294362 h 1211156"/>
                    <a:gd name="connsiteX71" fmla="*/ 550017 w 1376322"/>
                    <a:gd name="connsiteY71" fmla="*/ 287231 h 1211156"/>
                    <a:gd name="connsiteX72" fmla="*/ 822375 w 1376322"/>
                    <a:gd name="connsiteY72" fmla="*/ 454 h 1211156"/>
                    <a:gd name="connsiteX73" fmla="*/ 1168704 w 1376322"/>
                    <a:gd name="connsiteY73" fmla="*/ 214497 h 1211156"/>
                    <a:gd name="connsiteX74" fmla="*/ 1306521 w 1376322"/>
                    <a:gd name="connsiteY74" fmla="*/ 593189 h 1211156"/>
                    <a:gd name="connsiteX75" fmla="*/ 1349366 w 1376322"/>
                    <a:gd name="connsiteY75" fmla="*/ 551668 h 1211156"/>
                    <a:gd name="connsiteX76" fmla="*/ 1371502 w 1376322"/>
                    <a:gd name="connsiteY76" fmla="*/ 551668 h 1211156"/>
                    <a:gd name="connsiteX77" fmla="*/ 1371502 w 1376322"/>
                    <a:gd name="connsiteY77" fmla="*/ 573860 h 1211156"/>
                    <a:gd name="connsiteX78" fmla="*/ 1300809 w 1376322"/>
                    <a:gd name="connsiteY78" fmla="*/ 643299 h 1211156"/>
                    <a:gd name="connsiteX79" fmla="*/ 1290097 w 1376322"/>
                    <a:gd name="connsiteY79" fmla="*/ 647594 h 1211156"/>
                    <a:gd name="connsiteX80" fmla="*/ 1278672 w 1376322"/>
                    <a:gd name="connsiteY80" fmla="*/ 642583 h 1211156"/>
                    <a:gd name="connsiteX81" fmla="*/ 1209406 w 1376322"/>
                    <a:gd name="connsiteY81" fmla="*/ 571713 h 1211156"/>
                    <a:gd name="connsiteX82" fmla="*/ 1210120 w 1376322"/>
                    <a:gd name="connsiteY82" fmla="*/ 549521 h 1211156"/>
                    <a:gd name="connsiteX83" fmla="*/ 1232257 w 1376322"/>
                    <a:gd name="connsiteY83" fmla="*/ 549521 h 1211156"/>
                    <a:gd name="connsiteX84" fmla="*/ 1275102 w 1376322"/>
                    <a:gd name="connsiteY84" fmla="*/ 593904 h 1211156"/>
                    <a:gd name="connsiteX85" fmla="*/ 815234 w 1376322"/>
                    <a:gd name="connsiteY85" fmla="*/ 31236 h 1211156"/>
                    <a:gd name="connsiteX86" fmla="*/ 803808 w 1376322"/>
                    <a:gd name="connsiteY86" fmla="*/ 12623 h 1211156"/>
                    <a:gd name="connsiteX87" fmla="*/ 822375 w 1376322"/>
                    <a:gd name="connsiteY87" fmla="*/ 454 h 1211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1376322" h="1211156">
                      <a:moveTo>
                        <a:pt x="707204" y="755543"/>
                      </a:moveTo>
                      <a:cubicBezTo>
                        <a:pt x="707204" y="755543"/>
                        <a:pt x="707204" y="755543"/>
                        <a:pt x="799290" y="755543"/>
                      </a:cubicBezTo>
                      <a:cubicBezTo>
                        <a:pt x="803574" y="755543"/>
                        <a:pt x="806429" y="758407"/>
                        <a:pt x="806429" y="762702"/>
                      </a:cubicBezTo>
                      <a:cubicBezTo>
                        <a:pt x="806429" y="762702"/>
                        <a:pt x="806429" y="762702"/>
                        <a:pt x="806429" y="930947"/>
                      </a:cubicBezTo>
                      <a:cubicBezTo>
                        <a:pt x="806429" y="934526"/>
                        <a:pt x="803574" y="938106"/>
                        <a:pt x="799290" y="938106"/>
                      </a:cubicBezTo>
                      <a:cubicBezTo>
                        <a:pt x="799290" y="938106"/>
                        <a:pt x="799290" y="938106"/>
                        <a:pt x="707204" y="938106"/>
                      </a:cubicBezTo>
                      <a:cubicBezTo>
                        <a:pt x="702921" y="938106"/>
                        <a:pt x="700066" y="934526"/>
                        <a:pt x="700066" y="930947"/>
                      </a:cubicBezTo>
                      <a:cubicBezTo>
                        <a:pt x="700066" y="930947"/>
                        <a:pt x="700066" y="930947"/>
                        <a:pt x="700066" y="762702"/>
                      </a:cubicBezTo>
                      <a:cubicBezTo>
                        <a:pt x="700066" y="758407"/>
                        <a:pt x="702921" y="755543"/>
                        <a:pt x="707204" y="755543"/>
                      </a:cubicBezTo>
                      <a:close/>
                      <a:moveTo>
                        <a:pt x="578617" y="755543"/>
                      </a:moveTo>
                      <a:cubicBezTo>
                        <a:pt x="578617" y="755543"/>
                        <a:pt x="578617" y="755543"/>
                        <a:pt x="670703" y="755543"/>
                      </a:cubicBezTo>
                      <a:cubicBezTo>
                        <a:pt x="674986" y="755543"/>
                        <a:pt x="677842" y="758407"/>
                        <a:pt x="677842" y="762702"/>
                      </a:cubicBezTo>
                      <a:cubicBezTo>
                        <a:pt x="677842" y="762702"/>
                        <a:pt x="677842" y="762702"/>
                        <a:pt x="677842" y="930947"/>
                      </a:cubicBezTo>
                      <a:cubicBezTo>
                        <a:pt x="677842" y="934526"/>
                        <a:pt x="674986" y="938106"/>
                        <a:pt x="670703" y="938106"/>
                      </a:cubicBezTo>
                      <a:cubicBezTo>
                        <a:pt x="670703" y="938106"/>
                        <a:pt x="670703" y="938106"/>
                        <a:pt x="578617" y="938106"/>
                      </a:cubicBezTo>
                      <a:cubicBezTo>
                        <a:pt x="574334" y="938106"/>
                        <a:pt x="571479" y="934526"/>
                        <a:pt x="571479" y="930947"/>
                      </a:cubicBezTo>
                      <a:cubicBezTo>
                        <a:pt x="571479" y="930947"/>
                        <a:pt x="571479" y="930947"/>
                        <a:pt x="571479" y="762702"/>
                      </a:cubicBezTo>
                      <a:cubicBezTo>
                        <a:pt x="571479" y="758407"/>
                        <a:pt x="574334" y="755543"/>
                        <a:pt x="578617" y="755543"/>
                      </a:cubicBezTo>
                      <a:close/>
                      <a:moveTo>
                        <a:pt x="86957" y="563479"/>
                      </a:moveTo>
                      <a:cubicBezTo>
                        <a:pt x="90979" y="563479"/>
                        <a:pt x="94911" y="565090"/>
                        <a:pt x="97771" y="568311"/>
                      </a:cubicBezTo>
                      <a:cubicBezTo>
                        <a:pt x="97771" y="568311"/>
                        <a:pt x="97771" y="568311"/>
                        <a:pt x="167123" y="639181"/>
                      </a:cubicBezTo>
                      <a:cubicBezTo>
                        <a:pt x="172843" y="645624"/>
                        <a:pt x="172843" y="655646"/>
                        <a:pt x="166408" y="661373"/>
                      </a:cubicBezTo>
                      <a:cubicBezTo>
                        <a:pt x="163548" y="664237"/>
                        <a:pt x="159258" y="666384"/>
                        <a:pt x="155683" y="666384"/>
                      </a:cubicBezTo>
                      <a:cubicBezTo>
                        <a:pt x="151394" y="666384"/>
                        <a:pt x="147104" y="664237"/>
                        <a:pt x="144244" y="661373"/>
                      </a:cubicBezTo>
                      <a:cubicBezTo>
                        <a:pt x="144244" y="661373"/>
                        <a:pt x="144244" y="661373"/>
                        <a:pt x="101346" y="616990"/>
                      </a:cubicBezTo>
                      <a:cubicBezTo>
                        <a:pt x="106351" y="886154"/>
                        <a:pt x="298677" y="1121673"/>
                        <a:pt x="561069" y="1180374"/>
                      </a:cubicBezTo>
                      <a:cubicBezTo>
                        <a:pt x="568934" y="1181806"/>
                        <a:pt x="574654" y="1190396"/>
                        <a:pt x="572509" y="1198986"/>
                      </a:cubicBezTo>
                      <a:cubicBezTo>
                        <a:pt x="571079" y="1206145"/>
                        <a:pt x="564644" y="1211156"/>
                        <a:pt x="557495" y="1211156"/>
                      </a:cubicBezTo>
                      <a:cubicBezTo>
                        <a:pt x="556065" y="1211156"/>
                        <a:pt x="555350" y="1211156"/>
                        <a:pt x="553920" y="1211156"/>
                      </a:cubicBezTo>
                      <a:cubicBezTo>
                        <a:pt x="418791" y="1181090"/>
                        <a:pt x="295817" y="1104493"/>
                        <a:pt x="207876" y="996397"/>
                      </a:cubicBezTo>
                      <a:cubicBezTo>
                        <a:pt x="121365" y="889734"/>
                        <a:pt x="72747" y="755151"/>
                        <a:pt x="69887" y="617705"/>
                      </a:cubicBezTo>
                      <a:cubicBezTo>
                        <a:pt x="69887" y="617705"/>
                        <a:pt x="69887" y="617705"/>
                        <a:pt x="26989" y="659941"/>
                      </a:cubicBezTo>
                      <a:cubicBezTo>
                        <a:pt x="20555" y="665668"/>
                        <a:pt x="10545" y="665668"/>
                        <a:pt x="4825" y="659226"/>
                      </a:cubicBezTo>
                      <a:cubicBezTo>
                        <a:pt x="-1609" y="653499"/>
                        <a:pt x="-1609" y="643477"/>
                        <a:pt x="4825" y="637034"/>
                      </a:cubicBezTo>
                      <a:cubicBezTo>
                        <a:pt x="4825" y="637034"/>
                        <a:pt x="4825" y="637034"/>
                        <a:pt x="75607" y="568311"/>
                      </a:cubicBezTo>
                      <a:cubicBezTo>
                        <a:pt x="78825" y="565090"/>
                        <a:pt x="82936" y="563479"/>
                        <a:pt x="86957" y="563479"/>
                      </a:cubicBezTo>
                      <a:close/>
                      <a:moveTo>
                        <a:pt x="711942" y="503131"/>
                      </a:moveTo>
                      <a:cubicBezTo>
                        <a:pt x="711942" y="503131"/>
                        <a:pt x="711942" y="503131"/>
                        <a:pt x="827891" y="503131"/>
                      </a:cubicBezTo>
                      <a:cubicBezTo>
                        <a:pt x="832159" y="503131"/>
                        <a:pt x="835004" y="505984"/>
                        <a:pt x="835004" y="510262"/>
                      </a:cubicBezTo>
                      <a:cubicBezTo>
                        <a:pt x="835004" y="510262"/>
                        <a:pt x="835004" y="510262"/>
                        <a:pt x="835004" y="678563"/>
                      </a:cubicBezTo>
                      <a:cubicBezTo>
                        <a:pt x="835004" y="682128"/>
                        <a:pt x="832159" y="685694"/>
                        <a:pt x="827891" y="685694"/>
                      </a:cubicBezTo>
                      <a:cubicBezTo>
                        <a:pt x="827891" y="685694"/>
                        <a:pt x="827891" y="685694"/>
                        <a:pt x="711942" y="685694"/>
                      </a:cubicBezTo>
                      <a:cubicBezTo>
                        <a:pt x="707674" y="685694"/>
                        <a:pt x="704829" y="682128"/>
                        <a:pt x="704829" y="678563"/>
                      </a:cubicBezTo>
                      <a:cubicBezTo>
                        <a:pt x="704829" y="678563"/>
                        <a:pt x="704829" y="678563"/>
                        <a:pt x="704829" y="510262"/>
                      </a:cubicBezTo>
                      <a:cubicBezTo>
                        <a:pt x="704829" y="505984"/>
                        <a:pt x="707674" y="503131"/>
                        <a:pt x="711942" y="503131"/>
                      </a:cubicBezTo>
                      <a:close/>
                      <a:moveTo>
                        <a:pt x="550017" y="503131"/>
                      </a:moveTo>
                      <a:cubicBezTo>
                        <a:pt x="550017" y="503131"/>
                        <a:pt x="550017" y="503131"/>
                        <a:pt x="665965" y="503131"/>
                      </a:cubicBezTo>
                      <a:cubicBezTo>
                        <a:pt x="670233" y="503131"/>
                        <a:pt x="673079" y="505984"/>
                        <a:pt x="673079" y="510262"/>
                      </a:cubicBezTo>
                      <a:cubicBezTo>
                        <a:pt x="673079" y="510262"/>
                        <a:pt x="673079" y="510262"/>
                        <a:pt x="673079" y="678563"/>
                      </a:cubicBezTo>
                      <a:cubicBezTo>
                        <a:pt x="673079" y="682128"/>
                        <a:pt x="670233" y="685694"/>
                        <a:pt x="665965" y="685694"/>
                      </a:cubicBezTo>
                      <a:cubicBezTo>
                        <a:pt x="665965" y="685694"/>
                        <a:pt x="665965" y="685694"/>
                        <a:pt x="550017" y="685694"/>
                      </a:cubicBezTo>
                      <a:cubicBezTo>
                        <a:pt x="545749" y="685694"/>
                        <a:pt x="542904" y="682128"/>
                        <a:pt x="542904" y="678563"/>
                      </a:cubicBezTo>
                      <a:cubicBezTo>
                        <a:pt x="542904" y="678563"/>
                        <a:pt x="542904" y="678563"/>
                        <a:pt x="542904" y="510262"/>
                      </a:cubicBezTo>
                      <a:cubicBezTo>
                        <a:pt x="542904" y="505984"/>
                        <a:pt x="545749" y="503131"/>
                        <a:pt x="550017" y="503131"/>
                      </a:cubicBezTo>
                      <a:close/>
                      <a:moveTo>
                        <a:pt x="711942" y="287231"/>
                      </a:moveTo>
                      <a:cubicBezTo>
                        <a:pt x="711942" y="287231"/>
                        <a:pt x="711942" y="287231"/>
                        <a:pt x="827891" y="287231"/>
                      </a:cubicBezTo>
                      <a:cubicBezTo>
                        <a:pt x="832159" y="287231"/>
                        <a:pt x="835004" y="290797"/>
                        <a:pt x="835004" y="294362"/>
                      </a:cubicBezTo>
                      <a:cubicBezTo>
                        <a:pt x="835004" y="294362"/>
                        <a:pt x="835004" y="294362"/>
                        <a:pt x="835004" y="462663"/>
                      </a:cubicBezTo>
                      <a:cubicBezTo>
                        <a:pt x="835004" y="466942"/>
                        <a:pt x="832159" y="469794"/>
                        <a:pt x="827891" y="469794"/>
                      </a:cubicBezTo>
                      <a:cubicBezTo>
                        <a:pt x="827891" y="469794"/>
                        <a:pt x="827891" y="469794"/>
                        <a:pt x="711942" y="469794"/>
                      </a:cubicBezTo>
                      <a:cubicBezTo>
                        <a:pt x="707674" y="469794"/>
                        <a:pt x="704829" y="466942"/>
                        <a:pt x="704829" y="462663"/>
                      </a:cubicBezTo>
                      <a:cubicBezTo>
                        <a:pt x="704829" y="462663"/>
                        <a:pt x="704829" y="462663"/>
                        <a:pt x="704829" y="294362"/>
                      </a:cubicBezTo>
                      <a:cubicBezTo>
                        <a:pt x="704829" y="290797"/>
                        <a:pt x="707674" y="287231"/>
                        <a:pt x="711942" y="287231"/>
                      </a:cubicBezTo>
                      <a:close/>
                      <a:moveTo>
                        <a:pt x="550017" y="287231"/>
                      </a:moveTo>
                      <a:cubicBezTo>
                        <a:pt x="550017" y="287231"/>
                        <a:pt x="550017" y="287231"/>
                        <a:pt x="665965" y="287231"/>
                      </a:cubicBezTo>
                      <a:cubicBezTo>
                        <a:pt x="670233" y="287231"/>
                        <a:pt x="673079" y="290797"/>
                        <a:pt x="673079" y="294362"/>
                      </a:cubicBezTo>
                      <a:cubicBezTo>
                        <a:pt x="673079" y="294362"/>
                        <a:pt x="673079" y="294362"/>
                        <a:pt x="673079" y="462663"/>
                      </a:cubicBezTo>
                      <a:cubicBezTo>
                        <a:pt x="673079" y="466942"/>
                        <a:pt x="670233" y="469794"/>
                        <a:pt x="665965" y="469794"/>
                      </a:cubicBezTo>
                      <a:cubicBezTo>
                        <a:pt x="665965" y="469794"/>
                        <a:pt x="665965" y="469794"/>
                        <a:pt x="550017" y="469794"/>
                      </a:cubicBezTo>
                      <a:cubicBezTo>
                        <a:pt x="545749" y="469794"/>
                        <a:pt x="542904" y="466942"/>
                        <a:pt x="542904" y="462663"/>
                      </a:cubicBezTo>
                      <a:cubicBezTo>
                        <a:pt x="542904" y="462663"/>
                        <a:pt x="542904" y="462663"/>
                        <a:pt x="542904" y="294362"/>
                      </a:cubicBezTo>
                      <a:cubicBezTo>
                        <a:pt x="542904" y="290797"/>
                        <a:pt x="545749" y="287231"/>
                        <a:pt x="550017" y="287231"/>
                      </a:cubicBezTo>
                      <a:close/>
                      <a:moveTo>
                        <a:pt x="822375" y="454"/>
                      </a:moveTo>
                      <a:cubicBezTo>
                        <a:pt x="957336" y="30520"/>
                        <a:pt x="1080872" y="106401"/>
                        <a:pt x="1168704" y="214497"/>
                      </a:cubicBezTo>
                      <a:cubicBezTo>
                        <a:pt x="1255107" y="321876"/>
                        <a:pt x="1303665" y="455743"/>
                        <a:pt x="1306521" y="593189"/>
                      </a:cubicBezTo>
                      <a:cubicBezTo>
                        <a:pt x="1349366" y="551668"/>
                        <a:pt x="1349366" y="551668"/>
                        <a:pt x="1349366" y="551668"/>
                      </a:cubicBezTo>
                      <a:cubicBezTo>
                        <a:pt x="1355793" y="545226"/>
                        <a:pt x="1365790" y="545226"/>
                        <a:pt x="1371502" y="551668"/>
                      </a:cubicBezTo>
                      <a:cubicBezTo>
                        <a:pt x="1377929" y="558111"/>
                        <a:pt x="1377929" y="568133"/>
                        <a:pt x="1371502" y="573860"/>
                      </a:cubicBezTo>
                      <a:cubicBezTo>
                        <a:pt x="1300809" y="643299"/>
                        <a:pt x="1300809" y="643299"/>
                        <a:pt x="1300809" y="643299"/>
                      </a:cubicBezTo>
                      <a:cubicBezTo>
                        <a:pt x="1297952" y="646162"/>
                        <a:pt x="1293668" y="647594"/>
                        <a:pt x="1290097" y="647594"/>
                      </a:cubicBezTo>
                      <a:cubicBezTo>
                        <a:pt x="1285813" y="647594"/>
                        <a:pt x="1281528" y="646162"/>
                        <a:pt x="1278672" y="642583"/>
                      </a:cubicBezTo>
                      <a:cubicBezTo>
                        <a:pt x="1209406" y="571713"/>
                        <a:pt x="1209406" y="571713"/>
                        <a:pt x="1209406" y="571713"/>
                      </a:cubicBezTo>
                      <a:cubicBezTo>
                        <a:pt x="1203694" y="565270"/>
                        <a:pt x="1203694" y="555248"/>
                        <a:pt x="1210120" y="549521"/>
                      </a:cubicBezTo>
                      <a:cubicBezTo>
                        <a:pt x="1216547" y="543794"/>
                        <a:pt x="1225830" y="543794"/>
                        <a:pt x="1232257" y="549521"/>
                      </a:cubicBezTo>
                      <a:cubicBezTo>
                        <a:pt x="1275102" y="593904"/>
                        <a:pt x="1275102" y="593904"/>
                        <a:pt x="1275102" y="593904"/>
                      </a:cubicBezTo>
                      <a:cubicBezTo>
                        <a:pt x="1270103" y="324740"/>
                        <a:pt x="1078015" y="89221"/>
                        <a:pt x="815234" y="31236"/>
                      </a:cubicBezTo>
                      <a:cubicBezTo>
                        <a:pt x="807379" y="29088"/>
                        <a:pt x="801666" y="20498"/>
                        <a:pt x="803808" y="12623"/>
                      </a:cubicBezTo>
                      <a:cubicBezTo>
                        <a:pt x="805237" y="4033"/>
                        <a:pt x="813806" y="-1694"/>
                        <a:pt x="822375" y="454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2296" tIns="41148" rIns="82296" bIns="41148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60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930BE12-681D-43F4-AFA8-18CF33E2F1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930BE12-681D-43F4-AFA8-18CF33E2F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EDD206E-4809-4653-8D8D-BD69B9CAB9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ogging in to a career c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A5618BA-AFA4-4353-8DD4-49B9CC4FB5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7A03F3-0363-44CA-BEDD-81405AFA1F29}"/>
              </a:ext>
            </a:extLst>
          </p:cNvPr>
          <p:cNvSpPr txBox="1"/>
          <p:nvPr/>
        </p:nvSpPr>
        <p:spPr>
          <a:xfrm>
            <a:off x="447675" y="1483487"/>
            <a:ext cx="4314825" cy="203441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ym typeface="+mn-lt"/>
              </a:rPr>
              <a:t>When logging in to MOSES, </a:t>
            </a:r>
          </a:p>
          <a:p>
            <a:r>
              <a:rPr lang="en-US">
                <a:sym typeface="+mn-lt"/>
              </a:rPr>
              <a:t>make sure to login to the correct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career center from the list of centers available to you; that is, the career center that you would like to add service records to for a specific employer.</a:t>
            </a:r>
            <a:endParaRPr lang="en-US" sz="2000">
              <a:sym typeface="+mn-lt"/>
            </a:endParaRPr>
          </a:p>
        </p:txBody>
      </p:sp>
      <p:pic>
        <p:nvPicPr>
          <p:cNvPr id="13" name="Picture 6">
            <a:extLst>
              <a:ext uri="{FF2B5EF4-FFF2-40B4-BE49-F238E27FC236}">
                <a16:creationId xmlns:a16="http://schemas.microsoft.com/office/drawing/2014/main" id="{95CB2E0C-BCD1-40BF-9287-6D27B6E355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15511"/>
            <a:ext cx="6531234" cy="4762628"/>
          </a:xfrm>
          <a:prstGeom prst="rect">
            <a:avLst/>
          </a:prstGeom>
        </p:spPr>
      </p:pic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DDCE721D-CFE2-49C9-81A4-5D0942EBC94B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" name="Oval 20">
            <a:extLst>
              <a:ext uri="{FF2B5EF4-FFF2-40B4-BE49-F238E27FC236}">
                <a16:creationId xmlns:a16="http://schemas.microsoft.com/office/drawing/2014/main" id="{B3987236-D13E-448C-B0C4-B810398B3CB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54003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D584E4-66A0-4189-BFE6-58EAA9C953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D584E4-66A0-4189-BFE6-58EAA9C95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5BD268-E950-4E7A-87B8-36F0E1BFF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witching local offic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3027B2-39DF-4C3F-A5FD-084D2946912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DCF5B0-17BD-470B-93F4-32AC76A2EBD5}"/>
              </a:ext>
            </a:extLst>
          </p:cNvPr>
          <p:cNvSpPr txBox="1"/>
          <p:nvPr/>
        </p:nvSpPr>
        <p:spPr>
          <a:xfrm>
            <a:off x="447675" y="1512005"/>
            <a:ext cx="4314825" cy="203441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ym typeface="+mn-lt"/>
              </a:rPr>
              <a:t>Once logged in to MOSES, </a:t>
            </a:r>
          </a:p>
          <a:p>
            <a:r>
              <a:rPr lang="en-US">
                <a:sym typeface="+mn-lt"/>
              </a:rPr>
              <a:t>you can switch to a different career center without logging out so that you can add service records to the correct career center office; again, the career center that you would like to add service records to for a specific employer.</a:t>
            </a:r>
          </a:p>
        </p:txBody>
      </p:sp>
      <p:pic>
        <p:nvPicPr>
          <p:cNvPr id="10" name="Picture 6">
            <a:extLst>
              <a:ext uri="{FF2B5EF4-FFF2-40B4-BE49-F238E27FC236}">
                <a16:creationId xmlns:a16="http://schemas.microsoft.com/office/drawing/2014/main" id="{696A553C-FAA3-4C8E-BA4F-147FA9D665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7" y="1512417"/>
            <a:ext cx="4306382" cy="3665641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7FA55966-55B6-4ED0-963C-AC1D9EE231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33818" y="2896765"/>
            <a:ext cx="4013236" cy="3046838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CD62F20B-9655-42E4-931F-CBAF65743942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3" name="Oval 20">
            <a:extLst>
              <a:ext uri="{FF2B5EF4-FFF2-40B4-BE49-F238E27FC236}">
                <a16:creationId xmlns:a16="http://schemas.microsoft.com/office/drawing/2014/main" id="{21E243CB-D010-404A-8844-9F39EF59A5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15931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AC62ED3-56FD-4941-90B8-04BD80A029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AC62ED3-56FD-4941-90B8-04BD80A02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5B95D5-C592-44F3-B439-E07B4ED23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mployer sear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1DEF03-3F6E-409E-B5DE-16BB807616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04F1C5-9FC9-4FFF-919E-148150510AC5}"/>
              </a:ext>
            </a:extLst>
          </p:cNvPr>
          <p:cNvSpPr txBox="1"/>
          <p:nvPr/>
        </p:nvSpPr>
        <p:spPr>
          <a:xfrm>
            <a:off x="447675" y="1512005"/>
            <a:ext cx="4185516" cy="221599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000000"/>
                </a:solidFill>
                <a:sym typeface="+mn-lt"/>
              </a:rPr>
              <a:t>Open the Employer search window by either using the</a:t>
            </a:r>
          </a:p>
          <a:p>
            <a:endParaRPr lang="en-US">
              <a:solidFill>
                <a:srgbClr val="000000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Briefcase icon</a:t>
            </a:r>
          </a:p>
          <a:p>
            <a:endParaRPr lang="en-US">
              <a:solidFill>
                <a:srgbClr val="000000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OR</a:t>
            </a:r>
          </a:p>
          <a:p>
            <a:endParaRPr lang="en-US">
              <a:solidFill>
                <a:srgbClr val="000000"/>
              </a:solidFill>
              <a:sym typeface="+mn-lt"/>
            </a:endParaRPr>
          </a:p>
          <a:p>
            <a:r>
              <a:rPr lang="en-US">
                <a:solidFill>
                  <a:srgbClr val="000000"/>
                </a:solidFill>
                <a:sym typeface="+mn-lt"/>
              </a:rPr>
              <a:t>Employer &gt; Employer Services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F19AD163-9FF4-4433-922E-F065BF9784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6" y="3429000"/>
            <a:ext cx="5597589" cy="2828101"/>
          </a:xfrm>
          <a:prstGeom prst="rect">
            <a:avLst/>
          </a:prstGeom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0F434456-65FC-4500-A15A-6CD8F9C326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4328" y="1506355"/>
            <a:ext cx="5641549" cy="1729098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3F0E293F-F6E9-479B-8734-2728606E93E7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69DA3FE2-33A9-411A-93D0-4FF5A2D72E7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83408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02722E-F80A-4AD4-B617-AF858A6F71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02722E-F80A-4AD4-B617-AF858A6F7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57697CB-1123-4930-8493-FFA28B2A6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arch for employer record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7B3DAB5-4975-4D54-9951-28C3E182C5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797ED-9297-4322-9576-3AE6EDD9F683}"/>
              </a:ext>
            </a:extLst>
          </p:cNvPr>
          <p:cNvSpPr txBox="1"/>
          <p:nvPr/>
        </p:nvSpPr>
        <p:spPr>
          <a:xfrm>
            <a:off x="447675" y="1518004"/>
            <a:ext cx="4185516" cy="457799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000000"/>
                </a:solidFill>
                <a:sym typeface="+mn-lt"/>
              </a:rPr>
              <a:t>Search for the employer in MOSES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sym typeface="+mn-lt"/>
              </a:rPr>
              <a:t>There are many duplicate employer records in MOSES. If not sure which one to use, check with </a:t>
            </a:r>
            <a:br>
              <a:rPr lang="en-US" sz="1600">
                <a:solidFill>
                  <a:srgbClr val="000000"/>
                </a:solidFill>
                <a:sym typeface="+mn-lt"/>
              </a:rPr>
            </a:br>
            <a:r>
              <a:rPr lang="en-US" sz="1600">
                <a:solidFill>
                  <a:srgbClr val="000000"/>
                </a:solidFill>
                <a:sym typeface="+mn-lt"/>
              </a:rPr>
              <a:t>Business Service Rep (BSR)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sym typeface="+mn-lt"/>
              </a:rPr>
              <a:t>Don’t use employers with AJB icon</a:t>
            </a:r>
            <a:br>
              <a:rPr lang="en-US" sz="1600">
                <a:solidFill>
                  <a:srgbClr val="000000"/>
                </a:solidFill>
                <a:sym typeface="+mn-lt"/>
              </a:rPr>
            </a:br>
            <a:endParaRPr lang="en-US" sz="1600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000000"/>
                </a:solidFill>
                <a:sym typeface="+mn-lt"/>
              </a:rPr>
              <a:t>Find the city/town of employer</a:t>
            </a:r>
            <a:br>
              <a:rPr lang="en-US" sz="1600">
                <a:solidFill>
                  <a:srgbClr val="000000"/>
                </a:solidFill>
                <a:sym typeface="+mn-lt"/>
              </a:rPr>
            </a:br>
            <a:endParaRPr lang="en-US" sz="1600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000000"/>
                </a:solidFill>
                <a:sym typeface="+mn-lt"/>
              </a:rPr>
              <a:t>Determine which career center is associated with that city/town</a:t>
            </a:r>
            <a:br>
              <a:rPr lang="en-US" sz="1600">
                <a:solidFill>
                  <a:srgbClr val="000000"/>
                </a:solidFill>
                <a:sym typeface="+mn-lt"/>
              </a:rPr>
            </a:br>
            <a:r>
              <a:rPr lang="en-US" sz="1600" i="1">
                <a:solidFill>
                  <a:srgbClr val="000000"/>
                </a:solidFill>
                <a:sym typeface="+mn-lt"/>
              </a:rPr>
              <a:t>[spreadsheet handout]</a:t>
            </a:r>
          </a:p>
          <a:p>
            <a:pPr marL="432000" lvl="1" indent="-288000">
              <a:buClr>
                <a:srgbClr val="00269E"/>
              </a:buClr>
              <a:buFont typeface="Trebuchet MS" panose="020B0603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sym typeface="+mn-lt"/>
              </a:rPr>
              <a:t>Make sure you are logged into the correct career center office!</a:t>
            </a:r>
            <a:br>
              <a:rPr lang="en-US" sz="1600">
                <a:solidFill>
                  <a:srgbClr val="000000"/>
                </a:solidFill>
                <a:sym typeface="+mn-lt"/>
              </a:rPr>
            </a:br>
            <a:endParaRPr lang="en-US" sz="1600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rgbClr val="000000"/>
                </a:solidFill>
                <a:sym typeface="+mn-lt"/>
              </a:rPr>
              <a:t>Add services</a:t>
            </a:r>
            <a:br>
              <a:rPr lang="en-US" sz="1600">
                <a:solidFill>
                  <a:srgbClr val="000000"/>
                </a:solidFill>
                <a:sym typeface="+mn-lt"/>
              </a:rPr>
            </a:br>
            <a:endParaRPr lang="en-US" sz="1600">
              <a:solidFill>
                <a:schemeClr val="accent6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sz="1600">
                <a:solidFill>
                  <a:schemeClr val="accent6"/>
                </a:solidFill>
                <a:sym typeface="+mn-lt"/>
              </a:rPr>
              <a:t>GET TO KNOW YOUR BSRs!!!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BF8A5C5-A5D3-460A-B3EC-B2D02DC342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09043"/>
            <a:ext cx="6539022" cy="4396790"/>
          </a:xfrm>
          <a:prstGeom prst="rect">
            <a:avLst/>
          </a:prstGeom>
        </p:spPr>
      </p:pic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2AC2D6A1-0957-49CA-BFFF-29A02631A3D6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Oval 20">
            <a:extLst>
              <a:ext uri="{FF2B5EF4-FFF2-40B4-BE49-F238E27FC236}">
                <a16:creationId xmlns:a16="http://schemas.microsoft.com/office/drawing/2014/main" id="{2807E714-580A-44B2-921B-5402A04B6E9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831218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CD0367-7C1E-41AE-A072-FCBEAB62CF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CD0367-7C1E-41AE-A072-FCBEAB62C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C74B5C-B501-4D05-A947-C07BD1C54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advanced sear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B7FFC5-BC7E-41C5-BF49-013A61DC27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A83509-E10D-4C87-8437-6B2C6F7D8606}"/>
              </a:ext>
            </a:extLst>
          </p:cNvPr>
          <p:cNvSpPr txBox="1"/>
          <p:nvPr/>
        </p:nvSpPr>
        <p:spPr>
          <a:xfrm>
            <a:off x="447674" y="1498600"/>
            <a:ext cx="4185516" cy="387798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>
                <a:solidFill>
                  <a:srgbClr val="000000"/>
                </a:solidFill>
                <a:sym typeface="+mn-lt"/>
              </a:rPr>
              <a:t>You can also use the Advanced Search feature of MOSES to find employers.</a:t>
            </a:r>
            <a:br>
              <a:rPr lang="en-US">
                <a:solidFill>
                  <a:srgbClr val="000000"/>
                </a:solidFill>
                <a:sym typeface="+mn-lt"/>
              </a:rPr>
            </a:br>
            <a:endParaRPr lang="en-US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>
                <a:solidFill>
                  <a:srgbClr val="000000"/>
                </a:solidFill>
                <a:sym typeface="+mn-lt"/>
              </a:rPr>
              <a:t>Use the Employer dropdown menu item and click on Employer Services</a:t>
            </a:r>
            <a:br>
              <a:rPr lang="en-US">
                <a:solidFill>
                  <a:srgbClr val="000000"/>
                </a:solidFill>
                <a:sym typeface="+mn-lt"/>
              </a:rPr>
            </a:br>
            <a:endParaRPr lang="en-US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>
                <a:solidFill>
                  <a:srgbClr val="000000"/>
                </a:solidFill>
                <a:sym typeface="+mn-lt"/>
              </a:rPr>
              <a:t>Then click on the Advanced Search button</a:t>
            </a:r>
          </a:p>
          <a:p>
            <a:pPr marL="742950" lvl="1" indent="-285750">
              <a:buFont typeface="Arial"/>
              <a:buChar char="•"/>
            </a:pPr>
            <a:endParaRPr lang="en-US">
              <a:cs typeface="Calibri"/>
            </a:endParaRPr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8D9B507B-0D29-4D33-A996-0EEF7B6CEE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11972"/>
            <a:ext cx="2219325" cy="2047875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B174D246-3822-44C0-AC0F-448EF58A1BA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2890568"/>
            <a:ext cx="5467350" cy="3494952"/>
          </a:xfrm>
          <a:prstGeom prst="rect">
            <a:avLst/>
          </a:prstGeom>
        </p:spPr>
      </p:pic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E021CFE2-7AD7-45C2-8C14-E54E832D901D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" name="Oval 20">
            <a:extLst>
              <a:ext uri="{FF2B5EF4-FFF2-40B4-BE49-F238E27FC236}">
                <a16:creationId xmlns:a16="http://schemas.microsoft.com/office/drawing/2014/main" id="{EFD88948-BF79-456A-8A58-DE13FDB8727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8101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AD5FCA-A9DC-4F48-81D0-BE32E0F5FF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AD5FCA-A9DC-4F48-81D0-BE32E0F5FF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2D015E1-5229-4B03-8ED0-E1DCE7B21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advanced sear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2DEF92-38E7-4FD7-8719-8C87BCD186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65FE1A-E308-48AB-91A3-412D75A34F53}"/>
              </a:ext>
            </a:extLst>
          </p:cNvPr>
          <p:cNvSpPr txBox="1"/>
          <p:nvPr/>
        </p:nvSpPr>
        <p:spPr>
          <a:xfrm>
            <a:off x="447674" y="1509486"/>
            <a:ext cx="4185516" cy="387798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000000"/>
                </a:solidFill>
                <a:sym typeface="+mn-lt"/>
              </a:rPr>
              <a:t>Choose the Career Center from the dropdown, then select the </a:t>
            </a:r>
            <a:r>
              <a:rPr lang="en-US" dirty="0" err="1">
                <a:solidFill>
                  <a:srgbClr val="000000"/>
                </a:solidFill>
                <a:sym typeface="+mn-lt"/>
              </a:rPr>
              <a:t>FutureSkills</a:t>
            </a:r>
            <a:r>
              <a:rPr lang="en-US" dirty="0">
                <a:solidFill>
                  <a:srgbClr val="000000"/>
                </a:solidFill>
                <a:sym typeface="+mn-lt"/>
              </a:rPr>
              <a:t> Regional Program</a:t>
            </a:r>
            <a:br>
              <a:rPr lang="en-US" dirty="0">
                <a:solidFill>
                  <a:srgbClr val="000000"/>
                </a:solidFill>
                <a:sym typeface="+mn-lt"/>
              </a:rPr>
            </a:br>
            <a:endParaRPr lang="en-US" dirty="0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000000"/>
                </a:solidFill>
                <a:sym typeface="+mn-lt"/>
              </a:rPr>
              <a:t>Click OK.</a:t>
            </a:r>
            <a:br>
              <a:rPr lang="en-US" dirty="0">
                <a:solidFill>
                  <a:srgbClr val="000000"/>
                </a:solidFill>
                <a:sym typeface="+mn-lt"/>
              </a:rPr>
            </a:br>
            <a:endParaRPr lang="en-US" dirty="0">
              <a:solidFill>
                <a:srgbClr val="000000"/>
              </a:solidFill>
              <a:sym typeface="+mn-lt"/>
            </a:endParaRPr>
          </a:p>
          <a:p>
            <a:pPr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000000"/>
                </a:solidFill>
                <a:sym typeface="+mn-lt"/>
              </a:rPr>
              <a:t>This is an option to see a complete</a:t>
            </a:r>
            <a:br>
              <a:rPr lang="en-US" dirty="0">
                <a:solidFill>
                  <a:srgbClr val="000000"/>
                </a:solidFill>
                <a:sym typeface="+mn-lt"/>
              </a:rPr>
            </a:br>
            <a:r>
              <a:rPr lang="en-US" dirty="0">
                <a:solidFill>
                  <a:srgbClr val="000000"/>
                </a:solidFill>
                <a:sym typeface="+mn-lt"/>
              </a:rPr>
              <a:t> list of your employers currently </a:t>
            </a:r>
          </a:p>
          <a:p>
            <a:pPr>
              <a:buFont typeface="Trebuchet MS" panose="020B0603020202020204" pitchFamily="34" charset="0"/>
              <a:buChar char="​"/>
            </a:pPr>
            <a:r>
              <a:rPr lang="en-US" dirty="0">
                <a:solidFill>
                  <a:srgbClr val="000000"/>
                </a:solidFill>
                <a:sym typeface="+mn-lt"/>
              </a:rPr>
              <a:t>enrolled in the program.</a:t>
            </a:r>
          </a:p>
        </p:txBody>
      </p:sp>
      <p:pic>
        <p:nvPicPr>
          <p:cNvPr id="8" name="Picture 5" descr="MM_Advanced.png">
            <a:extLst>
              <a:ext uri="{FF2B5EF4-FFF2-40B4-BE49-F238E27FC236}">
                <a16:creationId xmlns:a16="http://schemas.microsoft.com/office/drawing/2014/main" id="{89B5C034-C684-4514-955E-E42BE6C5F7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11300"/>
            <a:ext cx="6520384" cy="4343400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90F12A44-5E4D-4BED-A127-6C5CA07402A9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49791F66-4E20-4521-B721-DE3F287ECAA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95495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9AFB9BC-F18F-49C7-87EE-B5C9387C4D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9AFB9BC-F18F-49C7-87EE-B5C9387C4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94600F-2FA2-4318-AA35-6425C5183F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1513"/>
            <a:ext cx="10021888" cy="333375"/>
          </a:xfrm>
        </p:spPr>
        <p:txBody>
          <a:bodyPr/>
          <a:lstStyle/>
          <a:p>
            <a:r>
              <a:rPr lang="en-US"/>
              <a:t>MOSES employer reco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868E60-E347-48F2-B655-63578BB902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9A85B1-8462-4DA0-A10B-2B2F4EF52E3C}"/>
              </a:ext>
            </a:extLst>
          </p:cNvPr>
          <p:cNvSpPr txBox="1"/>
          <p:nvPr/>
        </p:nvSpPr>
        <p:spPr>
          <a:xfrm>
            <a:off x="447675" y="1156900"/>
            <a:ext cx="4185516" cy="2769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>
                <a:solidFill>
                  <a:schemeClr val="tx2"/>
                </a:solidFill>
                <a:sym typeface="+mn-lt"/>
              </a:rPr>
              <a:t>The Employer Record has seven tabs:</a:t>
            </a:r>
            <a:endParaRPr lang="en-US" sz="1600">
              <a:solidFill>
                <a:schemeClr val="tx2"/>
              </a:solidFill>
              <a:sym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3E1837-4AE7-4FF0-A6FB-831553EE28C4}"/>
              </a:ext>
            </a:extLst>
          </p:cNvPr>
          <p:cNvSpPr txBox="1"/>
          <p:nvPr/>
        </p:nvSpPr>
        <p:spPr>
          <a:xfrm>
            <a:off x="447675" y="1509486"/>
            <a:ext cx="4185516" cy="372409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1: General Info</a:t>
            </a:r>
          </a:p>
          <a:p>
            <a:endParaRPr lang="en-US" sz="1600">
              <a:solidFill>
                <a:schemeClr val="tx2"/>
              </a:solidFill>
              <a:sym typeface="+mn-lt"/>
            </a:endParaRPr>
          </a:p>
          <a:p>
            <a:r>
              <a:rPr lang="en-US" sz="1600">
                <a:sym typeface="+mn-lt"/>
              </a:rPr>
              <a:t>This tab contains basic information about the</a:t>
            </a:r>
          </a:p>
          <a:p>
            <a:r>
              <a:rPr lang="en-US" sz="1600">
                <a:sym typeface="+mn-lt"/>
              </a:rPr>
              <a:t>business i.e. name, address, NAICS Code, </a:t>
            </a:r>
          </a:p>
          <a:p>
            <a:r>
              <a:rPr lang="en-US" sz="1600">
                <a:sym typeface="+mn-lt"/>
              </a:rPr>
              <a:t>FEIN, and snapshot data i.e. number of job </a:t>
            </a:r>
          </a:p>
          <a:p>
            <a:r>
              <a:rPr lang="en-US" sz="1600">
                <a:sym typeface="+mn-lt"/>
              </a:rPr>
              <a:t>orders , etc. </a:t>
            </a:r>
          </a:p>
          <a:p>
            <a:endParaRPr lang="en-US" sz="1600">
              <a:sym typeface="+mn-lt"/>
            </a:endParaRPr>
          </a:p>
          <a:p>
            <a:r>
              <a:rPr lang="en-US" sz="1600">
                <a:sym typeface="+mn-lt"/>
              </a:rPr>
              <a:t>The buttons at the bottom of the screen allow</a:t>
            </a:r>
          </a:p>
          <a:p>
            <a:r>
              <a:rPr lang="en-US" sz="1600">
                <a:sym typeface="+mn-lt"/>
              </a:rPr>
              <a:t>the BSR to update the NAICS Code, access </a:t>
            </a:r>
            <a:br>
              <a:rPr lang="en-US" sz="1600">
                <a:sym typeface="+mn-lt"/>
              </a:rPr>
            </a:br>
            <a:r>
              <a:rPr lang="en-US" sz="1600">
                <a:sym typeface="+mn-lt"/>
              </a:rPr>
              <a:t>the Job Order page, and save/cancel </a:t>
            </a:r>
            <a:br>
              <a:rPr lang="en-US" sz="1600">
                <a:sym typeface="+mn-lt"/>
              </a:rPr>
            </a:br>
            <a:r>
              <a:rPr lang="en-US" sz="1600">
                <a:sym typeface="+mn-lt"/>
              </a:rPr>
              <a:t>functions for saving updates. </a:t>
            </a:r>
            <a:br>
              <a:rPr lang="en-US" sz="1600">
                <a:sym typeface="+mn-lt"/>
              </a:rPr>
            </a:br>
            <a:r>
              <a:rPr lang="en-US" sz="1600">
                <a:sym typeface="+mn-lt"/>
              </a:rPr>
              <a:t>These four buttons appear on </a:t>
            </a:r>
          </a:p>
          <a:p>
            <a:r>
              <a:rPr lang="en-US" sz="1600">
                <a:sym typeface="+mn-lt"/>
              </a:rPr>
              <a:t>every tab. You will also see a Notes button</a:t>
            </a:r>
          </a:p>
          <a:p>
            <a:r>
              <a:rPr lang="en-US" sz="1600">
                <a:sym typeface="+mn-lt"/>
              </a:rPr>
              <a:t>on the top right, Notes are also accessible </a:t>
            </a:r>
          </a:p>
          <a:p>
            <a:r>
              <a:rPr lang="en-US" sz="1600">
                <a:sym typeface="+mn-lt"/>
              </a:rPr>
              <a:t>from every tab. 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EF39435-B4E5-4F22-903B-BDA2D17BCA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24001"/>
            <a:ext cx="6520047" cy="4210050"/>
          </a:xfrm>
          <a:prstGeom prst="rect">
            <a:avLst/>
          </a:prstGeom>
        </p:spPr>
      </p:pic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BC29723B-EAB8-4113-921F-935CC88D0999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" name="Oval 20">
            <a:extLst>
              <a:ext uri="{FF2B5EF4-FFF2-40B4-BE49-F238E27FC236}">
                <a16:creationId xmlns:a16="http://schemas.microsoft.com/office/drawing/2014/main" id="{053BBBCC-0902-465D-A4BF-2267210C3CD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65511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37D048-88A1-4819-81DA-0A9909B869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37D048-88A1-4819-81DA-0A9909B869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C65A46-7B04-49E3-8BB2-0CF5FA378D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C7CF00-D271-4B18-8569-CD41F4F74E0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FA2E1F1-E25A-4E70-BC49-10EE109D350C}"/>
              </a:ext>
            </a:extLst>
          </p:cNvPr>
          <p:cNvSpPr txBox="1"/>
          <p:nvPr/>
        </p:nvSpPr>
        <p:spPr>
          <a:xfrm>
            <a:off x="447674" y="1509486"/>
            <a:ext cx="4185516" cy="168788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2: Employer Contacts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r>
              <a:rPr lang="en-US">
                <a:sym typeface="+mn-lt"/>
              </a:rPr>
              <a:t>This tab contains a list of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business contacts </a:t>
            </a:r>
          </a:p>
          <a:p>
            <a:r>
              <a:rPr lang="en-US">
                <a:sym typeface="+mn-lt"/>
              </a:rPr>
              <a:t>within the company. Typically, </a:t>
            </a:r>
          </a:p>
          <a:p>
            <a:r>
              <a:rPr lang="en-US">
                <a:sym typeface="+mn-lt"/>
              </a:rPr>
              <a:t>these will be owners or HR contacts. 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463362C-E2BF-46ED-AA04-65D0E981F6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8" y="1512752"/>
            <a:ext cx="6529647" cy="4202248"/>
          </a:xfrm>
          <a:prstGeom prst="rect">
            <a:avLst/>
          </a:prstGeom>
        </p:spPr>
      </p:pic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F85B1427-A72A-4132-A2A1-61463E7E60DD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977EEBFF-E461-4A9E-9D48-D95B5AD52B3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45331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A8BA62-3921-4529-A9DE-8B359F3833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A8BA62-3921-4529-A9DE-8B359F383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5C1B0C-8055-4E58-9837-9EA031AAFA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4BC4C-DB53-4991-A767-A871C4D338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D3ED48-E652-4710-9AAE-A07372BD7D0F}"/>
              </a:ext>
            </a:extLst>
          </p:cNvPr>
          <p:cNvSpPr txBox="1"/>
          <p:nvPr/>
        </p:nvSpPr>
        <p:spPr>
          <a:xfrm>
            <a:off x="447675" y="1509486"/>
            <a:ext cx="4185516" cy="206102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3: Events</a:t>
            </a:r>
            <a:br>
              <a:rPr lang="en-US">
                <a:solidFill>
                  <a:schemeClr val="accent6"/>
                </a:solidFill>
                <a:sym typeface="+mn-lt"/>
              </a:rPr>
            </a:br>
            <a:endParaRPr lang="en-US">
              <a:solidFill>
                <a:schemeClr val="tx2"/>
              </a:solidFill>
              <a:sym typeface="+mn-lt"/>
            </a:endParaRPr>
          </a:p>
          <a:p>
            <a:r>
              <a:rPr lang="en-US">
                <a:sym typeface="+mn-lt"/>
              </a:rPr>
              <a:t>This tab contains a list of events the business is scheduled to attend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(Current Events) or has</a:t>
            </a:r>
          </a:p>
          <a:p>
            <a:r>
              <a:rPr lang="en-US">
                <a:sym typeface="+mn-lt"/>
              </a:rPr>
              <a:t>attended in the past (Past Events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864E90-76D2-4C87-8C85-B26C0E0D7F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9" y="1509509"/>
            <a:ext cx="6539022" cy="4198535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BA013B43-FFBB-49EC-806F-7AB2826D36B6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3A80C7CE-CD60-4809-8306-0879CB6AD6E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58208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1A136A-F8B7-4961-A70C-97DFBB4962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63" progId="TCLayout.ActiveDocument.1">
                  <p:embed/>
                </p:oleObj>
              </mc:Choice>
              <mc:Fallback>
                <p:oleObj name="think-cell Slide" r:id="rId4" imgW="351" imgH="36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1A136A-F8B7-4961-A70C-97DFBB496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F41978-4D77-4381-BA13-83B0957A48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675" y="672001"/>
            <a:ext cx="10021542" cy="332399"/>
          </a:xfrm>
        </p:spPr>
        <p:txBody>
          <a:bodyPr vert="horz"/>
          <a:lstStyle/>
          <a:p>
            <a:r>
              <a:rPr lang="en-US"/>
              <a:t>MOSES employer reco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795D7-0312-4698-BA0A-9AD0963AAC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racking employer interactions in MOSES</a:t>
            </a:r>
          </a:p>
          <a:p>
            <a:endParaRPr lang="en-US"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260822-30DD-4432-91C9-B6F3D4025C82}"/>
              </a:ext>
            </a:extLst>
          </p:cNvPr>
          <p:cNvSpPr txBox="1"/>
          <p:nvPr/>
        </p:nvSpPr>
        <p:spPr>
          <a:xfrm>
            <a:off x="447674" y="1509486"/>
            <a:ext cx="4185516" cy="338605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>
                <a:solidFill>
                  <a:schemeClr val="accent6"/>
                </a:solidFill>
                <a:sym typeface="+mn-lt"/>
              </a:rPr>
              <a:t>TAB 4: Account Representatives</a:t>
            </a:r>
          </a:p>
          <a:p>
            <a:endParaRPr lang="en-US">
              <a:solidFill>
                <a:schemeClr val="tx2"/>
              </a:solidFill>
              <a:sym typeface="+mn-lt"/>
            </a:endParaRPr>
          </a:p>
          <a:p>
            <a:r>
              <a:rPr lang="en-US">
                <a:sym typeface="+mn-lt"/>
              </a:rPr>
              <a:t>This tab is reserved for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the career center BSR.</a:t>
            </a:r>
          </a:p>
          <a:p>
            <a:endParaRPr lang="en-US">
              <a:sym typeface="+mn-lt"/>
            </a:endParaRPr>
          </a:p>
          <a:p>
            <a:r>
              <a:rPr lang="en-US">
                <a:sym typeface="+mn-lt"/>
              </a:rPr>
              <a:t>This tab allows a BSR to identify themselves as the primary contact for 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the business. Entering information on t</a:t>
            </a:r>
            <a:br>
              <a:rPr lang="en-US">
                <a:sym typeface="+mn-lt"/>
              </a:rPr>
            </a:br>
            <a:r>
              <a:rPr lang="en-US">
                <a:sym typeface="+mn-lt"/>
              </a:rPr>
              <a:t>his tab is not required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79FD43-A48F-4AB2-A3B2-380CFB6FDF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4329" y="1524001"/>
            <a:ext cx="6576650" cy="4223656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102142CF-9665-4E1F-8FEF-777EF5B3759F}"/>
              </a:ext>
            </a:extLst>
          </p:cNvPr>
          <p:cNvSpPr/>
          <p:nvPr/>
        </p:nvSpPr>
        <p:spPr>
          <a:xfrm rot="10800000">
            <a:off x="0" y="0"/>
            <a:ext cx="609696" cy="567159"/>
          </a:xfrm>
          <a:prstGeom prst="triangle">
            <a:avLst>
              <a:gd name="adj" fmla="val 100000"/>
            </a:avLst>
          </a:prstGeom>
          <a:solidFill>
            <a:srgbClr val="00269E"/>
          </a:solidFill>
          <a:ln w="9525" cap="rnd" cmpd="sng" algn="ctr">
            <a:solidFill>
              <a:srgbClr val="00269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Oval 20">
            <a:extLst>
              <a:ext uri="{FF2B5EF4-FFF2-40B4-BE49-F238E27FC236}">
                <a16:creationId xmlns:a16="http://schemas.microsoft.com/office/drawing/2014/main" id="{44306ED3-A2A8-4C99-9534-067C4C69F36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0" y="0"/>
            <a:ext cx="306910" cy="306910"/>
          </a:xfrm>
          <a:prstGeom prst="ellipse">
            <a:avLst/>
          </a:prstGeom>
          <a:solidFill>
            <a:srgbClr val="FFFFFF">
              <a:lumMod val="100000"/>
            </a:srgbClr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>
                <a:solidFill>
                  <a:srgbClr val="00269E">
                    <a:lumMod val="100000"/>
                  </a:srgbClr>
                </a:solidFill>
                <a:latin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57688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NAME" val="MBTA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Arial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Arial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Arial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Arial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STYLE_ID" val="wfhZ5lb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half"/>
  <p:tag name="EE4P_LAYOUT_ID" val="K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4eb2b076-5f98-44b1-9e1d-f087461b75c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Context: What is the workforce strategy and how do Market Makers support this strategy?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highlight (P)"/>
  <p:tag name="EE4P_LAYOUT_ID" val="K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8555b2e-737d-4a25-91aa-a4af2edd89cb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Role and responsibilities: What is a Market Maker, and how does it fit in with other workforce roles?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8555b2e-737d-4a25-91aa-a4af2edd89cb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Role and responsibilities: What is a Market Maker, and how does it fit in with other workforce roles?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jgtUESheJieGFcsjDR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0iXSCX8ZZBiZbx2ZaSw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wo column"/>
  <p:tag name="EE4P_STRETCH" val="1"/>
  <p:tag name="EE4P_LAYOUT_ID" val="K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fd10859-6dd0-4e52-a1ed-b474d73b194b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How do you collaborate with other employer-facing workforce roles?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mt_rW8fYO.E.ACmy.x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mt_rW8fYO.E.ACmy.x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mt_rW8fYO.E.ACmy.x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wo column"/>
  <p:tag name="EE4P_STRETCH" val="1"/>
  <p:tag name="EE4P_LAYOUT_ID" val="K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wo column"/>
  <p:tag name="EE4P_STRETCH" val="1"/>
  <p:tag name="EE4P_LAYOUT_ID" val="K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Green one third"/>
  <p:tag name="EE4P_LAYOUT_ID" val="K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Big statement icon"/>
  <p:tag name="EE4P_LAYOUT_ID" val="D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mt_rW8fYO.E.ACmy.x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FSLIDEKEY" val="A0286AB7-9DDE-427D-9446-0A5623C8621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8kfPEWQqqBrJnfLUX0u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k3bT_8qkuOkEv8xJyN6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a8555b2e-737d-4a25-91aa-a4af2edd89cb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Role and responsibilities: What is a Market Maker, and how does it fit in with other workforce roles?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ELEMENTWIZARD_ID" val="NumberBalls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mt_rW8fYO.E.ACmy.x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787d146c-0718-4821-b2dd-98d72a9781a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210.082/758.6493/252.2583"/>
  <p:tag name="EE4P_AGENDAWIZARD_CONTENT" val="/Reference documents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01.1609/112.4513/74.61984/74.61984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Sti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BTA Grid 16:9 - 145216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39B83D9EC05746835EEFEAC1333386" ma:contentTypeVersion="13" ma:contentTypeDescription="Create a new document." ma:contentTypeScope="" ma:versionID="d33ec01b5524d070d1a4580b0b9afda5">
  <xsd:schema xmlns:xsd="http://www.w3.org/2001/XMLSchema" xmlns:xs="http://www.w3.org/2001/XMLSchema" xmlns:p="http://schemas.microsoft.com/office/2006/metadata/properties" xmlns:ns2="a543ae4e-6060-48c8-a421-709023b87e3c" xmlns:ns3="b72976aa-e7d9-498e-b08a-d3d9e47e4056" targetNamespace="http://schemas.microsoft.com/office/2006/metadata/properties" ma:root="true" ma:fieldsID="e42063ec97a58cad9a74ba76b68b62b8" ns2:_="" ns3:_="">
    <xsd:import namespace="a543ae4e-6060-48c8-a421-709023b87e3c"/>
    <xsd:import namespace="b72976aa-e7d9-498e-b08a-d3d9e47e40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43ae4e-6060-48c8-a421-709023b87e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2976aa-e7d9-498e-b08a-d3d9e47e4056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2c7e6f66-5166-47a0-ad83-3c99a4fc2e00}" ma:internalName="TaxCatchAll" ma:showField="CatchAllData" ma:web="b72976aa-e7d9-498e-b08a-d3d9e47e40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2976aa-e7d9-498e-b08a-d3d9e47e4056" xsi:nil="true"/>
    <lcf76f155ced4ddcb4097134ff3c332f xmlns="a543ae4e-6060-48c8-a421-709023b87e3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D134517-A6AF-4F2D-A6D5-DFDF4E3D3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11C7C1-24C2-4BB5-85D5-F89A40BE29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543ae4e-6060-48c8-a421-709023b87e3c"/>
    <ds:schemaRef ds:uri="b72976aa-e7d9-498e-b08a-d3d9e47e40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A72EBC0-BFD4-4C62-90F3-41A4EFBF6BA3}">
  <ds:schemaRefs>
    <ds:schemaRef ds:uri="ee020f69-4cc8-46c2-92ed-988a6654a9c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b72976aa-e7d9-498e-b08a-d3d9e47e4056"/>
    <ds:schemaRef ds:uri="a543ae4e-6060-48c8-a421-709023b87e3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1</TotalTime>
  <Words>15854</Words>
  <Application>Microsoft Office PowerPoint</Application>
  <PresentationFormat>Widescreen</PresentationFormat>
  <Paragraphs>3376</Paragraphs>
  <Slides>124</Slides>
  <Notes>79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4</vt:i4>
      </vt:variant>
      <vt:variant>
        <vt:lpstr>Custom Shows</vt:lpstr>
      </vt:variant>
      <vt:variant>
        <vt:i4>1</vt:i4>
      </vt:variant>
    </vt:vector>
  </HeadingPairs>
  <TitlesOfParts>
    <vt:vector size="132" baseType="lpstr">
      <vt:lpstr>Arial</vt:lpstr>
      <vt:lpstr>Calibri</vt:lpstr>
      <vt:lpstr>Karla</vt:lpstr>
      <vt:lpstr>Trebuchet MS</vt:lpstr>
      <vt:lpstr>Wingdings</vt:lpstr>
      <vt:lpstr>MBTA Grid 16:9 - 145216</vt:lpstr>
      <vt:lpstr>think-cell Slide</vt:lpstr>
      <vt:lpstr>Market Maker Onboarding Materials</vt:lpstr>
      <vt:lpstr>Market Maker Onboarding Materials</vt:lpstr>
      <vt:lpstr>Table of contents for Market Maker onboarding </vt:lpstr>
      <vt:lpstr>PowerPoint Presentation</vt:lpstr>
      <vt:lpstr>Workforce Skills Cabinet aligns 3 Secretaries to support a comprehensive economic growth agenda to benefit all corners of the Commonwealth</vt:lpstr>
      <vt:lpstr>ARPA Context: ~$240M currently allocated to WSC workforce upskilling efforts inclusive of FY22 Commonwealth budget and ARP allocations </vt:lpstr>
      <vt:lpstr>WSC Framework for ARPA: ARPA is increasing the resources available in the workforce system, and WSC is building capacity to make sure employers and people know about available resources</vt:lpstr>
      <vt:lpstr>To support the WSC &amp; regional strategies, Market Makers engage employers, match them with training providers, and help them build pipelines of skilled employees</vt:lpstr>
      <vt:lpstr>Market Makers are new regional roles that will help employers connect to training pipelines</vt:lpstr>
      <vt:lpstr>Market Maker hiring as of 4/30/22</vt:lpstr>
      <vt:lpstr>PowerPoint Presentation</vt:lpstr>
      <vt:lpstr>4 overarching goals for Market Maker positions </vt:lpstr>
      <vt:lpstr>14 standardized responsibilities drive progress toward the Market Maker's four goals</vt:lpstr>
      <vt:lpstr>PowerPoint Presentation</vt:lpstr>
      <vt:lpstr>Market Maker's Ecosystem: Landscape of types of players Market Makers should partner with to support connecting employers to training providers</vt:lpstr>
      <vt:lpstr>Market Makers will interact with various internal workforce stakeholders regularly</vt:lpstr>
      <vt:lpstr>Ecosystem of employer-facing workforce roles: Market Makers may partner with quasi-public organizations to support employer engagement</vt:lpstr>
      <vt:lpstr>MassCEC contacts</vt:lpstr>
      <vt:lpstr>MLSC contacts</vt:lpstr>
      <vt:lpstr>MassMEDIC contacts</vt:lpstr>
      <vt:lpstr>MassTech contacts</vt:lpstr>
      <vt:lpstr>MOBD contacts as of 3/30/22</vt:lpstr>
      <vt:lpstr>Rapid Response contacts as of 3/30/22</vt:lpstr>
      <vt:lpstr>Market Maker collaboration with Business Service Representatives</vt:lpstr>
      <vt:lpstr>PowerPoint Presentation</vt:lpstr>
      <vt:lpstr>Market Makers complement the Business Service Rep role by exclusively supporting ARPA pipeline training grants</vt:lpstr>
      <vt:lpstr>PowerPoint Presentation</vt:lpstr>
      <vt:lpstr>Elements of employer handoffs that will need to be locally determined with Business Service Reps </vt:lpstr>
      <vt:lpstr>Berkshires   MassHire Business Service Representatives and Managers contact information</vt:lpstr>
      <vt:lpstr>Greater Boston  MassHire Business Service Representatives and Managers contact information</vt:lpstr>
      <vt:lpstr>Central  MassHire Business Service Representatives and Managers contact information</vt:lpstr>
      <vt:lpstr>Northeast   MassHire Business Service Representatives and Managers contact information</vt:lpstr>
      <vt:lpstr>Cape &amp; Islands  MassHire Business Service Representatives and Managers contact information</vt:lpstr>
      <vt:lpstr>Southeast  MassHire Business Service Representatives and Managers contact information</vt:lpstr>
      <vt:lpstr>Pioneer Valley  MassHire Business Service Representatives and Managers contact information</vt:lpstr>
      <vt:lpstr>Initial events for Market Makers to attend</vt:lpstr>
      <vt:lpstr>To support the Market Maker cohort, CommCorp is leading two types of Market Maker meetings where resources, trainings, and TA are provided</vt:lpstr>
      <vt:lpstr>Market Makers should ensure they are included in these meetings to leverage connectivity with employers and training programs </vt:lpstr>
      <vt:lpstr>PowerPoint Presentation</vt:lpstr>
      <vt:lpstr>ARPA Grant Summaries</vt:lpstr>
      <vt:lpstr>Points of contact for additional questions</vt:lpstr>
      <vt:lpstr>PowerPoint Presentation</vt:lpstr>
      <vt:lpstr>Employer-facing grant summaries</vt:lpstr>
      <vt:lpstr>Workforce Competitiveness Trust Fund (WCTF)</vt:lpstr>
      <vt:lpstr>RENEW Demonstration Initiative</vt:lpstr>
      <vt:lpstr>Career Technical Initiative (CTI)</vt:lpstr>
      <vt:lpstr>Training partner-facing grant summaries</vt:lpstr>
      <vt:lpstr>Summary of key facts for three newest ARPA funded programs</vt:lpstr>
      <vt:lpstr>PowerPoint Presentation</vt:lpstr>
      <vt:lpstr>PowerPoint Presentation</vt:lpstr>
      <vt:lpstr>PowerPoint Presentation</vt:lpstr>
      <vt:lpstr>Internal stakeholder-facing grant summaries</vt:lpstr>
      <vt:lpstr>Summary of key facts for three newest ARPA funded programs</vt:lpstr>
      <vt:lpstr>PowerPoint Presentation</vt:lpstr>
      <vt:lpstr>Workforce Competitiveness Trust Fund</vt:lpstr>
      <vt:lpstr>Replenishing Employer Investment in Education &amp; Workforce Training</vt:lpstr>
      <vt:lpstr>Career Technical Initiative</vt:lpstr>
      <vt:lpstr>Occupations vs grants</vt:lpstr>
      <vt:lpstr>Backup: Occupations supported across several grants</vt:lpstr>
      <vt:lpstr>Backup: Example occupations by occupation category</vt:lpstr>
      <vt:lpstr>Market Maker collaboration with training providers</vt:lpstr>
      <vt:lpstr>Training providers</vt:lpstr>
      <vt:lpstr>PowerPoint Presentation</vt:lpstr>
      <vt:lpstr>As of 3/29/2022, 12 schools currently engaged in CTI adult education training across 16 occupations </vt:lpstr>
      <vt:lpstr>CTI training partners and programs by region</vt:lpstr>
      <vt:lpstr>Berkshires: CTI eligible C74 pathways by school</vt:lpstr>
      <vt:lpstr>Cape &amp; Islands: CTI eligible C74 pathways by school</vt:lpstr>
      <vt:lpstr>Central: CTI eligible C74 pathways by school (I/II)</vt:lpstr>
      <vt:lpstr>Central: CTI eligible C74 pathways by school (II/II)</vt:lpstr>
      <vt:lpstr>Greater Boston: CTI eligible C74 pathways by school (I/III)</vt:lpstr>
      <vt:lpstr>Greater Boston: CTI eligible C74 pathways by school (II/III)</vt:lpstr>
      <vt:lpstr>Greater Boston: CTI eligible C74 pathways by school (III/III)</vt:lpstr>
      <vt:lpstr>Northeast: CTI eligible C74 pathways by school (I/II)</vt:lpstr>
      <vt:lpstr>Northeast: CTI eligible C74 pathways by school (II/II)</vt:lpstr>
      <vt:lpstr>Pioneer Valley: CTI eligible C74 pathways by school (I/II)</vt:lpstr>
      <vt:lpstr>Pioneer Valley: CTI eligible C74 pathways by school (II/II)</vt:lpstr>
      <vt:lpstr>Southeast: CTI eligible C74 pathways by school (I/III)</vt:lpstr>
      <vt:lpstr>Southeast: CTI eligible C74 pathways by school (II/III)</vt:lpstr>
      <vt:lpstr>Southeast: CTI eligible C74 pathways by school (III/III)</vt:lpstr>
      <vt:lpstr>Employer engagement guidebook</vt:lpstr>
      <vt:lpstr>Employer engagement guidebook is a standalone document providing Market Makers resources to successfully navigate employer engagements</vt:lpstr>
      <vt:lpstr>Preview: Materials available in each guidebook section</vt:lpstr>
      <vt:lpstr>Preview: Summary of employer engagement materials</vt:lpstr>
      <vt:lpstr>PowerPoint Presentation</vt:lpstr>
      <vt:lpstr>Monthly target outcomes are 2-4 new training/business partnerships formed and 4-7 businesses connected to existing training providers</vt:lpstr>
      <vt:lpstr>New partnerships: Each Market Maker to target forming 2-4 new business/training partnerships a month</vt:lpstr>
      <vt:lpstr>Existing partnerships: Each Market Maker to target making 4–7 business connections to existing training programs a month</vt:lpstr>
      <vt:lpstr>Tracking employer interactions in MOSES</vt:lpstr>
      <vt:lpstr>Market Maker MOSES Training</vt:lpstr>
      <vt:lpstr>Logging in to a career center</vt:lpstr>
      <vt:lpstr>Switching local offices</vt:lpstr>
      <vt:lpstr>Employer search</vt:lpstr>
      <vt:lpstr>Search for employer record</vt:lpstr>
      <vt:lpstr>MOSES advanced search</vt:lpstr>
      <vt:lpstr>MOSES advanced search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MOSES employer record</vt:lpstr>
      <vt:lpstr>Regional blueprints</vt:lpstr>
      <vt:lpstr>2020 regional blueprints</vt:lpstr>
      <vt:lpstr>Target occupations for Market Maker outreach by reg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mployer journey: Employers are supported by Market Makers across five simple steps to hire newly-trained employees</vt:lpstr>
      <vt:lpstr>Market Makers help employers by assessing their training needs, creating a support plan, and helping employers take action on the plan</vt:lpstr>
      <vt:lpstr>Market Makers help employers by assessing their training needs, creating a support plan, and helping employers take action on the plan</vt:lpstr>
      <vt:lpstr>Market Maker Checklist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Seifried, Leslie (EOL)</cp:lastModifiedBy>
  <cp:revision>4</cp:revision>
  <cp:lastPrinted>2000-01-01T04:00:00Z</cp:lastPrinted>
  <dcterms:created xsi:type="dcterms:W3CDTF">2022-03-24T20:33:04Z</dcterms:created>
  <dcterms:modified xsi:type="dcterms:W3CDTF">2023-01-30T12:2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5739B83D9EC05746835EEFEAC1333386</vt:lpwstr>
  </property>
  <property fmtid="{D5CDD505-2E9C-101B-9397-08002B2CF9AE}" pid="8" name="MSIP_Label_b0d5c4f4-7a29-4385-b7a5-afbe2154ae6f_Enabled">
    <vt:lpwstr>true</vt:lpwstr>
  </property>
  <property fmtid="{D5CDD505-2E9C-101B-9397-08002B2CF9AE}" pid="9" name="MSIP_Label_b0d5c4f4-7a29-4385-b7a5-afbe2154ae6f_SetDate">
    <vt:lpwstr>2022-05-09T19:35:15Z</vt:lpwstr>
  </property>
  <property fmtid="{D5CDD505-2E9C-101B-9397-08002B2CF9AE}" pid="10" name="MSIP_Label_b0d5c4f4-7a29-4385-b7a5-afbe2154ae6f_Method">
    <vt:lpwstr>Standard</vt:lpwstr>
  </property>
  <property fmtid="{D5CDD505-2E9C-101B-9397-08002B2CF9AE}" pid="11" name="MSIP_Label_b0d5c4f4-7a29-4385-b7a5-afbe2154ae6f_Name">
    <vt:lpwstr>Confidential</vt:lpwstr>
  </property>
  <property fmtid="{D5CDD505-2E9C-101B-9397-08002B2CF9AE}" pid="12" name="MSIP_Label_b0d5c4f4-7a29-4385-b7a5-afbe2154ae6f_SiteId">
    <vt:lpwstr>2dfb2f0b-4d21-4268-9559-72926144c918</vt:lpwstr>
  </property>
  <property fmtid="{D5CDD505-2E9C-101B-9397-08002B2CF9AE}" pid="13" name="MSIP_Label_b0d5c4f4-7a29-4385-b7a5-afbe2154ae6f_ActionId">
    <vt:lpwstr>d250b777-5cf6-4034-abb9-7be6eca8f250</vt:lpwstr>
  </property>
  <property fmtid="{D5CDD505-2E9C-101B-9397-08002B2CF9AE}" pid="14" name="MSIP_Label_b0d5c4f4-7a29-4385-b7a5-afbe2154ae6f_ContentBits">
    <vt:lpwstr>0</vt:lpwstr>
  </property>
  <property fmtid="{D5CDD505-2E9C-101B-9397-08002B2CF9AE}" pid="15" name="bcgClassification">
    <vt:lpwstr>bcgConfidential</vt:lpwstr>
  </property>
  <property fmtid="{D5CDD505-2E9C-101B-9397-08002B2CF9AE}" pid="16" name="MediaServiceImageTags">
    <vt:lpwstr/>
  </property>
</Properties>
</file>